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2.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theme/theme3.xml" ContentType="application/vnd.openxmlformats-officedocument.theme+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Override1.xml" ContentType="application/vnd.openxmlformats-officedocument.themeOverride+xml"/>
  <Override PartName="/ppt/tags/tag118.xml" ContentType="application/vnd.openxmlformats-officedocument.presentationml.tags+xml"/>
  <Override PartName="/ppt/theme/themeOverride2.xml" ContentType="application/vnd.openxmlformats-officedocument.themeOverride+xml"/>
  <Override PartName="/ppt/tags/tag119.xml" ContentType="application/vnd.openxmlformats-officedocument.presentationml.tags+xml"/>
  <Override PartName="/ppt/theme/themeOverride3.xml" ContentType="application/vnd.openxmlformats-officedocument.themeOverride+xml"/>
  <Override PartName="/ppt/tags/tag120.xml" ContentType="application/vnd.openxmlformats-officedocument.presentationml.tags+xml"/>
  <Override PartName="/ppt/theme/themeOverride4.xml" ContentType="application/vnd.openxmlformats-officedocument.themeOverride+xml"/>
  <Override PartName="/ppt/tags/tag121.xml" ContentType="application/vnd.openxmlformats-officedocument.presentationml.tags+xml"/>
  <Override PartName="/ppt/theme/themeOverride5.xml" ContentType="application/vnd.openxmlformats-officedocument.themeOverride+xml"/>
  <Override PartName="/ppt/tags/tag122.xml" ContentType="application/vnd.openxmlformats-officedocument.presentationml.tags+xml"/>
  <Override PartName="/ppt/theme/themeOverride6.xml" ContentType="application/vnd.openxmlformats-officedocument.themeOverride+xml"/>
  <Override PartName="/ppt/tags/tag123.xml" ContentType="application/vnd.openxmlformats-officedocument.presentationml.tags+xml"/>
  <Override PartName="/ppt/theme/themeOverride7.xml" ContentType="application/vnd.openxmlformats-officedocument.themeOverride+xml"/>
  <Override PartName="/ppt/tags/tag124.xml" ContentType="application/vnd.openxmlformats-officedocument.presentationml.tags+xml"/>
  <Override PartName="/ppt/tags/tag125.xml" ContentType="application/vnd.openxmlformats-officedocument.presentationml.tags+xml"/>
  <Override PartName="/ppt/theme/themeOverride8.xml" ContentType="application/vnd.openxmlformats-officedocument.themeOverride+xml"/>
  <Override PartName="/ppt/tags/tag126.xml" ContentType="application/vnd.openxmlformats-officedocument.presentationml.tags+xml"/>
  <Override PartName="/ppt/tags/tag127.xml" ContentType="application/vnd.openxmlformats-officedocument.presentationml.tags+xml"/>
  <Override PartName="/ppt/theme/themeOverride9.xml" ContentType="application/vnd.openxmlformats-officedocument.themeOverride+xml"/>
  <Override PartName="/ppt/tags/tag128.xml" ContentType="application/vnd.openxmlformats-officedocument.presentationml.tags+xml"/>
  <Override PartName="/ppt/tags/tag129.xml" ContentType="application/vnd.openxmlformats-officedocument.presentationml.tags+xml"/>
  <Override PartName="/ppt/theme/themeOverride10.xml" ContentType="application/vnd.openxmlformats-officedocument.themeOverride+xml"/>
  <Override PartName="/ppt/tags/tag130.xml" ContentType="application/vnd.openxmlformats-officedocument.presentationml.tags+xml"/>
  <Override PartName="/ppt/tags/tag131.xml" ContentType="application/vnd.openxmlformats-officedocument.presentationml.tags+xml"/>
  <Override PartName="/ppt/theme/themeOverride11.xml" ContentType="application/vnd.openxmlformats-officedocument.themeOverrid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heme/themeOverride12.xml" ContentType="application/vnd.openxmlformats-officedocument.themeOverride+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heme/themeOverride13.xml" ContentType="application/vnd.openxmlformats-officedocument.themeOverride+xml"/>
  <Override PartName="/ppt/tags/tag148.xml" ContentType="application/vnd.openxmlformats-officedocument.presentationml.tags+xml"/>
  <Override PartName="/ppt/theme/themeOverride14.xml" ContentType="application/vnd.openxmlformats-officedocument.themeOverride+xml"/>
  <Override PartName="/ppt/tags/tag149.xml" ContentType="application/vnd.openxmlformats-officedocument.presentationml.tags+xml"/>
  <Override PartName="/ppt/theme/themeOverride15.xml" ContentType="application/vnd.openxmlformats-officedocument.themeOverride+xml"/>
  <Override PartName="/ppt/tags/tag150.xml" ContentType="application/vnd.openxmlformats-officedocument.presentationml.tags+xml"/>
  <Override PartName="/ppt/theme/themeOverride16.xml" ContentType="application/vnd.openxmlformats-officedocument.themeOverride+xml"/>
  <Override PartName="/ppt/tags/tag151.xml" ContentType="application/vnd.openxmlformats-officedocument.presentationml.tags+xml"/>
  <Override PartName="/ppt/theme/themeOverride17.xml" ContentType="application/vnd.openxmlformats-officedocument.themeOverride+xml"/>
  <Override PartName="/ppt/tags/tag152.xml" ContentType="application/vnd.openxmlformats-officedocument.presentationml.tags+xml"/>
  <Override PartName="/ppt/theme/themeOverride18.xml" ContentType="application/vnd.openxmlformats-officedocument.themeOverride+xml"/>
  <Override PartName="/ppt/tags/tag153.xml" ContentType="application/vnd.openxmlformats-officedocument.presentationml.tags+xml"/>
  <Override PartName="/ppt/theme/themeOverride19.xml" ContentType="application/vnd.openxmlformats-officedocument.themeOverride+xml"/>
  <Override PartName="/ppt/tags/tag154.xml" ContentType="application/vnd.openxmlformats-officedocument.presentationml.tags+xml"/>
  <Override PartName="/ppt/tags/tag155.xml" ContentType="application/vnd.openxmlformats-officedocument.presentationml.tags+xml"/>
  <Override PartName="/ppt/theme/themeOverride20.xml" ContentType="application/vnd.openxmlformats-officedocument.themeOverride+xml"/>
  <Override PartName="/ppt/tags/tag156.xml" ContentType="application/vnd.openxmlformats-officedocument.presentationml.tags+xml"/>
  <Override PartName="/ppt/tags/tag157.xml" ContentType="application/vnd.openxmlformats-officedocument.presentationml.tags+xml"/>
  <Override PartName="/ppt/theme/themeOverride21.xml" ContentType="application/vnd.openxmlformats-officedocument.themeOverride+xml"/>
  <Override PartName="/ppt/tags/tag158.xml" ContentType="application/vnd.openxmlformats-officedocument.presentationml.tags+xml"/>
  <Override PartName="/ppt/tags/tag159.xml" ContentType="application/vnd.openxmlformats-officedocument.presentationml.tags+xml"/>
  <Override PartName="/ppt/theme/themeOverride22.xml" ContentType="application/vnd.openxmlformats-officedocument.themeOverride+xml"/>
  <Override PartName="/ppt/tags/tag160.xml" ContentType="application/vnd.openxmlformats-officedocument.presentationml.tags+xml"/>
  <Override PartName="/ppt/tags/tag161.xml" ContentType="application/vnd.openxmlformats-officedocument.presentationml.tags+xml"/>
  <Override PartName="/ppt/theme/themeOverride23.xml" ContentType="application/vnd.openxmlformats-officedocument.themeOverrid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heme/themeOverride24.xml" ContentType="application/vnd.openxmlformats-officedocument.themeOverride+xml"/>
  <Override PartName="/ppt/tags/tag166.xml" ContentType="application/vnd.openxmlformats-officedocument.presentationml.tags+xml"/>
  <Override PartName="/ppt/theme/themeOverride25.xml" ContentType="application/vnd.openxmlformats-officedocument.themeOverride+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heme/themeOverride26.xml" ContentType="application/vnd.openxmlformats-officedocument.themeOverride+xml"/>
  <Override PartName="/ppt/tags/tag172.xml" ContentType="application/vnd.openxmlformats-officedocument.presentationml.tags+xml"/>
  <Override PartName="/ppt/tags/tag173.xml" ContentType="application/vnd.openxmlformats-officedocument.presentationml.tags+xml"/>
  <Override PartName="/ppt/theme/themeOverride27.xml" ContentType="application/vnd.openxmlformats-officedocument.themeOverride+xml"/>
  <Override PartName="/ppt/tags/tag174.xml" ContentType="application/vnd.openxmlformats-officedocument.presentationml.tags+xml"/>
  <Override PartName="/ppt/theme/themeOverride28.xml" ContentType="application/vnd.openxmlformats-officedocument.themeOverride+xml"/>
  <Override PartName="/ppt/tags/tag175.xml" ContentType="application/vnd.openxmlformats-officedocument.presentationml.tags+xml"/>
  <Override PartName="/ppt/theme/themeOverride29.xml" ContentType="application/vnd.openxmlformats-officedocument.themeOverride+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heme/themeOverride30.xml" ContentType="application/vnd.openxmlformats-officedocument.themeOverride+xml"/>
  <Override PartName="/ppt/tags/tag181.xml" ContentType="application/vnd.openxmlformats-officedocument.presentationml.tags+xml"/>
  <Override PartName="/ppt/theme/themeOverride31.xml" ContentType="application/vnd.openxmlformats-officedocument.themeOverride+xml"/>
  <Override PartName="/ppt/tags/tag182.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83.xml" ContentType="application/vnd.openxmlformats-officedocument.presentationml.tags+xml"/>
  <Override PartName="/ppt/notesSlides/notesSlide1.xml" ContentType="application/vnd.openxmlformats-officedocument.presentationml.notesSlide+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notesSlides/notesSlide2.xml" ContentType="application/vnd.openxmlformats-officedocument.presentationml.notesSlide+xml"/>
  <Override PartName="/ppt/tags/tag191.xml" ContentType="application/vnd.openxmlformats-officedocument.presentationml.tags+xml"/>
  <Override PartName="/ppt/notesSlides/notesSlide3.xml" ContentType="application/vnd.openxmlformats-officedocument.presentationml.notesSlide+xml"/>
  <Override PartName="/ppt/tags/tag192.xml" ContentType="application/vnd.openxmlformats-officedocument.presentationml.tags+xml"/>
  <Override PartName="/ppt/notesSlides/notesSlide4.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charts/chart1.xml" ContentType="application/vnd.openxmlformats-officedocument.drawingml.chart+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notesSlides/notesSlide5.xml" ContentType="application/vnd.openxmlformats-officedocument.presentationml.notesSlide+xml"/>
  <Override PartName="/ppt/charts/chart2.xml" ContentType="application/vnd.openxmlformats-officedocument.drawingml.chart+xml"/>
  <Override PartName="/ppt/charts/chart3.xml" ContentType="application/vnd.openxmlformats-officedocument.drawingml.chart+xml"/>
  <Override PartName="/ppt/tags/tag307.xml" ContentType="application/vnd.openxmlformats-officedocument.presentationml.tags+xml"/>
  <Override PartName="/ppt/tags/tag308.xml" ContentType="application/vnd.openxmlformats-officedocument.presentationml.tags+xml"/>
  <Override PartName="/ppt/charts/chart4.xml" ContentType="application/vnd.openxmlformats-officedocument.drawingml.chart+xml"/>
  <Override PartName="/ppt/tags/tag309.xml" ContentType="application/vnd.openxmlformats-officedocument.presentationml.tags+xml"/>
  <Override PartName="/ppt/tags/tag310.xml" ContentType="application/vnd.openxmlformats-officedocument.presentationml.tags+xml"/>
  <Override PartName="/ppt/notesSlides/notesSlide6.xml" ContentType="application/vnd.openxmlformats-officedocument.presentationml.notesSlide+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notesSlides/notesSlide7.xml" ContentType="application/vnd.openxmlformats-officedocument.presentationml.notesSlide+xml"/>
  <Override PartName="/ppt/tags/tag314.xml" ContentType="application/vnd.openxmlformats-officedocument.presentationml.tags+xml"/>
  <Override PartName="/ppt/tags/tag315.xml" ContentType="application/vnd.openxmlformats-officedocument.presentationml.tags+xml"/>
  <Override PartName="/ppt/notesSlides/notesSlide8.xml" ContentType="application/vnd.openxmlformats-officedocument.presentationml.notesSlide+xml"/>
  <Override PartName="/ppt/charts/chart5.xml" ContentType="application/vnd.openxmlformats-officedocument.drawingml.chart+xml"/>
  <Override PartName="/ppt/tags/tag316.xml" ContentType="application/vnd.openxmlformats-officedocument.presentationml.tags+xml"/>
  <Override PartName="/ppt/notesSlides/notesSlide9.xml" ContentType="application/vnd.openxmlformats-officedocument.presentationml.notesSlide+xml"/>
  <Override PartName="/ppt/tags/tag317.xml" ContentType="application/vnd.openxmlformats-officedocument.presentationml.tags+xml"/>
  <Override PartName="/ppt/notesSlides/notesSlide10.xml" ContentType="application/vnd.openxmlformats-officedocument.presentationml.notesSlide+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notesSlides/notesSlide11.xml" ContentType="application/vnd.openxmlformats-officedocument.presentationml.notesSlide+xml"/>
  <Override PartName="/ppt/charts/chart6.xml" ContentType="application/vnd.openxmlformats-officedocument.drawingml.chart+xml"/>
  <Override PartName="/ppt/tags/tag412.xml" ContentType="application/vnd.openxmlformats-officedocument.presentationml.tags+xml"/>
  <Override PartName="/ppt/notesSlides/notesSlide12.xml" ContentType="application/vnd.openxmlformats-officedocument.presentationml.notesSlide+xml"/>
  <Override PartName="/ppt/tags/tag413.xml" ContentType="application/vnd.openxmlformats-officedocument.presentationml.tags+xml"/>
  <Override PartName="/ppt/notesSlides/notesSlide13.xml" ContentType="application/vnd.openxmlformats-officedocument.presentationml.notesSlide+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charts/chart7.xml" ContentType="application/vnd.openxmlformats-officedocument.drawingml.chart+xml"/>
  <Override PartName="/ppt/charts/chart8.xml" ContentType="application/vnd.openxmlformats-officedocument.drawingml.chart+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notesSlides/notesSlide14.xml" ContentType="application/vnd.openxmlformats-officedocument.presentationml.notesSlide+xml"/>
  <Override PartName="/ppt/tags/tag457.xml" ContentType="application/vnd.openxmlformats-officedocument.presentationml.tags+xml"/>
  <Override PartName="/ppt/notesSlides/notesSlide15.xml" ContentType="application/vnd.openxmlformats-officedocument.presentationml.notesSlide+xml"/>
  <Override PartName="/ppt/tags/tag458.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4"/>
    <p:sldMasterId id="2147483709" r:id="rId5"/>
    <p:sldMasterId id="2147483780" r:id="rId6"/>
  </p:sldMasterIdLst>
  <p:notesMasterIdLst>
    <p:notesMasterId r:id="rId33"/>
  </p:notesMasterIdLst>
  <p:handoutMasterIdLst>
    <p:handoutMasterId r:id="rId34"/>
  </p:handoutMasterIdLst>
  <p:sldIdLst>
    <p:sldId id="264" r:id="rId7"/>
    <p:sldId id="2147483625" r:id="rId8"/>
    <p:sldId id="2147483587" r:id="rId9"/>
    <p:sldId id="2147483597" r:id="rId10"/>
    <p:sldId id="2147483551" r:id="rId11"/>
    <p:sldId id="2147483617" r:id="rId12"/>
    <p:sldId id="2147483619" r:id="rId13"/>
    <p:sldId id="2147483621" r:id="rId14"/>
    <p:sldId id="2147483606" r:id="rId15"/>
    <p:sldId id="2147483603" r:id="rId16"/>
    <p:sldId id="2147483599" r:id="rId17"/>
    <p:sldId id="2147483554" r:id="rId18"/>
    <p:sldId id="2147483609" r:id="rId19"/>
    <p:sldId id="2147483586" r:id="rId20"/>
    <p:sldId id="2147483608" r:id="rId21"/>
    <p:sldId id="2147483559" r:id="rId22"/>
    <p:sldId id="2147483612" r:id="rId23"/>
    <p:sldId id="2147483598" r:id="rId24"/>
    <p:sldId id="2147483545" r:id="rId25"/>
    <p:sldId id="2147483616" r:id="rId26"/>
    <p:sldId id="2147483607" r:id="rId27"/>
    <p:sldId id="257" r:id="rId28"/>
    <p:sldId id="2147483613" r:id="rId29"/>
    <p:sldId id="2147483546" r:id="rId30"/>
    <p:sldId id="2147483627" r:id="rId31"/>
    <p:sldId id="260" r:id="rId32"/>
  </p:sldIdLst>
  <p:sldSz cx="9144000" cy="5143500" type="screen16x9"/>
  <p:notesSz cx="6797675" cy="9926638"/>
  <p:custDataLst>
    <p:tags r:id="rId35"/>
  </p:custDataLst>
  <p:defaultTextStyle>
    <a:defPPr>
      <a:defRPr lang="fi-FI"/>
    </a:defPPr>
    <a:lvl1pPr marL="0" algn="l" defTabSz="679871" rtl="0" eaLnBrk="1" latinLnBrk="0" hangingPunct="1">
      <a:defRPr sz="134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p:defaultTextStyle>
  <p:extLst>
    <p:ext uri="{EFAFB233-063F-42B5-8137-9DF3F51BA10A}">
      <p15:sldGuideLst xmlns:p15="http://schemas.microsoft.com/office/powerpoint/2012/main">
        <p15:guide id="2" pos="2880" userDrawn="1">
          <p15:clr>
            <a:srgbClr val="A4A3A4"/>
          </p15:clr>
        </p15:guide>
        <p15:guide id="3" orient="horz" pos="1620">
          <p15:clr>
            <a:srgbClr val="A4A3A4"/>
          </p15:clr>
        </p15:guide>
        <p15:guide id="4" orient="horz" pos="509" userDrawn="1">
          <p15:clr>
            <a:srgbClr val="A4A3A4"/>
          </p15:clr>
        </p15:guide>
        <p15:guide id="5" pos="158" userDrawn="1">
          <p15:clr>
            <a:srgbClr val="A4A3A4"/>
          </p15:clr>
        </p15:guide>
        <p15:guide id="6" orient="horz" pos="169" userDrawn="1">
          <p15:clr>
            <a:srgbClr val="A4A3A4"/>
          </p15:clr>
        </p15:guide>
        <p15:guide id="7" pos="1814" userDrawn="1">
          <p15:clr>
            <a:srgbClr val="A4A3A4"/>
          </p15:clr>
        </p15:guide>
        <p15:guide id="8" orient="horz" pos="690" userDrawn="1">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ukonen Sini" initials="KS" lastIdx="7" clrIdx="0">
    <p:extLst>
      <p:ext uri="{19B8F6BF-5375-455C-9EA6-DF929625EA0E}">
        <p15:presenceInfo xmlns:p15="http://schemas.microsoft.com/office/powerpoint/2012/main" userId="S-1-5-21-1871869801-2214748161-1963216912-121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0A26E"/>
    <a:srgbClr val="3078B3"/>
    <a:srgbClr val="003860"/>
    <a:srgbClr val="005490"/>
    <a:srgbClr val="40B0FF"/>
    <a:srgbClr val="000000"/>
    <a:srgbClr val="333333"/>
    <a:srgbClr val="FFFF00"/>
    <a:srgbClr val="85E869"/>
    <a:srgbClr val="FF805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540EED3-210C-4E92-9567-DD0EADFC4B06}" v="5" dt="2024-04-09T08:44:51.481"/>
  </p1510:revLst>
</p1510:revInfo>
</file>

<file path=ppt/tableStyles.xml><?xml version="1.0" encoding="utf-8"?>
<a:tblStyleLst xmlns:a="http://schemas.openxmlformats.org/drawingml/2006/main" def="{5C22544A-7EE6-4342-B048-85BDC9FD1C3A}">
  <a:tblStyle styleId="{F5AB1C69-6EDB-4FF4-983F-18BD219EF322}" styleName="Normaali tyyli 2 - Korostus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Normaali tyyli 2 - Korostus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Normaali tyyli 2 - Korostu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Normaali tyyli 2 - Korostu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3354"/>
    <p:restoredTop sz="94678"/>
  </p:normalViewPr>
  <p:slideViewPr>
    <p:cSldViewPr snapToGrid="0">
      <p:cViewPr varScale="1">
        <p:scale>
          <a:sx n="123" d="100"/>
          <a:sy n="123" d="100"/>
        </p:scale>
        <p:origin x="403" y="96"/>
      </p:cViewPr>
      <p:guideLst>
        <p:guide pos="2880"/>
        <p:guide orient="horz" pos="1620"/>
        <p:guide orient="horz" pos="509"/>
        <p:guide pos="158"/>
        <p:guide orient="horz" pos="169"/>
        <p:guide pos="1814"/>
        <p:guide orient="horz" pos="690"/>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127"/>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heme" Target="theme/theme1.xml"/><Relationship Id="rId21" Type="http://schemas.openxmlformats.org/officeDocument/2006/relationships/slide" Target="slides/slide15.xml"/><Relationship Id="rId34" Type="http://schemas.openxmlformats.org/officeDocument/2006/relationships/handoutMaster" Target="handoutMasters/handoutMaster1.xml"/><Relationship Id="rId42"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viewProps" Target="view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bdi, Adnan" userId="503e002c-9b3b-4180-87fb-acabeb2b158a" providerId="ADAL" clId="{C8378B56-DEB7-4A2E-AD29-424F54BB66C0}"/>
    <pc:docChg chg="custSel modSld modMainMaster replTag">
      <pc:chgData name="Abdi, Adnan" userId="503e002c-9b3b-4180-87fb-acabeb2b158a" providerId="ADAL" clId="{C8378B56-DEB7-4A2E-AD29-424F54BB66C0}" dt="2024-03-18T11:33:03.115" v="1281" actId="20577"/>
      <pc:docMkLst>
        <pc:docMk/>
      </pc:docMkLst>
      <pc:sldChg chg="addSp delSp modSp mod">
        <pc:chgData name="Abdi, Adnan" userId="503e002c-9b3b-4180-87fb-acabeb2b158a" providerId="ADAL" clId="{C8378B56-DEB7-4A2E-AD29-424F54BB66C0}" dt="2024-03-13T08:04:57.206" v="655"/>
        <pc:sldMkLst>
          <pc:docMk/>
          <pc:sldMk cId="2564153488" sldId="2147483607"/>
        </pc:sldMkLst>
        <pc:spChg chg="mod ord">
          <ac:chgData name="Abdi, Adnan" userId="503e002c-9b3b-4180-87fb-acabeb2b158a" providerId="ADAL" clId="{C8378B56-DEB7-4A2E-AD29-424F54BB66C0}" dt="2024-03-13T08:04:57.168" v="591"/>
          <ac:spMkLst>
            <pc:docMk/>
            <pc:sldMk cId="2564153488" sldId="2147483607"/>
            <ac:spMk id="2" creationId="{EBC0B914-B399-C0DC-19F9-15CAD22445E2}"/>
          </ac:spMkLst>
        </pc:spChg>
        <pc:spChg chg="mod ord">
          <ac:chgData name="Abdi, Adnan" userId="503e002c-9b3b-4180-87fb-acabeb2b158a" providerId="ADAL" clId="{C8378B56-DEB7-4A2E-AD29-424F54BB66C0}" dt="2024-03-13T08:04:57.169" v="593"/>
          <ac:spMkLst>
            <pc:docMk/>
            <pc:sldMk cId="2564153488" sldId="2147483607"/>
            <ac:spMk id="3" creationId="{E61F54FD-301D-50D2-049C-775E4F28D645}"/>
          </ac:spMkLst>
        </pc:spChg>
        <pc:spChg chg="mod ord">
          <ac:chgData name="Abdi, Adnan" userId="503e002c-9b3b-4180-87fb-acabeb2b158a" providerId="ADAL" clId="{C8378B56-DEB7-4A2E-AD29-424F54BB66C0}" dt="2024-03-13T08:04:57.170" v="595"/>
          <ac:spMkLst>
            <pc:docMk/>
            <pc:sldMk cId="2564153488" sldId="2147483607"/>
            <ac:spMk id="4" creationId="{D046A7B9-FBC8-3664-2D5D-651DF683D353}"/>
          </ac:spMkLst>
        </pc:spChg>
        <pc:spChg chg="add del mod modVis">
          <ac:chgData name="Abdi, Adnan" userId="503e002c-9b3b-4180-87fb-acabeb2b158a" providerId="ADAL" clId="{C8378B56-DEB7-4A2E-AD29-424F54BB66C0}" dt="2024-03-13T08:04:57.190" v="653"/>
          <ac:spMkLst>
            <pc:docMk/>
            <pc:sldMk cId="2564153488" sldId="2147483607"/>
            <ac:spMk id="5" creationId="{13B9E2B8-3AAA-AAD2-4C97-0301BC190573}"/>
          </ac:spMkLst>
        </pc:spChg>
        <pc:spChg chg="mod ord">
          <ac:chgData name="Abdi, Adnan" userId="503e002c-9b3b-4180-87fb-acabeb2b158a" providerId="ADAL" clId="{C8378B56-DEB7-4A2E-AD29-424F54BB66C0}" dt="2024-03-13T08:04:57.189" v="649"/>
          <ac:spMkLst>
            <pc:docMk/>
            <pc:sldMk cId="2564153488" sldId="2147483607"/>
            <ac:spMk id="6" creationId="{A0FD8DE8-7502-D220-4EDD-0CD169211AB5}"/>
          </ac:spMkLst>
        </pc:spChg>
        <pc:spChg chg="del mod">
          <ac:chgData name="Abdi, Adnan" userId="503e002c-9b3b-4180-87fb-acabeb2b158a" providerId="ADAL" clId="{C8378B56-DEB7-4A2E-AD29-424F54BB66C0}" dt="2024-03-13T08:04:56.451" v="67"/>
          <ac:spMkLst>
            <pc:docMk/>
            <pc:sldMk cId="2564153488" sldId="2147483607"/>
            <ac:spMk id="7" creationId="{6FB5664F-4BE3-4DE0-7646-1AD3E7EB2705}"/>
          </ac:spMkLst>
        </pc:spChg>
        <pc:spChg chg="del mod">
          <ac:chgData name="Abdi, Adnan" userId="503e002c-9b3b-4180-87fb-acabeb2b158a" providerId="ADAL" clId="{C8378B56-DEB7-4A2E-AD29-424F54BB66C0}" dt="2024-03-13T08:04:56.452" v="68"/>
          <ac:spMkLst>
            <pc:docMk/>
            <pc:sldMk cId="2564153488" sldId="2147483607"/>
            <ac:spMk id="8" creationId="{BFC934C4-C749-2375-2796-3279284A0377}"/>
          </ac:spMkLst>
        </pc:spChg>
        <pc:spChg chg="del mod">
          <ac:chgData name="Abdi, Adnan" userId="503e002c-9b3b-4180-87fb-acabeb2b158a" providerId="ADAL" clId="{C8378B56-DEB7-4A2E-AD29-424F54BB66C0}" dt="2024-03-13T08:04:56.454" v="72"/>
          <ac:spMkLst>
            <pc:docMk/>
            <pc:sldMk cId="2564153488" sldId="2147483607"/>
            <ac:spMk id="10" creationId="{CDCE6111-8046-7A64-1B43-DC01BB8A2D64}"/>
          </ac:spMkLst>
        </pc:spChg>
        <pc:spChg chg="add mod replST">
          <ac:chgData name="Abdi, Adnan" userId="503e002c-9b3b-4180-87fb-acabeb2b158a" providerId="ADAL" clId="{C8378B56-DEB7-4A2E-AD29-424F54BB66C0}" dt="2024-03-13T08:04:57.184" v="636"/>
          <ac:spMkLst>
            <pc:docMk/>
            <pc:sldMk cId="2564153488" sldId="2147483607"/>
            <ac:spMk id="11" creationId="{C03D5C2D-505A-7193-0506-88ADC697C800}"/>
          </ac:spMkLst>
        </pc:spChg>
        <pc:spChg chg="del mod">
          <ac:chgData name="Abdi, Adnan" userId="503e002c-9b3b-4180-87fb-acabeb2b158a" providerId="ADAL" clId="{C8378B56-DEB7-4A2E-AD29-424F54BB66C0}" dt="2024-03-13T08:04:56.453" v="71"/>
          <ac:spMkLst>
            <pc:docMk/>
            <pc:sldMk cId="2564153488" sldId="2147483607"/>
            <ac:spMk id="12" creationId="{24B46246-BC18-79A3-C57D-149A0012A2EA}"/>
          </ac:spMkLst>
        </pc:spChg>
        <pc:spChg chg="del mod">
          <ac:chgData name="Abdi, Adnan" userId="503e002c-9b3b-4180-87fb-acabeb2b158a" providerId="ADAL" clId="{C8378B56-DEB7-4A2E-AD29-424F54BB66C0}" dt="2024-03-13T08:04:56.453" v="70"/>
          <ac:spMkLst>
            <pc:docMk/>
            <pc:sldMk cId="2564153488" sldId="2147483607"/>
            <ac:spMk id="13" creationId="{ACF9E4C8-CD96-EAE7-F492-0459CF99E71F}"/>
          </ac:spMkLst>
        </pc:spChg>
        <pc:spChg chg="del mod">
          <ac:chgData name="Abdi, Adnan" userId="503e002c-9b3b-4180-87fb-acabeb2b158a" providerId="ADAL" clId="{C8378B56-DEB7-4A2E-AD29-424F54BB66C0}" dt="2024-03-13T08:04:56.452" v="69"/>
          <ac:spMkLst>
            <pc:docMk/>
            <pc:sldMk cId="2564153488" sldId="2147483607"/>
            <ac:spMk id="14" creationId="{88D7DD9D-107F-52F1-9F8A-F2F6EF5F1411}"/>
          </ac:spMkLst>
        </pc:spChg>
        <pc:spChg chg="del mod">
          <ac:chgData name="Abdi, Adnan" userId="503e002c-9b3b-4180-87fb-acabeb2b158a" providerId="ADAL" clId="{C8378B56-DEB7-4A2E-AD29-424F54BB66C0}" dt="2024-03-13T08:04:56.454" v="73"/>
          <ac:spMkLst>
            <pc:docMk/>
            <pc:sldMk cId="2564153488" sldId="2147483607"/>
            <ac:spMk id="15" creationId="{75A3302B-1F0E-ED9D-8951-18EE01977CD4}"/>
          </ac:spMkLst>
        </pc:spChg>
        <pc:spChg chg="add mod replST">
          <ac:chgData name="Abdi, Adnan" userId="503e002c-9b3b-4180-87fb-acabeb2b158a" providerId="ADAL" clId="{C8378B56-DEB7-4A2E-AD29-424F54BB66C0}" dt="2024-03-13T08:04:57.184" v="637"/>
          <ac:spMkLst>
            <pc:docMk/>
            <pc:sldMk cId="2564153488" sldId="2147483607"/>
            <ac:spMk id="18" creationId="{08F65369-57DA-C244-E445-12ED99F7EEA3}"/>
          </ac:spMkLst>
        </pc:spChg>
        <pc:spChg chg="add mod replST">
          <ac:chgData name="Abdi, Adnan" userId="503e002c-9b3b-4180-87fb-acabeb2b158a" providerId="ADAL" clId="{C8378B56-DEB7-4A2E-AD29-424F54BB66C0}" dt="2024-03-13T08:04:57.184" v="638"/>
          <ac:spMkLst>
            <pc:docMk/>
            <pc:sldMk cId="2564153488" sldId="2147483607"/>
            <ac:spMk id="19" creationId="{CA278D2E-140F-7396-42D7-8EF92A4BEDB3}"/>
          </ac:spMkLst>
        </pc:spChg>
        <pc:spChg chg="add mod replST">
          <ac:chgData name="Abdi, Adnan" userId="503e002c-9b3b-4180-87fb-acabeb2b158a" providerId="ADAL" clId="{C8378B56-DEB7-4A2E-AD29-424F54BB66C0}" dt="2024-03-13T08:04:57.185" v="639"/>
          <ac:spMkLst>
            <pc:docMk/>
            <pc:sldMk cId="2564153488" sldId="2147483607"/>
            <ac:spMk id="20" creationId="{C44179B2-93DE-5668-79B7-6E715ABEB9F9}"/>
          </ac:spMkLst>
        </pc:spChg>
        <pc:spChg chg="add mod replST">
          <ac:chgData name="Abdi, Adnan" userId="503e002c-9b3b-4180-87fb-acabeb2b158a" providerId="ADAL" clId="{C8378B56-DEB7-4A2E-AD29-424F54BB66C0}" dt="2024-03-13T08:04:57.185" v="640"/>
          <ac:spMkLst>
            <pc:docMk/>
            <pc:sldMk cId="2564153488" sldId="2147483607"/>
            <ac:spMk id="21" creationId="{F1E06132-E7B5-3964-D079-003702BA9D6B}"/>
          </ac:spMkLst>
        </pc:spChg>
        <pc:spChg chg="add mod replST">
          <ac:chgData name="Abdi, Adnan" userId="503e002c-9b3b-4180-87fb-acabeb2b158a" providerId="ADAL" clId="{C8378B56-DEB7-4A2E-AD29-424F54BB66C0}" dt="2024-03-13T08:04:57.186" v="641"/>
          <ac:spMkLst>
            <pc:docMk/>
            <pc:sldMk cId="2564153488" sldId="2147483607"/>
            <ac:spMk id="22" creationId="{9CC3351D-E241-0AA5-71D4-319BFE87FBA9}"/>
          </ac:spMkLst>
        </pc:spChg>
        <pc:spChg chg="add mod replST">
          <ac:chgData name="Abdi, Adnan" userId="503e002c-9b3b-4180-87fb-acabeb2b158a" providerId="ADAL" clId="{C8378B56-DEB7-4A2E-AD29-424F54BB66C0}" dt="2024-03-13T08:04:57.186" v="642"/>
          <ac:spMkLst>
            <pc:docMk/>
            <pc:sldMk cId="2564153488" sldId="2147483607"/>
            <ac:spMk id="26" creationId="{EDFA4C3E-3C73-C7C9-22B4-82E191022EE8}"/>
          </ac:spMkLst>
        </pc:spChg>
        <pc:spChg chg="mod">
          <ac:chgData name="Abdi, Adnan" userId="503e002c-9b3b-4180-87fb-acabeb2b158a" providerId="ADAL" clId="{C8378B56-DEB7-4A2E-AD29-424F54BB66C0}" dt="2024-03-13T08:04:57.172" v="603"/>
          <ac:spMkLst>
            <pc:docMk/>
            <pc:sldMk cId="2564153488" sldId="2147483607"/>
            <ac:spMk id="27" creationId="{226D3426-8D8E-B00F-BDAA-61313408FA96}"/>
          </ac:spMkLst>
        </pc:spChg>
        <pc:spChg chg="mod">
          <ac:chgData name="Abdi, Adnan" userId="503e002c-9b3b-4180-87fb-acabeb2b158a" providerId="ADAL" clId="{C8378B56-DEB7-4A2E-AD29-424F54BB66C0}" dt="2024-03-13T08:04:57.172" v="604"/>
          <ac:spMkLst>
            <pc:docMk/>
            <pc:sldMk cId="2564153488" sldId="2147483607"/>
            <ac:spMk id="28" creationId="{E9ADDDC6-7337-B9A5-3C6D-AF0021AB7D4C}"/>
          </ac:spMkLst>
        </pc:spChg>
        <pc:spChg chg="mod">
          <ac:chgData name="Abdi, Adnan" userId="503e002c-9b3b-4180-87fb-acabeb2b158a" providerId="ADAL" clId="{C8378B56-DEB7-4A2E-AD29-424F54BB66C0}" dt="2024-03-13T08:04:57.173" v="605"/>
          <ac:spMkLst>
            <pc:docMk/>
            <pc:sldMk cId="2564153488" sldId="2147483607"/>
            <ac:spMk id="29" creationId="{96FA22ED-7AA3-8452-CFC2-8B966B3DFA20}"/>
          </ac:spMkLst>
        </pc:spChg>
        <pc:spChg chg="mod">
          <ac:chgData name="Abdi, Adnan" userId="503e002c-9b3b-4180-87fb-acabeb2b158a" providerId="ADAL" clId="{C8378B56-DEB7-4A2E-AD29-424F54BB66C0}" dt="2024-03-13T08:04:57.174" v="606"/>
          <ac:spMkLst>
            <pc:docMk/>
            <pc:sldMk cId="2564153488" sldId="2147483607"/>
            <ac:spMk id="30" creationId="{5836E5E8-31EA-E390-E90D-2CD528CFE18A}"/>
          </ac:spMkLst>
        </pc:spChg>
        <pc:spChg chg="mod">
          <ac:chgData name="Abdi, Adnan" userId="503e002c-9b3b-4180-87fb-acabeb2b158a" providerId="ADAL" clId="{C8378B56-DEB7-4A2E-AD29-424F54BB66C0}" dt="2024-03-13T08:04:57.174" v="607"/>
          <ac:spMkLst>
            <pc:docMk/>
            <pc:sldMk cId="2564153488" sldId="2147483607"/>
            <ac:spMk id="31" creationId="{E7D4E73E-549F-53C2-9068-778132F94CC9}"/>
          </ac:spMkLst>
        </pc:spChg>
        <pc:spChg chg="mod ord">
          <ac:chgData name="Abdi, Adnan" userId="503e002c-9b3b-4180-87fb-acabeb2b158a" providerId="ADAL" clId="{C8378B56-DEB7-4A2E-AD29-424F54BB66C0}" dt="2024-03-13T08:04:57.175" v="609"/>
          <ac:spMkLst>
            <pc:docMk/>
            <pc:sldMk cId="2564153488" sldId="2147483607"/>
            <ac:spMk id="32" creationId="{1382ECAF-E9B1-5215-D23E-460C5DADF0E7}"/>
          </ac:spMkLst>
        </pc:spChg>
        <pc:spChg chg="mod ord">
          <ac:chgData name="Abdi, Adnan" userId="503e002c-9b3b-4180-87fb-acabeb2b158a" providerId="ADAL" clId="{C8378B56-DEB7-4A2E-AD29-424F54BB66C0}" dt="2024-03-13T08:04:57.175" v="611"/>
          <ac:spMkLst>
            <pc:docMk/>
            <pc:sldMk cId="2564153488" sldId="2147483607"/>
            <ac:spMk id="33" creationId="{1AA0EBE3-61F3-8A58-5DB7-3E8EA99F3F49}"/>
          </ac:spMkLst>
        </pc:spChg>
        <pc:spChg chg="mod ord">
          <ac:chgData name="Abdi, Adnan" userId="503e002c-9b3b-4180-87fb-acabeb2b158a" providerId="ADAL" clId="{C8378B56-DEB7-4A2E-AD29-424F54BB66C0}" dt="2024-03-13T08:04:57.176" v="613"/>
          <ac:spMkLst>
            <pc:docMk/>
            <pc:sldMk cId="2564153488" sldId="2147483607"/>
            <ac:spMk id="34" creationId="{7C606394-B636-123B-6E5C-810A470D8D21}"/>
          </ac:spMkLst>
        </pc:spChg>
        <pc:spChg chg="mod ord">
          <ac:chgData name="Abdi, Adnan" userId="503e002c-9b3b-4180-87fb-acabeb2b158a" providerId="ADAL" clId="{C8378B56-DEB7-4A2E-AD29-424F54BB66C0}" dt="2024-03-13T08:04:57.176" v="615"/>
          <ac:spMkLst>
            <pc:docMk/>
            <pc:sldMk cId="2564153488" sldId="2147483607"/>
            <ac:spMk id="35" creationId="{56AD032C-21FC-3644-1DA7-407F598E87A6}"/>
          </ac:spMkLst>
        </pc:spChg>
        <pc:spChg chg="mod ord">
          <ac:chgData name="Abdi, Adnan" userId="503e002c-9b3b-4180-87fb-acabeb2b158a" providerId="ADAL" clId="{C8378B56-DEB7-4A2E-AD29-424F54BB66C0}" dt="2024-03-13T08:04:57.177" v="617"/>
          <ac:spMkLst>
            <pc:docMk/>
            <pc:sldMk cId="2564153488" sldId="2147483607"/>
            <ac:spMk id="36" creationId="{611A7901-95CE-5F34-E7C2-68D111B3FD4C}"/>
          </ac:spMkLst>
        </pc:spChg>
        <pc:spChg chg="mod ord">
          <ac:chgData name="Abdi, Adnan" userId="503e002c-9b3b-4180-87fb-acabeb2b158a" providerId="ADAL" clId="{C8378B56-DEB7-4A2E-AD29-424F54BB66C0}" dt="2024-03-13T08:04:57.177" v="619"/>
          <ac:spMkLst>
            <pc:docMk/>
            <pc:sldMk cId="2564153488" sldId="2147483607"/>
            <ac:spMk id="37" creationId="{4F03420A-CDC5-43F3-8F3F-7639F1B6C4E0}"/>
          </ac:spMkLst>
        </pc:spChg>
        <pc:spChg chg="mod">
          <ac:chgData name="Abdi, Adnan" userId="503e002c-9b3b-4180-87fb-acabeb2b158a" providerId="ADAL" clId="{C8378B56-DEB7-4A2E-AD29-424F54BB66C0}" dt="2024-03-13T08:04:57.180" v="625"/>
          <ac:spMkLst>
            <pc:docMk/>
            <pc:sldMk cId="2564153488" sldId="2147483607"/>
            <ac:spMk id="38" creationId="{9E1DA3FA-BCF4-C747-DEA3-AF9C10C5A30B}"/>
          </ac:spMkLst>
        </pc:spChg>
        <pc:spChg chg="mod">
          <ac:chgData name="Abdi, Adnan" userId="503e002c-9b3b-4180-87fb-acabeb2b158a" providerId="ADAL" clId="{C8378B56-DEB7-4A2E-AD29-424F54BB66C0}" dt="2024-03-13T08:04:57.178" v="620"/>
          <ac:spMkLst>
            <pc:docMk/>
            <pc:sldMk cId="2564153488" sldId="2147483607"/>
            <ac:spMk id="39" creationId="{1F531180-F827-488F-7157-F1DA0F62A4A8}"/>
          </ac:spMkLst>
        </pc:spChg>
        <pc:spChg chg="mod">
          <ac:chgData name="Abdi, Adnan" userId="503e002c-9b3b-4180-87fb-acabeb2b158a" providerId="ADAL" clId="{C8378B56-DEB7-4A2E-AD29-424F54BB66C0}" dt="2024-03-13T08:04:57.179" v="624"/>
          <ac:spMkLst>
            <pc:docMk/>
            <pc:sldMk cId="2564153488" sldId="2147483607"/>
            <ac:spMk id="40" creationId="{EE25C1F2-9258-1BE1-7E7F-C428681EDB34}"/>
          </ac:spMkLst>
        </pc:spChg>
        <pc:spChg chg="mod">
          <ac:chgData name="Abdi, Adnan" userId="503e002c-9b3b-4180-87fb-acabeb2b158a" providerId="ADAL" clId="{C8378B56-DEB7-4A2E-AD29-424F54BB66C0}" dt="2024-03-13T08:04:57.178" v="621"/>
          <ac:spMkLst>
            <pc:docMk/>
            <pc:sldMk cId="2564153488" sldId="2147483607"/>
            <ac:spMk id="41" creationId="{C5E616B9-1FA0-767A-AB9A-80CF8D024F3D}"/>
          </ac:spMkLst>
        </pc:spChg>
        <pc:spChg chg="mod">
          <ac:chgData name="Abdi, Adnan" userId="503e002c-9b3b-4180-87fb-acabeb2b158a" providerId="ADAL" clId="{C8378B56-DEB7-4A2E-AD29-424F54BB66C0}" dt="2024-03-13T08:04:57.179" v="622"/>
          <ac:spMkLst>
            <pc:docMk/>
            <pc:sldMk cId="2564153488" sldId="2147483607"/>
            <ac:spMk id="42" creationId="{A1613C35-C1C9-A480-FA5C-D982D9AF45A6}"/>
          </ac:spMkLst>
        </pc:spChg>
        <pc:spChg chg="mod">
          <ac:chgData name="Abdi, Adnan" userId="503e002c-9b3b-4180-87fb-acabeb2b158a" providerId="ADAL" clId="{C8378B56-DEB7-4A2E-AD29-424F54BB66C0}" dt="2024-03-13T08:04:57.179" v="623"/>
          <ac:spMkLst>
            <pc:docMk/>
            <pc:sldMk cId="2564153488" sldId="2147483607"/>
            <ac:spMk id="43" creationId="{80E3F9D9-8111-C267-D553-2CA0B85FBD61}"/>
          </ac:spMkLst>
        </pc:spChg>
        <pc:spChg chg="mod">
          <ac:chgData name="Abdi, Adnan" userId="503e002c-9b3b-4180-87fb-acabeb2b158a" providerId="ADAL" clId="{C8378B56-DEB7-4A2E-AD29-424F54BB66C0}" dt="2024-03-13T08:04:57.180" v="626"/>
          <ac:spMkLst>
            <pc:docMk/>
            <pc:sldMk cId="2564153488" sldId="2147483607"/>
            <ac:spMk id="49" creationId="{B5F23909-0CE2-4378-6026-F81A261AE437}"/>
          </ac:spMkLst>
        </pc:spChg>
        <pc:spChg chg="mod">
          <ac:chgData name="Abdi, Adnan" userId="503e002c-9b3b-4180-87fb-acabeb2b158a" providerId="ADAL" clId="{C8378B56-DEB7-4A2E-AD29-424F54BB66C0}" dt="2024-03-13T08:04:57.180" v="627"/>
          <ac:spMkLst>
            <pc:docMk/>
            <pc:sldMk cId="2564153488" sldId="2147483607"/>
            <ac:spMk id="50" creationId="{9C558A6F-2C4A-0AAE-B84A-6A68742524B8}"/>
          </ac:spMkLst>
        </pc:spChg>
        <pc:spChg chg="mod">
          <ac:chgData name="Abdi, Adnan" userId="503e002c-9b3b-4180-87fb-acabeb2b158a" providerId="ADAL" clId="{C8378B56-DEB7-4A2E-AD29-424F54BB66C0}" dt="2024-03-13T08:04:57.181" v="629"/>
          <ac:spMkLst>
            <pc:docMk/>
            <pc:sldMk cId="2564153488" sldId="2147483607"/>
            <ac:spMk id="80" creationId="{09006858-39EA-3372-4480-0F76CAC9BA80}"/>
          </ac:spMkLst>
        </pc:spChg>
        <pc:spChg chg="mod">
          <ac:chgData name="Abdi, Adnan" userId="503e002c-9b3b-4180-87fb-acabeb2b158a" providerId="ADAL" clId="{C8378B56-DEB7-4A2E-AD29-424F54BB66C0}" dt="2024-03-13T08:04:57.182" v="630"/>
          <ac:spMkLst>
            <pc:docMk/>
            <pc:sldMk cId="2564153488" sldId="2147483607"/>
            <ac:spMk id="81" creationId="{40A42BA0-2F73-96A5-726C-6B985D870710}"/>
          </ac:spMkLst>
        </pc:spChg>
        <pc:spChg chg="mod">
          <ac:chgData name="Abdi, Adnan" userId="503e002c-9b3b-4180-87fb-acabeb2b158a" providerId="ADAL" clId="{C8378B56-DEB7-4A2E-AD29-424F54BB66C0}" dt="2024-03-13T08:04:57.182" v="631"/>
          <ac:spMkLst>
            <pc:docMk/>
            <pc:sldMk cId="2564153488" sldId="2147483607"/>
            <ac:spMk id="82" creationId="{06C42EFD-06E9-E0A4-51B5-7C2B756498FE}"/>
          </ac:spMkLst>
        </pc:spChg>
        <pc:spChg chg="mod">
          <ac:chgData name="Abdi, Adnan" userId="503e002c-9b3b-4180-87fb-acabeb2b158a" providerId="ADAL" clId="{C8378B56-DEB7-4A2E-AD29-424F54BB66C0}" dt="2024-03-13T08:04:57.182" v="632"/>
          <ac:spMkLst>
            <pc:docMk/>
            <pc:sldMk cId="2564153488" sldId="2147483607"/>
            <ac:spMk id="83" creationId="{F34E02FF-3CB1-4128-1FE8-78E813E89869}"/>
          </ac:spMkLst>
        </pc:spChg>
        <pc:spChg chg="mod">
          <ac:chgData name="Abdi, Adnan" userId="503e002c-9b3b-4180-87fb-acabeb2b158a" providerId="ADAL" clId="{C8378B56-DEB7-4A2E-AD29-424F54BB66C0}" dt="2024-03-13T08:04:57.183" v="633"/>
          <ac:spMkLst>
            <pc:docMk/>
            <pc:sldMk cId="2564153488" sldId="2147483607"/>
            <ac:spMk id="84" creationId="{E60DE9FF-AF7B-8A3D-192C-38004CAEDB0A}"/>
          </ac:spMkLst>
        </pc:spChg>
        <pc:spChg chg="mod">
          <ac:chgData name="Abdi, Adnan" userId="503e002c-9b3b-4180-87fb-acabeb2b158a" providerId="ADAL" clId="{C8378B56-DEB7-4A2E-AD29-424F54BB66C0}" dt="2024-03-13T08:04:57.183" v="634"/>
          <ac:spMkLst>
            <pc:docMk/>
            <pc:sldMk cId="2564153488" sldId="2147483607"/>
            <ac:spMk id="85" creationId="{B346302F-9CB2-95EB-39B9-29DCFA8AB954}"/>
          </ac:spMkLst>
        </pc:spChg>
        <pc:spChg chg="mod">
          <ac:chgData name="Abdi, Adnan" userId="503e002c-9b3b-4180-87fb-acabeb2b158a" providerId="ADAL" clId="{C8378B56-DEB7-4A2E-AD29-424F54BB66C0}" dt="2024-03-13T08:04:57.183" v="635"/>
          <ac:spMkLst>
            <pc:docMk/>
            <pc:sldMk cId="2564153488" sldId="2147483607"/>
            <ac:spMk id="86" creationId="{5C961B16-EC74-CBBE-4BF3-244A30CD0E5C}"/>
          </ac:spMkLst>
        </pc:spChg>
        <pc:spChg chg="mod">
          <ac:chgData name="Abdi, Adnan" userId="503e002c-9b3b-4180-87fb-acabeb2b158a" providerId="ADAL" clId="{C8378B56-DEB7-4A2E-AD29-424F54BB66C0}" dt="2024-03-13T08:04:57.187" v="644"/>
          <ac:spMkLst>
            <pc:docMk/>
            <pc:sldMk cId="2564153488" sldId="2147483607"/>
            <ac:spMk id="112" creationId="{4445CFC4-7A3A-77CD-55B9-50106524C321}"/>
          </ac:spMkLst>
        </pc:spChg>
        <pc:spChg chg="mod">
          <ac:chgData name="Abdi, Adnan" userId="503e002c-9b3b-4180-87fb-acabeb2b158a" providerId="ADAL" clId="{C8378B56-DEB7-4A2E-AD29-424F54BB66C0}" dt="2024-03-13T08:04:57.186" v="643"/>
          <ac:spMkLst>
            <pc:docMk/>
            <pc:sldMk cId="2564153488" sldId="2147483607"/>
            <ac:spMk id="115" creationId="{632629E1-F4F8-FAF1-B86A-057578428D77}"/>
          </ac:spMkLst>
        </pc:spChg>
        <pc:spChg chg="mod">
          <ac:chgData name="Abdi, Adnan" userId="503e002c-9b3b-4180-87fb-acabeb2b158a" providerId="ADAL" clId="{C8378B56-DEB7-4A2E-AD29-424F54BB66C0}" dt="2024-03-13T08:04:57.188" v="647"/>
          <ac:spMkLst>
            <pc:docMk/>
            <pc:sldMk cId="2564153488" sldId="2147483607"/>
            <ac:spMk id="129" creationId="{64FB43A5-0B00-C925-639F-2ED12D753BD0}"/>
          </ac:spMkLst>
        </pc:spChg>
        <pc:graphicFrameChg chg="add mod replST">
          <ac:chgData name="Abdi, Adnan" userId="503e002c-9b3b-4180-87fb-acabeb2b158a" providerId="ADAL" clId="{C8378B56-DEB7-4A2E-AD29-424F54BB66C0}" dt="2024-03-13T08:04:57.172" v="602"/>
          <ac:graphicFrameMkLst>
            <pc:docMk/>
            <pc:sldMk cId="2564153488" sldId="2147483607"/>
            <ac:graphicFrameMk id="9" creationId="{8AE3CDF9-505F-FA25-4F18-805471E6B8D9}"/>
          </ac:graphicFrameMkLst>
        </pc:graphicFrameChg>
        <pc:graphicFrameChg chg="del">
          <ac:chgData name="Abdi, Adnan" userId="503e002c-9b3b-4180-87fb-acabeb2b158a" providerId="ADAL" clId="{C8378B56-DEB7-4A2E-AD29-424F54BB66C0}" dt="2024-03-13T08:04:56.462" v="75"/>
          <ac:graphicFrameMkLst>
            <pc:docMk/>
            <pc:sldMk cId="2564153488" sldId="2147483607"/>
            <ac:graphicFrameMk id="16" creationId="{0C65E58C-342F-F01D-6245-645864711EE9}"/>
          </ac:graphicFrameMkLst>
        </pc:graphicFrameChg>
        <pc:graphicFrameChg chg="del">
          <ac:chgData name="Abdi, Adnan" userId="503e002c-9b3b-4180-87fb-acabeb2b158a" providerId="ADAL" clId="{C8378B56-DEB7-4A2E-AD29-424F54BB66C0}" dt="2024-03-13T08:04:57.142" v="583"/>
          <ac:graphicFrameMkLst>
            <pc:docMk/>
            <pc:sldMk cId="2564153488" sldId="2147483607"/>
            <ac:graphicFrameMk id="17" creationId="{5EBDB377-05D5-CC7F-FCB7-F0F406F38408}"/>
          </ac:graphicFrameMkLst>
        </pc:graphicFrameChg>
        <pc:graphicFrameChg chg="add mod replST">
          <ac:chgData name="Abdi, Adnan" userId="503e002c-9b3b-4180-87fb-acabeb2b158a" providerId="ADAL" clId="{C8378B56-DEB7-4A2E-AD29-424F54BB66C0}" dt="2024-03-13T08:04:57.181" v="628"/>
          <ac:graphicFrameMkLst>
            <pc:docMk/>
            <pc:sldMk cId="2564153488" sldId="2147483607"/>
            <ac:graphicFrameMk id="44" creationId="{55DF9713-FA8B-23EE-327A-D9F031E91FF2}"/>
          </ac:graphicFrameMkLst>
        </pc:graphicFrameChg>
        <pc:graphicFrameChg chg="mod">
          <ac:chgData name="Abdi, Adnan" userId="503e002c-9b3b-4180-87fb-acabeb2b158a" providerId="ADAL" clId="{C8378B56-DEB7-4A2E-AD29-424F54BB66C0}" dt="2024-03-13T08:04:57.206" v="655"/>
          <ac:graphicFrameMkLst>
            <pc:docMk/>
            <pc:sldMk cId="2564153488" sldId="2147483607"/>
            <ac:graphicFrameMk id="46" creationId="{1146DD91-9E7D-C4AC-92B3-E70103965632}"/>
          </ac:graphicFrameMkLst>
        </pc:graphicFrameChg>
        <pc:cxnChg chg="mod ord">
          <ac:chgData name="Abdi, Adnan" userId="503e002c-9b3b-4180-87fb-acabeb2b158a" providerId="ADAL" clId="{C8378B56-DEB7-4A2E-AD29-424F54BB66C0}" dt="2024-03-13T08:04:57.170" v="597"/>
          <ac:cxnSpMkLst>
            <pc:docMk/>
            <pc:sldMk cId="2564153488" sldId="2147483607"/>
            <ac:cxnSpMk id="23" creationId="{70B41A9F-7340-FC5D-C40B-FA14321B036B}"/>
          </ac:cxnSpMkLst>
        </pc:cxnChg>
        <pc:cxnChg chg="mod ord">
          <ac:chgData name="Abdi, Adnan" userId="503e002c-9b3b-4180-87fb-acabeb2b158a" providerId="ADAL" clId="{C8378B56-DEB7-4A2E-AD29-424F54BB66C0}" dt="2024-03-13T08:04:57.171" v="599"/>
          <ac:cxnSpMkLst>
            <pc:docMk/>
            <pc:sldMk cId="2564153488" sldId="2147483607"/>
            <ac:cxnSpMk id="24" creationId="{0C914F45-F97C-8E89-92F7-EE28B26854C7}"/>
          </ac:cxnSpMkLst>
        </pc:cxnChg>
        <pc:cxnChg chg="mod ord">
          <ac:chgData name="Abdi, Adnan" userId="503e002c-9b3b-4180-87fb-acabeb2b158a" providerId="ADAL" clId="{C8378B56-DEB7-4A2E-AD29-424F54BB66C0}" dt="2024-03-13T08:04:57.171" v="601"/>
          <ac:cxnSpMkLst>
            <pc:docMk/>
            <pc:sldMk cId="2564153488" sldId="2147483607"/>
            <ac:cxnSpMk id="25" creationId="{95181FE9-6C10-2434-7A8E-26C03123F4A2}"/>
          </ac:cxnSpMkLst>
        </pc:cxnChg>
        <pc:cxnChg chg="mod ord">
          <ac:chgData name="Abdi, Adnan" userId="503e002c-9b3b-4180-87fb-acabeb2b158a" providerId="ADAL" clId="{C8378B56-DEB7-4A2E-AD29-424F54BB66C0}" dt="2024-03-13T08:04:57.188" v="646"/>
          <ac:cxnSpMkLst>
            <pc:docMk/>
            <pc:sldMk cId="2564153488" sldId="2147483607"/>
            <ac:cxnSpMk id="117" creationId="{7B20A710-EB12-88E8-A5D7-A494D6B2B3E3}"/>
          </ac:cxnSpMkLst>
        </pc:cxnChg>
      </pc:sldChg>
      <pc:sldChg chg="addSp delSp modSp mod">
        <pc:chgData name="Abdi, Adnan" userId="503e002c-9b3b-4180-87fb-acabeb2b158a" providerId="ADAL" clId="{C8378B56-DEB7-4A2E-AD29-424F54BB66C0}" dt="2024-03-13T08:11:28.258" v="1221" actId="14100"/>
        <pc:sldMkLst>
          <pc:docMk/>
          <pc:sldMk cId="3264993228" sldId="2147483612"/>
        </pc:sldMkLst>
        <pc:spChg chg="mod ord">
          <ac:chgData name="Abdi, Adnan" userId="503e002c-9b3b-4180-87fb-acabeb2b158a" providerId="ADAL" clId="{C8378B56-DEB7-4A2E-AD29-424F54BB66C0}" dt="2024-03-13T08:05:26.124" v="1025"/>
          <ac:spMkLst>
            <pc:docMk/>
            <pc:sldMk cId="3264993228" sldId="2147483612"/>
            <ac:spMk id="2" creationId="{06AFAE7C-5F6A-B878-93B9-6DE5A9DAA9F7}"/>
          </ac:spMkLst>
        </pc:spChg>
        <pc:spChg chg="mod ord">
          <ac:chgData name="Abdi, Adnan" userId="503e002c-9b3b-4180-87fb-acabeb2b158a" providerId="ADAL" clId="{C8378B56-DEB7-4A2E-AD29-424F54BB66C0}" dt="2024-03-13T08:05:26.125" v="1027"/>
          <ac:spMkLst>
            <pc:docMk/>
            <pc:sldMk cId="3264993228" sldId="2147483612"/>
            <ac:spMk id="3" creationId="{028D4B8F-B27C-53F5-451A-24CA598898DE}"/>
          </ac:spMkLst>
        </pc:spChg>
        <pc:spChg chg="mod ord">
          <ac:chgData name="Abdi, Adnan" userId="503e002c-9b3b-4180-87fb-acabeb2b158a" providerId="ADAL" clId="{C8378B56-DEB7-4A2E-AD29-424F54BB66C0}" dt="2024-03-13T08:05:26.125" v="1029"/>
          <ac:spMkLst>
            <pc:docMk/>
            <pc:sldMk cId="3264993228" sldId="2147483612"/>
            <ac:spMk id="4" creationId="{1A68FC50-AA15-FC69-1AB4-767E70C870EA}"/>
          </ac:spMkLst>
        </pc:spChg>
        <pc:spChg chg="mod ord">
          <ac:chgData name="Abdi, Adnan" userId="503e002c-9b3b-4180-87fb-acabeb2b158a" providerId="ADAL" clId="{C8378B56-DEB7-4A2E-AD29-424F54BB66C0}" dt="2024-03-13T08:05:26.126" v="1031"/>
          <ac:spMkLst>
            <pc:docMk/>
            <pc:sldMk cId="3264993228" sldId="2147483612"/>
            <ac:spMk id="5" creationId="{5F43F86A-EE19-5783-47DD-51DBCADCF320}"/>
          </ac:spMkLst>
        </pc:spChg>
        <pc:spChg chg="mod ord">
          <ac:chgData name="Abdi, Adnan" userId="503e002c-9b3b-4180-87fb-acabeb2b158a" providerId="ADAL" clId="{C8378B56-DEB7-4A2E-AD29-424F54BB66C0}" dt="2024-03-13T08:05:26.127" v="1033"/>
          <ac:spMkLst>
            <pc:docMk/>
            <pc:sldMk cId="3264993228" sldId="2147483612"/>
            <ac:spMk id="6" creationId="{CC2F7FCE-275B-F6E1-966E-D35A5ACECE5B}"/>
          </ac:spMkLst>
        </pc:spChg>
        <pc:spChg chg="mod ord">
          <ac:chgData name="Abdi, Adnan" userId="503e002c-9b3b-4180-87fb-acabeb2b158a" providerId="ADAL" clId="{C8378B56-DEB7-4A2E-AD29-424F54BB66C0}" dt="2024-03-13T08:05:26.192" v="1204"/>
          <ac:spMkLst>
            <pc:docMk/>
            <pc:sldMk cId="3264993228" sldId="2147483612"/>
            <ac:spMk id="7" creationId="{13CAEFBA-2787-3AFF-B8CD-42844596EB12}"/>
          </ac:spMkLst>
        </pc:spChg>
        <pc:spChg chg="add del mod modVis">
          <ac:chgData name="Abdi, Adnan" userId="503e002c-9b3b-4180-87fb-acabeb2b158a" providerId="ADAL" clId="{C8378B56-DEB7-4A2E-AD29-424F54BB66C0}" dt="2024-03-13T08:05:26.194" v="1208"/>
          <ac:spMkLst>
            <pc:docMk/>
            <pc:sldMk cId="3264993228" sldId="2147483612"/>
            <ac:spMk id="59" creationId="{04C53BA5-D993-5396-8155-E4DBF1F19FD0}"/>
          </ac:spMkLst>
        </pc:spChg>
        <pc:spChg chg="mod ord">
          <ac:chgData name="Abdi, Adnan" userId="503e002c-9b3b-4180-87fb-acabeb2b158a" providerId="ADAL" clId="{C8378B56-DEB7-4A2E-AD29-424F54BB66C0}" dt="2024-03-13T08:05:26.184" v="1181"/>
          <ac:spMkLst>
            <pc:docMk/>
            <pc:sldMk cId="3264993228" sldId="2147483612"/>
            <ac:spMk id="74" creationId="{D71A5282-49F3-6764-EA72-C2877F184772}"/>
          </ac:spMkLst>
        </pc:spChg>
        <pc:spChg chg="mod ord">
          <ac:chgData name="Abdi, Adnan" userId="503e002c-9b3b-4180-87fb-acabeb2b158a" providerId="ADAL" clId="{C8378B56-DEB7-4A2E-AD29-424F54BB66C0}" dt="2024-03-13T08:05:26.186" v="1187"/>
          <ac:spMkLst>
            <pc:docMk/>
            <pc:sldMk cId="3264993228" sldId="2147483612"/>
            <ac:spMk id="81" creationId="{E0163D1B-C9FA-D4C6-813D-ACDE33431878}"/>
          </ac:spMkLst>
        </pc:spChg>
        <pc:spChg chg="mod">
          <ac:chgData name="Abdi, Adnan" userId="503e002c-9b3b-4180-87fb-acabeb2b158a" providerId="ADAL" clId="{C8378B56-DEB7-4A2E-AD29-424F54BB66C0}" dt="2024-03-13T08:05:26.187" v="1191"/>
          <ac:spMkLst>
            <pc:docMk/>
            <pc:sldMk cId="3264993228" sldId="2147483612"/>
            <ac:spMk id="82" creationId="{507125FD-ADFF-CC5A-E1C4-C23758A3B673}"/>
          </ac:spMkLst>
        </pc:spChg>
        <pc:spChg chg="mod">
          <ac:chgData name="Abdi, Adnan" userId="503e002c-9b3b-4180-87fb-acabeb2b158a" providerId="ADAL" clId="{C8378B56-DEB7-4A2E-AD29-424F54BB66C0}" dt="2024-03-13T08:05:26.188" v="1192"/>
          <ac:spMkLst>
            <pc:docMk/>
            <pc:sldMk cId="3264993228" sldId="2147483612"/>
            <ac:spMk id="83" creationId="{AFE18B81-E7A2-F65D-4913-C241B16E5C2C}"/>
          </ac:spMkLst>
        </pc:spChg>
        <pc:spChg chg="mod ord">
          <ac:chgData name="Abdi, Adnan" userId="503e002c-9b3b-4180-87fb-acabeb2b158a" providerId="ADAL" clId="{C8378B56-DEB7-4A2E-AD29-424F54BB66C0}" dt="2024-03-13T08:05:26.187" v="1189"/>
          <ac:spMkLst>
            <pc:docMk/>
            <pc:sldMk cId="3264993228" sldId="2147483612"/>
            <ac:spMk id="84" creationId="{B4B8ED13-3E08-0B69-0A42-D28F6B38D589}"/>
          </ac:spMkLst>
        </pc:spChg>
        <pc:spChg chg="mod">
          <ac:chgData name="Abdi, Adnan" userId="503e002c-9b3b-4180-87fb-acabeb2b158a" providerId="ADAL" clId="{C8378B56-DEB7-4A2E-AD29-424F54BB66C0}" dt="2024-03-13T08:05:26.188" v="1193"/>
          <ac:spMkLst>
            <pc:docMk/>
            <pc:sldMk cId="3264993228" sldId="2147483612"/>
            <ac:spMk id="85" creationId="{54CCB771-87E0-45D8-D4E2-6C47927639D1}"/>
          </ac:spMkLst>
        </pc:spChg>
        <pc:spChg chg="mod">
          <ac:chgData name="Abdi, Adnan" userId="503e002c-9b3b-4180-87fb-acabeb2b158a" providerId="ADAL" clId="{C8378B56-DEB7-4A2E-AD29-424F54BB66C0}" dt="2024-03-13T08:05:26.171" v="1145"/>
          <ac:spMkLst>
            <pc:docMk/>
            <pc:sldMk cId="3264993228" sldId="2147483612"/>
            <ac:spMk id="86" creationId="{EC7EAB62-937D-3E11-49E5-4416F4CA9BE4}"/>
          </ac:spMkLst>
        </pc:spChg>
        <pc:spChg chg="mod ord">
          <ac:chgData name="Abdi, Adnan" userId="503e002c-9b3b-4180-87fb-acabeb2b158a" providerId="ADAL" clId="{C8378B56-DEB7-4A2E-AD29-424F54BB66C0}" dt="2024-03-13T08:05:26.172" v="1149"/>
          <ac:spMkLst>
            <pc:docMk/>
            <pc:sldMk cId="3264993228" sldId="2147483612"/>
            <ac:spMk id="87" creationId="{7E4A1DFC-1AFA-AE61-AACC-53DA0ABCD7ED}"/>
          </ac:spMkLst>
        </pc:spChg>
        <pc:spChg chg="mod ord">
          <ac:chgData name="Abdi, Adnan" userId="503e002c-9b3b-4180-87fb-acabeb2b158a" providerId="ADAL" clId="{C8378B56-DEB7-4A2E-AD29-424F54BB66C0}" dt="2024-03-13T08:05:26.173" v="1152"/>
          <ac:spMkLst>
            <pc:docMk/>
            <pc:sldMk cId="3264993228" sldId="2147483612"/>
            <ac:spMk id="88" creationId="{ABEBB86A-0412-3CD5-2BD5-EE33B716C446}"/>
          </ac:spMkLst>
        </pc:spChg>
        <pc:spChg chg="mod">
          <ac:chgData name="Abdi, Adnan" userId="503e002c-9b3b-4180-87fb-acabeb2b158a" providerId="ADAL" clId="{C8378B56-DEB7-4A2E-AD29-424F54BB66C0}" dt="2024-03-13T08:05:26.174" v="1153"/>
          <ac:spMkLst>
            <pc:docMk/>
            <pc:sldMk cId="3264993228" sldId="2147483612"/>
            <ac:spMk id="89" creationId="{6089D362-4ACA-85EF-322C-843A138C53C7}"/>
          </ac:spMkLst>
        </pc:spChg>
        <pc:spChg chg="mod ord">
          <ac:chgData name="Abdi, Adnan" userId="503e002c-9b3b-4180-87fb-acabeb2b158a" providerId="ADAL" clId="{C8378B56-DEB7-4A2E-AD29-424F54BB66C0}" dt="2024-03-13T08:05:26.180" v="1171"/>
          <ac:spMkLst>
            <pc:docMk/>
            <pc:sldMk cId="3264993228" sldId="2147483612"/>
            <ac:spMk id="90" creationId="{1F8B30C0-5318-F145-2877-44CB344E4F8E}"/>
          </ac:spMkLst>
        </pc:spChg>
        <pc:spChg chg="mod">
          <ac:chgData name="Abdi, Adnan" userId="503e002c-9b3b-4180-87fb-acabeb2b158a" providerId="ADAL" clId="{C8378B56-DEB7-4A2E-AD29-424F54BB66C0}" dt="2024-03-13T08:05:26.173" v="1150"/>
          <ac:spMkLst>
            <pc:docMk/>
            <pc:sldMk cId="3264993228" sldId="2147483612"/>
            <ac:spMk id="91" creationId="{9B303F20-AB14-267E-4385-54511A5E4EFF}"/>
          </ac:spMkLst>
        </pc:spChg>
        <pc:spChg chg="mod ord">
          <ac:chgData name="Abdi, Adnan" userId="503e002c-9b3b-4180-87fb-acabeb2b158a" providerId="ADAL" clId="{C8378B56-DEB7-4A2E-AD29-424F54BB66C0}" dt="2024-03-13T08:05:26.175" v="1155"/>
          <ac:spMkLst>
            <pc:docMk/>
            <pc:sldMk cId="3264993228" sldId="2147483612"/>
            <ac:spMk id="92" creationId="{4A616973-1823-FC50-CCAD-610D0C5C8D9B}"/>
          </ac:spMkLst>
        </pc:spChg>
        <pc:spChg chg="mod ord">
          <ac:chgData name="Abdi, Adnan" userId="503e002c-9b3b-4180-87fb-acabeb2b158a" providerId="ADAL" clId="{C8378B56-DEB7-4A2E-AD29-424F54BB66C0}" dt="2024-03-13T08:05:26.176" v="1160"/>
          <ac:spMkLst>
            <pc:docMk/>
            <pc:sldMk cId="3264993228" sldId="2147483612"/>
            <ac:spMk id="93" creationId="{29E4B7E5-FECA-D3FA-CA2F-AA707877C42C}"/>
          </ac:spMkLst>
        </pc:spChg>
        <pc:spChg chg="mod">
          <ac:chgData name="Abdi, Adnan" userId="503e002c-9b3b-4180-87fb-acabeb2b158a" providerId="ADAL" clId="{C8378B56-DEB7-4A2E-AD29-424F54BB66C0}" dt="2024-03-13T08:05:26.177" v="1161"/>
          <ac:spMkLst>
            <pc:docMk/>
            <pc:sldMk cId="3264993228" sldId="2147483612"/>
            <ac:spMk id="94" creationId="{C2990678-E11F-4B33-CC12-C1CB25F727D0}"/>
          </ac:spMkLst>
        </pc:spChg>
        <pc:spChg chg="mod ord">
          <ac:chgData name="Abdi, Adnan" userId="503e002c-9b3b-4180-87fb-acabeb2b158a" providerId="ADAL" clId="{C8378B56-DEB7-4A2E-AD29-424F54BB66C0}" dt="2024-03-13T08:05:26.182" v="1177"/>
          <ac:spMkLst>
            <pc:docMk/>
            <pc:sldMk cId="3264993228" sldId="2147483612"/>
            <ac:spMk id="95" creationId="{DE2F9691-C8CA-57E7-C586-64654FE2347E}"/>
          </ac:spMkLst>
        </pc:spChg>
        <pc:spChg chg="mod">
          <ac:chgData name="Abdi, Adnan" userId="503e002c-9b3b-4180-87fb-acabeb2b158a" providerId="ADAL" clId="{C8378B56-DEB7-4A2E-AD29-424F54BB66C0}" dt="2024-03-13T08:05:26.181" v="1172"/>
          <ac:spMkLst>
            <pc:docMk/>
            <pc:sldMk cId="3264993228" sldId="2147483612"/>
            <ac:spMk id="96" creationId="{E9E385A3-6731-674A-C0FC-8164870F1C38}"/>
          </ac:spMkLst>
        </pc:spChg>
        <pc:spChg chg="mod ord">
          <ac:chgData name="Abdi, Adnan" userId="503e002c-9b3b-4180-87fb-acabeb2b158a" providerId="ADAL" clId="{C8378B56-DEB7-4A2E-AD29-424F54BB66C0}" dt="2024-03-13T08:05:26.170" v="1144"/>
          <ac:spMkLst>
            <pc:docMk/>
            <pc:sldMk cId="3264993228" sldId="2147483612"/>
            <ac:spMk id="97" creationId="{0BC40D6A-F5DC-7C6F-B58A-4993CAC64FD2}"/>
          </ac:spMkLst>
        </pc:spChg>
        <pc:spChg chg="mod ord">
          <ac:chgData name="Abdi, Adnan" userId="503e002c-9b3b-4180-87fb-acabeb2b158a" providerId="ADAL" clId="{C8378B56-DEB7-4A2E-AD29-424F54BB66C0}" dt="2024-03-13T08:05:26.185" v="1183"/>
          <ac:spMkLst>
            <pc:docMk/>
            <pc:sldMk cId="3264993228" sldId="2147483612"/>
            <ac:spMk id="98" creationId="{E75C7AF5-3D91-E4FC-7A99-D1E17C59A47B}"/>
          </ac:spMkLst>
        </pc:spChg>
        <pc:spChg chg="mod">
          <ac:chgData name="Abdi, Adnan" userId="503e002c-9b3b-4180-87fb-acabeb2b158a" providerId="ADAL" clId="{C8378B56-DEB7-4A2E-AD29-424F54BB66C0}" dt="2024-03-13T08:05:26.179" v="1168"/>
          <ac:spMkLst>
            <pc:docMk/>
            <pc:sldMk cId="3264993228" sldId="2147483612"/>
            <ac:spMk id="99" creationId="{118504DE-492B-DDB6-6D40-9648EE176136}"/>
          </ac:spMkLst>
        </pc:spChg>
        <pc:spChg chg="mod">
          <ac:chgData name="Abdi, Adnan" userId="503e002c-9b3b-4180-87fb-acabeb2b158a" providerId="ADAL" clId="{C8378B56-DEB7-4A2E-AD29-424F54BB66C0}" dt="2024-03-13T08:05:26.175" v="1156"/>
          <ac:spMkLst>
            <pc:docMk/>
            <pc:sldMk cId="3264993228" sldId="2147483612"/>
            <ac:spMk id="110" creationId="{5CEB2C8C-C89F-C1FC-1A3D-A48B69815BB1}"/>
          </ac:spMkLst>
        </pc:spChg>
        <pc:spChg chg="mod ord">
          <ac:chgData name="Abdi, Adnan" userId="503e002c-9b3b-4180-87fb-acabeb2b158a" providerId="ADAL" clId="{C8378B56-DEB7-4A2E-AD29-424F54BB66C0}" dt="2024-03-13T08:05:26.176" v="1158"/>
          <ac:spMkLst>
            <pc:docMk/>
            <pc:sldMk cId="3264993228" sldId="2147483612"/>
            <ac:spMk id="113" creationId="{9C6FEE6F-91DA-C985-FBE8-19CDF3502CA5}"/>
          </ac:spMkLst>
        </pc:spChg>
        <pc:spChg chg="mod">
          <ac:chgData name="Abdi, Adnan" userId="503e002c-9b3b-4180-87fb-acabeb2b158a" providerId="ADAL" clId="{C8378B56-DEB7-4A2E-AD29-424F54BB66C0}" dt="2024-03-13T08:05:26.180" v="1169"/>
          <ac:spMkLst>
            <pc:docMk/>
            <pc:sldMk cId="3264993228" sldId="2147483612"/>
            <ac:spMk id="114" creationId="{59D227CC-4EC7-86E2-2687-3A8018192320}"/>
          </ac:spMkLst>
        </pc:spChg>
        <pc:spChg chg="mod ord">
          <ac:chgData name="Abdi, Adnan" userId="503e002c-9b3b-4180-87fb-acabeb2b158a" providerId="ADAL" clId="{C8378B56-DEB7-4A2E-AD29-424F54BB66C0}" dt="2024-03-13T08:05:26.179" v="1167"/>
          <ac:spMkLst>
            <pc:docMk/>
            <pc:sldMk cId="3264993228" sldId="2147483612"/>
            <ac:spMk id="115" creationId="{C700AA40-7F42-2ADF-363B-BC79AF8D3E07}"/>
          </ac:spMkLst>
        </pc:spChg>
        <pc:spChg chg="mod">
          <ac:chgData name="Abdi, Adnan" userId="503e002c-9b3b-4180-87fb-acabeb2b158a" providerId="ADAL" clId="{C8378B56-DEB7-4A2E-AD29-424F54BB66C0}" dt="2024-03-13T08:05:26.182" v="1175"/>
          <ac:spMkLst>
            <pc:docMk/>
            <pc:sldMk cId="3264993228" sldId="2147483612"/>
            <ac:spMk id="117" creationId="{C3A50482-98EC-FD1A-1B25-6F7CE1421A70}"/>
          </ac:spMkLst>
        </pc:spChg>
        <pc:spChg chg="mod ord">
          <ac:chgData name="Abdi, Adnan" userId="503e002c-9b3b-4180-87fb-acabeb2b158a" providerId="ADAL" clId="{C8378B56-DEB7-4A2E-AD29-424F54BB66C0}" dt="2024-03-13T08:05:26.172" v="1147"/>
          <ac:spMkLst>
            <pc:docMk/>
            <pc:sldMk cId="3264993228" sldId="2147483612"/>
            <ac:spMk id="118" creationId="{055340C3-B0BD-D375-8267-A580647F1211}"/>
          </ac:spMkLst>
        </pc:spChg>
        <pc:spChg chg="mod">
          <ac:chgData name="Abdi, Adnan" userId="503e002c-9b3b-4180-87fb-acabeb2b158a" providerId="ADAL" clId="{C8378B56-DEB7-4A2E-AD29-424F54BB66C0}" dt="2024-03-13T08:05:26.183" v="1178"/>
          <ac:spMkLst>
            <pc:docMk/>
            <pc:sldMk cId="3264993228" sldId="2147483612"/>
            <ac:spMk id="119" creationId="{D2ABD258-FEDA-94F7-AA1F-4925B495117C}"/>
          </ac:spMkLst>
        </pc:spChg>
        <pc:spChg chg="mod">
          <ac:chgData name="Abdi, Adnan" userId="503e002c-9b3b-4180-87fb-acabeb2b158a" providerId="ADAL" clId="{C8378B56-DEB7-4A2E-AD29-424F54BB66C0}" dt="2024-03-13T08:05:26.177" v="1162"/>
          <ac:spMkLst>
            <pc:docMk/>
            <pc:sldMk cId="3264993228" sldId="2147483612"/>
            <ac:spMk id="120" creationId="{E7FB1C86-891D-6859-417F-B38A1BC2EE84}"/>
          </ac:spMkLst>
        </pc:spChg>
        <pc:spChg chg="mod">
          <ac:chgData name="Abdi, Adnan" userId="503e002c-9b3b-4180-87fb-acabeb2b158a" providerId="ADAL" clId="{C8378B56-DEB7-4A2E-AD29-424F54BB66C0}" dt="2024-03-13T08:05:26.190" v="1197"/>
          <ac:spMkLst>
            <pc:docMk/>
            <pc:sldMk cId="3264993228" sldId="2147483612"/>
            <ac:spMk id="121" creationId="{DE2B9B86-4C9A-DE4E-7AEF-46F79FEE04E6}"/>
          </ac:spMkLst>
        </pc:spChg>
        <pc:spChg chg="mod ord">
          <ac:chgData name="Abdi, Adnan" userId="503e002c-9b3b-4180-87fb-acabeb2b158a" providerId="ADAL" clId="{C8378B56-DEB7-4A2E-AD29-424F54BB66C0}" dt="2024-03-13T08:05:26.178" v="1164"/>
          <ac:spMkLst>
            <pc:docMk/>
            <pc:sldMk cId="3264993228" sldId="2147483612"/>
            <ac:spMk id="122" creationId="{501E721F-2C1F-A5D8-35EF-70633179749E}"/>
          </ac:spMkLst>
        </pc:spChg>
        <pc:spChg chg="mod ord">
          <ac:chgData name="Abdi, Adnan" userId="503e002c-9b3b-4180-87fb-acabeb2b158a" providerId="ADAL" clId="{C8378B56-DEB7-4A2E-AD29-424F54BB66C0}" dt="2024-03-13T08:05:26.181" v="1174"/>
          <ac:spMkLst>
            <pc:docMk/>
            <pc:sldMk cId="3264993228" sldId="2147483612"/>
            <ac:spMk id="123" creationId="{19E8D635-381D-1681-4B0C-FCD896AE3742}"/>
          </ac:spMkLst>
        </pc:spChg>
        <pc:spChg chg="mod">
          <ac:chgData name="Abdi, Adnan" userId="503e002c-9b3b-4180-87fb-acabeb2b158a" providerId="ADAL" clId="{C8378B56-DEB7-4A2E-AD29-424F54BB66C0}" dt="2024-03-13T08:05:26.187" v="1190"/>
          <ac:spMkLst>
            <pc:docMk/>
            <pc:sldMk cId="3264993228" sldId="2147483612"/>
            <ac:spMk id="124" creationId="{E40D43E1-166E-AFE3-64C0-CAE5E4C75659}"/>
          </ac:spMkLst>
        </pc:spChg>
        <pc:spChg chg="mod">
          <ac:chgData name="Abdi, Adnan" userId="503e002c-9b3b-4180-87fb-acabeb2b158a" providerId="ADAL" clId="{C8378B56-DEB7-4A2E-AD29-424F54BB66C0}" dt="2024-03-13T08:05:26.183" v="1179"/>
          <ac:spMkLst>
            <pc:docMk/>
            <pc:sldMk cId="3264993228" sldId="2147483612"/>
            <ac:spMk id="125" creationId="{185F15C4-4260-29DB-91DB-F79B686A726C}"/>
          </ac:spMkLst>
        </pc:spChg>
        <pc:spChg chg="mod ord">
          <ac:chgData name="Abdi, Adnan" userId="503e002c-9b3b-4180-87fb-acabeb2b158a" providerId="ADAL" clId="{C8378B56-DEB7-4A2E-AD29-424F54BB66C0}" dt="2024-03-13T08:05:26.185" v="1185"/>
          <ac:spMkLst>
            <pc:docMk/>
            <pc:sldMk cId="3264993228" sldId="2147483612"/>
            <ac:spMk id="126" creationId="{E0B7402E-676B-2F43-74BE-9E83AF213B36}"/>
          </ac:spMkLst>
        </pc:spChg>
        <pc:spChg chg="mod">
          <ac:chgData name="Abdi, Adnan" userId="503e002c-9b3b-4180-87fb-acabeb2b158a" providerId="ADAL" clId="{C8378B56-DEB7-4A2E-AD29-424F54BB66C0}" dt="2024-03-13T08:05:26.189" v="1194"/>
          <ac:spMkLst>
            <pc:docMk/>
            <pc:sldMk cId="3264993228" sldId="2147483612"/>
            <ac:spMk id="151" creationId="{9B9E6101-D212-03D3-571C-E5AC64661FDE}"/>
          </ac:spMkLst>
        </pc:spChg>
        <pc:spChg chg="mod">
          <ac:chgData name="Abdi, Adnan" userId="503e002c-9b3b-4180-87fb-acabeb2b158a" providerId="ADAL" clId="{C8378B56-DEB7-4A2E-AD29-424F54BB66C0}" dt="2024-03-13T08:05:26.189" v="1195"/>
          <ac:spMkLst>
            <pc:docMk/>
            <pc:sldMk cId="3264993228" sldId="2147483612"/>
            <ac:spMk id="152" creationId="{16F4A0E5-CCC4-4BF5-60DD-C10945B3E3A8}"/>
          </ac:spMkLst>
        </pc:spChg>
        <pc:spChg chg="mod">
          <ac:chgData name="Abdi, Adnan" userId="503e002c-9b3b-4180-87fb-acabeb2b158a" providerId="ADAL" clId="{C8378B56-DEB7-4A2E-AD29-424F54BB66C0}" dt="2024-03-13T08:05:26.189" v="1196"/>
          <ac:spMkLst>
            <pc:docMk/>
            <pc:sldMk cId="3264993228" sldId="2147483612"/>
            <ac:spMk id="153" creationId="{A13A7F6E-4FEA-CC0B-94FE-02F163A6E7B0}"/>
          </ac:spMkLst>
        </pc:spChg>
        <pc:spChg chg="mod">
          <ac:chgData name="Abdi, Adnan" userId="503e002c-9b3b-4180-87fb-acabeb2b158a" providerId="ADAL" clId="{C8378B56-DEB7-4A2E-AD29-424F54BB66C0}" dt="2024-03-13T08:05:26.178" v="1165"/>
          <ac:spMkLst>
            <pc:docMk/>
            <pc:sldMk cId="3264993228" sldId="2147483612"/>
            <ac:spMk id="160" creationId="{16EF51DD-7098-48EE-B026-42CA8A745259}"/>
          </ac:spMkLst>
        </pc:spChg>
        <pc:spChg chg="mod ord">
          <ac:chgData name="Abdi, Adnan" userId="503e002c-9b3b-4180-87fb-acabeb2b158a" providerId="ADAL" clId="{C8378B56-DEB7-4A2E-AD29-424F54BB66C0}" dt="2024-03-13T08:05:26.190" v="1199"/>
          <ac:spMkLst>
            <pc:docMk/>
            <pc:sldMk cId="3264993228" sldId="2147483612"/>
            <ac:spMk id="187" creationId="{85E730FD-E453-68E3-722F-CCAAEAB0AEED}"/>
          </ac:spMkLst>
        </pc:spChg>
        <pc:spChg chg="mod">
          <ac:chgData name="Abdi, Adnan" userId="503e002c-9b3b-4180-87fb-acabeb2b158a" providerId="ADAL" clId="{C8378B56-DEB7-4A2E-AD29-424F54BB66C0}" dt="2024-03-13T08:11:28.258" v="1221" actId="14100"/>
          <ac:spMkLst>
            <pc:docMk/>
            <pc:sldMk cId="3264993228" sldId="2147483612"/>
            <ac:spMk id="244" creationId="{1D74A072-9F09-2A0D-7DB0-06E199DC2306}"/>
          </ac:spMkLst>
        </pc:spChg>
        <pc:spChg chg="mod">
          <ac:chgData name="Abdi, Adnan" userId="503e002c-9b3b-4180-87fb-acabeb2b158a" providerId="ADAL" clId="{C8378B56-DEB7-4A2E-AD29-424F54BB66C0}" dt="2024-03-13T08:05:26.192" v="1202"/>
          <ac:spMkLst>
            <pc:docMk/>
            <pc:sldMk cId="3264993228" sldId="2147483612"/>
            <ac:spMk id="245" creationId="{0E871521-D876-97AE-880B-04E53B46C4C4}"/>
          </ac:spMkLst>
        </pc:spChg>
        <pc:grpChg chg="mod">
          <ac:chgData name="Abdi, Adnan" userId="503e002c-9b3b-4180-87fb-acabeb2b158a" providerId="ADAL" clId="{C8378B56-DEB7-4A2E-AD29-424F54BB66C0}" dt="2024-03-13T08:05:26.191" v="1200"/>
          <ac:grpSpMkLst>
            <pc:docMk/>
            <pc:sldMk cId="3264993228" sldId="2147483612"/>
            <ac:grpSpMk id="215" creationId="{A7DDEF73-46C6-4455-411B-DC2649E31C04}"/>
          </ac:grpSpMkLst>
        </pc:grpChg>
        <pc:graphicFrameChg chg="mod">
          <ac:chgData name="Abdi, Adnan" userId="503e002c-9b3b-4180-87fb-acabeb2b158a" providerId="ADAL" clId="{C8378B56-DEB7-4A2E-AD29-424F54BB66C0}" dt="2024-03-13T08:05:26.205" v="1210"/>
          <ac:graphicFrameMkLst>
            <pc:docMk/>
            <pc:sldMk cId="3264993228" sldId="2147483612"/>
            <ac:graphicFrameMk id="18" creationId="{B1F93F93-8617-34BA-4FE5-87FF8058C959}"/>
          </ac:graphicFrameMkLst>
        </pc:graphicFrameChg>
        <pc:graphicFrameChg chg="del">
          <ac:chgData name="Abdi, Adnan" userId="503e002c-9b3b-4180-87fb-acabeb2b158a" providerId="ADAL" clId="{C8378B56-DEB7-4A2E-AD29-424F54BB66C0}" dt="2024-03-13T08:05:26.100" v="1017"/>
          <ac:graphicFrameMkLst>
            <pc:docMk/>
            <pc:sldMk cId="3264993228" sldId="2147483612"/>
            <ac:graphicFrameMk id="60" creationId="{2E3ADE62-699D-8D97-A101-8E45E17EE87A}"/>
          </ac:graphicFrameMkLst>
        </pc:graphicFrameChg>
        <pc:graphicFrameChg chg="add mod replST">
          <ac:chgData name="Abdi, Adnan" userId="503e002c-9b3b-4180-87fb-acabeb2b158a" providerId="ADAL" clId="{C8378B56-DEB7-4A2E-AD29-424F54BB66C0}" dt="2024-03-13T08:05:26.127" v="1034"/>
          <ac:graphicFrameMkLst>
            <pc:docMk/>
            <pc:sldMk cId="3264993228" sldId="2147483612"/>
            <ac:graphicFrameMk id="61" creationId="{3A2E8A2D-EE1E-F2BA-19B0-DA6F73EFCEC2}"/>
          </ac:graphicFrameMkLst>
        </pc:graphicFrameChg>
        <pc:cxnChg chg="mod ord">
          <ac:chgData name="Abdi, Adnan" userId="503e002c-9b3b-4180-87fb-acabeb2b158a" providerId="ADAL" clId="{C8378B56-DEB7-4A2E-AD29-424F54BB66C0}" dt="2024-03-13T08:05:26.128" v="1036"/>
          <ac:cxnSpMkLst>
            <pc:docMk/>
            <pc:sldMk cId="3264993228" sldId="2147483612"/>
            <ac:cxnSpMk id="8" creationId="{CB101BB2-1DD9-D2E7-DE9E-243AA1C490F6}"/>
          </ac:cxnSpMkLst>
        </pc:cxnChg>
        <pc:cxnChg chg="mod ord">
          <ac:chgData name="Abdi, Adnan" userId="503e002c-9b3b-4180-87fb-acabeb2b158a" providerId="ADAL" clId="{C8378B56-DEB7-4A2E-AD29-424F54BB66C0}" dt="2024-03-13T08:05:26.129" v="1038"/>
          <ac:cxnSpMkLst>
            <pc:docMk/>
            <pc:sldMk cId="3264993228" sldId="2147483612"/>
            <ac:cxnSpMk id="9" creationId="{DC916649-BE79-0916-997C-1E9A9C67FFBD}"/>
          </ac:cxnSpMkLst>
        </pc:cxnChg>
        <pc:cxnChg chg="mod ord">
          <ac:chgData name="Abdi, Adnan" userId="503e002c-9b3b-4180-87fb-acabeb2b158a" providerId="ADAL" clId="{C8378B56-DEB7-4A2E-AD29-424F54BB66C0}" dt="2024-03-13T08:05:26.129" v="1040"/>
          <ac:cxnSpMkLst>
            <pc:docMk/>
            <pc:sldMk cId="3264993228" sldId="2147483612"/>
            <ac:cxnSpMk id="10" creationId="{DE1668FF-B385-E8D0-7E4F-845E9BA2B386}"/>
          </ac:cxnSpMkLst>
        </pc:cxnChg>
        <pc:cxnChg chg="mod ord">
          <ac:chgData name="Abdi, Adnan" userId="503e002c-9b3b-4180-87fb-acabeb2b158a" providerId="ADAL" clId="{C8378B56-DEB7-4A2E-AD29-424F54BB66C0}" dt="2024-03-13T08:05:26.130" v="1042"/>
          <ac:cxnSpMkLst>
            <pc:docMk/>
            <pc:sldMk cId="3264993228" sldId="2147483612"/>
            <ac:cxnSpMk id="11" creationId="{34D7FB03-B29D-2854-22C8-8E82FCB53072}"/>
          </ac:cxnSpMkLst>
        </pc:cxnChg>
        <pc:cxnChg chg="mod ord">
          <ac:chgData name="Abdi, Adnan" userId="503e002c-9b3b-4180-87fb-acabeb2b158a" providerId="ADAL" clId="{C8378B56-DEB7-4A2E-AD29-424F54BB66C0}" dt="2024-03-13T08:05:26.132" v="1048"/>
          <ac:cxnSpMkLst>
            <pc:docMk/>
            <pc:sldMk cId="3264993228" sldId="2147483612"/>
            <ac:cxnSpMk id="12" creationId="{56B21ECE-5BFF-2624-A9D3-7DCC8628FB67}"/>
          </ac:cxnSpMkLst>
        </pc:cxnChg>
        <pc:cxnChg chg="mod ord">
          <ac:chgData name="Abdi, Adnan" userId="503e002c-9b3b-4180-87fb-acabeb2b158a" providerId="ADAL" clId="{C8378B56-DEB7-4A2E-AD29-424F54BB66C0}" dt="2024-03-13T08:05:26.131" v="1046"/>
          <ac:cxnSpMkLst>
            <pc:docMk/>
            <pc:sldMk cId="3264993228" sldId="2147483612"/>
            <ac:cxnSpMk id="13" creationId="{C4AA725F-B581-5FF3-E09C-E2367C21EFE6}"/>
          </ac:cxnSpMkLst>
        </pc:cxnChg>
        <pc:cxnChg chg="mod ord">
          <ac:chgData name="Abdi, Adnan" userId="503e002c-9b3b-4180-87fb-acabeb2b158a" providerId="ADAL" clId="{C8378B56-DEB7-4A2E-AD29-424F54BB66C0}" dt="2024-03-13T08:05:26.130" v="1044"/>
          <ac:cxnSpMkLst>
            <pc:docMk/>
            <pc:sldMk cId="3264993228" sldId="2147483612"/>
            <ac:cxnSpMk id="14" creationId="{4E005F48-A73C-B787-B7E2-A1B31CF5C47F}"/>
          </ac:cxnSpMkLst>
        </pc:cxnChg>
        <pc:cxnChg chg="mod ord">
          <ac:chgData name="Abdi, Adnan" userId="503e002c-9b3b-4180-87fb-acabeb2b158a" providerId="ADAL" clId="{C8378B56-DEB7-4A2E-AD29-424F54BB66C0}" dt="2024-03-13T08:05:26.132" v="1050"/>
          <ac:cxnSpMkLst>
            <pc:docMk/>
            <pc:sldMk cId="3264993228" sldId="2147483612"/>
            <ac:cxnSpMk id="15" creationId="{78325BB2-9DB9-F93B-F781-E35910F73BE5}"/>
          </ac:cxnSpMkLst>
        </pc:cxnChg>
        <pc:cxnChg chg="mod ord">
          <ac:chgData name="Abdi, Adnan" userId="503e002c-9b3b-4180-87fb-acabeb2b158a" providerId="ADAL" clId="{C8378B56-DEB7-4A2E-AD29-424F54BB66C0}" dt="2024-03-13T08:05:26.133" v="1052"/>
          <ac:cxnSpMkLst>
            <pc:docMk/>
            <pc:sldMk cId="3264993228" sldId="2147483612"/>
            <ac:cxnSpMk id="16" creationId="{780C3784-D567-1669-06AF-CC26B2FBF6D1}"/>
          </ac:cxnSpMkLst>
        </pc:cxnChg>
        <pc:cxnChg chg="mod ord">
          <ac:chgData name="Abdi, Adnan" userId="503e002c-9b3b-4180-87fb-acabeb2b158a" providerId="ADAL" clId="{C8378B56-DEB7-4A2E-AD29-424F54BB66C0}" dt="2024-03-13T08:05:26.133" v="1054"/>
          <ac:cxnSpMkLst>
            <pc:docMk/>
            <pc:sldMk cId="3264993228" sldId="2147483612"/>
            <ac:cxnSpMk id="17" creationId="{F42EDAA8-1DEE-E253-43EB-17A816D3BB83}"/>
          </ac:cxnSpMkLst>
        </pc:cxnChg>
        <pc:cxnChg chg="mod ord">
          <ac:chgData name="Abdi, Adnan" userId="503e002c-9b3b-4180-87fb-acabeb2b158a" providerId="ADAL" clId="{C8378B56-DEB7-4A2E-AD29-424F54BB66C0}" dt="2024-03-13T08:05:26.135" v="1058"/>
          <ac:cxnSpMkLst>
            <pc:docMk/>
            <pc:sldMk cId="3264993228" sldId="2147483612"/>
            <ac:cxnSpMk id="19" creationId="{5987A039-FD10-ADE1-6010-CE5A53B7F21D}"/>
          </ac:cxnSpMkLst>
        </pc:cxnChg>
        <pc:cxnChg chg="mod ord">
          <ac:chgData name="Abdi, Adnan" userId="503e002c-9b3b-4180-87fb-acabeb2b158a" providerId="ADAL" clId="{C8378B56-DEB7-4A2E-AD29-424F54BB66C0}" dt="2024-03-13T08:05:26.135" v="1060"/>
          <ac:cxnSpMkLst>
            <pc:docMk/>
            <pc:sldMk cId="3264993228" sldId="2147483612"/>
            <ac:cxnSpMk id="20" creationId="{08171B52-CE2F-90AE-71FC-7745EDB3D03B}"/>
          </ac:cxnSpMkLst>
        </pc:cxnChg>
        <pc:cxnChg chg="mod ord">
          <ac:chgData name="Abdi, Adnan" userId="503e002c-9b3b-4180-87fb-acabeb2b158a" providerId="ADAL" clId="{C8378B56-DEB7-4A2E-AD29-424F54BB66C0}" dt="2024-03-13T08:05:26.134" v="1056"/>
          <ac:cxnSpMkLst>
            <pc:docMk/>
            <pc:sldMk cId="3264993228" sldId="2147483612"/>
            <ac:cxnSpMk id="21" creationId="{834471C1-79BA-6428-5B6A-87DAF5335028}"/>
          </ac:cxnSpMkLst>
        </pc:cxnChg>
        <pc:cxnChg chg="mod ord">
          <ac:chgData name="Abdi, Adnan" userId="503e002c-9b3b-4180-87fb-acabeb2b158a" providerId="ADAL" clId="{C8378B56-DEB7-4A2E-AD29-424F54BB66C0}" dt="2024-03-13T08:05:26.136" v="1064"/>
          <ac:cxnSpMkLst>
            <pc:docMk/>
            <pc:sldMk cId="3264993228" sldId="2147483612"/>
            <ac:cxnSpMk id="22" creationId="{B45D840F-D4F0-AC55-9F76-A10417065DAD}"/>
          </ac:cxnSpMkLst>
        </pc:cxnChg>
        <pc:cxnChg chg="mod ord">
          <ac:chgData name="Abdi, Adnan" userId="503e002c-9b3b-4180-87fb-acabeb2b158a" providerId="ADAL" clId="{C8378B56-DEB7-4A2E-AD29-424F54BB66C0}" dt="2024-03-13T08:05:26.137" v="1066"/>
          <ac:cxnSpMkLst>
            <pc:docMk/>
            <pc:sldMk cId="3264993228" sldId="2147483612"/>
            <ac:cxnSpMk id="23" creationId="{10CCA6FF-CF9B-CFF3-B03A-5F7879539A31}"/>
          </ac:cxnSpMkLst>
        </pc:cxnChg>
        <pc:cxnChg chg="mod ord">
          <ac:chgData name="Abdi, Adnan" userId="503e002c-9b3b-4180-87fb-acabeb2b158a" providerId="ADAL" clId="{C8378B56-DEB7-4A2E-AD29-424F54BB66C0}" dt="2024-03-13T08:05:26.136" v="1062"/>
          <ac:cxnSpMkLst>
            <pc:docMk/>
            <pc:sldMk cId="3264993228" sldId="2147483612"/>
            <ac:cxnSpMk id="24" creationId="{DBBB8302-2E6B-B9F5-4BEE-A358C422D8B9}"/>
          </ac:cxnSpMkLst>
        </pc:cxnChg>
        <pc:cxnChg chg="mod ord">
          <ac:chgData name="Abdi, Adnan" userId="503e002c-9b3b-4180-87fb-acabeb2b158a" providerId="ADAL" clId="{C8378B56-DEB7-4A2E-AD29-424F54BB66C0}" dt="2024-03-13T08:05:26.138" v="1068"/>
          <ac:cxnSpMkLst>
            <pc:docMk/>
            <pc:sldMk cId="3264993228" sldId="2147483612"/>
            <ac:cxnSpMk id="25" creationId="{C16ED6B2-6200-BE92-1C61-7C064385A6DB}"/>
          </ac:cxnSpMkLst>
        </pc:cxnChg>
        <pc:cxnChg chg="mod ord">
          <ac:chgData name="Abdi, Adnan" userId="503e002c-9b3b-4180-87fb-acabeb2b158a" providerId="ADAL" clId="{C8378B56-DEB7-4A2E-AD29-424F54BB66C0}" dt="2024-03-13T08:05:26.141" v="1072"/>
          <ac:cxnSpMkLst>
            <pc:docMk/>
            <pc:sldMk cId="3264993228" sldId="2147483612"/>
            <ac:cxnSpMk id="26" creationId="{7532D461-A228-DF33-4BEE-FAB3CC8879E9}"/>
          </ac:cxnSpMkLst>
        </pc:cxnChg>
        <pc:cxnChg chg="mod ord">
          <ac:chgData name="Abdi, Adnan" userId="503e002c-9b3b-4180-87fb-acabeb2b158a" providerId="ADAL" clId="{C8378B56-DEB7-4A2E-AD29-424F54BB66C0}" dt="2024-03-13T08:05:26.139" v="1070"/>
          <ac:cxnSpMkLst>
            <pc:docMk/>
            <pc:sldMk cId="3264993228" sldId="2147483612"/>
            <ac:cxnSpMk id="27" creationId="{EE1CC03E-FCFB-5A49-E5BC-8837A3DC2DF2}"/>
          </ac:cxnSpMkLst>
        </pc:cxnChg>
        <pc:cxnChg chg="mod ord">
          <ac:chgData name="Abdi, Adnan" userId="503e002c-9b3b-4180-87fb-acabeb2b158a" providerId="ADAL" clId="{C8378B56-DEB7-4A2E-AD29-424F54BB66C0}" dt="2024-03-13T08:05:26.144" v="1078"/>
          <ac:cxnSpMkLst>
            <pc:docMk/>
            <pc:sldMk cId="3264993228" sldId="2147483612"/>
            <ac:cxnSpMk id="28" creationId="{4564507F-4F35-081B-8470-E2893F8BF21A}"/>
          </ac:cxnSpMkLst>
        </pc:cxnChg>
        <pc:cxnChg chg="mod ord">
          <ac:chgData name="Abdi, Adnan" userId="503e002c-9b3b-4180-87fb-acabeb2b158a" providerId="ADAL" clId="{C8378B56-DEB7-4A2E-AD29-424F54BB66C0}" dt="2024-03-13T08:05:26.142" v="1074"/>
          <ac:cxnSpMkLst>
            <pc:docMk/>
            <pc:sldMk cId="3264993228" sldId="2147483612"/>
            <ac:cxnSpMk id="29" creationId="{9D4CE214-7D40-9425-5D65-D34575C7B343}"/>
          </ac:cxnSpMkLst>
        </pc:cxnChg>
        <pc:cxnChg chg="mod ord">
          <ac:chgData name="Abdi, Adnan" userId="503e002c-9b3b-4180-87fb-acabeb2b158a" providerId="ADAL" clId="{C8378B56-DEB7-4A2E-AD29-424F54BB66C0}" dt="2024-03-13T08:05:26.143" v="1076"/>
          <ac:cxnSpMkLst>
            <pc:docMk/>
            <pc:sldMk cId="3264993228" sldId="2147483612"/>
            <ac:cxnSpMk id="30" creationId="{31155AC3-64CB-8436-5B8F-62CDC1D2BC07}"/>
          </ac:cxnSpMkLst>
        </pc:cxnChg>
        <pc:cxnChg chg="mod ord">
          <ac:chgData name="Abdi, Adnan" userId="503e002c-9b3b-4180-87fb-acabeb2b158a" providerId="ADAL" clId="{C8378B56-DEB7-4A2E-AD29-424F54BB66C0}" dt="2024-03-13T08:05:26.145" v="1080"/>
          <ac:cxnSpMkLst>
            <pc:docMk/>
            <pc:sldMk cId="3264993228" sldId="2147483612"/>
            <ac:cxnSpMk id="31" creationId="{64F30394-3700-69ED-54BD-9EB787A68245}"/>
          </ac:cxnSpMkLst>
        </pc:cxnChg>
        <pc:cxnChg chg="mod ord">
          <ac:chgData name="Abdi, Adnan" userId="503e002c-9b3b-4180-87fb-acabeb2b158a" providerId="ADAL" clId="{C8378B56-DEB7-4A2E-AD29-424F54BB66C0}" dt="2024-03-13T08:05:26.145" v="1082"/>
          <ac:cxnSpMkLst>
            <pc:docMk/>
            <pc:sldMk cId="3264993228" sldId="2147483612"/>
            <ac:cxnSpMk id="32" creationId="{E7E0E9AE-2417-69EC-509C-031F0C4681A5}"/>
          </ac:cxnSpMkLst>
        </pc:cxnChg>
        <pc:cxnChg chg="mod ord">
          <ac:chgData name="Abdi, Adnan" userId="503e002c-9b3b-4180-87fb-acabeb2b158a" providerId="ADAL" clId="{C8378B56-DEB7-4A2E-AD29-424F54BB66C0}" dt="2024-03-13T08:05:26.149" v="1088"/>
          <ac:cxnSpMkLst>
            <pc:docMk/>
            <pc:sldMk cId="3264993228" sldId="2147483612"/>
            <ac:cxnSpMk id="33" creationId="{D86343AC-4F54-0047-8AA2-B59575F34CDB}"/>
          </ac:cxnSpMkLst>
        </pc:cxnChg>
        <pc:cxnChg chg="mod ord">
          <ac:chgData name="Abdi, Adnan" userId="503e002c-9b3b-4180-87fb-acabeb2b158a" providerId="ADAL" clId="{C8378B56-DEB7-4A2E-AD29-424F54BB66C0}" dt="2024-03-13T08:05:26.146" v="1084"/>
          <ac:cxnSpMkLst>
            <pc:docMk/>
            <pc:sldMk cId="3264993228" sldId="2147483612"/>
            <ac:cxnSpMk id="34" creationId="{1780A85B-BEE4-A815-284D-5F638E4658A1}"/>
          </ac:cxnSpMkLst>
        </pc:cxnChg>
        <pc:cxnChg chg="mod ord">
          <ac:chgData name="Abdi, Adnan" userId="503e002c-9b3b-4180-87fb-acabeb2b158a" providerId="ADAL" clId="{C8378B56-DEB7-4A2E-AD29-424F54BB66C0}" dt="2024-03-13T08:05:26.147" v="1086"/>
          <ac:cxnSpMkLst>
            <pc:docMk/>
            <pc:sldMk cId="3264993228" sldId="2147483612"/>
            <ac:cxnSpMk id="35" creationId="{37AB657F-BD56-BDBF-734A-A2439B2BB7F2}"/>
          </ac:cxnSpMkLst>
        </pc:cxnChg>
        <pc:cxnChg chg="mod ord">
          <ac:chgData name="Abdi, Adnan" userId="503e002c-9b3b-4180-87fb-acabeb2b158a" providerId="ADAL" clId="{C8378B56-DEB7-4A2E-AD29-424F54BB66C0}" dt="2024-03-13T08:05:26.152" v="1094"/>
          <ac:cxnSpMkLst>
            <pc:docMk/>
            <pc:sldMk cId="3264993228" sldId="2147483612"/>
            <ac:cxnSpMk id="36" creationId="{BC5D919A-DAA9-03F4-CCE3-49F6BAFEC69F}"/>
          </ac:cxnSpMkLst>
        </pc:cxnChg>
        <pc:cxnChg chg="mod ord">
          <ac:chgData name="Abdi, Adnan" userId="503e002c-9b3b-4180-87fb-acabeb2b158a" providerId="ADAL" clId="{C8378B56-DEB7-4A2E-AD29-424F54BB66C0}" dt="2024-03-13T08:05:26.151" v="1090"/>
          <ac:cxnSpMkLst>
            <pc:docMk/>
            <pc:sldMk cId="3264993228" sldId="2147483612"/>
            <ac:cxnSpMk id="37" creationId="{22395034-C814-D6D8-FC24-616EFC857245}"/>
          </ac:cxnSpMkLst>
        </pc:cxnChg>
        <pc:cxnChg chg="mod ord">
          <ac:chgData name="Abdi, Adnan" userId="503e002c-9b3b-4180-87fb-acabeb2b158a" providerId="ADAL" clId="{C8378B56-DEB7-4A2E-AD29-424F54BB66C0}" dt="2024-03-13T08:05:26.152" v="1092"/>
          <ac:cxnSpMkLst>
            <pc:docMk/>
            <pc:sldMk cId="3264993228" sldId="2147483612"/>
            <ac:cxnSpMk id="38" creationId="{16136DAE-2209-D0AE-5FAA-915D0495EF69}"/>
          </ac:cxnSpMkLst>
        </pc:cxnChg>
        <pc:cxnChg chg="mod ord">
          <ac:chgData name="Abdi, Adnan" userId="503e002c-9b3b-4180-87fb-acabeb2b158a" providerId="ADAL" clId="{C8378B56-DEB7-4A2E-AD29-424F54BB66C0}" dt="2024-03-13T08:05:26.154" v="1098"/>
          <ac:cxnSpMkLst>
            <pc:docMk/>
            <pc:sldMk cId="3264993228" sldId="2147483612"/>
            <ac:cxnSpMk id="39" creationId="{4989D6F6-272D-214A-FC93-A3663B027D30}"/>
          </ac:cxnSpMkLst>
        </pc:cxnChg>
        <pc:cxnChg chg="mod ord">
          <ac:chgData name="Abdi, Adnan" userId="503e002c-9b3b-4180-87fb-acabeb2b158a" providerId="ADAL" clId="{C8378B56-DEB7-4A2E-AD29-424F54BB66C0}" dt="2024-03-13T08:05:26.155" v="1100"/>
          <ac:cxnSpMkLst>
            <pc:docMk/>
            <pc:sldMk cId="3264993228" sldId="2147483612"/>
            <ac:cxnSpMk id="40" creationId="{3A461933-EC3D-9826-8DE6-DBE360CE61CD}"/>
          </ac:cxnSpMkLst>
        </pc:cxnChg>
        <pc:cxnChg chg="mod ord">
          <ac:chgData name="Abdi, Adnan" userId="503e002c-9b3b-4180-87fb-acabeb2b158a" providerId="ADAL" clId="{C8378B56-DEB7-4A2E-AD29-424F54BB66C0}" dt="2024-03-13T08:05:26.153" v="1096"/>
          <ac:cxnSpMkLst>
            <pc:docMk/>
            <pc:sldMk cId="3264993228" sldId="2147483612"/>
            <ac:cxnSpMk id="41" creationId="{05904A67-F535-CA2B-11F8-711D494E15CB}"/>
          </ac:cxnSpMkLst>
        </pc:cxnChg>
        <pc:cxnChg chg="mod ord">
          <ac:chgData name="Abdi, Adnan" userId="503e002c-9b3b-4180-87fb-acabeb2b158a" providerId="ADAL" clId="{C8378B56-DEB7-4A2E-AD29-424F54BB66C0}" dt="2024-03-13T08:05:26.158" v="1104"/>
          <ac:cxnSpMkLst>
            <pc:docMk/>
            <pc:sldMk cId="3264993228" sldId="2147483612"/>
            <ac:cxnSpMk id="42" creationId="{25187C55-80AE-5FF3-D4AB-20D2A3163FC1}"/>
          </ac:cxnSpMkLst>
        </pc:cxnChg>
        <pc:cxnChg chg="mod ord">
          <ac:chgData name="Abdi, Adnan" userId="503e002c-9b3b-4180-87fb-acabeb2b158a" providerId="ADAL" clId="{C8378B56-DEB7-4A2E-AD29-424F54BB66C0}" dt="2024-03-13T08:05:26.157" v="1102"/>
          <ac:cxnSpMkLst>
            <pc:docMk/>
            <pc:sldMk cId="3264993228" sldId="2147483612"/>
            <ac:cxnSpMk id="43" creationId="{85B04080-5BDF-394C-25D1-6D397A1E68B3}"/>
          </ac:cxnSpMkLst>
        </pc:cxnChg>
        <pc:cxnChg chg="mod ord">
          <ac:chgData name="Abdi, Adnan" userId="503e002c-9b3b-4180-87fb-acabeb2b158a" providerId="ADAL" clId="{C8378B56-DEB7-4A2E-AD29-424F54BB66C0}" dt="2024-03-13T08:05:26.159" v="1106"/>
          <ac:cxnSpMkLst>
            <pc:docMk/>
            <pc:sldMk cId="3264993228" sldId="2147483612"/>
            <ac:cxnSpMk id="44" creationId="{5A554B0E-F4A1-7A8E-97E4-C0257381C25B}"/>
          </ac:cxnSpMkLst>
        </pc:cxnChg>
        <pc:cxnChg chg="mod ord">
          <ac:chgData name="Abdi, Adnan" userId="503e002c-9b3b-4180-87fb-acabeb2b158a" providerId="ADAL" clId="{C8378B56-DEB7-4A2E-AD29-424F54BB66C0}" dt="2024-03-13T08:05:26.160" v="1110"/>
          <ac:cxnSpMkLst>
            <pc:docMk/>
            <pc:sldMk cId="3264993228" sldId="2147483612"/>
            <ac:cxnSpMk id="45" creationId="{4937A4A1-074E-7D0F-12E4-1C4F80B8FDBF}"/>
          </ac:cxnSpMkLst>
        </pc:cxnChg>
        <pc:cxnChg chg="mod ord">
          <ac:chgData name="Abdi, Adnan" userId="503e002c-9b3b-4180-87fb-acabeb2b158a" providerId="ADAL" clId="{C8378B56-DEB7-4A2E-AD29-424F54BB66C0}" dt="2024-03-13T08:05:26.160" v="1108"/>
          <ac:cxnSpMkLst>
            <pc:docMk/>
            <pc:sldMk cId="3264993228" sldId="2147483612"/>
            <ac:cxnSpMk id="46" creationId="{348C3654-4E0C-83CB-0723-6F6D1771236A}"/>
          </ac:cxnSpMkLst>
        </pc:cxnChg>
        <pc:cxnChg chg="mod ord">
          <ac:chgData name="Abdi, Adnan" userId="503e002c-9b3b-4180-87fb-acabeb2b158a" providerId="ADAL" clId="{C8378B56-DEB7-4A2E-AD29-424F54BB66C0}" dt="2024-03-13T08:05:26.161" v="1112"/>
          <ac:cxnSpMkLst>
            <pc:docMk/>
            <pc:sldMk cId="3264993228" sldId="2147483612"/>
            <ac:cxnSpMk id="47" creationId="{81529735-0891-005E-170B-1CD56658A7F0}"/>
          </ac:cxnSpMkLst>
        </pc:cxnChg>
        <pc:cxnChg chg="mod ord">
          <ac:chgData name="Abdi, Adnan" userId="503e002c-9b3b-4180-87fb-acabeb2b158a" providerId="ADAL" clId="{C8378B56-DEB7-4A2E-AD29-424F54BB66C0}" dt="2024-03-13T08:05:26.162" v="1116"/>
          <ac:cxnSpMkLst>
            <pc:docMk/>
            <pc:sldMk cId="3264993228" sldId="2147483612"/>
            <ac:cxnSpMk id="48" creationId="{8D40EDDF-96D8-9E39-8AB3-2684BD359FE8}"/>
          </ac:cxnSpMkLst>
        </pc:cxnChg>
        <pc:cxnChg chg="mod ord">
          <ac:chgData name="Abdi, Adnan" userId="503e002c-9b3b-4180-87fb-acabeb2b158a" providerId="ADAL" clId="{C8378B56-DEB7-4A2E-AD29-424F54BB66C0}" dt="2024-03-13T08:05:26.161" v="1114"/>
          <ac:cxnSpMkLst>
            <pc:docMk/>
            <pc:sldMk cId="3264993228" sldId="2147483612"/>
            <ac:cxnSpMk id="49" creationId="{605FD5B3-CE24-DCF8-18F8-32D653539833}"/>
          </ac:cxnSpMkLst>
        </pc:cxnChg>
        <pc:cxnChg chg="mod ord">
          <ac:chgData name="Abdi, Adnan" userId="503e002c-9b3b-4180-87fb-acabeb2b158a" providerId="ADAL" clId="{C8378B56-DEB7-4A2E-AD29-424F54BB66C0}" dt="2024-03-13T08:05:26.162" v="1118"/>
          <ac:cxnSpMkLst>
            <pc:docMk/>
            <pc:sldMk cId="3264993228" sldId="2147483612"/>
            <ac:cxnSpMk id="50" creationId="{AF8A5EE0-C97C-7077-2236-8D2C06200986}"/>
          </ac:cxnSpMkLst>
        </pc:cxnChg>
        <pc:cxnChg chg="mod ord">
          <ac:chgData name="Abdi, Adnan" userId="503e002c-9b3b-4180-87fb-acabeb2b158a" providerId="ADAL" clId="{C8378B56-DEB7-4A2E-AD29-424F54BB66C0}" dt="2024-03-13T08:05:26.163" v="1120"/>
          <ac:cxnSpMkLst>
            <pc:docMk/>
            <pc:sldMk cId="3264993228" sldId="2147483612"/>
            <ac:cxnSpMk id="51" creationId="{F0CFA4FC-21DA-A4C4-DA81-D0D69497B02C}"/>
          </ac:cxnSpMkLst>
        </pc:cxnChg>
        <pc:cxnChg chg="mod ord">
          <ac:chgData name="Abdi, Adnan" userId="503e002c-9b3b-4180-87fb-acabeb2b158a" providerId="ADAL" clId="{C8378B56-DEB7-4A2E-AD29-424F54BB66C0}" dt="2024-03-13T08:05:26.164" v="1122"/>
          <ac:cxnSpMkLst>
            <pc:docMk/>
            <pc:sldMk cId="3264993228" sldId="2147483612"/>
            <ac:cxnSpMk id="52" creationId="{85DE3CEA-5898-AFA4-9090-BA168A6BAC04}"/>
          </ac:cxnSpMkLst>
        </pc:cxnChg>
        <pc:cxnChg chg="mod ord">
          <ac:chgData name="Abdi, Adnan" userId="503e002c-9b3b-4180-87fb-acabeb2b158a" providerId="ADAL" clId="{C8378B56-DEB7-4A2E-AD29-424F54BB66C0}" dt="2024-03-13T08:05:26.165" v="1128"/>
          <ac:cxnSpMkLst>
            <pc:docMk/>
            <pc:sldMk cId="3264993228" sldId="2147483612"/>
            <ac:cxnSpMk id="53" creationId="{CE3F733B-5FE0-EC6E-184B-A0E64B971CE0}"/>
          </ac:cxnSpMkLst>
        </pc:cxnChg>
        <pc:cxnChg chg="mod ord">
          <ac:chgData name="Abdi, Adnan" userId="503e002c-9b3b-4180-87fb-acabeb2b158a" providerId="ADAL" clId="{C8378B56-DEB7-4A2E-AD29-424F54BB66C0}" dt="2024-03-13T08:05:26.165" v="1126"/>
          <ac:cxnSpMkLst>
            <pc:docMk/>
            <pc:sldMk cId="3264993228" sldId="2147483612"/>
            <ac:cxnSpMk id="54" creationId="{CAE2D1CA-96A2-1BC5-5442-49F3B25654B2}"/>
          </ac:cxnSpMkLst>
        </pc:cxnChg>
        <pc:cxnChg chg="mod ord">
          <ac:chgData name="Abdi, Adnan" userId="503e002c-9b3b-4180-87fb-acabeb2b158a" providerId="ADAL" clId="{C8378B56-DEB7-4A2E-AD29-424F54BB66C0}" dt="2024-03-13T08:05:26.164" v="1124"/>
          <ac:cxnSpMkLst>
            <pc:docMk/>
            <pc:sldMk cId="3264993228" sldId="2147483612"/>
            <ac:cxnSpMk id="55" creationId="{C2D4A6B8-27E8-E478-4E7A-9C253F38A66E}"/>
          </ac:cxnSpMkLst>
        </pc:cxnChg>
        <pc:cxnChg chg="mod ord">
          <ac:chgData name="Abdi, Adnan" userId="503e002c-9b3b-4180-87fb-acabeb2b158a" providerId="ADAL" clId="{C8378B56-DEB7-4A2E-AD29-424F54BB66C0}" dt="2024-03-13T08:05:26.167" v="1134"/>
          <ac:cxnSpMkLst>
            <pc:docMk/>
            <pc:sldMk cId="3264993228" sldId="2147483612"/>
            <ac:cxnSpMk id="56" creationId="{0E9DC064-0A06-3CCE-B86B-8AF459599894}"/>
          </ac:cxnSpMkLst>
        </pc:cxnChg>
        <pc:cxnChg chg="mod ord">
          <ac:chgData name="Abdi, Adnan" userId="503e002c-9b3b-4180-87fb-acabeb2b158a" providerId="ADAL" clId="{C8378B56-DEB7-4A2E-AD29-424F54BB66C0}" dt="2024-03-13T08:05:26.167" v="1132"/>
          <ac:cxnSpMkLst>
            <pc:docMk/>
            <pc:sldMk cId="3264993228" sldId="2147483612"/>
            <ac:cxnSpMk id="57" creationId="{3FCD2D52-9711-65F8-FF1C-5B4AAEF6EE9F}"/>
          </ac:cxnSpMkLst>
        </pc:cxnChg>
        <pc:cxnChg chg="mod ord">
          <ac:chgData name="Abdi, Adnan" userId="503e002c-9b3b-4180-87fb-acabeb2b158a" providerId="ADAL" clId="{C8378B56-DEB7-4A2E-AD29-424F54BB66C0}" dt="2024-03-13T08:05:26.166" v="1130"/>
          <ac:cxnSpMkLst>
            <pc:docMk/>
            <pc:sldMk cId="3264993228" sldId="2147483612"/>
            <ac:cxnSpMk id="58" creationId="{6F9DCD36-1591-8CC9-D260-8C35E550E14B}"/>
          </ac:cxnSpMkLst>
        </pc:cxnChg>
        <pc:cxnChg chg="mod ord">
          <ac:chgData name="Abdi, Adnan" userId="503e002c-9b3b-4180-87fb-acabeb2b158a" providerId="ADAL" clId="{C8378B56-DEB7-4A2E-AD29-424F54BB66C0}" dt="2024-03-13T08:05:26.168" v="1136"/>
          <ac:cxnSpMkLst>
            <pc:docMk/>
            <pc:sldMk cId="3264993228" sldId="2147483612"/>
            <ac:cxnSpMk id="79" creationId="{B1B2495B-F0D9-C40F-79D0-105A1852D8B3}"/>
          </ac:cxnSpMkLst>
        </pc:cxnChg>
        <pc:cxnChg chg="mod ord">
          <ac:chgData name="Abdi, Adnan" userId="503e002c-9b3b-4180-87fb-acabeb2b158a" providerId="ADAL" clId="{C8378B56-DEB7-4A2E-AD29-424F54BB66C0}" dt="2024-03-13T08:05:26.168" v="1138"/>
          <ac:cxnSpMkLst>
            <pc:docMk/>
            <pc:sldMk cId="3264993228" sldId="2147483612"/>
            <ac:cxnSpMk id="80" creationId="{C3C56690-C04E-90A4-F885-C8CB23656AFE}"/>
          </ac:cxnSpMkLst>
        </pc:cxnChg>
        <pc:cxnChg chg="mod ord">
          <ac:chgData name="Abdi, Adnan" userId="503e002c-9b3b-4180-87fb-acabeb2b158a" providerId="ADAL" clId="{C8378B56-DEB7-4A2E-AD29-424F54BB66C0}" dt="2024-03-13T08:05:26.169" v="1140"/>
          <ac:cxnSpMkLst>
            <pc:docMk/>
            <pc:sldMk cId="3264993228" sldId="2147483612"/>
            <ac:cxnSpMk id="167" creationId="{E2021158-26D7-3555-5ED4-AB86BD52BC30}"/>
          </ac:cxnSpMkLst>
        </pc:cxnChg>
        <pc:cxnChg chg="mod ord">
          <ac:chgData name="Abdi, Adnan" userId="503e002c-9b3b-4180-87fb-acabeb2b158a" providerId="ADAL" clId="{C8378B56-DEB7-4A2E-AD29-424F54BB66C0}" dt="2024-03-13T08:05:26.169" v="1142"/>
          <ac:cxnSpMkLst>
            <pc:docMk/>
            <pc:sldMk cId="3264993228" sldId="2147483612"/>
            <ac:cxnSpMk id="168" creationId="{FEA8F081-1E2B-7F4F-46E1-E7FAC08DFB19}"/>
          </ac:cxnSpMkLst>
        </pc:cxnChg>
      </pc:sldChg>
      <pc:sldMasterChg chg="modSldLayout">
        <pc:chgData name="Abdi, Adnan" userId="503e002c-9b3b-4180-87fb-acabeb2b158a" providerId="ADAL" clId="{C8378B56-DEB7-4A2E-AD29-424F54BB66C0}" dt="2024-03-18T11:33:02.735" v="1222" actId="20577"/>
        <pc:sldMasterMkLst>
          <pc:docMk/>
          <pc:sldMasterMk cId="729942253" sldId="2147483648"/>
        </pc:sldMasterMkLst>
        <pc:sldLayoutChg chg="modSp mod">
          <pc:chgData name="Abdi, Adnan" userId="503e002c-9b3b-4180-87fb-acabeb2b158a" providerId="ADAL" clId="{C8378B56-DEB7-4A2E-AD29-424F54BB66C0}" dt="2024-03-18T11:33:02.735" v="1222" actId="20577"/>
          <pc:sldLayoutMkLst>
            <pc:docMk/>
            <pc:sldMasterMk cId="729942253" sldId="2147483648"/>
            <pc:sldLayoutMk cId="1982198922" sldId="2147483778"/>
          </pc:sldLayoutMkLst>
          <pc:spChg chg="mod">
            <ac:chgData name="Abdi, Adnan" userId="503e002c-9b3b-4180-87fb-acabeb2b158a" providerId="ADAL" clId="{C8378B56-DEB7-4A2E-AD29-424F54BB66C0}" dt="2024-03-18T11:33:02.735" v="1222" actId="20577"/>
            <ac:spMkLst>
              <pc:docMk/>
              <pc:sldMasterMk cId="729942253" sldId="2147483648"/>
              <pc:sldLayoutMk cId="1982198922" sldId="2147483778"/>
              <ac:spMk id="7" creationId="{00000000-0000-0000-0000-000000000000}"/>
            </ac:spMkLst>
          </pc:spChg>
        </pc:sldLayoutChg>
      </pc:sldMasterChg>
      <pc:sldMasterChg chg="modSldLayout">
        <pc:chgData name="Abdi, Adnan" userId="503e002c-9b3b-4180-87fb-acabeb2b158a" providerId="ADAL" clId="{C8378B56-DEB7-4A2E-AD29-424F54BB66C0}" dt="2024-03-18T11:33:03.115" v="1281" actId="20577"/>
        <pc:sldMasterMkLst>
          <pc:docMk/>
          <pc:sldMasterMk cId="1321919033" sldId="2147483709"/>
        </pc:sldMasterMkLst>
        <pc:sldLayoutChg chg="modSp mod">
          <pc:chgData name="Abdi, Adnan" userId="503e002c-9b3b-4180-87fb-acabeb2b158a" providerId="ADAL" clId="{C8378B56-DEB7-4A2E-AD29-424F54BB66C0}" dt="2024-03-18T11:33:02.744" v="1223" actId="20577"/>
          <pc:sldLayoutMkLst>
            <pc:docMk/>
            <pc:sldMasterMk cId="1321919033" sldId="2147483709"/>
            <pc:sldLayoutMk cId="892444416" sldId="2147483711"/>
          </pc:sldLayoutMkLst>
          <pc:spChg chg="mod">
            <ac:chgData name="Abdi, Adnan" userId="503e002c-9b3b-4180-87fb-acabeb2b158a" providerId="ADAL" clId="{C8378B56-DEB7-4A2E-AD29-424F54BB66C0}" dt="2024-03-18T11:33:02.744" v="1223" actId="20577"/>
            <ac:spMkLst>
              <pc:docMk/>
              <pc:sldMasterMk cId="1321919033" sldId="2147483709"/>
              <pc:sldLayoutMk cId="892444416" sldId="2147483711"/>
              <ac:spMk id="7" creationId="{00000000-0000-0000-0000-000000000000}"/>
            </ac:spMkLst>
          </pc:spChg>
        </pc:sldLayoutChg>
        <pc:sldLayoutChg chg="modSp mod">
          <pc:chgData name="Abdi, Adnan" userId="503e002c-9b3b-4180-87fb-acabeb2b158a" providerId="ADAL" clId="{C8378B56-DEB7-4A2E-AD29-424F54BB66C0}" dt="2024-03-18T11:33:02.749" v="1224" actId="20577"/>
          <pc:sldLayoutMkLst>
            <pc:docMk/>
            <pc:sldMasterMk cId="1321919033" sldId="2147483709"/>
            <pc:sldLayoutMk cId="233603261" sldId="2147483712"/>
          </pc:sldLayoutMkLst>
          <pc:spChg chg="mod">
            <ac:chgData name="Abdi, Adnan" userId="503e002c-9b3b-4180-87fb-acabeb2b158a" providerId="ADAL" clId="{C8378B56-DEB7-4A2E-AD29-424F54BB66C0}" dt="2024-03-18T11:33:02.749" v="1224" actId="20577"/>
            <ac:spMkLst>
              <pc:docMk/>
              <pc:sldMasterMk cId="1321919033" sldId="2147483709"/>
              <pc:sldLayoutMk cId="233603261" sldId="2147483712"/>
              <ac:spMk id="5" creationId="{00000000-0000-0000-0000-000000000000}"/>
            </ac:spMkLst>
          </pc:spChg>
        </pc:sldLayoutChg>
        <pc:sldLayoutChg chg="modSp mod">
          <pc:chgData name="Abdi, Adnan" userId="503e002c-9b3b-4180-87fb-acabeb2b158a" providerId="ADAL" clId="{C8378B56-DEB7-4A2E-AD29-424F54BB66C0}" dt="2024-03-18T11:33:02.755" v="1225" actId="20577"/>
          <pc:sldLayoutMkLst>
            <pc:docMk/>
            <pc:sldMasterMk cId="1321919033" sldId="2147483709"/>
            <pc:sldLayoutMk cId="1752881721" sldId="2147483713"/>
          </pc:sldLayoutMkLst>
          <pc:spChg chg="mod">
            <ac:chgData name="Abdi, Adnan" userId="503e002c-9b3b-4180-87fb-acabeb2b158a" providerId="ADAL" clId="{C8378B56-DEB7-4A2E-AD29-424F54BB66C0}" dt="2024-03-18T11:33:02.755" v="1225" actId="20577"/>
            <ac:spMkLst>
              <pc:docMk/>
              <pc:sldMasterMk cId="1321919033" sldId="2147483709"/>
              <pc:sldLayoutMk cId="1752881721" sldId="2147483713"/>
              <ac:spMk id="11" creationId="{00000000-0000-0000-0000-000000000000}"/>
            </ac:spMkLst>
          </pc:spChg>
        </pc:sldLayoutChg>
        <pc:sldLayoutChg chg="modSp mod">
          <pc:chgData name="Abdi, Adnan" userId="503e002c-9b3b-4180-87fb-acabeb2b158a" providerId="ADAL" clId="{C8378B56-DEB7-4A2E-AD29-424F54BB66C0}" dt="2024-03-18T11:33:02.760" v="1226" actId="20577"/>
          <pc:sldLayoutMkLst>
            <pc:docMk/>
            <pc:sldMasterMk cId="1321919033" sldId="2147483709"/>
            <pc:sldLayoutMk cId="4195760478" sldId="2147483714"/>
          </pc:sldLayoutMkLst>
          <pc:spChg chg="mod">
            <ac:chgData name="Abdi, Adnan" userId="503e002c-9b3b-4180-87fb-acabeb2b158a" providerId="ADAL" clId="{C8378B56-DEB7-4A2E-AD29-424F54BB66C0}" dt="2024-03-18T11:33:02.760" v="1226" actId="20577"/>
            <ac:spMkLst>
              <pc:docMk/>
              <pc:sldMasterMk cId="1321919033" sldId="2147483709"/>
              <pc:sldLayoutMk cId="4195760478" sldId="2147483714"/>
              <ac:spMk id="12" creationId="{00000000-0000-0000-0000-000000000000}"/>
            </ac:spMkLst>
          </pc:spChg>
        </pc:sldLayoutChg>
        <pc:sldLayoutChg chg="modSp mod">
          <pc:chgData name="Abdi, Adnan" userId="503e002c-9b3b-4180-87fb-acabeb2b158a" providerId="ADAL" clId="{C8378B56-DEB7-4A2E-AD29-424F54BB66C0}" dt="2024-03-18T11:33:02.766" v="1227" actId="20577"/>
          <pc:sldLayoutMkLst>
            <pc:docMk/>
            <pc:sldMasterMk cId="1321919033" sldId="2147483709"/>
            <pc:sldLayoutMk cId="1010534390" sldId="2147483716"/>
          </pc:sldLayoutMkLst>
          <pc:spChg chg="mod">
            <ac:chgData name="Abdi, Adnan" userId="503e002c-9b3b-4180-87fb-acabeb2b158a" providerId="ADAL" clId="{C8378B56-DEB7-4A2E-AD29-424F54BB66C0}" dt="2024-03-18T11:33:02.766" v="1227" actId="20577"/>
            <ac:spMkLst>
              <pc:docMk/>
              <pc:sldMasterMk cId="1321919033" sldId="2147483709"/>
              <pc:sldLayoutMk cId="1010534390" sldId="2147483716"/>
              <ac:spMk id="25" creationId="{00000000-0000-0000-0000-000000000000}"/>
            </ac:spMkLst>
          </pc:spChg>
        </pc:sldLayoutChg>
        <pc:sldLayoutChg chg="modSp mod">
          <pc:chgData name="Abdi, Adnan" userId="503e002c-9b3b-4180-87fb-acabeb2b158a" providerId="ADAL" clId="{C8378B56-DEB7-4A2E-AD29-424F54BB66C0}" dt="2024-03-18T11:33:02.771" v="1228" actId="20577"/>
          <pc:sldLayoutMkLst>
            <pc:docMk/>
            <pc:sldMasterMk cId="1321919033" sldId="2147483709"/>
            <pc:sldLayoutMk cId="1547584256" sldId="2147483717"/>
          </pc:sldLayoutMkLst>
          <pc:spChg chg="mod">
            <ac:chgData name="Abdi, Adnan" userId="503e002c-9b3b-4180-87fb-acabeb2b158a" providerId="ADAL" clId="{C8378B56-DEB7-4A2E-AD29-424F54BB66C0}" dt="2024-03-18T11:33:02.771" v="1228" actId="20577"/>
            <ac:spMkLst>
              <pc:docMk/>
              <pc:sldMasterMk cId="1321919033" sldId="2147483709"/>
              <pc:sldLayoutMk cId="1547584256" sldId="2147483717"/>
              <ac:spMk id="20" creationId="{00000000-0000-0000-0000-000000000000}"/>
            </ac:spMkLst>
          </pc:spChg>
        </pc:sldLayoutChg>
        <pc:sldLayoutChg chg="modSp mod">
          <pc:chgData name="Abdi, Adnan" userId="503e002c-9b3b-4180-87fb-acabeb2b158a" providerId="ADAL" clId="{C8378B56-DEB7-4A2E-AD29-424F54BB66C0}" dt="2024-03-18T11:33:02.776" v="1229" actId="20577"/>
          <pc:sldLayoutMkLst>
            <pc:docMk/>
            <pc:sldMasterMk cId="1321919033" sldId="2147483709"/>
            <pc:sldLayoutMk cId="3829309937" sldId="2147483718"/>
          </pc:sldLayoutMkLst>
          <pc:spChg chg="mod">
            <ac:chgData name="Abdi, Adnan" userId="503e002c-9b3b-4180-87fb-acabeb2b158a" providerId="ADAL" clId="{C8378B56-DEB7-4A2E-AD29-424F54BB66C0}" dt="2024-03-18T11:33:02.776" v="1229" actId="20577"/>
            <ac:spMkLst>
              <pc:docMk/>
              <pc:sldMasterMk cId="1321919033" sldId="2147483709"/>
              <pc:sldLayoutMk cId="3829309937" sldId="2147483718"/>
              <ac:spMk id="16" creationId="{00000000-0000-0000-0000-000000000000}"/>
            </ac:spMkLst>
          </pc:spChg>
        </pc:sldLayoutChg>
        <pc:sldLayoutChg chg="modSp mod">
          <pc:chgData name="Abdi, Adnan" userId="503e002c-9b3b-4180-87fb-acabeb2b158a" providerId="ADAL" clId="{C8378B56-DEB7-4A2E-AD29-424F54BB66C0}" dt="2024-03-18T11:33:02.782" v="1230" actId="20577"/>
          <pc:sldLayoutMkLst>
            <pc:docMk/>
            <pc:sldMasterMk cId="1321919033" sldId="2147483709"/>
            <pc:sldLayoutMk cId="3389794634" sldId="2147483719"/>
          </pc:sldLayoutMkLst>
          <pc:spChg chg="mod">
            <ac:chgData name="Abdi, Adnan" userId="503e002c-9b3b-4180-87fb-acabeb2b158a" providerId="ADAL" clId="{C8378B56-DEB7-4A2E-AD29-424F54BB66C0}" dt="2024-03-18T11:33:02.782" v="1230" actId="20577"/>
            <ac:spMkLst>
              <pc:docMk/>
              <pc:sldMasterMk cId="1321919033" sldId="2147483709"/>
              <pc:sldLayoutMk cId="3389794634" sldId="2147483719"/>
              <ac:spMk id="21" creationId="{00000000-0000-0000-0000-000000000000}"/>
            </ac:spMkLst>
          </pc:spChg>
        </pc:sldLayoutChg>
        <pc:sldLayoutChg chg="modSp mod">
          <pc:chgData name="Abdi, Adnan" userId="503e002c-9b3b-4180-87fb-acabeb2b158a" providerId="ADAL" clId="{C8378B56-DEB7-4A2E-AD29-424F54BB66C0}" dt="2024-03-18T11:33:02.788" v="1231" actId="20577"/>
          <pc:sldLayoutMkLst>
            <pc:docMk/>
            <pc:sldMasterMk cId="1321919033" sldId="2147483709"/>
            <pc:sldLayoutMk cId="1834019716" sldId="2147483720"/>
          </pc:sldLayoutMkLst>
          <pc:spChg chg="mod">
            <ac:chgData name="Abdi, Adnan" userId="503e002c-9b3b-4180-87fb-acabeb2b158a" providerId="ADAL" clId="{C8378B56-DEB7-4A2E-AD29-424F54BB66C0}" dt="2024-03-18T11:33:02.788" v="1231" actId="20577"/>
            <ac:spMkLst>
              <pc:docMk/>
              <pc:sldMasterMk cId="1321919033" sldId="2147483709"/>
              <pc:sldLayoutMk cId="1834019716" sldId="2147483720"/>
              <ac:spMk id="15" creationId="{00000000-0000-0000-0000-000000000000}"/>
            </ac:spMkLst>
          </pc:spChg>
        </pc:sldLayoutChg>
        <pc:sldLayoutChg chg="modSp mod">
          <pc:chgData name="Abdi, Adnan" userId="503e002c-9b3b-4180-87fb-acabeb2b158a" providerId="ADAL" clId="{C8378B56-DEB7-4A2E-AD29-424F54BB66C0}" dt="2024-03-18T11:33:02.793" v="1232" actId="20577"/>
          <pc:sldLayoutMkLst>
            <pc:docMk/>
            <pc:sldMasterMk cId="1321919033" sldId="2147483709"/>
            <pc:sldLayoutMk cId="2308232516" sldId="2147483721"/>
          </pc:sldLayoutMkLst>
          <pc:spChg chg="mod">
            <ac:chgData name="Abdi, Adnan" userId="503e002c-9b3b-4180-87fb-acabeb2b158a" providerId="ADAL" clId="{C8378B56-DEB7-4A2E-AD29-424F54BB66C0}" dt="2024-03-18T11:33:02.793" v="1232" actId="20577"/>
            <ac:spMkLst>
              <pc:docMk/>
              <pc:sldMasterMk cId="1321919033" sldId="2147483709"/>
              <pc:sldLayoutMk cId="2308232516" sldId="2147483721"/>
              <ac:spMk id="19" creationId="{00000000-0000-0000-0000-000000000000}"/>
            </ac:spMkLst>
          </pc:spChg>
        </pc:sldLayoutChg>
        <pc:sldLayoutChg chg="modSp mod">
          <pc:chgData name="Abdi, Adnan" userId="503e002c-9b3b-4180-87fb-acabeb2b158a" providerId="ADAL" clId="{C8378B56-DEB7-4A2E-AD29-424F54BB66C0}" dt="2024-03-18T11:33:02.798" v="1233" actId="20577"/>
          <pc:sldLayoutMkLst>
            <pc:docMk/>
            <pc:sldMasterMk cId="1321919033" sldId="2147483709"/>
            <pc:sldLayoutMk cId="2564749296" sldId="2147483722"/>
          </pc:sldLayoutMkLst>
          <pc:spChg chg="mod">
            <ac:chgData name="Abdi, Adnan" userId="503e002c-9b3b-4180-87fb-acabeb2b158a" providerId="ADAL" clId="{C8378B56-DEB7-4A2E-AD29-424F54BB66C0}" dt="2024-03-18T11:33:02.798" v="1233" actId="20577"/>
            <ac:spMkLst>
              <pc:docMk/>
              <pc:sldMasterMk cId="1321919033" sldId="2147483709"/>
              <pc:sldLayoutMk cId="2564749296" sldId="2147483722"/>
              <ac:spMk id="15" creationId="{00000000-0000-0000-0000-000000000000}"/>
            </ac:spMkLst>
          </pc:spChg>
        </pc:sldLayoutChg>
        <pc:sldLayoutChg chg="modSp mod">
          <pc:chgData name="Abdi, Adnan" userId="503e002c-9b3b-4180-87fb-acabeb2b158a" providerId="ADAL" clId="{C8378B56-DEB7-4A2E-AD29-424F54BB66C0}" dt="2024-03-18T11:33:02.803" v="1234" actId="20577"/>
          <pc:sldLayoutMkLst>
            <pc:docMk/>
            <pc:sldMasterMk cId="1321919033" sldId="2147483709"/>
            <pc:sldLayoutMk cId="1297554010" sldId="2147483723"/>
          </pc:sldLayoutMkLst>
          <pc:spChg chg="mod">
            <ac:chgData name="Abdi, Adnan" userId="503e002c-9b3b-4180-87fb-acabeb2b158a" providerId="ADAL" clId="{C8378B56-DEB7-4A2E-AD29-424F54BB66C0}" dt="2024-03-18T11:33:02.803" v="1234" actId="20577"/>
            <ac:spMkLst>
              <pc:docMk/>
              <pc:sldMasterMk cId="1321919033" sldId="2147483709"/>
              <pc:sldLayoutMk cId="1297554010" sldId="2147483723"/>
              <ac:spMk id="12" creationId="{00000000-0000-0000-0000-000000000000}"/>
            </ac:spMkLst>
          </pc:spChg>
        </pc:sldLayoutChg>
        <pc:sldLayoutChg chg="modSp mod">
          <pc:chgData name="Abdi, Adnan" userId="503e002c-9b3b-4180-87fb-acabeb2b158a" providerId="ADAL" clId="{C8378B56-DEB7-4A2E-AD29-424F54BB66C0}" dt="2024-03-18T11:33:02.808" v="1235" actId="20577"/>
          <pc:sldLayoutMkLst>
            <pc:docMk/>
            <pc:sldMasterMk cId="1321919033" sldId="2147483709"/>
            <pc:sldLayoutMk cId="3493635385" sldId="2147483724"/>
          </pc:sldLayoutMkLst>
          <pc:spChg chg="mod">
            <ac:chgData name="Abdi, Adnan" userId="503e002c-9b3b-4180-87fb-acabeb2b158a" providerId="ADAL" clId="{C8378B56-DEB7-4A2E-AD29-424F54BB66C0}" dt="2024-03-18T11:33:02.808" v="1235" actId="20577"/>
            <ac:spMkLst>
              <pc:docMk/>
              <pc:sldMasterMk cId="1321919033" sldId="2147483709"/>
              <pc:sldLayoutMk cId="3493635385" sldId="2147483724"/>
              <ac:spMk id="17" creationId="{00000000-0000-0000-0000-000000000000}"/>
            </ac:spMkLst>
          </pc:spChg>
        </pc:sldLayoutChg>
        <pc:sldLayoutChg chg="modSp mod">
          <pc:chgData name="Abdi, Adnan" userId="503e002c-9b3b-4180-87fb-acabeb2b158a" providerId="ADAL" clId="{C8378B56-DEB7-4A2E-AD29-424F54BB66C0}" dt="2024-03-18T11:33:02.813" v="1236" actId="20577"/>
          <pc:sldLayoutMkLst>
            <pc:docMk/>
            <pc:sldMasterMk cId="1321919033" sldId="2147483709"/>
            <pc:sldLayoutMk cId="3478453705" sldId="2147483725"/>
          </pc:sldLayoutMkLst>
          <pc:spChg chg="mod">
            <ac:chgData name="Abdi, Adnan" userId="503e002c-9b3b-4180-87fb-acabeb2b158a" providerId="ADAL" clId="{C8378B56-DEB7-4A2E-AD29-424F54BB66C0}" dt="2024-03-18T11:33:02.813" v="1236" actId="20577"/>
            <ac:spMkLst>
              <pc:docMk/>
              <pc:sldMasterMk cId="1321919033" sldId="2147483709"/>
              <pc:sldLayoutMk cId="3478453705" sldId="2147483725"/>
              <ac:spMk id="18" creationId="{00000000-0000-0000-0000-000000000000}"/>
            </ac:spMkLst>
          </pc:spChg>
        </pc:sldLayoutChg>
        <pc:sldLayoutChg chg="modSp mod">
          <pc:chgData name="Abdi, Adnan" userId="503e002c-9b3b-4180-87fb-acabeb2b158a" providerId="ADAL" clId="{C8378B56-DEB7-4A2E-AD29-424F54BB66C0}" dt="2024-03-18T11:33:02.818" v="1237" actId="20577"/>
          <pc:sldLayoutMkLst>
            <pc:docMk/>
            <pc:sldMasterMk cId="1321919033" sldId="2147483709"/>
            <pc:sldLayoutMk cId="2131471768" sldId="2147483726"/>
          </pc:sldLayoutMkLst>
          <pc:spChg chg="mod">
            <ac:chgData name="Abdi, Adnan" userId="503e002c-9b3b-4180-87fb-acabeb2b158a" providerId="ADAL" clId="{C8378B56-DEB7-4A2E-AD29-424F54BB66C0}" dt="2024-03-18T11:33:02.818" v="1237" actId="20577"/>
            <ac:spMkLst>
              <pc:docMk/>
              <pc:sldMasterMk cId="1321919033" sldId="2147483709"/>
              <pc:sldLayoutMk cId="2131471768" sldId="2147483726"/>
              <ac:spMk id="19" creationId="{00000000-0000-0000-0000-000000000000}"/>
            </ac:spMkLst>
          </pc:spChg>
        </pc:sldLayoutChg>
        <pc:sldLayoutChg chg="modSp mod">
          <pc:chgData name="Abdi, Adnan" userId="503e002c-9b3b-4180-87fb-acabeb2b158a" providerId="ADAL" clId="{C8378B56-DEB7-4A2E-AD29-424F54BB66C0}" dt="2024-03-18T11:33:02.823" v="1238" actId="20577"/>
          <pc:sldLayoutMkLst>
            <pc:docMk/>
            <pc:sldMasterMk cId="1321919033" sldId="2147483709"/>
            <pc:sldLayoutMk cId="1513786711" sldId="2147483727"/>
          </pc:sldLayoutMkLst>
          <pc:spChg chg="mod">
            <ac:chgData name="Abdi, Adnan" userId="503e002c-9b3b-4180-87fb-acabeb2b158a" providerId="ADAL" clId="{C8378B56-DEB7-4A2E-AD29-424F54BB66C0}" dt="2024-03-18T11:33:02.823" v="1238" actId="20577"/>
            <ac:spMkLst>
              <pc:docMk/>
              <pc:sldMasterMk cId="1321919033" sldId="2147483709"/>
              <pc:sldLayoutMk cId="1513786711" sldId="2147483727"/>
              <ac:spMk id="9" creationId="{00000000-0000-0000-0000-000000000000}"/>
            </ac:spMkLst>
          </pc:spChg>
        </pc:sldLayoutChg>
        <pc:sldLayoutChg chg="modSp mod">
          <pc:chgData name="Abdi, Adnan" userId="503e002c-9b3b-4180-87fb-acabeb2b158a" providerId="ADAL" clId="{C8378B56-DEB7-4A2E-AD29-424F54BB66C0}" dt="2024-03-18T11:33:02.829" v="1239" actId="20577"/>
          <pc:sldLayoutMkLst>
            <pc:docMk/>
            <pc:sldMasterMk cId="1321919033" sldId="2147483709"/>
            <pc:sldLayoutMk cId="449839719" sldId="2147483728"/>
          </pc:sldLayoutMkLst>
          <pc:spChg chg="mod">
            <ac:chgData name="Abdi, Adnan" userId="503e002c-9b3b-4180-87fb-acabeb2b158a" providerId="ADAL" clId="{C8378B56-DEB7-4A2E-AD29-424F54BB66C0}" dt="2024-03-18T11:33:02.829" v="1239" actId="20577"/>
            <ac:spMkLst>
              <pc:docMk/>
              <pc:sldMasterMk cId="1321919033" sldId="2147483709"/>
              <pc:sldLayoutMk cId="449839719" sldId="2147483728"/>
              <ac:spMk id="19" creationId="{00000000-0000-0000-0000-000000000000}"/>
            </ac:spMkLst>
          </pc:spChg>
        </pc:sldLayoutChg>
        <pc:sldLayoutChg chg="modSp mod">
          <pc:chgData name="Abdi, Adnan" userId="503e002c-9b3b-4180-87fb-acabeb2b158a" providerId="ADAL" clId="{C8378B56-DEB7-4A2E-AD29-424F54BB66C0}" dt="2024-03-18T11:33:02.834" v="1240" actId="20577"/>
          <pc:sldLayoutMkLst>
            <pc:docMk/>
            <pc:sldMasterMk cId="1321919033" sldId="2147483709"/>
            <pc:sldLayoutMk cId="149056339" sldId="2147483729"/>
          </pc:sldLayoutMkLst>
          <pc:spChg chg="mod">
            <ac:chgData name="Abdi, Adnan" userId="503e002c-9b3b-4180-87fb-acabeb2b158a" providerId="ADAL" clId="{C8378B56-DEB7-4A2E-AD29-424F54BB66C0}" dt="2024-03-18T11:33:02.834" v="1240" actId="20577"/>
            <ac:spMkLst>
              <pc:docMk/>
              <pc:sldMasterMk cId="1321919033" sldId="2147483709"/>
              <pc:sldLayoutMk cId="149056339" sldId="2147483729"/>
              <ac:spMk id="9" creationId="{00000000-0000-0000-0000-000000000000}"/>
            </ac:spMkLst>
          </pc:spChg>
        </pc:sldLayoutChg>
        <pc:sldLayoutChg chg="modSp mod">
          <pc:chgData name="Abdi, Adnan" userId="503e002c-9b3b-4180-87fb-acabeb2b158a" providerId="ADAL" clId="{C8378B56-DEB7-4A2E-AD29-424F54BB66C0}" dt="2024-03-18T11:33:02.840" v="1241" actId="20577"/>
          <pc:sldLayoutMkLst>
            <pc:docMk/>
            <pc:sldMasterMk cId="1321919033" sldId="2147483709"/>
            <pc:sldLayoutMk cId="1024167323" sldId="2147483730"/>
          </pc:sldLayoutMkLst>
          <pc:spChg chg="mod">
            <ac:chgData name="Abdi, Adnan" userId="503e002c-9b3b-4180-87fb-acabeb2b158a" providerId="ADAL" clId="{C8378B56-DEB7-4A2E-AD29-424F54BB66C0}" dt="2024-03-18T11:33:02.840" v="1241" actId="20577"/>
            <ac:spMkLst>
              <pc:docMk/>
              <pc:sldMasterMk cId="1321919033" sldId="2147483709"/>
              <pc:sldLayoutMk cId="1024167323" sldId="2147483730"/>
              <ac:spMk id="9" creationId="{00000000-0000-0000-0000-000000000000}"/>
            </ac:spMkLst>
          </pc:spChg>
        </pc:sldLayoutChg>
        <pc:sldLayoutChg chg="modSp mod">
          <pc:chgData name="Abdi, Adnan" userId="503e002c-9b3b-4180-87fb-acabeb2b158a" providerId="ADAL" clId="{C8378B56-DEB7-4A2E-AD29-424F54BB66C0}" dt="2024-03-18T11:33:02.847" v="1242" actId="20577"/>
          <pc:sldLayoutMkLst>
            <pc:docMk/>
            <pc:sldMasterMk cId="1321919033" sldId="2147483709"/>
            <pc:sldLayoutMk cId="2547287002" sldId="2147483732"/>
          </pc:sldLayoutMkLst>
          <pc:spChg chg="mod">
            <ac:chgData name="Abdi, Adnan" userId="503e002c-9b3b-4180-87fb-acabeb2b158a" providerId="ADAL" clId="{C8378B56-DEB7-4A2E-AD29-424F54BB66C0}" dt="2024-03-18T11:33:02.847" v="1242" actId="20577"/>
            <ac:spMkLst>
              <pc:docMk/>
              <pc:sldMasterMk cId="1321919033" sldId="2147483709"/>
              <pc:sldLayoutMk cId="2547287002" sldId="2147483732"/>
              <ac:spMk id="11" creationId="{00000000-0000-0000-0000-000000000000}"/>
            </ac:spMkLst>
          </pc:spChg>
        </pc:sldLayoutChg>
        <pc:sldLayoutChg chg="modSp mod">
          <pc:chgData name="Abdi, Adnan" userId="503e002c-9b3b-4180-87fb-acabeb2b158a" providerId="ADAL" clId="{C8378B56-DEB7-4A2E-AD29-424F54BB66C0}" dt="2024-03-18T11:33:02.854" v="1243" actId="20577"/>
          <pc:sldLayoutMkLst>
            <pc:docMk/>
            <pc:sldMasterMk cId="1321919033" sldId="2147483709"/>
            <pc:sldLayoutMk cId="3739821454" sldId="2147483733"/>
          </pc:sldLayoutMkLst>
          <pc:spChg chg="mod">
            <ac:chgData name="Abdi, Adnan" userId="503e002c-9b3b-4180-87fb-acabeb2b158a" providerId="ADAL" clId="{C8378B56-DEB7-4A2E-AD29-424F54BB66C0}" dt="2024-03-18T11:33:02.854" v="1243" actId="20577"/>
            <ac:spMkLst>
              <pc:docMk/>
              <pc:sldMasterMk cId="1321919033" sldId="2147483709"/>
              <pc:sldLayoutMk cId="3739821454" sldId="2147483733"/>
              <ac:spMk id="7" creationId="{00000000-0000-0000-0000-000000000000}"/>
            </ac:spMkLst>
          </pc:spChg>
        </pc:sldLayoutChg>
        <pc:sldLayoutChg chg="modSp mod">
          <pc:chgData name="Abdi, Adnan" userId="503e002c-9b3b-4180-87fb-acabeb2b158a" providerId="ADAL" clId="{C8378B56-DEB7-4A2E-AD29-424F54BB66C0}" dt="2024-03-18T11:33:02.860" v="1244" actId="20577"/>
          <pc:sldLayoutMkLst>
            <pc:docMk/>
            <pc:sldMasterMk cId="1321919033" sldId="2147483709"/>
            <pc:sldLayoutMk cId="2792859724" sldId="2147483734"/>
          </pc:sldLayoutMkLst>
          <pc:spChg chg="mod">
            <ac:chgData name="Abdi, Adnan" userId="503e002c-9b3b-4180-87fb-acabeb2b158a" providerId="ADAL" clId="{C8378B56-DEB7-4A2E-AD29-424F54BB66C0}" dt="2024-03-18T11:33:02.860" v="1244" actId="20577"/>
            <ac:spMkLst>
              <pc:docMk/>
              <pc:sldMasterMk cId="1321919033" sldId="2147483709"/>
              <pc:sldLayoutMk cId="2792859724" sldId="2147483734"/>
              <ac:spMk id="9" creationId="{00000000-0000-0000-0000-000000000000}"/>
            </ac:spMkLst>
          </pc:spChg>
        </pc:sldLayoutChg>
        <pc:sldLayoutChg chg="modSp mod">
          <pc:chgData name="Abdi, Adnan" userId="503e002c-9b3b-4180-87fb-acabeb2b158a" providerId="ADAL" clId="{C8378B56-DEB7-4A2E-AD29-424F54BB66C0}" dt="2024-03-18T11:33:02.867" v="1245" actId="20577"/>
          <pc:sldLayoutMkLst>
            <pc:docMk/>
            <pc:sldMasterMk cId="1321919033" sldId="2147483709"/>
            <pc:sldLayoutMk cId="3141703680" sldId="2147483735"/>
          </pc:sldLayoutMkLst>
          <pc:spChg chg="mod">
            <ac:chgData name="Abdi, Adnan" userId="503e002c-9b3b-4180-87fb-acabeb2b158a" providerId="ADAL" clId="{C8378B56-DEB7-4A2E-AD29-424F54BB66C0}" dt="2024-03-18T11:33:02.867" v="1245" actId="20577"/>
            <ac:spMkLst>
              <pc:docMk/>
              <pc:sldMasterMk cId="1321919033" sldId="2147483709"/>
              <pc:sldLayoutMk cId="3141703680" sldId="2147483735"/>
              <ac:spMk id="10" creationId="{00000000-0000-0000-0000-000000000000}"/>
            </ac:spMkLst>
          </pc:spChg>
        </pc:sldLayoutChg>
        <pc:sldLayoutChg chg="modSp mod">
          <pc:chgData name="Abdi, Adnan" userId="503e002c-9b3b-4180-87fb-acabeb2b158a" providerId="ADAL" clId="{C8378B56-DEB7-4A2E-AD29-424F54BB66C0}" dt="2024-03-18T11:33:02.877" v="1246" actId="20577"/>
          <pc:sldLayoutMkLst>
            <pc:docMk/>
            <pc:sldMasterMk cId="1321919033" sldId="2147483709"/>
            <pc:sldLayoutMk cId="1781009023" sldId="2147483737"/>
          </pc:sldLayoutMkLst>
          <pc:spChg chg="mod">
            <ac:chgData name="Abdi, Adnan" userId="503e002c-9b3b-4180-87fb-acabeb2b158a" providerId="ADAL" clId="{C8378B56-DEB7-4A2E-AD29-424F54BB66C0}" dt="2024-03-18T11:33:02.877" v="1246" actId="20577"/>
            <ac:spMkLst>
              <pc:docMk/>
              <pc:sldMasterMk cId="1321919033" sldId="2147483709"/>
              <pc:sldLayoutMk cId="1781009023" sldId="2147483737"/>
              <ac:spMk id="56" creationId="{00000000-0000-0000-0000-000000000000}"/>
            </ac:spMkLst>
          </pc:spChg>
        </pc:sldLayoutChg>
        <pc:sldLayoutChg chg="modSp mod">
          <pc:chgData name="Abdi, Adnan" userId="503e002c-9b3b-4180-87fb-acabeb2b158a" providerId="ADAL" clId="{C8378B56-DEB7-4A2E-AD29-424F54BB66C0}" dt="2024-03-18T11:33:02.886" v="1247" actId="20577"/>
          <pc:sldLayoutMkLst>
            <pc:docMk/>
            <pc:sldMasterMk cId="1321919033" sldId="2147483709"/>
            <pc:sldLayoutMk cId="586640877" sldId="2147483739"/>
          </pc:sldLayoutMkLst>
          <pc:spChg chg="mod">
            <ac:chgData name="Abdi, Adnan" userId="503e002c-9b3b-4180-87fb-acabeb2b158a" providerId="ADAL" clId="{C8378B56-DEB7-4A2E-AD29-424F54BB66C0}" dt="2024-03-18T11:33:02.886" v="1247" actId="20577"/>
            <ac:spMkLst>
              <pc:docMk/>
              <pc:sldMasterMk cId="1321919033" sldId="2147483709"/>
              <pc:sldLayoutMk cId="586640877" sldId="2147483739"/>
              <ac:spMk id="7" creationId="{00000000-0000-0000-0000-000000000000}"/>
            </ac:spMkLst>
          </pc:spChg>
        </pc:sldLayoutChg>
        <pc:sldLayoutChg chg="modSp mod">
          <pc:chgData name="Abdi, Adnan" userId="503e002c-9b3b-4180-87fb-acabeb2b158a" providerId="ADAL" clId="{C8378B56-DEB7-4A2E-AD29-424F54BB66C0}" dt="2024-03-18T11:33:02.893" v="1248" actId="20577"/>
          <pc:sldLayoutMkLst>
            <pc:docMk/>
            <pc:sldMasterMk cId="1321919033" sldId="2147483709"/>
            <pc:sldLayoutMk cId="224607254" sldId="2147483740"/>
          </pc:sldLayoutMkLst>
          <pc:spChg chg="mod">
            <ac:chgData name="Abdi, Adnan" userId="503e002c-9b3b-4180-87fb-acabeb2b158a" providerId="ADAL" clId="{C8378B56-DEB7-4A2E-AD29-424F54BB66C0}" dt="2024-03-18T11:33:02.893" v="1248" actId="20577"/>
            <ac:spMkLst>
              <pc:docMk/>
              <pc:sldMasterMk cId="1321919033" sldId="2147483709"/>
              <pc:sldLayoutMk cId="224607254" sldId="2147483740"/>
              <ac:spMk id="4" creationId="{00000000-0000-0000-0000-000000000000}"/>
            </ac:spMkLst>
          </pc:spChg>
        </pc:sldLayoutChg>
        <pc:sldLayoutChg chg="modSp mod">
          <pc:chgData name="Abdi, Adnan" userId="503e002c-9b3b-4180-87fb-acabeb2b158a" providerId="ADAL" clId="{C8378B56-DEB7-4A2E-AD29-424F54BB66C0}" dt="2024-03-18T11:33:02.899" v="1249" actId="20577"/>
          <pc:sldLayoutMkLst>
            <pc:docMk/>
            <pc:sldMasterMk cId="1321919033" sldId="2147483709"/>
            <pc:sldLayoutMk cId="4219730401" sldId="2147483741"/>
          </pc:sldLayoutMkLst>
          <pc:spChg chg="mod">
            <ac:chgData name="Abdi, Adnan" userId="503e002c-9b3b-4180-87fb-acabeb2b158a" providerId="ADAL" clId="{C8378B56-DEB7-4A2E-AD29-424F54BB66C0}" dt="2024-03-18T11:33:02.899" v="1249" actId="20577"/>
            <ac:spMkLst>
              <pc:docMk/>
              <pc:sldMasterMk cId="1321919033" sldId="2147483709"/>
              <pc:sldLayoutMk cId="4219730401" sldId="2147483741"/>
              <ac:spMk id="11" creationId="{00000000-0000-0000-0000-000000000000}"/>
            </ac:spMkLst>
          </pc:spChg>
        </pc:sldLayoutChg>
        <pc:sldLayoutChg chg="modSp mod">
          <pc:chgData name="Abdi, Adnan" userId="503e002c-9b3b-4180-87fb-acabeb2b158a" providerId="ADAL" clId="{C8378B56-DEB7-4A2E-AD29-424F54BB66C0}" dt="2024-03-18T11:33:02.906" v="1250" actId="20577"/>
          <pc:sldLayoutMkLst>
            <pc:docMk/>
            <pc:sldMasterMk cId="1321919033" sldId="2147483709"/>
            <pc:sldLayoutMk cId="2754501887" sldId="2147483742"/>
          </pc:sldLayoutMkLst>
          <pc:spChg chg="mod">
            <ac:chgData name="Abdi, Adnan" userId="503e002c-9b3b-4180-87fb-acabeb2b158a" providerId="ADAL" clId="{C8378B56-DEB7-4A2E-AD29-424F54BB66C0}" dt="2024-03-18T11:33:02.906" v="1250" actId="20577"/>
            <ac:spMkLst>
              <pc:docMk/>
              <pc:sldMasterMk cId="1321919033" sldId="2147483709"/>
              <pc:sldLayoutMk cId="2754501887" sldId="2147483742"/>
              <ac:spMk id="12" creationId="{00000000-0000-0000-0000-000000000000}"/>
            </ac:spMkLst>
          </pc:spChg>
        </pc:sldLayoutChg>
        <pc:sldLayoutChg chg="modSp mod">
          <pc:chgData name="Abdi, Adnan" userId="503e002c-9b3b-4180-87fb-acabeb2b158a" providerId="ADAL" clId="{C8378B56-DEB7-4A2E-AD29-424F54BB66C0}" dt="2024-03-18T11:33:02.913" v="1251" actId="20577"/>
          <pc:sldLayoutMkLst>
            <pc:docMk/>
            <pc:sldMasterMk cId="1321919033" sldId="2147483709"/>
            <pc:sldLayoutMk cId="1913671714" sldId="2147483744"/>
          </pc:sldLayoutMkLst>
          <pc:spChg chg="mod">
            <ac:chgData name="Abdi, Adnan" userId="503e002c-9b3b-4180-87fb-acabeb2b158a" providerId="ADAL" clId="{C8378B56-DEB7-4A2E-AD29-424F54BB66C0}" dt="2024-03-18T11:33:02.913" v="1251" actId="20577"/>
            <ac:spMkLst>
              <pc:docMk/>
              <pc:sldMasterMk cId="1321919033" sldId="2147483709"/>
              <pc:sldLayoutMk cId="1913671714" sldId="2147483744"/>
              <ac:spMk id="22" creationId="{00000000-0000-0000-0000-000000000000}"/>
            </ac:spMkLst>
          </pc:spChg>
        </pc:sldLayoutChg>
        <pc:sldLayoutChg chg="modSp mod">
          <pc:chgData name="Abdi, Adnan" userId="503e002c-9b3b-4180-87fb-acabeb2b158a" providerId="ADAL" clId="{C8378B56-DEB7-4A2E-AD29-424F54BB66C0}" dt="2024-03-18T11:33:02.921" v="1252" actId="20577"/>
          <pc:sldLayoutMkLst>
            <pc:docMk/>
            <pc:sldMasterMk cId="1321919033" sldId="2147483709"/>
            <pc:sldLayoutMk cId="699858913" sldId="2147483745"/>
          </pc:sldLayoutMkLst>
          <pc:spChg chg="mod">
            <ac:chgData name="Abdi, Adnan" userId="503e002c-9b3b-4180-87fb-acabeb2b158a" providerId="ADAL" clId="{C8378B56-DEB7-4A2E-AD29-424F54BB66C0}" dt="2024-03-18T11:33:02.921" v="1252" actId="20577"/>
            <ac:spMkLst>
              <pc:docMk/>
              <pc:sldMasterMk cId="1321919033" sldId="2147483709"/>
              <pc:sldLayoutMk cId="699858913" sldId="2147483745"/>
              <ac:spMk id="21" creationId="{00000000-0000-0000-0000-000000000000}"/>
            </ac:spMkLst>
          </pc:spChg>
        </pc:sldLayoutChg>
        <pc:sldLayoutChg chg="modSp mod">
          <pc:chgData name="Abdi, Adnan" userId="503e002c-9b3b-4180-87fb-acabeb2b158a" providerId="ADAL" clId="{C8378B56-DEB7-4A2E-AD29-424F54BB66C0}" dt="2024-03-18T11:33:02.927" v="1253" actId="20577"/>
          <pc:sldLayoutMkLst>
            <pc:docMk/>
            <pc:sldMasterMk cId="1321919033" sldId="2147483709"/>
            <pc:sldLayoutMk cId="1645836740" sldId="2147483746"/>
          </pc:sldLayoutMkLst>
          <pc:spChg chg="mod">
            <ac:chgData name="Abdi, Adnan" userId="503e002c-9b3b-4180-87fb-acabeb2b158a" providerId="ADAL" clId="{C8378B56-DEB7-4A2E-AD29-424F54BB66C0}" dt="2024-03-18T11:33:02.927" v="1253" actId="20577"/>
            <ac:spMkLst>
              <pc:docMk/>
              <pc:sldMasterMk cId="1321919033" sldId="2147483709"/>
              <pc:sldLayoutMk cId="1645836740" sldId="2147483746"/>
              <ac:spMk id="22" creationId="{00000000-0000-0000-0000-000000000000}"/>
            </ac:spMkLst>
          </pc:spChg>
        </pc:sldLayoutChg>
        <pc:sldLayoutChg chg="modSp mod">
          <pc:chgData name="Abdi, Adnan" userId="503e002c-9b3b-4180-87fb-acabeb2b158a" providerId="ADAL" clId="{C8378B56-DEB7-4A2E-AD29-424F54BB66C0}" dt="2024-03-18T11:33:02.935" v="1254" actId="20577"/>
          <pc:sldLayoutMkLst>
            <pc:docMk/>
            <pc:sldMasterMk cId="1321919033" sldId="2147483709"/>
            <pc:sldLayoutMk cId="4119940246" sldId="2147483747"/>
          </pc:sldLayoutMkLst>
          <pc:spChg chg="mod">
            <ac:chgData name="Abdi, Adnan" userId="503e002c-9b3b-4180-87fb-acabeb2b158a" providerId="ADAL" clId="{C8378B56-DEB7-4A2E-AD29-424F54BB66C0}" dt="2024-03-18T11:33:02.935" v="1254" actId="20577"/>
            <ac:spMkLst>
              <pc:docMk/>
              <pc:sldMasterMk cId="1321919033" sldId="2147483709"/>
              <pc:sldLayoutMk cId="4119940246" sldId="2147483747"/>
              <ac:spMk id="29" creationId="{00000000-0000-0000-0000-000000000000}"/>
            </ac:spMkLst>
          </pc:spChg>
        </pc:sldLayoutChg>
        <pc:sldLayoutChg chg="modSp mod">
          <pc:chgData name="Abdi, Adnan" userId="503e002c-9b3b-4180-87fb-acabeb2b158a" providerId="ADAL" clId="{C8378B56-DEB7-4A2E-AD29-424F54BB66C0}" dt="2024-03-18T11:33:02.942" v="1255" actId="20577"/>
          <pc:sldLayoutMkLst>
            <pc:docMk/>
            <pc:sldMasterMk cId="1321919033" sldId="2147483709"/>
            <pc:sldLayoutMk cId="1514315304" sldId="2147483748"/>
          </pc:sldLayoutMkLst>
          <pc:spChg chg="mod">
            <ac:chgData name="Abdi, Adnan" userId="503e002c-9b3b-4180-87fb-acabeb2b158a" providerId="ADAL" clId="{C8378B56-DEB7-4A2E-AD29-424F54BB66C0}" dt="2024-03-18T11:33:02.942" v="1255" actId="20577"/>
            <ac:spMkLst>
              <pc:docMk/>
              <pc:sldMasterMk cId="1321919033" sldId="2147483709"/>
              <pc:sldLayoutMk cId="1514315304" sldId="2147483748"/>
              <ac:spMk id="17" creationId="{00000000-0000-0000-0000-000000000000}"/>
            </ac:spMkLst>
          </pc:spChg>
        </pc:sldLayoutChg>
        <pc:sldLayoutChg chg="modSp mod">
          <pc:chgData name="Abdi, Adnan" userId="503e002c-9b3b-4180-87fb-acabeb2b158a" providerId="ADAL" clId="{C8378B56-DEB7-4A2E-AD29-424F54BB66C0}" dt="2024-03-18T11:33:02.948" v="1256" actId="20577"/>
          <pc:sldLayoutMkLst>
            <pc:docMk/>
            <pc:sldMasterMk cId="1321919033" sldId="2147483709"/>
            <pc:sldLayoutMk cId="4097420213" sldId="2147483749"/>
          </pc:sldLayoutMkLst>
          <pc:spChg chg="mod">
            <ac:chgData name="Abdi, Adnan" userId="503e002c-9b3b-4180-87fb-acabeb2b158a" providerId="ADAL" clId="{C8378B56-DEB7-4A2E-AD29-424F54BB66C0}" dt="2024-03-18T11:33:02.948" v="1256" actId="20577"/>
            <ac:spMkLst>
              <pc:docMk/>
              <pc:sldMasterMk cId="1321919033" sldId="2147483709"/>
              <pc:sldLayoutMk cId="4097420213" sldId="2147483749"/>
              <ac:spMk id="9" creationId="{00000000-0000-0000-0000-000000000000}"/>
            </ac:spMkLst>
          </pc:spChg>
        </pc:sldLayoutChg>
        <pc:sldLayoutChg chg="modSp mod">
          <pc:chgData name="Abdi, Adnan" userId="503e002c-9b3b-4180-87fb-acabeb2b158a" providerId="ADAL" clId="{C8378B56-DEB7-4A2E-AD29-424F54BB66C0}" dt="2024-03-18T11:33:02.954" v="1257" actId="20577"/>
          <pc:sldLayoutMkLst>
            <pc:docMk/>
            <pc:sldMasterMk cId="1321919033" sldId="2147483709"/>
            <pc:sldLayoutMk cId="2764074375" sldId="2147483750"/>
          </pc:sldLayoutMkLst>
          <pc:spChg chg="mod">
            <ac:chgData name="Abdi, Adnan" userId="503e002c-9b3b-4180-87fb-acabeb2b158a" providerId="ADAL" clId="{C8378B56-DEB7-4A2E-AD29-424F54BB66C0}" dt="2024-03-18T11:33:02.954" v="1257" actId="20577"/>
            <ac:spMkLst>
              <pc:docMk/>
              <pc:sldMasterMk cId="1321919033" sldId="2147483709"/>
              <pc:sldLayoutMk cId="2764074375" sldId="2147483750"/>
              <ac:spMk id="11" creationId="{00000000-0000-0000-0000-000000000000}"/>
            </ac:spMkLst>
          </pc:spChg>
        </pc:sldLayoutChg>
        <pc:sldLayoutChg chg="modSp mod">
          <pc:chgData name="Abdi, Adnan" userId="503e002c-9b3b-4180-87fb-acabeb2b158a" providerId="ADAL" clId="{C8378B56-DEB7-4A2E-AD29-424F54BB66C0}" dt="2024-03-18T11:33:02.960" v="1258" actId="20577"/>
          <pc:sldLayoutMkLst>
            <pc:docMk/>
            <pc:sldMasterMk cId="1321919033" sldId="2147483709"/>
            <pc:sldLayoutMk cId="359139316" sldId="2147483751"/>
          </pc:sldLayoutMkLst>
          <pc:spChg chg="mod">
            <ac:chgData name="Abdi, Adnan" userId="503e002c-9b3b-4180-87fb-acabeb2b158a" providerId="ADAL" clId="{C8378B56-DEB7-4A2E-AD29-424F54BB66C0}" dt="2024-03-18T11:33:02.960" v="1258" actId="20577"/>
            <ac:spMkLst>
              <pc:docMk/>
              <pc:sldMasterMk cId="1321919033" sldId="2147483709"/>
              <pc:sldLayoutMk cId="359139316" sldId="2147483751"/>
              <ac:spMk id="17" creationId="{00000000-0000-0000-0000-000000000000}"/>
            </ac:spMkLst>
          </pc:spChg>
        </pc:sldLayoutChg>
        <pc:sldLayoutChg chg="modSp mod">
          <pc:chgData name="Abdi, Adnan" userId="503e002c-9b3b-4180-87fb-acabeb2b158a" providerId="ADAL" clId="{C8378B56-DEB7-4A2E-AD29-424F54BB66C0}" dt="2024-03-18T11:33:02.966" v="1259" actId="20577"/>
          <pc:sldLayoutMkLst>
            <pc:docMk/>
            <pc:sldMasterMk cId="1321919033" sldId="2147483709"/>
            <pc:sldLayoutMk cId="2410456978" sldId="2147483752"/>
          </pc:sldLayoutMkLst>
          <pc:spChg chg="mod">
            <ac:chgData name="Abdi, Adnan" userId="503e002c-9b3b-4180-87fb-acabeb2b158a" providerId="ADAL" clId="{C8378B56-DEB7-4A2E-AD29-424F54BB66C0}" dt="2024-03-18T11:33:02.966" v="1259" actId="20577"/>
            <ac:spMkLst>
              <pc:docMk/>
              <pc:sldMasterMk cId="1321919033" sldId="2147483709"/>
              <pc:sldLayoutMk cId="2410456978" sldId="2147483752"/>
              <ac:spMk id="17" creationId="{00000000-0000-0000-0000-000000000000}"/>
            </ac:spMkLst>
          </pc:spChg>
        </pc:sldLayoutChg>
        <pc:sldLayoutChg chg="modSp mod">
          <pc:chgData name="Abdi, Adnan" userId="503e002c-9b3b-4180-87fb-acabeb2b158a" providerId="ADAL" clId="{C8378B56-DEB7-4A2E-AD29-424F54BB66C0}" dt="2024-03-18T11:33:02.973" v="1260" actId="20577"/>
          <pc:sldLayoutMkLst>
            <pc:docMk/>
            <pc:sldMasterMk cId="1321919033" sldId="2147483709"/>
            <pc:sldLayoutMk cId="3409168702" sldId="2147483753"/>
          </pc:sldLayoutMkLst>
          <pc:spChg chg="mod">
            <ac:chgData name="Abdi, Adnan" userId="503e002c-9b3b-4180-87fb-acabeb2b158a" providerId="ADAL" clId="{C8378B56-DEB7-4A2E-AD29-424F54BB66C0}" dt="2024-03-18T11:33:02.973" v="1260" actId="20577"/>
            <ac:spMkLst>
              <pc:docMk/>
              <pc:sldMasterMk cId="1321919033" sldId="2147483709"/>
              <pc:sldLayoutMk cId="3409168702" sldId="2147483753"/>
              <ac:spMk id="15" creationId="{00000000-0000-0000-0000-000000000000}"/>
            </ac:spMkLst>
          </pc:spChg>
        </pc:sldLayoutChg>
        <pc:sldLayoutChg chg="modSp mod">
          <pc:chgData name="Abdi, Adnan" userId="503e002c-9b3b-4180-87fb-acabeb2b158a" providerId="ADAL" clId="{C8378B56-DEB7-4A2E-AD29-424F54BB66C0}" dt="2024-03-18T11:33:02.979" v="1261" actId="20577"/>
          <pc:sldLayoutMkLst>
            <pc:docMk/>
            <pc:sldMasterMk cId="1321919033" sldId="2147483709"/>
            <pc:sldLayoutMk cId="3744281120" sldId="2147483754"/>
          </pc:sldLayoutMkLst>
          <pc:spChg chg="mod">
            <ac:chgData name="Abdi, Adnan" userId="503e002c-9b3b-4180-87fb-acabeb2b158a" providerId="ADAL" clId="{C8378B56-DEB7-4A2E-AD29-424F54BB66C0}" dt="2024-03-18T11:33:02.979" v="1261" actId="20577"/>
            <ac:spMkLst>
              <pc:docMk/>
              <pc:sldMasterMk cId="1321919033" sldId="2147483709"/>
              <pc:sldLayoutMk cId="3744281120" sldId="2147483754"/>
              <ac:spMk id="18" creationId="{00000000-0000-0000-0000-000000000000}"/>
            </ac:spMkLst>
          </pc:spChg>
        </pc:sldLayoutChg>
        <pc:sldLayoutChg chg="modSp mod">
          <pc:chgData name="Abdi, Adnan" userId="503e002c-9b3b-4180-87fb-acabeb2b158a" providerId="ADAL" clId="{C8378B56-DEB7-4A2E-AD29-424F54BB66C0}" dt="2024-03-18T11:33:02.986" v="1262" actId="20577"/>
          <pc:sldLayoutMkLst>
            <pc:docMk/>
            <pc:sldMasterMk cId="1321919033" sldId="2147483709"/>
            <pc:sldLayoutMk cId="2640744768" sldId="2147483755"/>
          </pc:sldLayoutMkLst>
          <pc:spChg chg="mod">
            <ac:chgData name="Abdi, Adnan" userId="503e002c-9b3b-4180-87fb-acabeb2b158a" providerId="ADAL" clId="{C8378B56-DEB7-4A2E-AD29-424F54BB66C0}" dt="2024-03-18T11:33:02.986" v="1262" actId="20577"/>
            <ac:spMkLst>
              <pc:docMk/>
              <pc:sldMasterMk cId="1321919033" sldId="2147483709"/>
              <pc:sldLayoutMk cId="2640744768" sldId="2147483755"/>
              <ac:spMk id="15" creationId="{00000000-0000-0000-0000-000000000000}"/>
            </ac:spMkLst>
          </pc:spChg>
        </pc:sldLayoutChg>
        <pc:sldLayoutChg chg="modSp mod">
          <pc:chgData name="Abdi, Adnan" userId="503e002c-9b3b-4180-87fb-acabeb2b158a" providerId="ADAL" clId="{C8378B56-DEB7-4A2E-AD29-424F54BB66C0}" dt="2024-03-18T11:33:02.992" v="1263" actId="20577"/>
          <pc:sldLayoutMkLst>
            <pc:docMk/>
            <pc:sldMasterMk cId="1321919033" sldId="2147483709"/>
            <pc:sldLayoutMk cId="3145618423" sldId="2147483756"/>
          </pc:sldLayoutMkLst>
          <pc:spChg chg="mod">
            <ac:chgData name="Abdi, Adnan" userId="503e002c-9b3b-4180-87fb-acabeb2b158a" providerId="ADAL" clId="{C8378B56-DEB7-4A2E-AD29-424F54BB66C0}" dt="2024-03-18T11:33:02.992" v="1263" actId="20577"/>
            <ac:spMkLst>
              <pc:docMk/>
              <pc:sldMasterMk cId="1321919033" sldId="2147483709"/>
              <pc:sldLayoutMk cId="3145618423" sldId="2147483756"/>
              <ac:spMk id="9" creationId="{00000000-0000-0000-0000-000000000000}"/>
            </ac:spMkLst>
          </pc:spChg>
        </pc:sldLayoutChg>
        <pc:sldLayoutChg chg="modSp mod">
          <pc:chgData name="Abdi, Adnan" userId="503e002c-9b3b-4180-87fb-acabeb2b158a" providerId="ADAL" clId="{C8378B56-DEB7-4A2E-AD29-424F54BB66C0}" dt="2024-03-18T11:33:02.999" v="1264" actId="20577"/>
          <pc:sldLayoutMkLst>
            <pc:docMk/>
            <pc:sldMasterMk cId="1321919033" sldId="2147483709"/>
            <pc:sldLayoutMk cId="389841817" sldId="2147483757"/>
          </pc:sldLayoutMkLst>
          <pc:spChg chg="mod">
            <ac:chgData name="Abdi, Adnan" userId="503e002c-9b3b-4180-87fb-acabeb2b158a" providerId="ADAL" clId="{C8378B56-DEB7-4A2E-AD29-424F54BB66C0}" dt="2024-03-18T11:33:02.999" v="1264" actId="20577"/>
            <ac:spMkLst>
              <pc:docMk/>
              <pc:sldMasterMk cId="1321919033" sldId="2147483709"/>
              <pc:sldLayoutMk cId="389841817" sldId="2147483757"/>
              <ac:spMk id="19" creationId="{00000000-0000-0000-0000-000000000000}"/>
            </ac:spMkLst>
          </pc:spChg>
        </pc:sldLayoutChg>
        <pc:sldLayoutChg chg="modSp mod">
          <pc:chgData name="Abdi, Adnan" userId="503e002c-9b3b-4180-87fb-acabeb2b158a" providerId="ADAL" clId="{C8378B56-DEB7-4A2E-AD29-424F54BB66C0}" dt="2024-03-18T11:33:03.005" v="1265" actId="20577"/>
          <pc:sldLayoutMkLst>
            <pc:docMk/>
            <pc:sldMasterMk cId="1321919033" sldId="2147483709"/>
            <pc:sldLayoutMk cId="1818560159" sldId="2147483758"/>
          </pc:sldLayoutMkLst>
          <pc:spChg chg="mod">
            <ac:chgData name="Abdi, Adnan" userId="503e002c-9b3b-4180-87fb-acabeb2b158a" providerId="ADAL" clId="{C8378B56-DEB7-4A2E-AD29-424F54BB66C0}" dt="2024-03-18T11:33:03.005" v="1265" actId="20577"/>
            <ac:spMkLst>
              <pc:docMk/>
              <pc:sldMasterMk cId="1321919033" sldId="2147483709"/>
              <pc:sldLayoutMk cId="1818560159" sldId="2147483758"/>
              <ac:spMk id="9" creationId="{00000000-0000-0000-0000-000000000000}"/>
            </ac:spMkLst>
          </pc:spChg>
        </pc:sldLayoutChg>
        <pc:sldLayoutChg chg="modSp mod">
          <pc:chgData name="Abdi, Adnan" userId="503e002c-9b3b-4180-87fb-acabeb2b158a" providerId="ADAL" clId="{C8378B56-DEB7-4A2E-AD29-424F54BB66C0}" dt="2024-03-18T11:33:03.012" v="1266" actId="20577"/>
          <pc:sldLayoutMkLst>
            <pc:docMk/>
            <pc:sldMasterMk cId="1321919033" sldId="2147483709"/>
            <pc:sldLayoutMk cId="1643928076" sldId="2147483759"/>
          </pc:sldLayoutMkLst>
          <pc:spChg chg="mod">
            <ac:chgData name="Abdi, Adnan" userId="503e002c-9b3b-4180-87fb-acabeb2b158a" providerId="ADAL" clId="{C8378B56-DEB7-4A2E-AD29-424F54BB66C0}" dt="2024-03-18T11:33:03.012" v="1266" actId="20577"/>
            <ac:spMkLst>
              <pc:docMk/>
              <pc:sldMasterMk cId="1321919033" sldId="2147483709"/>
              <pc:sldLayoutMk cId="1643928076" sldId="2147483759"/>
              <ac:spMk id="11" creationId="{00000000-0000-0000-0000-000000000000}"/>
            </ac:spMkLst>
          </pc:spChg>
        </pc:sldLayoutChg>
        <pc:sldLayoutChg chg="modSp mod">
          <pc:chgData name="Abdi, Adnan" userId="503e002c-9b3b-4180-87fb-acabeb2b158a" providerId="ADAL" clId="{C8378B56-DEB7-4A2E-AD29-424F54BB66C0}" dt="2024-03-18T11:33:03.020" v="1267" actId="20577"/>
          <pc:sldLayoutMkLst>
            <pc:docMk/>
            <pc:sldMasterMk cId="1321919033" sldId="2147483709"/>
            <pc:sldLayoutMk cId="862921277" sldId="2147483761"/>
          </pc:sldLayoutMkLst>
          <pc:spChg chg="mod">
            <ac:chgData name="Abdi, Adnan" userId="503e002c-9b3b-4180-87fb-acabeb2b158a" providerId="ADAL" clId="{C8378B56-DEB7-4A2E-AD29-424F54BB66C0}" dt="2024-03-18T11:33:03.020" v="1267" actId="20577"/>
            <ac:spMkLst>
              <pc:docMk/>
              <pc:sldMasterMk cId="1321919033" sldId="2147483709"/>
              <pc:sldLayoutMk cId="862921277" sldId="2147483761"/>
              <ac:spMk id="11" creationId="{00000000-0000-0000-0000-000000000000}"/>
            </ac:spMkLst>
          </pc:spChg>
        </pc:sldLayoutChg>
        <pc:sldLayoutChg chg="modSp mod">
          <pc:chgData name="Abdi, Adnan" userId="503e002c-9b3b-4180-87fb-acabeb2b158a" providerId="ADAL" clId="{C8378B56-DEB7-4A2E-AD29-424F54BB66C0}" dt="2024-03-18T11:33:03.027" v="1268" actId="20577"/>
          <pc:sldLayoutMkLst>
            <pc:docMk/>
            <pc:sldMasterMk cId="1321919033" sldId="2147483709"/>
            <pc:sldLayoutMk cId="1459257501" sldId="2147483762"/>
          </pc:sldLayoutMkLst>
          <pc:spChg chg="mod">
            <ac:chgData name="Abdi, Adnan" userId="503e002c-9b3b-4180-87fb-acabeb2b158a" providerId="ADAL" clId="{C8378B56-DEB7-4A2E-AD29-424F54BB66C0}" dt="2024-03-18T11:33:03.027" v="1268" actId="20577"/>
            <ac:spMkLst>
              <pc:docMk/>
              <pc:sldMasterMk cId="1321919033" sldId="2147483709"/>
              <pc:sldLayoutMk cId="1459257501" sldId="2147483762"/>
              <ac:spMk id="24" creationId="{00000000-0000-0000-0000-000000000000}"/>
            </ac:spMkLst>
          </pc:spChg>
        </pc:sldLayoutChg>
        <pc:sldLayoutChg chg="modSp mod">
          <pc:chgData name="Abdi, Adnan" userId="503e002c-9b3b-4180-87fb-acabeb2b158a" providerId="ADAL" clId="{C8378B56-DEB7-4A2E-AD29-424F54BB66C0}" dt="2024-03-18T11:33:03.034" v="1269" actId="20577"/>
          <pc:sldLayoutMkLst>
            <pc:docMk/>
            <pc:sldMasterMk cId="1321919033" sldId="2147483709"/>
            <pc:sldLayoutMk cId="1512893451" sldId="2147483763"/>
          </pc:sldLayoutMkLst>
          <pc:spChg chg="mod">
            <ac:chgData name="Abdi, Adnan" userId="503e002c-9b3b-4180-87fb-acabeb2b158a" providerId="ADAL" clId="{C8378B56-DEB7-4A2E-AD29-424F54BB66C0}" dt="2024-03-18T11:33:03.034" v="1269" actId="20577"/>
            <ac:spMkLst>
              <pc:docMk/>
              <pc:sldMasterMk cId="1321919033" sldId="2147483709"/>
              <pc:sldLayoutMk cId="1512893451" sldId="2147483763"/>
              <ac:spMk id="9" creationId="{00000000-0000-0000-0000-000000000000}"/>
            </ac:spMkLst>
          </pc:spChg>
        </pc:sldLayoutChg>
        <pc:sldLayoutChg chg="modSp mod">
          <pc:chgData name="Abdi, Adnan" userId="503e002c-9b3b-4180-87fb-acabeb2b158a" providerId="ADAL" clId="{C8378B56-DEB7-4A2E-AD29-424F54BB66C0}" dt="2024-03-18T11:33:03.040" v="1270" actId="20577"/>
          <pc:sldLayoutMkLst>
            <pc:docMk/>
            <pc:sldMasterMk cId="1321919033" sldId="2147483709"/>
            <pc:sldLayoutMk cId="2724959756" sldId="2147483764"/>
          </pc:sldLayoutMkLst>
          <pc:spChg chg="mod">
            <ac:chgData name="Abdi, Adnan" userId="503e002c-9b3b-4180-87fb-acabeb2b158a" providerId="ADAL" clId="{C8378B56-DEB7-4A2E-AD29-424F54BB66C0}" dt="2024-03-18T11:33:03.040" v="1270" actId="20577"/>
            <ac:spMkLst>
              <pc:docMk/>
              <pc:sldMasterMk cId="1321919033" sldId="2147483709"/>
              <pc:sldLayoutMk cId="2724959756" sldId="2147483764"/>
              <ac:spMk id="5" creationId="{00000000-0000-0000-0000-000000000000}"/>
            </ac:spMkLst>
          </pc:spChg>
        </pc:sldLayoutChg>
        <pc:sldLayoutChg chg="modSp mod">
          <pc:chgData name="Abdi, Adnan" userId="503e002c-9b3b-4180-87fb-acabeb2b158a" providerId="ADAL" clId="{C8378B56-DEB7-4A2E-AD29-424F54BB66C0}" dt="2024-03-18T11:33:03.048" v="1271" actId="20577"/>
          <pc:sldLayoutMkLst>
            <pc:docMk/>
            <pc:sldMasterMk cId="1321919033" sldId="2147483709"/>
            <pc:sldLayoutMk cId="3066741548" sldId="2147483765"/>
          </pc:sldLayoutMkLst>
          <pc:spChg chg="mod">
            <ac:chgData name="Abdi, Adnan" userId="503e002c-9b3b-4180-87fb-acabeb2b158a" providerId="ADAL" clId="{C8378B56-DEB7-4A2E-AD29-424F54BB66C0}" dt="2024-03-18T11:33:03.048" v="1271" actId="20577"/>
            <ac:spMkLst>
              <pc:docMk/>
              <pc:sldMasterMk cId="1321919033" sldId="2147483709"/>
              <pc:sldLayoutMk cId="3066741548" sldId="2147483765"/>
              <ac:spMk id="10" creationId="{00000000-0000-0000-0000-000000000000}"/>
            </ac:spMkLst>
          </pc:spChg>
        </pc:sldLayoutChg>
        <pc:sldLayoutChg chg="modSp mod">
          <pc:chgData name="Abdi, Adnan" userId="503e002c-9b3b-4180-87fb-acabeb2b158a" providerId="ADAL" clId="{C8378B56-DEB7-4A2E-AD29-424F54BB66C0}" dt="2024-03-18T11:33:03.057" v="1272" actId="20577"/>
          <pc:sldLayoutMkLst>
            <pc:docMk/>
            <pc:sldMasterMk cId="1321919033" sldId="2147483709"/>
            <pc:sldLayoutMk cId="980742490" sldId="2147483767"/>
          </pc:sldLayoutMkLst>
          <pc:spChg chg="mod">
            <ac:chgData name="Abdi, Adnan" userId="503e002c-9b3b-4180-87fb-acabeb2b158a" providerId="ADAL" clId="{C8378B56-DEB7-4A2E-AD29-424F54BB66C0}" dt="2024-03-18T11:33:03.057" v="1272" actId="20577"/>
            <ac:spMkLst>
              <pc:docMk/>
              <pc:sldMasterMk cId="1321919033" sldId="2147483709"/>
              <pc:sldLayoutMk cId="980742490" sldId="2147483767"/>
              <ac:spMk id="56" creationId="{00000000-0000-0000-0000-000000000000}"/>
            </ac:spMkLst>
          </pc:spChg>
        </pc:sldLayoutChg>
        <pc:sldLayoutChg chg="modSp mod">
          <pc:chgData name="Abdi, Adnan" userId="503e002c-9b3b-4180-87fb-acabeb2b158a" providerId="ADAL" clId="{C8378B56-DEB7-4A2E-AD29-424F54BB66C0}" dt="2024-03-18T11:33:03.064" v="1273" actId="20577"/>
          <pc:sldLayoutMkLst>
            <pc:docMk/>
            <pc:sldMasterMk cId="1321919033" sldId="2147483709"/>
            <pc:sldLayoutMk cId="3046473342" sldId="2147483768"/>
          </pc:sldLayoutMkLst>
          <pc:spChg chg="mod">
            <ac:chgData name="Abdi, Adnan" userId="503e002c-9b3b-4180-87fb-acabeb2b158a" providerId="ADAL" clId="{C8378B56-DEB7-4A2E-AD29-424F54BB66C0}" dt="2024-03-18T11:33:03.064" v="1273" actId="20577"/>
            <ac:spMkLst>
              <pc:docMk/>
              <pc:sldMasterMk cId="1321919033" sldId="2147483709"/>
              <pc:sldLayoutMk cId="3046473342" sldId="2147483768"/>
              <ac:spMk id="9" creationId="{00000000-0000-0000-0000-000000000000}"/>
            </ac:spMkLst>
          </pc:spChg>
        </pc:sldLayoutChg>
        <pc:sldLayoutChg chg="modSp mod">
          <pc:chgData name="Abdi, Adnan" userId="503e002c-9b3b-4180-87fb-acabeb2b158a" providerId="ADAL" clId="{C8378B56-DEB7-4A2E-AD29-424F54BB66C0}" dt="2024-03-18T11:33:03.070" v="1274" actId="20577"/>
          <pc:sldLayoutMkLst>
            <pc:docMk/>
            <pc:sldMasterMk cId="1321919033" sldId="2147483709"/>
            <pc:sldLayoutMk cId="1402545839" sldId="2147483769"/>
          </pc:sldLayoutMkLst>
          <pc:spChg chg="mod">
            <ac:chgData name="Abdi, Adnan" userId="503e002c-9b3b-4180-87fb-acabeb2b158a" providerId="ADAL" clId="{C8378B56-DEB7-4A2E-AD29-424F54BB66C0}" dt="2024-03-18T11:33:03.070" v="1274" actId="20577"/>
            <ac:spMkLst>
              <pc:docMk/>
              <pc:sldMasterMk cId="1321919033" sldId="2147483709"/>
              <pc:sldLayoutMk cId="1402545839" sldId="2147483769"/>
              <ac:spMk id="9" creationId="{00000000-0000-0000-0000-000000000000}"/>
            </ac:spMkLst>
          </pc:spChg>
        </pc:sldLayoutChg>
        <pc:sldLayoutChg chg="modSp mod">
          <pc:chgData name="Abdi, Adnan" userId="503e002c-9b3b-4180-87fb-acabeb2b158a" providerId="ADAL" clId="{C8378B56-DEB7-4A2E-AD29-424F54BB66C0}" dt="2024-03-18T11:33:03.078" v="1275" actId="20577"/>
          <pc:sldLayoutMkLst>
            <pc:docMk/>
            <pc:sldMasterMk cId="1321919033" sldId="2147483709"/>
            <pc:sldLayoutMk cId="1247484813" sldId="2147483770"/>
          </pc:sldLayoutMkLst>
          <pc:spChg chg="mod">
            <ac:chgData name="Abdi, Adnan" userId="503e002c-9b3b-4180-87fb-acabeb2b158a" providerId="ADAL" clId="{C8378B56-DEB7-4A2E-AD29-424F54BB66C0}" dt="2024-03-18T11:33:03.078" v="1275" actId="20577"/>
            <ac:spMkLst>
              <pc:docMk/>
              <pc:sldMasterMk cId="1321919033" sldId="2147483709"/>
              <pc:sldLayoutMk cId="1247484813" sldId="2147483770"/>
              <ac:spMk id="9" creationId="{00000000-0000-0000-0000-000000000000}"/>
            </ac:spMkLst>
          </pc:spChg>
        </pc:sldLayoutChg>
        <pc:sldLayoutChg chg="modSp mod">
          <pc:chgData name="Abdi, Adnan" userId="503e002c-9b3b-4180-87fb-acabeb2b158a" providerId="ADAL" clId="{C8378B56-DEB7-4A2E-AD29-424F54BB66C0}" dt="2024-03-18T11:33:03.084" v="1276" actId="20577"/>
          <pc:sldLayoutMkLst>
            <pc:docMk/>
            <pc:sldMasterMk cId="1321919033" sldId="2147483709"/>
            <pc:sldLayoutMk cId="3576338500" sldId="2147483771"/>
          </pc:sldLayoutMkLst>
          <pc:spChg chg="mod">
            <ac:chgData name="Abdi, Adnan" userId="503e002c-9b3b-4180-87fb-acabeb2b158a" providerId="ADAL" clId="{C8378B56-DEB7-4A2E-AD29-424F54BB66C0}" dt="2024-03-18T11:33:03.084" v="1276" actId="20577"/>
            <ac:spMkLst>
              <pc:docMk/>
              <pc:sldMasterMk cId="1321919033" sldId="2147483709"/>
              <pc:sldLayoutMk cId="3576338500" sldId="2147483771"/>
              <ac:spMk id="16" creationId="{00000000-0000-0000-0000-000000000000}"/>
            </ac:spMkLst>
          </pc:spChg>
        </pc:sldLayoutChg>
        <pc:sldLayoutChg chg="modSp mod">
          <pc:chgData name="Abdi, Adnan" userId="503e002c-9b3b-4180-87fb-acabeb2b158a" providerId="ADAL" clId="{C8378B56-DEB7-4A2E-AD29-424F54BB66C0}" dt="2024-03-18T11:33:03.091" v="1277" actId="20577"/>
          <pc:sldLayoutMkLst>
            <pc:docMk/>
            <pc:sldMasterMk cId="1321919033" sldId="2147483709"/>
            <pc:sldLayoutMk cId="541514303" sldId="2147483772"/>
          </pc:sldLayoutMkLst>
          <pc:spChg chg="mod">
            <ac:chgData name="Abdi, Adnan" userId="503e002c-9b3b-4180-87fb-acabeb2b158a" providerId="ADAL" clId="{C8378B56-DEB7-4A2E-AD29-424F54BB66C0}" dt="2024-03-18T11:33:03.091" v="1277" actId="20577"/>
            <ac:spMkLst>
              <pc:docMk/>
              <pc:sldMasterMk cId="1321919033" sldId="2147483709"/>
              <pc:sldLayoutMk cId="541514303" sldId="2147483772"/>
              <ac:spMk id="5" creationId="{00000000-0000-0000-0000-000000000000}"/>
            </ac:spMkLst>
          </pc:spChg>
        </pc:sldLayoutChg>
        <pc:sldLayoutChg chg="modSp mod">
          <pc:chgData name="Abdi, Adnan" userId="503e002c-9b3b-4180-87fb-acabeb2b158a" providerId="ADAL" clId="{C8378B56-DEB7-4A2E-AD29-424F54BB66C0}" dt="2024-03-18T11:33:03.097" v="1278" actId="20577"/>
          <pc:sldLayoutMkLst>
            <pc:docMk/>
            <pc:sldMasterMk cId="1321919033" sldId="2147483709"/>
            <pc:sldLayoutMk cId="1082766489" sldId="2147483773"/>
          </pc:sldLayoutMkLst>
          <pc:spChg chg="mod">
            <ac:chgData name="Abdi, Adnan" userId="503e002c-9b3b-4180-87fb-acabeb2b158a" providerId="ADAL" clId="{C8378B56-DEB7-4A2E-AD29-424F54BB66C0}" dt="2024-03-18T11:33:03.097" v="1278" actId="20577"/>
            <ac:spMkLst>
              <pc:docMk/>
              <pc:sldMasterMk cId="1321919033" sldId="2147483709"/>
              <pc:sldLayoutMk cId="1082766489" sldId="2147483773"/>
              <ac:spMk id="5" creationId="{00000000-0000-0000-0000-000000000000}"/>
            </ac:spMkLst>
          </pc:spChg>
        </pc:sldLayoutChg>
        <pc:sldLayoutChg chg="modSp mod">
          <pc:chgData name="Abdi, Adnan" userId="503e002c-9b3b-4180-87fb-acabeb2b158a" providerId="ADAL" clId="{C8378B56-DEB7-4A2E-AD29-424F54BB66C0}" dt="2024-03-18T11:33:03.103" v="1279" actId="20577"/>
          <pc:sldLayoutMkLst>
            <pc:docMk/>
            <pc:sldMasterMk cId="1321919033" sldId="2147483709"/>
            <pc:sldLayoutMk cId="2527937174" sldId="2147483774"/>
          </pc:sldLayoutMkLst>
          <pc:spChg chg="mod">
            <ac:chgData name="Abdi, Adnan" userId="503e002c-9b3b-4180-87fb-acabeb2b158a" providerId="ADAL" clId="{C8378B56-DEB7-4A2E-AD29-424F54BB66C0}" dt="2024-03-18T11:33:03.103" v="1279" actId="20577"/>
            <ac:spMkLst>
              <pc:docMk/>
              <pc:sldMasterMk cId="1321919033" sldId="2147483709"/>
              <pc:sldLayoutMk cId="2527937174" sldId="2147483774"/>
              <ac:spMk id="5" creationId="{00000000-0000-0000-0000-000000000000}"/>
            </ac:spMkLst>
          </pc:spChg>
        </pc:sldLayoutChg>
        <pc:sldLayoutChg chg="modSp mod">
          <pc:chgData name="Abdi, Adnan" userId="503e002c-9b3b-4180-87fb-acabeb2b158a" providerId="ADAL" clId="{C8378B56-DEB7-4A2E-AD29-424F54BB66C0}" dt="2024-03-18T11:33:03.109" v="1280" actId="20577"/>
          <pc:sldLayoutMkLst>
            <pc:docMk/>
            <pc:sldMasterMk cId="1321919033" sldId="2147483709"/>
            <pc:sldLayoutMk cId="130226039" sldId="2147483775"/>
          </pc:sldLayoutMkLst>
          <pc:spChg chg="mod">
            <ac:chgData name="Abdi, Adnan" userId="503e002c-9b3b-4180-87fb-acabeb2b158a" providerId="ADAL" clId="{C8378B56-DEB7-4A2E-AD29-424F54BB66C0}" dt="2024-03-18T11:33:03.109" v="1280" actId="20577"/>
            <ac:spMkLst>
              <pc:docMk/>
              <pc:sldMasterMk cId="1321919033" sldId="2147483709"/>
              <pc:sldLayoutMk cId="130226039" sldId="2147483775"/>
              <ac:spMk id="29" creationId="{00000000-0000-0000-0000-000000000000}"/>
            </ac:spMkLst>
          </pc:spChg>
        </pc:sldLayoutChg>
        <pc:sldLayoutChg chg="modSp mod">
          <pc:chgData name="Abdi, Adnan" userId="503e002c-9b3b-4180-87fb-acabeb2b158a" providerId="ADAL" clId="{C8378B56-DEB7-4A2E-AD29-424F54BB66C0}" dt="2024-03-18T11:33:03.115" v="1281" actId="20577"/>
          <pc:sldLayoutMkLst>
            <pc:docMk/>
            <pc:sldMasterMk cId="1321919033" sldId="2147483709"/>
            <pc:sldLayoutMk cId="3499607693" sldId="2147483776"/>
          </pc:sldLayoutMkLst>
          <pc:spChg chg="mod">
            <ac:chgData name="Abdi, Adnan" userId="503e002c-9b3b-4180-87fb-acabeb2b158a" providerId="ADAL" clId="{C8378B56-DEB7-4A2E-AD29-424F54BB66C0}" dt="2024-03-18T11:33:03.115" v="1281" actId="20577"/>
            <ac:spMkLst>
              <pc:docMk/>
              <pc:sldMasterMk cId="1321919033" sldId="2147483709"/>
              <pc:sldLayoutMk cId="3499607693" sldId="2147483776"/>
              <ac:spMk id="24" creationId="{00000000-0000-0000-0000-000000000000}"/>
            </ac:spMkLst>
          </pc:spChg>
        </pc:sldLayoutChg>
      </pc:sldMasterChg>
    </pc:docChg>
  </pc:docChgLst>
  <pc:docChgLst>
    <pc:chgData name="Hänninen, Lauri" userId="b62831d1-2046-40aa-b4b7-d67e2d73afe1" providerId="ADAL" clId="{F907ACC7-C8F7-470E-B883-D49732EB787C}"/>
    <pc:docChg chg="undo redo custSel addSld delSld modSld sldOrd replTag">
      <pc:chgData name="Hänninen, Lauri" userId="b62831d1-2046-40aa-b4b7-d67e2d73afe1" providerId="ADAL" clId="{F907ACC7-C8F7-470E-B883-D49732EB787C}" dt="2024-03-01T09:35:39.233" v="42954" actId="1076"/>
      <pc:docMkLst>
        <pc:docMk/>
      </pc:docMkLst>
      <pc:sldChg chg="modSp mod">
        <pc:chgData name="Hänninen, Lauri" userId="b62831d1-2046-40aa-b4b7-d67e2d73afe1" providerId="ADAL" clId="{F907ACC7-C8F7-470E-B883-D49732EB787C}" dt="2024-02-19T19:34:12.246" v="3010" actId="114"/>
        <pc:sldMkLst>
          <pc:docMk/>
          <pc:sldMk cId="2455817319" sldId="264"/>
        </pc:sldMkLst>
        <pc:spChg chg="mod">
          <ac:chgData name="Hänninen, Lauri" userId="b62831d1-2046-40aa-b4b7-d67e2d73afe1" providerId="ADAL" clId="{F907ACC7-C8F7-470E-B883-D49732EB787C}" dt="2024-02-19T19:34:12.246" v="3010" actId="114"/>
          <ac:spMkLst>
            <pc:docMk/>
            <pc:sldMk cId="2455817319" sldId="264"/>
            <ac:spMk id="2" creationId="{001CE8E0-3002-6540-AB4A-44A213CCD16D}"/>
          </ac:spMkLst>
        </pc:spChg>
      </pc:sldChg>
      <pc:sldChg chg="del">
        <pc:chgData name="Hänninen, Lauri" userId="b62831d1-2046-40aa-b4b7-d67e2d73afe1" providerId="ADAL" clId="{F907ACC7-C8F7-470E-B883-D49732EB787C}" dt="2024-02-19T19:18:21.483" v="2805" actId="2696"/>
        <pc:sldMkLst>
          <pc:docMk/>
          <pc:sldMk cId="1387823582" sldId="2147483414"/>
        </pc:sldMkLst>
      </pc:sldChg>
      <pc:sldChg chg="add">
        <pc:chgData name="Hänninen, Lauri" userId="b62831d1-2046-40aa-b4b7-d67e2d73afe1" providerId="ADAL" clId="{F907ACC7-C8F7-470E-B883-D49732EB787C}" dt="2024-02-19T19:18:23.889" v="2806"/>
        <pc:sldMkLst>
          <pc:docMk/>
          <pc:sldMk cId="2555337822" sldId="2147483414"/>
        </pc:sldMkLst>
      </pc:sldChg>
      <pc:sldChg chg="modSp del mod">
        <pc:chgData name="Hänninen, Lauri" userId="b62831d1-2046-40aa-b4b7-d67e2d73afe1" providerId="ADAL" clId="{F907ACC7-C8F7-470E-B883-D49732EB787C}" dt="2024-02-20T18:56:19.975" v="5050" actId="2696"/>
        <pc:sldMkLst>
          <pc:docMk/>
          <pc:sldMk cId="775851775" sldId="2147483544"/>
        </pc:sldMkLst>
        <pc:spChg chg="mod">
          <ac:chgData name="Hänninen, Lauri" userId="b62831d1-2046-40aa-b4b7-d67e2d73afe1" providerId="ADAL" clId="{F907ACC7-C8F7-470E-B883-D49732EB787C}" dt="2024-02-20T14:36:50.554" v="4189"/>
          <ac:spMkLst>
            <pc:docMk/>
            <pc:sldMk cId="775851775" sldId="2147483544"/>
            <ac:spMk id="5" creationId="{B58EE5ED-7569-E30B-AB77-400D5AB394D8}"/>
          </ac:spMkLst>
        </pc:spChg>
        <pc:spChg chg="mod">
          <ac:chgData name="Hänninen, Lauri" userId="b62831d1-2046-40aa-b4b7-d67e2d73afe1" providerId="ADAL" clId="{F907ACC7-C8F7-470E-B883-D49732EB787C}" dt="2024-02-20T14:36:54.167" v="4190" actId="465"/>
          <ac:spMkLst>
            <pc:docMk/>
            <pc:sldMk cId="775851775" sldId="2147483544"/>
            <ac:spMk id="6" creationId="{11898E05-18E4-1FD3-B1BA-6F33B7A0A40E}"/>
          </ac:spMkLst>
        </pc:spChg>
        <pc:spChg chg="mod ord">
          <ac:chgData name="Hänninen, Lauri" userId="b62831d1-2046-40aa-b4b7-d67e2d73afe1" providerId="ADAL" clId="{F907ACC7-C8F7-470E-B883-D49732EB787C}" dt="2024-02-20T15:02:38.767" v="4730"/>
          <ac:spMkLst>
            <pc:docMk/>
            <pc:sldMk cId="775851775" sldId="2147483544"/>
            <ac:spMk id="7" creationId="{39247654-D1FF-C016-477D-A3BDC09C087B}"/>
          </ac:spMkLst>
        </pc:spChg>
        <pc:spChg chg="mod ord">
          <ac:chgData name="Hänninen, Lauri" userId="b62831d1-2046-40aa-b4b7-d67e2d73afe1" providerId="ADAL" clId="{F907ACC7-C8F7-470E-B883-D49732EB787C}" dt="2024-02-20T15:02:38.767" v="4736"/>
          <ac:spMkLst>
            <pc:docMk/>
            <pc:sldMk cId="775851775" sldId="2147483544"/>
            <ac:spMk id="9" creationId="{3440410A-426A-CB7C-FD55-34A4DFA4671D}"/>
          </ac:spMkLst>
        </pc:spChg>
        <pc:spChg chg="mod">
          <ac:chgData name="Hänninen, Lauri" userId="b62831d1-2046-40aa-b4b7-d67e2d73afe1" providerId="ADAL" clId="{F907ACC7-C8F7-470E-B883-D49732EB787C}" dt="2024-02-20T14:38:58.255" v="4321" actId="14100"/>
          <ac:spMkLst>
            <pc:docMk/>
            <pc:sldMk cId="775851775" sldId="2147483544"/>
            <ac:spMk id="13" creationId="{58744A61-4D2E-AE35-2ADD-F4A4B677EA8A}"/>
          </ac:spMkLst>
        </pc:spChg>
        <pc:spChg chg="mod">
          <ac:chgData name="Hänninen, Lauri" userId="b62831d1-2046-40aa-b4b7-d67e2d73afe1" providerId="ADAL" clId="{F907ACC7-C8F7-470E-B883-D49732EB787C}" dt="2024-02-20T14:39:33.697" v="4330"/>
          <ac:spMkLst>
            <pc:docMk/>
            <pc:sldMk cId="775851775" sldId="2147483544"/>
            <ac:spMk id="14" creationId="{6685142D-967D-4D72-F306-C8E8205B542B}"/>
          </ac:spMkLst>
        </pc:spChg>
        <pc:spChg chg="mod">
          <ac:chgData name="Hänninen, Lauri" userId="b62831d1-2046-40aa-b4b7-d67e2d73afe1" providerId="ADAL" clId="{F907ACC7-C8F7-470E-B883-D49732EB787C}" dt="2024-02-20T14:39:51.707" v="4341" actId="14100"/>
          <ac:spMkLst>
            <pc:docMk/>
            <pc:sldMk cId="775851775" sldId="2147483544"/>
            <ac:spMk id="16" creationId="{7A1F41C2-AF77-9DAB-007C-5188641E86CC}"/>
          </ac:spMkLst>
        </pc:spChg>
        <pc:spChg chg="mod">
          <ac:chgData name="Hänninen, Lauri" userId="b62831d1-2046-40aa-b4b7-d67e2d73afe1" providerId="ADAL" clId="{F907ACC7-C8F7-470E-B883-D49732EB787C}" dt="2024-02-19T18:56:34.584" v="1635" actId="1076"/>
          <ac:spMkLst>
            <pc:docMk/>
            <pc:sldMk cId="775851775" sldId="2147483544"/>
            <ac:spMk id="17" creationId="{1C935F09-AB0F-2973-3182-D6307F9960F7}"/>
          </ac:spMkLst>
        </pc:spChg>
        <pc:spChg chg="mod">
          <ac:chgData name="Hänninen, Lauri" userId="b62831d1-2046-40aa-b4b7-d67e2d73afe1" providerId="ADAL" clId="{F907ACC7-C8F7-470E-B883-D49732EB787C}" dt="2024-02-20T15:02:00.587" v="4700" actId="20577"/>
          <ac:spMkLst>
            <pc:docMk/>
            <pc:sldMk cId="775851775" sldId="2147483544"/>
            <ac:spMk id="18" creationId="{EFE167F6-3879-8160-F8DF-A1A08970A49C}"/>
          </ac:spMkLst>
        </pc:spChg>
        <pc:spChg chg="mod">
          <ac:chgData name="Hänninen, Lauri" userId="b62831d1-2046-40aa-b4b7-d67e2d73afe1" providerId="ADAL" clId="{F907ACC7-C8F7-470E-B883-D49732EB787C}" dt="2024-02-20T14:39:02.831" v="4322" actId="14100"/>
          <ac:spMkLst>
            <pc:docMk/>
            <pc:sldMk cId="775851775" sldId="2147483544"/>
            <ac:spMk id="19" creationId="{EA7F93A3-E9C1-B0BE-E9C3-8666C05AE366}"/>
          </ac:spMkLst>
        </pc:spChg>
        <pc:spChg chg="mod">
          <ac:chgData name="Hänninen, Lauri" userId="b62831d1-2046-40aa-b4b7-d67e2d73afe1" providerId="ADAL" clId="{F907ACC7-C8F7-470E-B883-D49732EB787C}" dt="2024-02-20T14:39:28.288" v="4328" actId="14100"/>
          <ac:spMkLst>
            <pc:docMk/>
            <pc:sldMk cId="775851775" sldId="2147483544"/>
            <ac:spMk id="20" creationId="{F10BFCE2-CDED-3BF5-B858-465D751DE71E}"/>
          </ac:spMkLst>
        </pc:spChg>
        <pc:spChg chg="mod">
          <ac:chgData name="Hänninen, Lauri" userId="b62831d1-2046-40aa-b4b7-d67e2d73afe1" providerId="ADAL" clId="{F907ACC7-C8F7-470E-B883-D49732EB787C}" dt="2024-02-20T14:39:54.847" v="4342" actId="14100"/>
          <ac:spMkLst>
            <pc:docMk/>
            <pc:sldMk cId="775851775" sldId="2147483544"/>
            <ac:spMk id="21" creationId="{575450BD-260D-7D06-F2A2-29898CE184FE}"/>
          </ac:spMkLst>
        </pc:spChg>
        <pc:spChg chg="mod">
          <ac:chgData name="Hänninen, Lauri" userId="b62831d1-2046-40aa-b4b7-d67e2d73afe1" providerId="ADAL" clId="{F907ACC7-C8F7-470E-B883-D49732EB787C}" dt="2024-02-20T14:38:54.293" v="4312"/>
          <ac:spMkLst>
            <pc:docMk/>
            <pc:sldMk cId="775851775" sldId="2147483544"/>
            <ac:spMk id="22" creationId="{10AF3427-A5FF-7CDC-1BE3-E94379D861E6}"/>
          </ac:spMkLst>
        </pc:spChg>
        <pc:spChg chg="mod">
          <ac:chgData name="Hänninen, Lauri" userId="b62831d1-2046-40aa-b4b7-d67e2d73afe1" providerId="ADAL" clId="{F907ACC7-C8F7-470E-B883-D49732EB787C}" dt="2024-02-20T14:38:54.293" v="4314"/>
          <ac:spMkLst>
            <pc:docMk/>
            <pc:sldMk cId="775851775" sldId="2147483544"/>
            <ac:spMk id="23" creationId="{35E1907E-55E6-ABDF-8CFA-3294012BE5E7}"/>
          </ac:spMkLst>
        </pc:spChg>
        <pc:spChg chg="mod">
          <ac:chgData name="Hänninen, Lauri" userId="b62831d1-2046-40aa-b4b7-d67e2d73afe1" providerId="ADAL" clId="{F907ACC7-C8F7-470E-B883-D49732EB787C}" dt="2024-02-20T14:38:54.293" v="4316"/>
          <ac:spMkLst>
            <pc:docMk/>
            <pc:sldMk cId="775851775" sldId="2147483544"/>
            <ac:spMk id="24" creationId="{347FF0B4-EF0C-1D60-1136-24673218CB79}"/>
          </ac:spMkLst>
        </pc:spChg>
        <pc:spChg chg="mod">
          <ac:chgData name="Hänninen, Lauri" userId="b62831d1-2046-40aa-b4b7-d67e2d73afe1" providerId="ADAL" clId="{F907ACC7-C8F7-470E-B883-D49732EB787C}" dt="2024-02-20T14:38:54.293" v="4318"/>
          <ac:spMkLst>
            <pc:docMk/>
            <pc:sldMk cId="775851775" sldId="2147483544"/>
            <ac:spMk id="25" creationId="{1F0B7929-CC54-715F-93FA-74ACF8A3A75E}"/>
          </ac:spMkLst>
        </pc:spChg>
        <pc:spChg chg="mod">
          <ac:chgData name="Hänninen, Lauri" userId="b62831d1-2046-40aa-b4b7-d67e2d73afe1" providerId="ADAL" clId="{F907ACC7-C8F7-470E-B883-D49732EB787C}" dt="2024-02-20T14:39:41.170" v="4339" actId="465"/>
          <ac:spMkLst>
            <pc:docMk/>
            <pc:sldMk cId="775851775" sldId="2147483544"/>
            <ac:spMk id="26" creationId="{9AEAB4F8-7EA3-0E60-E5B1-1FB36F91268D}"/>
          </ac:spMkLst>
        </pc:spChg>
        <pc:spChg chg="mod">
          <ac:chgData name="Hänninen, Lauri" userId="b62831d1-2046-40aa-b4b7-d67e2d73afe1" providerId="ADAL" clId="{F907ACC7-C8F7-470E-B883-D49732EB787C}" dt="2024-02-20T14:39:41.170" v="4339" actId="465"/>
          <ac:spMkLst>
            <pc:docMk/>
            <pc:sldMk cId="775851775" sldId="2147483544"/>
            <ac:spMk id="27" creationId="{81091CDF-B3A5-A327-79BD-58C867D1327B}"/>
          </ac:spMkLst>
        </pc:spChg>
        <pc:spChg chg="mod">
          <ac:chgData name="Hänninen, Lauri" userId="b62831d1-2046-40aa-b4b7-d67e2d73afe1" providerId="ADAL" clId="{F907ACC7-C8F7-470E-B883-D49732EB787C}" dt="2024-02-20T14:39:33.697" v="4336"/>
          <ac:spMkLst>
            <pc:docMk/>
            <pc:sldMk cId="775851775" sldId="2147483544"/>
            <ac:spMk id="28" creationId="{7A79ADC1-CA41-B18B-881F-E4C80C1C2255}"/>
          </ac:spMkLst>
        </pc:spChg>
        <pc:spChg chg="mod">
          <ac:chgData name="Hänninen, Lauri" userId="b62831d1-2046-40aa-b4b7-d67e2d73afe1" providerId="ADAL" clId="{F907ACC7-C8F7-470E-B883-D49732EB787C}" dt="2024-02-20T14:38:54.293" v="4320"/>
          <ac:spMkLst>
            <pc:docMk/>
            <pc:sldMk cId="775851775" sldId="2147483544"/>
            <ac:spMk id="30" creationId="{3F492A99-AB07-97BA-FBC1-A51D50DDCEAD}"/>
          </ac:spMkLst>
        </pc:spChg>
        <pc:spChg chg="mod">
          <ac:chgData name="Hänninen, Lauri" userId="b62831d1-2046-40aa-b4b7-d67e2d73afe1" providerId="ADAL" clId="{F907ACC7-C8F7-470E-B883-D49732EB787C}" dt="2024-02-20T14:39:41.170" v="4339" actId="465"/>
          <ac:spMkLst>
            <pc:docMk/>
            <pc:sldMk cId="775851775" sldId="2147483544"/>
            <ac:spMk id="31" creationId="{7297431C-D3EC-B986-678D-05C8CAC22416}"/>
          </ac:spMkLst>
        </pc:spChg>
        <pc:spChg chg="mod">
          <ac:chgData name="Hänninen, Lauri" userId="b62831d1-2046-40aa-b4b7-d67e2d73afe1" providerId="ADAL" clId="{F907ACC7-C8F7-470E-B883-D49732EB787C}" dt="2024-02-20T14:39:47.279" v="4340" actId="14100"/>
          <ac:spMkLst>
            <pc:docMk/>
            <pc:sldMk cId="775851775" sldId="2147483544"/>
            <ac:spMk id="32" creationId="{F0CFA48C-5DC4-0FF9-E2D5-116A782A6669}"/>
          </ac:spMkLst>
        </pc:spChg>
        <pc:spChg chg="mod">
          <ac:chgData name="Hänninen, Lauri" userId="b62831d1-2046-40aa-b4b7-d67e2d73afe1" providerId="ADAL" clId="{F907ACC7-C8F7-470E-B883-D49732EB787C}" dt="2024-02-20T14:38:52.304" v="4310" actId="1035"/>
          <ac:spMkLst>
            <pc:docMk/>
            <pc:sldMk cId="775851775" sldId="2147483544"/>
            <ac:spMk id="33" creationId="{27819C10-49E2-16A4-C70D-FA349E371711}"/>
          </ac:spMkLst>
        </pc:spChg>
        <pc:spChg chg="mod">
          <ac:chgData name="Hänninen, Lauri" userId="b62831d1-2046-40aa-b4b7-d67e2d73afe1" providerId="ADAL" clId="{F907ACC7-C8F7-470E-B883-D49732EB787C}" dt="2024-02-20T14:39:41.170" v="4339" actId="465"/>
          <ac:spMkLst>
            <pc:docMk/>
            <pc:sldMk cId="775851775" sldId="2147483544"/>
            <ac:spMk id="34" creationId="{A468FA9A-80D8-63D0-1867-96B54D73F199}"/>
          </ac:spMkLst>
        </pc:spChg>
        <pc:spChg chg="mod ord">
          <ac:chgData name="Hänninen, Lauri" userId="b62831d1-2046-40aa-b4b7-d67e2d73afe1" providerId="ADAL" clId="{F907ACC7-C8F7-470E-B883-D49732EB787C}" dt="2024-02-20T15:02:35.920" v="4712"/>
          <ac:spMkLst>
            <pc:docMk/>
            <pc:sldMk cId="775851775" sldId="2147483544"/>
            <ac:spMk id="36" creationId="{E68B7A32-C21C-2352-5A48-B597E29B2DDF}"/>
          </ac:spMkLst>
        </pc:spChg>
        <pc:picChg chg="mod">
          <ac:chgData name="Hänninen, Lauri" userId="b62831d1-2046-40aa-b4b7-d67e2d73afe1" providerId="ADAL" clId="{F907ACC7-C8F7-470E-B883-D49732EB787C}" dt="2024-02-20T14:37:10.763" v="4201" actId="1076"/>
          <ac:picMkLst>
            <pc:docMk/>
            <pc:sldMk cId="775851775" sldId="2147483544"/>
            <ac:picMk id="11" creationId="{974337F8-536A-0CF9-CBB5-E3A346CB1B06}"/>
          </ac:picMkLst>
        </pc:picChg>
      </pc:sldChg>
      <pc:sldChg chg="add mod modShow">
        <pc:chgData name="Hänninen, Lauri" userId="b62831d1-2046-40aa-b4b7-d67e2d73afe1" providerId="ADAL" clId="{F907ACC7-C8F7-470E-B883-D49732EB787C}" dt="2024-02-20T19:47:17.604" v="7825" actId="729"/>
        <pc:sldMkLst>
          <pc:docMk/>
          <pc:sldMk cId="1220377637" sldId="2147483544"/>
        </pc:sldMkLst>
      </pc:sldChg>
      <pc:sldChg chg="addSp delSp modSp add mod ord">
        <pc:chgData name="Hänninen, Lauri" userId="b62831d1-2046-40aa-b4b7-d67e2d73afe1" providerId="ADAL" clId="{F907ACC7-C8F7-470E-B883-D49732EB787C}" dt="2024-03-01T09:35:39.233" v="42954" actId="1076"/>
        <pc:sldMkLst>
          <pc:docMk/>
          <pc:sldMk cId="1205465817" sldId="2147483545"/>
        </pc:sldMkLst>
        <pc:spChg chg="add mod">
          <ac:chgData name="Hänninen, Lauri" userId="b62831d1-2046-40aa-b4b7-d67e2d73afe1" providerId="ADAL" clId="{F907ACC7-C8F7-470E-B883-D49732EB787C}" dt="2024-02-19T20:00:39.547" v="3688" actId="20577"/>
          <ac:spMkLst>
            <pc:docMk/>
            <pc:sldMk cId="1205465817" sldId="2147483545"/>
            <ac:spMk id="5" creationId="{27ECD9F2-EE12-A1F5-FBDE-734AEBE5D72E}"/>
          </ac:spMkLst>
        </pc:spChg>
        <pc:spChg chg="add mod">
          <ac:chgData name="Hänninen, Lauri" userId="b62831d1-2046-40aa-b4b7-d67e2d73afe1" providerId="ADAL" clId="{F907ACC7-C8F7-470E-B883-D49732EB787C}" dt="2024-02-19T18:38:27.626" v="891" actId="1076"/>
          <ac:spMkLst>
            <pc:docMk/>
            <pc:sldMk cId="1205465817" sldId="2147483545"/>
            <ac:spMk id="5" creationId="{99857BD0-C1E2-C01F-DA88-B6FB541931B8}"/>
          </ac:spMkLst>
        </pc:spChg>
        <pc:spChg chg="add del mod">
          <ac:chgData name="Hänninen, Lauri" userId="b62831d1-2046-40aa-b4b7-d67e2d73afe1" providerId="ADAL" clId="{F907ACC7-C8F7-470E-B883-D49732EB787C}" dt="2024-02-19T18:44:10.541" v="1177" actId="478"/>
          <ac:spMkLst>
            <pc:docMk/>
            <pc:sldMk cId="1205465817" sldId="2147483545"/>
            <ac:spMk id="6" creationId="{9494260B-E212-C671-6987-1F7734717656}"/>
          </ac:spMkLst>
        </pc:spChg>
        <pc:spChg chg="add del mod">
          <ac:chgData name="Hänninen, Lauri" userId="b62831d1-2046-40aa-b4b7-d67e2d73afe1" providerId="ADAL" clId="{F907ACC7-C8F7-470E-B883-D49732EB787C}" dt="2024-02-19T18:44:10.541" v="1177" actId="478"/>
          <ac:spMkLst>
            <pc:docMk/>
            <pc:sldMk cId="1205465817" sldId="2147483545"/>
            <ac:spMk id="7" creationId="{8221EDFC-9887-D125-7CCD-937CFE011D40}"/>
          </ac:spMkLst>
        </pc:spChg>
        <pc:spChg chg="mod">
          <ac:chgData name="Hänninen, Lauri" userId="b62831d1-2046-40aa-b4b7-d67e2d73afe1" providerId="ADAL" clId="{F907ACC7-C8F7-470E-B883-D49732EB787C}" dt="2024-02-19T19:35:08.977" v="3061" actId="1076"/>
          <ac:spMkLst>
            <pc:docMk/>
            <pc:sldMk cId="1205465817" sldId="2147483545"/>
            <ac:spMk id="9" creationId="{AD648EFE-79D5-035A-24C8-86E2C3C05F44}"/>
          </ac:spMkLst>
        </pc:spChg>
        <pc:spChg chg="mod">
          <ac:chgData name="Hänninen, Lauri" userId="b62831d1-2046-40aa-b4b7-d67e2d73afe1" providerId="ADAL" clId="{F907ACC7-C8F7-470E-B883-D49732EB787C}" dt="2024-03-01T09:35:39.233" v="42954" actId="1076"/>
          <ac:spMkLst>
            <pc:docMk/>
            <pc:sldMk cId="1205465817" sldId="2147483545"/>
            <ac:spMk id="10" creationId="{AC80CF7A-54F5-ACCE-7182-BE26BEBF34D3}"/>
          </ac:spMkLst>
        </pc:spChg>
        <pc:spChg chg="add del">
          <ac:chgData name="Hänninen, Lauri" userId="b62831d1-2046-40aa-b4b7-d67e2d73afe1" providerId="ADAL" clId="{F907ACC7-C8F7-470E-B883-D49732EB787C}" dt="2024-02-19T18:38:43.364" v="898" actId="478"/>
          <ac:spMkLst>
            <pc:docMk/>
            <pc:sldMk cId="1205465817" sldId="2147483545"/>
            <ac:spMk id="11" creationId="{B136D151-2BEC-37E8-F6AD-C99ED9EAC859}"/>
          </ac:spMkLst>
        </pc:spChg>
        <pc:spChg chg="add del">
          <ac:chgData name="Hänninen, Lauri" userId="b62831d1-2046-40aa-b4b7-d67e2d73afe1" providerId="ADAL" clId="{F907ACC7-C8F7-470E-B883-D49732EB787C}" dt="2024-02-19T18:38:32.772" v="893" actId="478"/>
          <ac:spMkLst>
            <pc:docMk/>
            <pc:sldMk cId="1205465817" sldId="2147483545"/>
            <ac:spMk id="12" creationId="{3DF7CB98-B453-0FE6-8576-901285A6CB59}"/>
          </ac:spMkLst>
        </pc:spChg>
        <pc:spChg chg="add del">
          <ac:chgData name="Hänninen, Lauri" userId="b62831d1-2046-40aa-b4b7-d67e2d73afe1" providerId="ADAL" clId="{F907ACC7-C8F7-470E-B883-D49732EB787C}" dt="2024-02-19T18:38:32.772" v="893" actId="478"/>
          <ac:spMkLst>
            <pc:docMk/>
            <pc:sldMk cId="1205465817" sldId="2147483545"/>
            <ac:spMk id="13" creationId="{804D435F-AB35-681E-E070-8597FBFCE479}"/>
          </ac:spMkLst>
        </pc:spChg>
        <pc:spChg chg="add del">
          <ac:chgData name="Hänninen, Lauri" userId="b62831d1-2046-40aa-b4b7-d67e2d73afe1" providerId="ADAL" clId="{F907ACC7-C8F7-470E-B883-D49732EB787C}" dt="2024-02-19T18:38:32.772" v="893" actId="478"/>
          <ac:spMkLst>
            <pc:docMk/>
            <pc:sldMk cId="1205465817" sldId="2147483545"/>
            <ac:spMk id="14" creationId="{F2956BA3-4A3A-BB07-70DF-97E8D0A107D4}"/>
          </ac:spMkLst>
        </pc:spChg>
        <pc:spChg chg="mod">
          <ac:chgData name="Hänninen, Lauri" userId="b62831d1-2046-40aa-b4b7-d67e2d73afe1" providerId="ADAL" clId="{F907ACC7-C8F7-470E-B883-D49732EB787C}" dt="2024-02-19T19:48:26.010" v="3398" actId="20577"/>
          <ac:spMkLst>
            <pc:docMk/>
            <pc:sldMk cId="1205465817" sldId="2147483545"/>
            <ac:spMk id="16" creationId="{0A651DAC-C789-8291-AED6-89676A1EA53B}"/>
          </ac:spMkLst>
        </pc:spChg>
        <pc:spChg chg="add mod">
          <ac:chgData name="Hänninen, Lauri" userId="b62831d1-2046-40aa-b4b7-d67e2d73afe1" providerId="ADAL" clId="{F907ACC7-C8F7-470E-B883-D49732EB787C}" dt="2024-03-01T09:35:39.233" v="42954" actId="1076"/>
          <ac:spMkLst>
            <pc:docMk/>
            <pc:sldMk cId="1205465817" sldId="2147483545"/>
            <ac:spMk id="18" creationId="{BEED88C6-BEF2-D5F4-446F-21BB4D2DB470}"/>
          </ac:spMkLst>
        </pc:spChg>
        <pc:spChg chg="add del mod">
          <ac:chgData name="Hänninen, Lauri" userId="b62831d1-2046-40aa-b4b7-d67e2d73afe1" providerId="ADAL" clId="{F907ACC7-C8F7-470E-B883-D49732EB787C}" dt="2024-02-19T19:27:36.419" v="2898" actId="478"/>
          <ac:spMkLst>
            <pc:docMk/>
            <pc:sldMk cId="1205465817" sldId="2147483545"/>
            <ac:spMk id="19" creationId="{D50745C4-0751-8A47-87B2-FC72B71E36E6}"/>
          </ac:spMkLst>
        </pc:spChg>
        <pc:spChg chg="add del mod">
          <ac:chgData name="Hänninen, Lauri" userId="b62831d1-2046-40aa-b4b7-d67e2d73afe1" providerId="ADAL" clId="{F907ACC7-C8F7-470E-B883-D49732EB787C}" dt="2024-02-19T18:59:40.467" v="1970" actId="478"/>
          <ac:spMkLst>
            <pc:docMk/>
            <pc:sldMk cId="1205465817" sldId="2147483545"/>
            <ac:spMk id="20" creationId="{B6DE0D45-D87C-0D90-96D7-A4CDF4944376}"/>
          </ac:spMkLst>
        </pc:spChg>
        <pc:spChg chg="add del mod">
          <ac:chgData name="Hänninen, Lauri" userId="b62831d1-2046-40aa-b4b7-d67e2d73afe1" providerId="ADAL" clId="{F907ACC7-C8F7-470E-B883-D49732EB787C}" dt="2024-02-19T19:15:15.418" v="2688" actId="478"/>
          <ac:spMkLst>
            <pc:docMk/>
            <pc:sldMk cId="1205465817" sldId="2147483545"/>
            <ac:spMk id="21" creationId="{B4ADCD6E-1DAD-4F72-7CC4-435C52BFD457}"/>
          </ac:spMkLst>
        </pc:spChg>
        <pc:spChg chg="add del mod">
          <ac:chgData name="Hänninen, Lauri" userId="b62831d1-2046-40aa-b4b7-d67e2d73afe1" providerId="ADAL" clId="{F907ACC7-C8F7-470E-B883-D49732EB787C}" dt="2024-02-19T19:40:35.903" v="3212" actId="478"/>
          <ac:spMkLst>
            <pc:docMk/>
            <pc:sldMk cId="1205465817" sldId="2147483545"/>
            <ac:spMk id="22" creationId="{2ABAA5A4-A7B7-78A2-8F6C-39D08BCBF447}"/>
          </ac:spMkLst>
        </pc:spChg>
        <pc:spChg chg="add mod ord">
          <ac:chgData name="Hänninen, Lauri" userId="b62831d1-2046-40aa-b4b7-d67e2d73afe1" providerId="ADAL" clId="{F907ACC7-C8F7-470E-B883-D49732EB787C}" dt="2024-02-19T20:00:51.821" v="3705" actId="20577"/>
          <ac:spMkLst>
            <pc:docMk/>
            <pc:sldMk cId="1205465817" sldId="2147483545"/>
            <ac:spMk id="23" creationId="{5FA3478B-EE12-E61F-6829-0E31EFDFFA61}"/>
          </ac:spMkLst>
        </pc:spChg>
        <pc:picChg chg="mod">
          <ac:chgData name="Hänninen, Lauri" userId="b62831d1-2046-40aa-b4b7-d67e2d73afe1" providerId="ADAL" clId="{F907ACC7-C8F7-470E-B883-D49732EB787C}" dt="2024-02-19T18:58:16.350" v="1786" actId="1076"/>
          <ac:picMkLst>
            <pc:docMk/>
            <pc:sldMk cId="1205465817" sldId="2147483545"/>
            <ac:picMk id="15" creationId="{25A5A99F-C7FF-A7F1-BCDF-C244FE24D5BF}"/>
          </ac:picMkLst>
        </pc:picChg>
      </pc:sldChg>
      <pc:sldChg chg="addSp delSp modSp add del mod modShow">
        <pc:chgData name="Hänninen, Lauri" userId="b62831d1-2046-40aa-b4b7-d67e2d73afe1" providerId="ADAL" clId="{F907ACC7-C8F7-470E-B883-D49732EB787C}" dt="2024-02-21T14:38:32.100" v="29219" actId="2696"/>
        <pc:sldMkLst>
          <pc:docMk/>
          <pc:sldMk cId="1414451948" sldId="2147483546"/>
        </pc:sldMkLst>
        <pc:spChg chg="del">
          <ac:chgData name="Hänninen, Lauri" userId="b62831d1-2046-40aa-b4b7-d67e2d73afe1" providerId="ADAL" clId="{F907ACC7-C8F7-470E-B883-D49732EB787C}" dt="2024-02-20T18:53:38.605" v="5012" actId="478"/>
          <ac:spMkLst>
            <pc:docMk/>
            <pc:sldMk cId="1414451948" sldId="2147483546"/>
            <ac:spMk id="5" creationId="{222B0CCE-F1F8-4CDE-E833-BD023ED15E55}"/>
          </ac:spMkLst>
        </pc:spChg>
        <pc:spChg chg="add del mod">
          <ac:chgData name="Hänninen, Lauri" userId="b62831d1-2046-40aa-b4b7-d67e2d73afe1" providerId="ADAL" clId="{F907ACC7-C8F7-470E-B883-D49732EB787C}" dt="2024-02-21T08:15:20.022" v="9565" actId="478"/>
          <ac:spMkLst>
            <pc:docMk/>
            <pc:sldMk cId="1414451948" sldId="2147483546"/>
            <ac:spMk id="5" creationId="{9F683D2E-0D33-A177-F0CD-C299D323F0CA}"/>
          </ac:spMkLst>
        </pc:spChg>
        <pc:spChg chg="add del mod">
          <ac:chgData name="Hänninen, Lauri" userId="b62831d1-2046-40aa-b4b7-d67e2d73afe1" providerId="ADAL" clId="{F907ACC7-C8F7-470E-B883-D49732EB787C}" dt="2024-02-21T08:15:20.022" v="9565" actId="478"/>
          <ac:spMkLst>
            <pc:docMk/>
            <pc:sldMk cId="1414451948" sldId="2147483546"/>
            <ac:spMk id="7" creationId="{E24643E1-5114-B2E6-6C3C-CE8EA3D4BFDF}"/>
          </ac:spMkLst>
        </pc:spChg>
        <pc:spChg chg="mod">
          <ac:chgData name="Hänninen, Lauri" userId="b62831d1-2046-40aa-b4b7-d67e2d73afe1" providerId="ADAL" clId="{F907ACC7-C8F7-470E-B883-D49732EB787C}" dt="2024-02-21T08:18:01.373" v="9606" actId="20577"/>
          <ac:spMkLst>
            <pc:docMk/>
            <pc:sldMk cId="1414451948" sldId="2147483546"/>
            <ac:spMk id="8" creationId="{BD9A78C3-88E5-0727-8E4B-1F395F302DB6}"/>
          </ac:spMkLst>
        </pc:spChg>
        <pc:spChg chg="mod">
          <ac:chgData name="Hänninen, Lauri" userId="b62831d1-2046-40aa-b4b7-d67e2d73afe1" providerId="ADAL" clId="{F907ACC7-C8F7-470E-B883-D49732EB787C}" dt="2024-02-21T08:15:13.875" v="9564"/>
          <ac:spMkLst>
            <pc:docMk/>
            <pc:sldMk cId="1414451948" sldId="2147483546"/>
            <ac:spMk id="11" creationId="{DE1F1572-064F-E071-41D6-49E2DC09E607}"/>
          </ac:spMkLst>
        </pc:spChg>
        <pc:spChg chg="mod">
          <ac:chgData name="Hänninen, Lauri" userId="b62831d1-2046-40aa-b4b7-d67e2d73afe1" providerId="ADAL" clId="{F907ACC7-C8F7-470E-B883-D49732EB787C}" dt="2024-02-21T08:14:22.705" v="9557"/>
          <ac:spMkLst>
            <pc:docMk/>
            <pc:sldMk cId="1414451948" sldId="2147483546"/>
            <ac:spMk id="12" creationId="{A0A921FC-BA3F-1069-DB2F-ED38C55FFC2B}"/>
          </ac:spMkLst>
        </pc:spChg>
        <pc:spChg chg="mod">
          <ac:chgData name="Hänninen, Lauri" userId="b62831d1-2046-40aa-b4b7-d67e2d73afe1" providerId="ADAL" clId="{F907ACC7-C8F7-470E-B883-D49732EB787C}" dt="2024-02-21T08:14:38.878" v="9559" actId="255"/>
          <ac:spMkLst>
            <pc:docMk/>
            <pc:sldMk cId="1414451948" sldId="2147483546"/>
            <ac:spMk id="13" creationId="{719CD9FE-3471-8FD0-499B-D0DA53480F95}"/>
          </ac:spMkLst>
        </pc:spChg>
        <pc:spChg chg="mod">
          <ac:chgData name="Hänninen, Lauri" userId="b62831d1-2046-40aa-b4b7-d67e2d73afe1" providerId="ADAL" clId="{F907ACC7-C8F7-470E-B883-D49732EB787C}" dt="2024-02-21T08:14:49.322" v="9560"/>
          <ac:spMkLst>
            <pc:docMk/>
            <pc:sldMk cId="1414451948" sldId="2147483546"/>
            <ac:spMk id="14" creationId="{7104474E-19F0-F050-4ABA-6CFE1B817644}"/>
          </ac:spMkLst>
        </pc:spChg>
        <pc:spChg chg="mod">
          <ac:chgData name="Hänninen, Lauri" userId="b62831d1-2046-40aa-b4b7-d67e2d73afe1" providerId="ADAL" clId="{F907ACC7-C8F7-470E-B883-D49732EB787C}" dt="2024-02-21T08:15:02.829" v="9563"/>
          <ac:spMkLst>
            <pc:docMk/>
            <pc:sldMk cId="1414451948" sldId="2147483546"/>
            <ac:spMk id="15" creationId="{0DAC7C64-DC6F-DF96-3C2C-C909ACCDDCC0}"/>
          </ac:spMkLst>
        </pc:spChg>
        <pc:spChg chg="add del mod">
          <ac:chgData name="Hänninen, Lauri" userId="b62831d1-2046-40aa-b4b7-d67e2d73afe1" providerId="ADAL" clId="{F907ACC7-C8F7-470E-B883-D49732EB787C}" dt="2024-02-21T08:15:20.022" v="9565" actId="478"/>
          <ac:spMkLst>
            <pc:docMk/>
            <pc:sldMk cId="1414451948" sldId="2147483546"/>
            <ac:spMk id="16" creationId="{CAB9FE76-1C58-4ED4-2732-BF51D899B758}"/>
          </ac:spMkLst>
        </pc:spChg>
        <pc:spChg chg="add del mod">
          <ac:chgData name="Hänninen, Lauri" userId="b62831d1-2046-40aa-b4b7-d67e2d73afe1" providerId="ADAL" clId="{F907ACC7-C8F7-470E-B883-D49732EB787C}" dt="2024-02-21T08:15:20.022" v="9565" actId="478"/>
          <ac:spMkLst>
            <pc:docMk/>
            <pc:sldMk cId="1414451948" sldId="2147483546"/>
            <ac:spMk id="17" creationId="{6F17BD65-0AF5-A41B-6563-19F6116706FD}"/>
          </ac:spMkLst>
        </pc:spChg>
        <pc:spChg chg="add del mod">
          <ac:chgData name="Hänninen, Lauri" userId="b62831d1-2046-40aa-b4b7-d67e2d73afe1" providerId="ADAL" clId="{F907ACC7-C8F7-470E-B883-D49732EB787C}" dt="2024-02-21T08:15:20.022" v="9565" actId="478"/>
          <ac:spMkLst>
            <pc:docMk/>
            <pc:sldMk cId="1414451948" sldId="2147483546"/>
            <ac:spMk id="18" creationId="{F5E0DCBD-14A2-1655-F37D-8B6D58A95587}"/>
          </ac:spMkLst>
        </pc:spChg>
        <pc:graphicFrameChg chg="mod modGraphic">
          <ac:chgData name="Hänninen, Lauri" userId="b62831d1-2046-40aa-b4b7-d67e2d73afe1" providerId="ADAL" clId="{F907ACC7-C8F7-470E-B883-D49732EB787C}" dt="2024-02-21T08:26:01.770" v="9744"/>
          <ac:graphicFrameMkLst>
            <pc:docMk/>
            <pc:sldMk cId="1414451948" sldId="2147483546"/>
            <ac:graphicFrameMk id="9" creationId="{ABC06D4E-302D-E39D-61E0-3DDC1AD7B6C6}"/>
          </ac:graphicFrameMkLst>
        </pc:graphicFrameChg>
      </pc:sldChg>
      <pc:sldChg chg="add">
        <pc:chgData name="Hänninen, Lauri" userId="b62831d1-2046-40aa-b4b7-d67e2d73afe1" providerId="ADAL" clId="{F907ACC7-C8F7-470E-B883-D49732EB787C}" dt="2024-02-21T14:38:36.825" v="29220"/>
        <pc:sldMkLst>
          <pc:docMk/>
          <pc:sldMk cId="3721981857" sldId="2147483546"/>
        </pc:sldMkLst>
      </pc:sldChg>
      <pc:sldChg chg="del ord">
        <pc:chgData name="Hänninen, Lauri" userId="b62831d1-2046-40aa-b4b7-d67e2d73afe1" providerId="ADAL" clId="{F907ACC7-C8F7-470E-B883-D49732EB787C}" dt="2024-02-20T18:52:57.475" v="5008" actId="2696"/>
        <pc:sldMkLst>
          <pc:docMk/>
          <pc:sldMk cId="4249455525" sldId="2147483546"/>
        </pc:sldMkLst>
      </pc:sldChg>
      <pc:sldChg chg="add">
        <pc:chgData name="Hänninen, Lauri" userId="b62831d1-2046-40aa-b4b7-d67e2d73afe1" providerId="ADAL" clId="{F907ACC7-C8F7-470E-B883-D49732EB787C}" dt="2024-02-21T14:38:36.825" v="29220"/>
        <pc:sldMkLst>
          <pc:docMk/>
          <pc:sldMk cId="909291825" sldId="2147483547"/>
        </pc:sldMkLst>
      </pc:sldChg>
      <pc:sldChg chg="del ord">
        <pc:chgData name="Hänninen, Lauri" userId="b62831d1-2046-40aa-b4b7-d67e2d73afe1" providerId="ADAL" clId="{F907ACC7-C8F7-470E-B883-D49732EB787C}" dt="2024-02-20T18:52:57.475" v="5008" actId="2696"/>
        <pc:sldMkLst>
          <pc:docMk/>
          <pc:sldMk cId="1194696002" sldId="2147483547"/>
        </pc:sldMkLst>
      </pc:sldChg>
      <pc:sldChg chg="addSp delSp modSp add del mod modShow">
        <pc:chgData name="Hänninen, Lauri" userId="b62831d1-2046-40aa-b4b7-d67e2d73afe1" providerId="ADAL" clId="{F907ACC7-C8F7-470E-B883-D49732EB787C}" dt="2024-02-21T14:38:32.100" v="29219" actId="2696"/>
        <pc:sldMkLst>
          <pc:docMk/>
          <pc:sldMk cId="2281578963" sldId="2147483547"/>
        </pc:sldMkLst>
        <pc:spChg chg="mod">
          <ac:chgData name="Hänninen, Lauri" userId="b62831d1-2046-40aa-b4b7-d67e2d73afe1" providerId="ADAL" clId="{F907ACC7-C8F7-470E-B883-D49732EB787C}" dt="2024-02-21T08:29:10.522" v="9999"/>
          <ac:spMkLst>
            <pc:docMk/>
            <pc:sldMk cId="2281578963" sldId="2147483547"/>
            <ac:spMk id="5" creationId="{C34933D2-8E6C-9341-754A-8FA5B9C652F2}"/>
          </ac:spMkLst>
        </pc:spChg>
        <pc:spChg chg="del">
          <ac:chgData name="Hänninen, Lauri" userId="b62831d1-2046-40aa-b4b7-d67e2d73afe1" providerId="ADAL" clId="{F907ACC7-C8F7-470E-B883-D49732EB787C}" dt="2024-02-20T18:53:41.181" v="5013" actId="478"/>
          <ac:spMkLst>
            <pc:docMk/>
            <pc:sldMk cId="2281578963" sldId="2147483547"/>
            <ac:spMk id="13" creationId="{462A15B5-7E3E-BB91-D26F-41FB9190EF02}"/>
          </ac:spMkLst>
        </pc:spChg>
        <pc:spChg chg="mod">
          <ac:chgData name="Hänninen, Lauri" userId="b62831d1-2046-40aa-b4b7-d67e2d73afe1" providerId="ADAL" clId="{F907ACC7-C8F7-470E-B883-D49732EB787C}" dt="2024-02-21T08:15:40.277" v="9568"/>
          <ac:spMkLst>
            <pc:docMk/>
            <pc:sldMk cId="2281578963" sldId="2147483547"/>
            <ac:spMk id="15" creationId="{219D0EA6-8587-CBD4-59A6-11ACCB21D252}"/>
          </ac:spMkLst>
        </pc:spChg>
        <pc:spChg chg="mod">
          <ac:chgData name="Hänninen, Lauri" userId="b62831d1-2046-40aa-b4b7-d67e2d73afe1" providerId="ADAL" clId="{F907ACC7-C8F7-470E-B883-D49732EB787C}" dt="2024-02-21T08:16:10.072" v="9572"/>
          <ac:spMkLst>
            <pc:docMk/>
            <pc:sldMk cId="2281578963" sldId="2147483547"/>
            <ac:spMk id="16" creationId="{7CAE95EA-0219-3291-BDF5-54CA28FBFCD8}"/>
          </ac:spMkLst>
        </pc:spChg>
        <pc:spChg chg="mod">
          <ac:chgData name="Hänninen, Lauri" userId="b62831d1-2046-40aa-b4b7-d67e2d73afe1" providerId="ADAL" clId="{F907ACC7-C8F7-470E-B883-D49732EB787C}" dt="2024-02-21T08:16:10.072" v="9572"/>
          <ac:spMkLst>
            <pc:docMk/>
            <pc:sldMk cId="2281578963" sldId="2147483547"/>
            <ac:spMk id="17" creationId="{2A94BA56-2832-53C3-4CA1-0A179530601F}"/>
          </ac:spMkLst>
        </pc:spChg>
        <pc:spChg chg="mod">
          <ac:chgData name="Hänninen, Lauri" userId="b62831d1-2046-40aa-b4b7-d67e2d73afe1" providerId="ADAL" clId="{F907ACC7-C8F7-470E-B883-D49732EB787C}" dt="2024-02-21T08:29:19.850" v="10002" actId="21"/>
          <ac:spMkLst>
            <pc:docMk/>
            <pc:sldMk cId="2281578963" sldId="2147483547"/>
            <ac:spMk id="18" creationId="{21708FA1-36E3-1313-E155-199C9AA228A8}"/>
          </ac:spMkLst>
        </pc:spChg>
        <pc:spChg chg="mod">
          <ac:chgData name="Hänninen, Lauri" userId="b62831d1-2046-40aa-b4b7-d67e2d73afe1" providerId="ADAL" clId="{F907ACC7-C8F7-470E-B883-D49732EB787C}" dt="2024-02-21T08:15:40.277" v="9568"/>
          <ac:spMkLst>
            <pc:docMk/>
            <pc:sldMk cId="2281578963" sldId="2147483547"/>
            <ac:spMk id="19" creationId="{29AB6CED-7BCC-7F01-4597-4D4B09EFC823}"/>
          </ac:spMkLst>
        </pc:spChg>
        <pc:grpChg chg="del">
          <ac:chgData name="Hänninen, Lauri" userId="b62831d1-2046-40aa-b4b7-d67e2d73afe1" providerId="ADAL" clId="{F907ACC7-C8F7-470E-B883-D49732EB787C}" dt="2024-02-21T08:15:30.916" v="9567" actId="478"/>
          <ac:grpSpMkLst>
            <pc:docMk/>
            <pc:sldMk cId="2281578963" sldId="2147483547"/>
            <ac:grpSpMk id="7" creationId="{FA5862DD-1403-99EE-84DF-8B035BCC104B}"/>
          </ac:grpSpMkLst>
        </pc:grpChg>
        <pc:grpChg chg="add mod">
          <ac:chgData name="Hänninen, Lauri" userId="b62831d1-2046-40aa-b4b7-d67e2d73afe1" providerId="ADAL" clId="{F907ACC7-C8F7-470E-B883-D49732EB787C}" dt="2024-02-21T08:15:40.277" v="9568"/>
          <ac:grpSpMkLst>
            <pc:docMk/>
            <pc:sldMk cId="2281578963" sldId="2147483547"/>
            <ac:grpSpMk id="13" creationId="{9E8583E9-A612-BBE3-4223-57C5C3BA7906}"/>
          </ac:grpSpMkLst>
        </pc:grpChg>
        <pc:graphicFrameChg chg="mod modGraphic">
          <ac:chgData name="Hänninen, Lauri" userId="b62831d1-2046-40aa-b4b7-d67e2d73afe1" providerId="ADAL" clId="{F907ACC7-C8F7-470E-B883-D49732EB787C}" dt="2024-02-21T09:05:31.541" v="10077" actId="20577"/>
          <ac:graphicFrameMkLst>
            <pc:docMk/>
            <pc:sldMk cId="2281578963" sldId="2147483547"/>
            <ac:graphicFrameMk id="6" creationId="{132B2D70-CACF-EFDF-04AE-3B90D176E4D6}"/>
          </ac:graphicFrameMkLst>
        </pc:graphicFrameChg>
      </pc:sldChg>
      <pc:sldChg chg="add">
        <pc:chgData name="Hänninen, Lauri" userId="b62831d1-2046-40aa-b4b7-d67e2d73afe1" providerId="ADAL" clId="{F907ACC7-C8F7-470E-B883-D49732EB787C}" dt="2024-02-21T14:38:36.825" v="29220"/>
        <pc:sldMkLst>
          <pc:docMk/>
          <pc:sldMk cId="1583266516" sldId="2147483548"/>
        </pc:sldMkLst>
      </pc:sldChg>
      <pc:sldChg chg="addSp delSp modSp add del mod modShow">
        <pc:chgData name="Hänninen, Lauri" userId="b62831d1-2046-40aa-b4b7-d67e2d73afe1" providerId="ADAL" clId="{F907ACC7-C8F7-470E-B883-D49732EB787C}" dt="2024-02-21T14:38:32.100" v="29219" actId="2696"/>
        <pc:sldMkLst>
          <pc:docMk/>
          <pc:sldMk cId="3445958844" sldId="2147483548"/>
        </pc:sldMkLst>
        <pc:spChg chg="mod">
          <ac:chgData name="Hänninen, Lauri" userId="b62831d1-2046-40aa-b4b7-d67e2d73afe1" providerId="ADAL" clId="{F907ACC7-C8F7-470E-B883-D49732EB787C}" dt="2024-02-21T09:22:52.886" v="10180" actId="20577"/>
          <ac:spMkLst>
            <pc:docMk/>
            <pc:sldMk cId="3445958844" sldId="2147483548"/>
            <ac:spMk id="5" creationId="{735CDA07-BBD4-3C57-AE1F-603BF981E88C}"/>
          </ac:spMkLst>
        </pc:spChg>
        <pc:spChg chg="del">
          <ac:chgData name="Hänninen, Lauri" userId="b62831d1-2046-40aa-b4b7-d67e2d73afe1" providerId="ADAL" clId="{F907ACC7-C8F7-470E-B883-D49732EB787C}" dt="2024-02-20T18:53:43.456" v="5014" actId="478"/>
          <ac:spMkLst>
            <pc:docMk/>
            <pc:sldMk cId="3445958844" sldId="2147483548"/>
            <ac:spMk id="13" creationId="{6B49339E-DA2A-37EF-C830-3F5D42923F51}"/>
          </ac:spMkLst>
        </pc:spChg>
        <pc:spChg chg="mod">
          <ac:chgData name="Hänninen, Lauri" userId="b62831d1-2046-40aa-b4b7-d67e2d73afe1" providerId="ADAL" clId="{F907ACC7-C8F7-470E-B883-D49732EB787C}" dt="2024-02-21T08:15:43.663" v="9570"/>
          <ac:spMkLst>
            <pc:docMk/>
            <pc:sldMk cId="3445958844" sldId="2147483548"/>
            <ac:spMk id="15" creationId="{1661786E-26A5-EBF8-888C-2F05552CAADF}"/>
          </ac:spMkLst>
        </pc:spChg>
        <pc:spChg chg="mod">
          <ac:chgData name="Hänninen, Lauri" userId="b62831d1-2046-40aa-b4b7-d67e2d73afe1" providerId="ADAL" clId="{F907ACC7-C8F7-470E-B883-D49732EB787C}" dt="2024-02-21T08:15:43.663" v="9570"/>
          <ac:spMkLst>
            <pc:docMk/>
            <pc:sldMk cId="3445958844" sldId="2147483548"/>
            <ac:spMk id="16" creationId="{21C511C5-6E4A-6FA9-70EE-632B5625E94B}"/>
          </ac:spMkLst>
        </pc:spChg>
        <pc:spChg chg="mod">
          <ac:chgData name="Hänninen, Lauri" userId="b62831d1-2046-40aa-b4b7-d67e2d73afe1" providerId="ADAL" clId="{F907ACC7-C8F7-470E-B883-D49732EB787C}" dt="2024-02-21T08:15:43.663" v="9570"/>
          <ac:spMkLst>
            <pc:docMk/>
            <pc:sldMk cId="3445958844" sldId="2147483548"/>
            <ac:spMk id="17" creationId="{DF883AF3-D526-1D36-FE13-49BC64EB40D1}"/>
          </ac:spMkLst>
        </pc:spChg>
        <pc:spChg chg="mod">
          <ac:chgData name="Hänninen, Lauri" userId="b62831d1-2046-40aa-b4b7-d67e2d73afe1" providerId="ADAL" clId="{F907ACC7-C8F7-470E-B883-D49732EB787C}" dt="2024-02-21T08:15:43.663" v="9570"/>
          <ac:spMkLst>
            <pc:docMk/>
            <pc:sldMk cId="3445958844" sldId="2147483548"/>
            <ac:spMk id="18" creationId="{9913C333-EF9D-31FD-A49D-B40BF6D76F8F}"/>
          </ac:spMkLst>
        </pc:spChg>
        <pc:spChg chg="mod">
          <ac:chgData name="Hänninen, Lauri" userId="b62831d1-2046-40aa-b4b7-d67e2d73afe1" providerId="ADAL" clId="{F907ACC7-C8F7-470E-B883-D49732EB787C}" dt="2024-02-21T08:15:43.663" v="9570"/>
          <ac:spMkLst>
            <pc:docMk/>
            <pc:sldMk cId="3445958844" sldId="2147483548"/>
            <ac:spMk id="19" creationId="{A3F72DDE-B4BC-7A06-E668-DFD5AA7F2E5C}"/>
          </ac:spMkLst>
        </pc:spChg>
        <pc:spChg chg="mod">
          <ac:chgData name="Hänninen, Lauri" userId="b62831d1-2046-40aa-b4b7-d67e2d73afe1" providerId="ADAL" clId="{F907ACC7-C8F7-470E-B883-D49732EB787C}" dt="2024-02-21T08:17:02.815" v="9587" actId="207"/>
          <ac:spMkLst>
            <pc:docMk/>
            <pc:sldMk cId="3445958844" sldId="2147483548"/>
            <ac:spMk id="21" creationId="{2ED965E8-0374-F32D-63CE-2BEC265AC172}"/>
          </ac:spMkLst>
        </pc:spChg>
        <pc:spChg chg="mod">
          <ac:chgData name="Hänninen, Lauri" userId="b62831d1-2046-40aa-b4b7-d67e2d73afe1" providerId="ADAL" clId="{F907ACC7-C8F7-470E-B883-D49732EB787C}" dt="2024-02-21T08:16:40.639" v="9580"/>
          <ac:spMkLst>
            <pc:docMk/>
            <pc:sldMk cId="3445958844" sldId="2147483548"/>
            <ac:spMk id="22" creationId="{69EA24A2-9016-F8A6-F5B1-46670CA3F29C}"/>
          </ac:spMkLst>
        </pc:spChg>
        <pc:spChg chg="mod">
          <ac:chgData name="Hänninen, Lauri" userId="b62831d1-2046-40aa-b4b7-d67e2d73afe1" providerId="ADAL" clId="{F907ACC7-C8F7-470E-B883-D49732EB787C}" dt="2024-02-21T08:16:40.639" v="9580"/>
          <ac:spMkLst>
            <pc:docMk/>
            <pc:sldMk cId="3445958844" sldId="2147483548"/>
            <ac:spMk id="23" creationId="{1419B688-D67D-3D43-944A-127FD9DDA226}"/>
          </ac:spMkLst>
        </pc:spChg>
        <pc:spChg chg="mod">
          <ac:chgData name="Hänninen, Lauri" userId="b62831d1-2046-40aa-b4b7-d67e2d73afe1" providerId="ADAL" clId="{F907ACC7-C8F7-470E-B883-D49732EB787C}" dt="2024-02-21T08:16:45.141" v="9582"/>
          <ac:spMkLst>
            <pc:docMk/>
            <pc:sldMk cId="3445958844" sldId="2147483548"/>
            <ac:spMk id="24" creationId="{BB515447-7436-E11B-72E2-860B17050C3E}"/>
          </ac:spMkLst>
        </pc:spChg>
        <pc:spChg chg="mod">
          <ac:chgData name="Hänninen, Lauri" userId="b62831d1-2046-40aa-b4b7-d67e2d73afe1" providerId="ADAL" clId="{F907ACC7-C8F7-470E-B883-D49732EB787C}" dt="2024-02-21T08:17:02.815" v="9587" actId="207"/>
          <ac:spMkLst>
            <pc:docMk/>
            <pc:sldMk cId="3445958844" sldId="2147483548"/>
            <ac:spMk id="25" creationId="{A2623B0B-3C5C-FEDC-87AB-60A0E0D7A7C6}"/>
          </ac:spMkLst>
        </pc:spChg>
        <pc:grpChg chg="del">
          <ac:chgData name="Hänninen, Lauri" userId="b62831d1-2046-40aa-b4b7-d67e2d73afe1" providerId="ADAL" clId="{F907ACC7-C8F7-470E-B883-D49732EB787C}" dt="2024-02-21T08:15:28.094" v="9566" actId="478"/>
          <ac:grpSpMkLst>
            <pc:docMk/>
            <pc:sldMk cId="3445958844" sldId="2147483548"/>
            <ac:grpSpMk id="7" creationId="{C35CFA1C-EFDC-188C-F1E1-307FA3F2CCCB}"/>
          </ac:grpSpMkLst>
        </pc:grpChg>
        <pc:grpChg chg="add del mod">
          <ac:chgData name="Hänninen, Lauri" userId="b62831d1-2046-40aa-b4b7-d67e2d73afe1" providerId="ADAL" clId="{F907ACC7-C8F7-470E-B883-D49732EB787C}" dt="2024-02-21T08:16:40.301" v="9579" actId="478"/>
          <ac:grpSpMkLst>
            <pc:docMk/>
            <pc:sldMk cId="3445958844" sldId="2147483548"/>
            <ac:grpSpMk id="13" creationId="{AA615A78-D7D9-91CF-5E86-F65667E0E80B}"/>
          </ac:grpSpMkLst>
        </pc:grpChg>
        <pc:grpChg chg="add mod">
          <ac:chgData name="Hänninen, Lauri" userId="b62831d1-2046-40aa-b4b7-d67e2d73afe1" providerId="ADAL" clId="{F907ACC7-C8F7-470E-B883-D49732EB787C}" dt="2024-02-21T08:16:40.639" v="9580"/>
          <ac:grpSpMkLst>
            <pc:docMk/>
            <pc:sldMk cId="3445958844" sldId="2147483548"/>
            <ac:grpSpMk id="20" creationId="{911C9D7E-A48F-731F-6FD3-AF32B7C1045E}"/>
          </ac:grpSpMkLst>
        </pc:grpChg>
        <pc:graphicFrameChg chg="mod modGraphic">
          <ac:chgData name="Hänninen, Lauri" userId="b62831d1-2046-40aa-b4b7-d67e2d73afe1" providerId="ADAL" clId="{F907ACC7-C8F7-470E-B883-D49732EB787C}" dt="2024-02-21T09:21:02.079" v="10167"/>
          <ac:graphicFrameMkLst>
            <pc:docMk/>
            <pc:sldMk cId="3445958844" sldId="2147483548"/>
            <ac:graphicFrameMk id="6" creationId="{E78D727D-6124-D4BD-8081-F3F02F6C30A0}"/>
          </ac:graphicFrameMkLst>
        </pc:graphicFrameChg>
      </pc:sldChg>
      <pc:sldChg chg="del ord">
        <pc:chgData name="Hänninen, Lauri" userId="b62831d1-2046-40aa-b4b7-d67e2d73afe1" providerId="ADAL" clId="{F907ACC7-C8F7-470E-B883-D49732EB787C}" dt="2024-02-20T18:52:57.475" v="5008" actId="2696"/>
        <pc:sldMkLst>
          <pc:docMk/>
          <pc:sldMk cId="3893138527" sldId="2147483548"/>
        </pc:sldMkLst>
      </pc:sldChg>
      <pc:sldChg chg="mod modShow">
        <pc:chgData name="Hänninen, Lauri" userId="b62831d1-2046-40aa-b4b7-d67e2d73afe1" providerId="ADAL" clId="{F907ACC7-C8F7-470E-B883-D49732EB787C}" dt="2024-02-20T19:47:17.604" v="7825" actId="729"/>
        <pc:sldMkLst>
          <pc:docMk/>
          <pc:sldMk cId="881438303" sldId="2147483549"/>
        </pc:sldMkLst>
      </pc:sldChg>
      <pc:sldChg chg="add mod modShow">
        <pc:chgData name="Hänninen, Lauri" userId="b62831d1-2046-40aa-b4b7-d67e2d73afe1" providerId="ADAL" clId="{F907ACC7-C8F7-470E-B883-D49732EB787C}" dt="2024-02-20T19:47:17.604" v="7825" actId="729"/>
        <pc:sldMkLst>
          <pc:docMk/>
          <pc:sldMk cId="269182462" sldId="2147483550"/>
        </pc:sldMkLst>
      </pc:sldChg>
      <pc:sldChg chg="addSp delSp modSp del mod">
        <pc:chgData name="Hänninen, Lauri" userId="b62831d1-2046-40aa-b4b7-d67e2d73afe1" providerId="ADAL" clId="{F907ACC7-C8F7-470E-B883-D49732EB787C}" dt="2024-02-20T15:05:38.775" v="4803" actId="2696"/>
        <pc:sldMkLst>
          <pc:docMk/>
          <pc:sldMk cId="455635473" sldId="2147483550"/>
        </pc:sldMkLst>
        <pc:spChg chg="mod">
          <ac:chgData name="Hänninen, Lauri" userId="b62831d1-2046-40aa-b4b7-d67e2d73afe1" providerId="ADAL" clId="{F907ACC7-C8F7-470E-B883-D49732EB787C}" dt="2024-02-19T18:21:59.825" v="121" actId="2711"/>
          <ac:spMkLst>
            <pc:docMk/>
            <pc:sldMk cId="455635473" sldId="2147483550"/>
            <ac:spMk id="2" creationId="{551A0760-76B6-B0DA-473F-4F9BCE390A30}"/>
          </ac:spMkLst>
        </pc:spChg>
        <pc:spChg chg="mod">
          <ac:chgData name="Hänninen, Lauri" userId="b62831d1-2046-40aa-b4b7-d67e2d73afe1" providerId="ADAL" clId="{F907ACC7-C8F7-470E-B883-D49732EB787C}" dt="2024-02-19T18:21:59.825" v="121" actId="2711"/>
          <ac:spMkLst>
            <pc:docMk/>
            <pc:sldMk cId="455635473" sldId="2147483550"/>
            <ac:spMk id="3" creationId="{18FF0807-DAF8-B85E-04CD-C4F80F1262E3}"/>
          </ac:spMkLst>
        </pc:spChg>
        <pc:spChg chg="add del mod">
          <ac:chgData name="Hänninen, Lauri" userId="b62831d1-2046-40aa-b4b7-d67e2d73afe1" providerId="ADAL" clId="{F907ACC7-C8F7-470E-B883-D49732EB787C}" dt="2024-02-19T18:24:02.188" v="203" actId="478"/>
          <ac:spMkLst>
            <pc:docMk/>
            <pc:sldMk cId="455635473" sldId="2147483550"/>
            <ac:spMk id="5" creationId="{4D325F98-D111-1AA0-E14B-CD31A3C78175}"/>
          </ac:spMkLst>
        </pc:spChg>
        <pc:spChg chg="mod">
          <ac:chgData name="Hänninen, Lauri" userId="b62831d1-2046-40aa-b4b7-d67e2d73afe1" providerId="ADAL" clId="{F907ACC7-C8F7-470E-B883-D49732EB787C}" dt="2024-02-19T18:21:59.825" v="121" actId="2711"/>
          <ac:spMkLst>
            <pc:docMk/>
            <pc:sldMk cId="455635473" sldId="2147483550"/>
            <ac:spMk id="242" creationId="{F9982B29-7BFF-751A-D163-0C92423DABC1}"/>
          </ac:spMkLst>
        </pc:spChg>
        <pc:spChg chg="mod">
          <ac:chgData name="Hänninen, Lauri" userId="b62831d1-2046-40aa-b4b7-d67e2d73afe1" providerId="ADAL" clId="{F907ACC7-C8F7-470E-B883-D49732EB787C}" dt="2024-02-19T18:21:59.825" v="121" actId="2711"/>
          <ac:spMkLst>
            <pc:docMk/>
            <pc:sldMk cId="455635473" sldId="2147483550"/>
            <ac:spMk id="243" creationId="{E8158CC9-BB1A-63D6-8F8C-B2878500C646}"/>
          </ac:spMkLst>
        </pc:spChg>
        <pc:spChg chg="mod">
          <ac:chgData name="Hänninen, Lauri" userId="b62831d1-2046-40aa-b4b7-d67e2d73afe1" providerId="ADAL" clId="{F907ACC7-C8F7-470E-B883-D49732EB787C}" dt="2024-02-19T18:21:59.825" v="121" actId="2711"/>
          <ac:spMkLst>
            <pc:docMk/>
            <pc:sldMk cId="455635473" sldId="2147483550"/>
            <ac:spMk id="244" creationId="{929FEC08-B969-C79D-32C6-6B1D4BC9CC1B}"/>
          </ac:spMkLst>
        </pc:spChg>
        <pc:spChg chg="mod">
          <ac:chgData name="Hänninen, Lauri" userId="b62831d1-2046-40aa-b4b7-d67e2d73afe1" providerId="ADAL" clId="{F907ACC7-C8F7-470E-B883-D49732EB787C}" dt="2024-02-20T14:16:01.797" v="3712" actId="20577"/>
          <ac:spMkLst>
            <pc:docMk/>
            <pc:sldMk cId="455635473" sldId="2147483550"/>
            <ac:spMk id="255" creationId="{CE944AFE-96D9-230E-3A39-B2D25BAADF27}"/>
          </ac:spMkLst>
        </pc:spChg>
        <pc:spChg chg="mod">
          <ac:chgData name="Hänninen, Lauri" userId="b62831d1-2046-40aa-b4b7-d67e2d73afe1" providerId="ADAL" clId="{F907ACC7-C8F7-470E-B883-D49732EB787C}" dt="2024-02-19T18:21:59.825" v="121" actId="2711"/>
          <ac:spMkLst>
            <pc:docMk/>
            <pc:sldMk cId="455635473" sldId="2147483550"/>
            <ac:spMk id="256" creationId="{12387DAE-532B-000A-47CA-D0773EF1C741}"/>
          </ac:spMkLst>
        </pc:spChg>
        <pc:spChg chg="mod">
          <ac:chgData name="Hänninen, Lauri" userId="b62831d1-2046-40aa-b4b7-d67e2d73afe1" providerId="ADAL" clId="{F907ACC7-C8F7-470E-B883-D49732EB787C}" dt="2024-02-19T18:21:59.825" v="121" actId="2711"/>
          <ac:spMkLst>
            <pc:docMk/>
            <pc:sldMk cId="455635473" sldId="2147483550"/>
            <ac:spMk id="257" creationId="{C0B3B776-CFC4-7DCD-469A-97437DAC0D88}"/>
          </ac:spMkLst>
        </pc:spChg>
        <pc:spChg chg="mod">
          <ac:chgData name="Hänninen, Lauri" userId="b62831d1-2046-40aa-b4b7-d67e2d73afe1" providerId="ADAL" clId="{F907ACC7-C8F7-470E-B883-D49732EB787C}" dt="2024-02-19T18:21:59.825" v="121" actId="2711"/>
          <ac:spMkLst>
            <pc:docMk/>
            <pc:sldMk cId="455635473" sldId="2147483550"/>
            <ac:spMk id="258" creationId="{3D0EE2A8-4ECC-116B-ECD7-EBAF7C926BA1}"/>
          </ac:spMkLst>
        </pc:spChg>
        <pc:spChg chg="mod">
          <ac:chgData name="Hänninen, Lauri" userId="b62831d1-2046-40aa-b4b7-d67e2d73afe1" providerId="ADAL" clId="{F907ACC7-C8F7-470E-B883-D49732EB787C}" dt="2024-02-19T18:21:59.825" v="121" actId="2711"/>
          <ac:spMkLst>
            <pc:docMk/>
            <pc:sldMk cId="455635473" sldId="2147483550"/>
            <ac:spMk id="259" creationId="{9F937A56-0E4F-2626-7D33-011C6AE98ED9}"/>
          </ac:spMkLst>
        </pc:spChg>
        <pc:spChg chg="mod">
          <ac:chgData name="Hänninen, Lauri" userId="b62831d1-2046-40aa-b4b7-d67e2d73afe1" providerId="ADAL" clId="{F907ACC7-C8F7-470E-B883-D49732EB787C}" dt="2024-02-19T18:21:59.825" v="121" actId="2711"/>
          <ac:spMkLst>
            <pc:docMk/>
            <pc:sldMk cId="455635473" sldId="2147483550"/>
            <ac:spMk id="260" creationId="{9450A999-ACE3-15D5-C4FE-9C88E9D29C2D}"/>
          </ac:spMkLst>
        </pc:spChg>
        <pc:spChg chg="mod">
          <ac:chgData name="Hänninen, Lauri" userId="b62831d1-2046-40aa-b4b7-d67e2d73afe1" providerId="ADAL" clId="{F907ACC7-C8F7-470E-B883-D49732EB787C}" dt="2024-02-19T18:21:59.825" v="121" actId="2711"/>
          <ac:spMkLst>
            <pc:docMk/>
            <pc:sldMk cId="455635473" sldId="2147483550"/>
            <ac:spMk id="261" creationId="{EA634C07-8487-AEA1-A2D8-7C3470093540}"/>
          </ac:spMkLst>
        </pc:spChg>
        <pc:spChg chg="mod">
          <ac:chgData name="Hänninen, Lauri" userId="b62831d1-2046-40aa-b4b7-d67e2d73afe1" providerId="ADAL" clId="{F907ACC7-C8F7-470E-B883-D49732EB787C}" dt="2024-02-19T18:21:59.825" v="121" actId="2711"/>
          <ac:spMkLst>
            <pc:docMk/>
            <pc:sldMk cId="455635473" sldId="2147483550"/>
            <ac:spMk id="262" creationId="{82BB3ECD-8EC7-0169-A533-C53E182075EA}"/>
          </ac:spMkLst>
        </pc:spChg>
        <pc:spChg chg="mod">
          <ac:chgData name="Hänninen, Lauri" userId="b62831d1-2046-40aa-b4b7-d67e2d73afe1" providerId="ADAL" clId="{F907ACC7-C8F7-470E-B883-D49732EB787C}" dt="2024-02-20T14:15:50.953" v="3710" actId="1076"/>
          <ac:spMkLst>
            <pc:docMk/>
            <pc:sldMk cId="455635473" sldId="2147483550"/>
            <ac:spMk id="287" creationId="{E1C1B311-3F37-182B-566D-D37CF3B31C7A}"/>
          </ac:spMkLst>
        </pc:spChg>
        <pc:spChg chg="mod">
          <ac:chgData name="Hänninen, Lauri" userId="b62831d1-2046-40aa-b4b7-d67e2d73afe1" providerId="ADAL" clId="{F907ACC7-C8F7-470E-B883-D49732EB787C}" dt="2024-02-20T14:15:57.996" v="3711"/>
          <ac:spMkLst>
            <pc:docMk/>
            <pc:sldMk cId="455635473" sldId="2147483550"/>
            <ac:spMk id="288" creationId="{5396B244-4B6E-161F-138B-1AE339A4AA6A}"/>
          </ac:spMkLst>
        </pc:spChg>
        <pc:grpChg chg="mod">
          <ac:chgData name="Hänninen, Lauri" userId="b62831d1-2046-40aa-b4b7-d67e2d73afe1" providerId="ADAL" clId="{F907ACC7-C8F7-470E-B883-D49732EB787C}" dt="2024-02-19T18:21:59.825" v="121" actId="2711"/>
          <ac:grpSpMkLst>
            <pc:docMk/>
            <pc:sldMk cId="455635473" sldId="2147483550"/>
            <ac:grpSpMk id="147" creationId="{AA65DE73-1E67-832E-267E-E8AF792C5CC9}"/>
          </ac:grpSpMkLst>
        </pc:grpChg>
        <pc:grpChg chg="mod">
          <ac:chgData name="Hänninen, Lauri" userId="b62831d1-2046-40aa-b4b7-d67e2d73afe1" providerId="ADAL" clId="{F907ACC7-C8F7-470E-B883-D49732EB787C}" dt="2024-02-19T18:21:59.825" v="121" actId="2711"/>
          <ac:grpSpMkLst>
            <pc:docMk/>
            <pc:sldMk cId="455635473" sldId="2147483550"/>
            <ac:grpSpMk id="212" creationId="{DA943A04-1F15-8CF1-7F72-9B3F31F0235F}"/>
          </ac:grpSpMkLst>
        </pc:grpChg>
        <pc:grpChg chg="mod">
          <ac:chgData name="Hänninen, Lauri" userId="b62831d1-2046-40aa-b4b7-d67e2d73afe1" providerId="ADAL" clId="{F907ACC7-C8F7-470E-B883-D49732EB787C}" dt="2024-02-19T18:21:59.825" v="121" actId="2711"/>
          <ac:grpSpMkLst>
            <pc:docMk/>
            <pc:sldMk cId="455635473" sldId="2147483550"/>
            <ac:grpSpMk id="217" creationId="{174C583D-19B6-1D57-D4F5-BEB98D5D3911}"/>
          </ac:grpSpMkLst>
        </pc:grpChg>
        <pc:grpChg chg="mod">
          <ac:chgData name="Hänninen, Lauri" userId="b62831d1-2046-40aa-b4b7-d67e2d73afe1" providerId="ADAL" clId="{F907ACC7-C8F7-470E-B883-D49732EB787C}" dt="2024-02-19T18:21:59.825" v="121" actId="2711"/>
          <ac:grpSpMkLst>
            <pc:docMk/>
            <pc:sldMk cId="455635473" sldId="2147483550"/>
            <ac:grpSpMk id="222" creationId="{5259A442-C6FF-8027-7901-D4346CD94F5C}"/>
          </ac:grpSpMkLst>
        </pc:grpChg>
        <pc:grpChg chg="mod">
          <ac:chgData name="Hänninen, Lauri" userId="b62831d1-2046-40aa-b4b7-d67e2d73afe1" providerId="ADAL" clId="{F907ACC7-C8F7-470E-B883-D49732EB787C}" dt="2024-02-19T18:21:59.825" v="121" actId="2711"/>
          <ac:grpSpMkLst>
            <pc:docMk/>
            <pc:sldMk cId="455635473" sldId="2147483550"/>
            <ac:grpSpMk id="227" creationId="{A5DAEC05-CCF8-FC59-74BF-F9083549A208}"/>
          </ac:grpSpMkLst>
        </pc:grpChg>
        <pc:grpChg chg="mod">
          <ac:chgData name="Hänninen, Lauri" userId="b62831d1-2046-40aa-b4b7-d67e2d73afe1" providerId="ADAL" clId="{F907ACC7-C8F7-470E-B883-D49732EB787C}" dt="2024-02-19T18:21:59.825" v="121" actId="2711"/>
          <ac:grpSpMkLst>
            <pc:docMk/>
            <pc:sldMk cId="455635473" sldId="2147483550"/>
            <ac:grpSpMk id="232" creationId="{E73FA58F-E999-E9AD-EDFE-B32190169E8B}"/>
          </ac:grpSpMkLst>
        </pc:grpChg>
        <pc:grpChg chg="mod">
          <ac:chgData name="Hänninen, Lauri" userId="b62831d1-2046-40aa-b4b7-d67e2d73afe1" providerId="ADAL" clId="{F907ACC7-C8F7-470E-B883-D49732EB787C}" dt="2024-02-19T18:21:59.825" v="121" actId="2711"/>
          <ac:grpSpMkLst>
            <pc:docMk/>
            <pc:sldMk cId="455635473" sldId="2147483550"/>
            <ac:grpSpMk id="237" creationId="{7F6208FF-EF8B-0DBB-A47C-BC95673B56A3}"/>
          </ac:grpSpMkLst>
        </pc:grpChg>
        <pc:grpChg chg="mod">
          <ac:chgData name="Hänninen, Lauri" userId="b62831d1-2046-40aa-b4b7-d67e2d73afe1" providerId="ADAL" clId="{F907ACC7-C8F7-470E-B883-D49732EB787C}" dt="2024-02-19T18:21:59.825" v="121" actId="2711"/>
          <ac:grpSpMkLst>
            <pc:docMk/>
            <pc:sldMk cId="455635473" sldId="2147483550"/>
            <ac:grpSpMk id="245" creationId="{4B1F0165-72D5-5487-6A2E-214459968E43}"/>
          </ac:grpSpMkLst>
        </pc:grpChg>
        <pc:grpChg chg="mod">
          <ac:chgData name="Hänninen, Lauri" userId="b62831d1-2046-40aa-b4b7-d67e2d73afe1" providerId="ADAL" clId="{F907ACC7-C8F7-470E-B883-D49732EB787C}" dt="2024-02-19T18:21:59.825" v="121" actId="2711"/>
          <ac:grpSpMkLst>
            <pc:docMk/>
            <pc:sldMk cId="455635473" sldId="2147483550"/>
            <ac:grpSpMk id="269" creationId="{7105B763-A496-E334-ADDE-C2E606890524}"/>
          </ac:grpSpMkLst>
        </pc:grpChg>
        <pc:grpChg chg="mod">
          <ac:chgData name="Hänninen, Lauri" userId="b62831d1-2046-40aa-b4b7-d67e2d73afe1" providerId="ADAL" clId="{F907ACC7-C8F7-470E-B883-D49732EB787C}" dt="2024-02-19T18:21:59.825" v="121" actId="2711"/>
          <ac:grpSpMkLst>
            <pc:docMk/>
            <pc:sldMk cId="455635473" sldId="2147483550"/>
            <ac:grpSpMk id="272" creationId="{51F206E0-0259-9340-3956-0C4D437AFBD9}"/>
          </ac:grpSpMkLst>
        </pc:grpChg>
        <pc:grpChg chg="mod">
          <ac:chgData name="Hänninen, Lauri" userId="b62831d1-2046-40aa-b4b7-d67e2d73afe1" providerId="ADAL" clId="{F907ACC7-C8F7-470E-B883-D49732EB787C}" dt="2024-02-19T18:21:59.825" v="121" actId="2711"/>
          <ac:grpSpMkLst>
            <pc:docMk/>
            <pc:sldMk cId="455635473" sldId="2147483550"/>
            <ac:grpSpMk id="275" creationId="{7A00FAB1-AE2E-D046-A660-F85156BFEE0A}"/>
          </ac:grpSpMkLst>
        </pc:grpChg>
        <pc:grpChg chg="mod">
          <ac:chgData name="Hänninen, Lauri" userId="b62831d1-2046-40aa-b4b7-d67e2d73afe1" providerId="ADAL" clId="{F907ACC7-C8F7-470E-B883-D49732EB787C}" dt="2024-02-19T18:21:59.825" v="121" actId="2711"/>
          <ac:grpSpMkLst>
            <pc:docMk/>
            <pc:sldMk cId="455635473" sldId="2147483550"/>
            <ac:grpSpMk id="278" creationId="{7D6D5D17-D27D-202D-0180-EAC7B6F187C1}"/>
          </ac:grpSpMkLst>
        </pc:grpChg>
        <pc:grpChg chg="mod">
          <ac:chgData name="Hänninen, Lauri" userId="b62831d1-2046-40aa-b4b7-d67e2d73afe1" providerId="ADAL" clId="{F907ACC7-C8F7-470E-B883-D49732EB787C}" dt="2024-02-19T18:21:59.825" v="121" actId="2711"/>
          <ac:grpSpMkLst>
            <pc:docMk/>
            <pc:sldMk cId="455635473" sldId="2147483550"/>
            <ac:grpSpMk id="281" creationId="{2FDE7277-3645-BD6F-7178-31017C9652B6}"/>
          </ac:grpSpMkLst>
        </pc:grpChg>
        <pc:grpChg chg="mod">
          <ac:chgData name="Hänninen, Lauri" userId="b62831d1-2046-40aa-b4b7-d67e2d73afe1" providerId="ADAL" clId="{F907ACC7-C8F7-470E-B883-D49732EB787C}" dt="2024-02-19T18:21:59.825" v="121" actId="2711"/>
          <ac:grpSpMkLst>
            <pc:docMk/>
            <pc:sldMk cId="455635473" sldId="2147483550"/>
            <ac:grpSpMk id="284" creationId="{075A570A-4441-5376-44FA-CF5EE6CA5F5F}"/>
          </ac:grpSpMkLst>
        </pc:grpChg>
        <pc:picChg chg="mod">
          <ac:chgData name="Hänninen, Lauri" userId="b62831d1-2046-40aa-b4b7-d67e2d73afe1" providerId="ADAL" clId="{F907ACC7-C8F7-470E-B883-D49732EB787C}" dt="2024-02-19T18:21:59.825" v="121" actId="2711"/>
          <ac:picMkLst>
            <pc:docMk/>
            <pc:sldMk cId="455635473" sldId="2147483550"/>
            <ac:picMk id="4" creationId="{CA7F1122-0A88-BE71-F975-6BC21635D17C}"/>
          </ac:picMkLst>
        </pc:picChg>
        <pc:picChg chg="mod">
          <ac:chgData name="Hänninen, Lauri" userId="b62831d1-2046-40aa-b4b7-d67e2d73afe1" providerId="ADAL" clId="{F907ACC7-C8F7-470E-B883-D49732EB787C}" dt="2024-02-19T18:21:59.825" v="121" actId="2711"/>
          <ac:picMkLst>
            <pc:docMk/>
            <pc:sldMk cId="455635473" sldId="2147483550"/>
            <ac:picMk id="264" creationId="{1698A710-C918-43E5-1EFB-F73B09F94DBE}"/>
          </ac:picMkLst>
        </pc:picChg>
        <pc:picChg chg="mod">
          <ac:chgData name="Hänninen, Lauri" userId="b62831d1-2046-40aa-b4b7-d67e2d73afe1" providerId="ADAL" clId="{F907ACC7-C8F7-470E-B883-D49732EB787C}" dt="2024-02-19T18:21:59.825" v="121" actId="2711"/>
          <ac:picMkLst>
            <pc:docMk/>
            <pc:sldMk cId="455635473" sldId="2147483550"/>
            <ac:picMk id="265" creationId="{4355A9D2-160A-0B8F-329C-E4D1434EB2BA}"/>
          </ac:picMkLst>
        </pc:picChg>
        <pc:picChg chg="mod">
          <ac:chgData name="Hänninen, Lauri" userId="b62831d1-2046-40aa-b4b7-d67e2d73afe1" providerId="ADAL" clId="{F907ACC7-C8F7-470E-B883-D49732EB787C}" dt="2024-02-19T18:21:59.825" v="121" actId="2711"/>
          <ac:picMkLst>
            <pc:docMk/>
            <pc:sldMk cId="455635473" sldId="2147483550"/>
            <ac:picMk id="266" creationId="{6C4F869A-E462-7D0E-F58A-D5B4F457A5BF}"/>
          </ac:picMkLst>
        </pc:picChg>
        <pc:picChg chg="mod">
          <ac:chgData name="Hänninen, Lauri" userId="b62831d1-2046-40aa-b4b7-d67e2d73afe1" providerId="ADAL" clId="{F907ACC7-C8F7-470E-B883-D49732EB787C}" dt="2024-02-19T18:21:59.825" v="121" actId="2711"/>
          <ac:picMkLst>
            <pc:docMk/>
            <pc:sldMk cId="455635473" sldId="2147483550"/>
            <ac:picMk id="267" creationId="{0F356A11-01DE-256F-98F8-E0E21D773E0E}"/>
          </ac:picMkLst>
        </pc:picChg>
        <pc:picChg chg="mod">
          <ac:chgData name="Hänninen, Lauri" userId="b62831d1-2046-40aa-b4b7-d67e2d73afe1" providerId="ADAL" clId="{F907ACC7-C8F7-470E-B883-D49732EB787C}" dt="2024-02-19T18:21:59.825" v="121" actId="2711"/>
          <ac:picMkLst>
            <pc:docMk/>
            <pc:sldMk cId="455635473" sldId="2147483550"/>
            <ac:picMk id="268" creationId="{C200BE2A-6277-DB55-5940-94D978E20F76}"/>
          </ac:picMkLst>
        </pc:picChg>
      </pc:sldChg>
      <pc:sldChg chg="modSp mod ord">
        <pc:chgData name="Hänninen, Lauri" userId="b62831d1-2046-40aa-b4b7-d67e2d73afe1" providerId="ADAL" clId="{F907ACC7-C8F7-470E-B883-D49732EB787C}" dt="2024-02-21T19:01:19.731" v="31661" actId="20577"/>
        <pc:sldMkLst>
          <pc:docMk/>
          <pc:sldMk cId="3874668093" sldId="2147483551"/>
        </pc:sldMkLst>
        <pc:spChg chg="mod">
          <ac:chgData name="Hänninen, Lauri" userId="b62831d1-2046-40aa-b4b7-d67e2d73afe1" providerId="ADAL" clId="{F907ACC7-C8F7-470E-B883-D49732EB787C}" dt="2024-02-21T19:01:19.731" v="31661" actId="20577"/>
          <ac:spMkLst>
            <pc:docMk/>
            <pc:sldMk cId="3874668093" sldId="2147483551"/>
            <ac:spMk id="8" creationId="{E73C6532-3274-AA7E-65C7-D9FDA88CC3D4}"/>
          </ac:spMkLst>
        </pc:spChg>
      </pc:sldChg>
      <pc:sldChg chg="modSp add mod">
        <pc:chgData name="Hänninen, Lauri" userId="b62831d1-2046-40aa-b4b7-d67e2d73afe1" providerId="ADAL" clId="{F907ACC7-C8F7-470E-B883-D49732EB787C}" dt="2024-02-23T14:02:39.552" v="42488" actId="20577"/>
        <pc:sldMkLst>
          <pc:docMk/>
          <pc:sldMk cId="3011676800" sldId="2147483554"/>
        </pc:sldMkLst>
        <pc:spChg chg="mod">
          <ac:chgData name="Hänninen, Lauri" userId="b62831d1-2046-40aa-b4b7-d67e2d73afe1" providerId="ADAL" clId="{F907ACC7-C8F7-470E-B883-D49732EB787C}" dt="2024-02-22T08:43:12.429" v="33110" actId="20577"/>
          <ac:spMkLst>
            <pc:docMk/>
            <pc:sldMk cId="3011676800" sldId="2147483554"/>
            <ac:spMk id="7" creationId="{4408E651-160C-1E66-D23C-D59C1CAF0B33}"/>
          </ac:spMkLst>
        </pc:spChg>
        <pc:spChg chg="mod">
          <ac:chgData name="Hänninen, Lauri" userId="b62831d1-2046-40aa-b4b7-d67e2d73afe1" providerId="ADAL" clId="{F907ACC7-C8F7-470E-B883-D49732EB787C}" dt="2024-02-23T14:02:39.552" v="42488" actId="20577"/>
          <ac:spMkLst>
            <pc:docMk/>
            <pc:sldMk cId="3011676800" sldId="2147483554"/>
            <ac:spMk id="65" creationId="{D9346048-BA17-6A45-80E2-4F5E22C9B420}"/>
          </ac:spMkLst>
        </pc:spChg>
        <pc:spChg chg="mod">
          <ac:chgData name="Hänninen, Lauri" userId="b62831d1-2046-40aa-b4b7-d67e2d73afe1" providerId="ADAL" clId="{F907ACC7-C8F7-470E-B883-D49732EB787C}" dt="2024-02-22T11:43:20.982" v="42339" actId="20577"/>
          <ac:spMkLst>
            <pc:docMk/>
            <pc:sldMk cId="3011676800" sldId="2147483554"/>
            <ac:spMk id="66" creationId="{B82DC1A8-19DC-F725-43FF-DBBC55DAC2C0}"/>
          </ac:spMkLst>
        </pc:spChg>
        <pc:picChg chg="mod">
          <ac:chgData name="Hänninen, Lauri" userId="b62831d1-2046-40aa-b4b7-d67e2d73afe1" providerId="ADAL" clId="{F907ACC7-C8F7-470E-B883-D49732EB787C}" dt="2024-02-23T08:14:53.345" v="42352" actId="1076"/>
          <ac:picMkLst>
            <pc:docMk/>
            <pc:sldMk cId="3011676800" sldId="2147483554"/>
            <ac:picMk id="72" creationId="{A066D471-C944-6612-AD6C-32263857E231}"/>
          </ac:picMkLst>
        </pc:picChg>
      </pc:sldChg>
      <pc:sldChg chg="modSp del mod">
        <pc:chgData name="Hänninen, Lauri" userId="b62831d1-2046-40aa-b4b7-d67e2d73afe1" providerId="ADAL" clId="{F907ACC7-C8F7-470E-B883-D49732EB787C}" dt="2024-02-21T14:34:50.608" v="29169" actId="2696"/>
        <pc:sldMkLst>
          <pc:docMk/>
          <pc:sldMk cId="4198764099" sldId="2147483554"/>
        </pc:sldMkLst>
        <pc:spChg chg="mod">
          <ac:chgData name="Hänninen, Lauri" userId="b62831d1-2046-40aa-b4b7-d67e2d73afe1" providerId="ADAL" clId="{F907ACC7-C8F7-470E-B883-D49732EB787C}" dt="2024-02-20T14:16:19.096" v="3725" actId="1036"/>
          <ac:spMkLst>
            <pc:docMk/>
            <pc:sldMk cId="4198764099" sldId="2147483554"/>
            <ac:spMk id="62" creationId="{1C4C5E68-970F-77A5-E495-4A8FED1E54E1}"/>
          </ac:spMkLst>
        </pc:spChg>
        <pc:spChg chg="mod">
          <ac:chgData name="Hänninen, Lauri" userId="b62831d1-2046-40aa-b4b7-d67e2d73afe1" providerId="ADAL" clId="{F907ACC7-C8F7-470E-B883-D49732EB787C}" dt="2024-02-20T14:16:19.096" v="3725" actId="1036"/>
          <ac:spMkLst>
            <pc:docMk/>
            <pc:sldMk cId="4198764099" sldId="2147483554"/>
            <ac:spMk id="63" creationId="{AB1016B4-4B79-3931-52A0-DC0D5294B9C5}"/>
          </ac:spMkLst>
        </pc:spChg>
        <pc:spChg chg="mod">
          <ac:chgData name="Hänninen, Lauri" userId="b62831d1-2046-40aa-b4b7-d67e2d73afe1" providerId="ADAL" clId="{F907ACC7-C8F7-470E-B883-D49732EB787C}" dt="2024-02-20T14:30:01.304" v="3991" actId="14100"/>
          <ac:spMkLst>
            <pc:docMk/>
            <pc:sldMk cId="4198764099" sldId="2147483554"/>
            <ac:spMk id="64" creationId="{C0BA3564-E858-49DF-47DC-415CCBD2679F}"/>
          </ac:spMkLst>
        </pc:spChg>
        <pc:spChg chg="mod">
          <ac:chgData name="Hänninen, Lauri" userId="b62831d1-2046-40aa-b4b7-d67e2d73afe1" providerId="ADAL" clId="{F907ACC7-C8F7-470E-B883-D49732EB787C}" dt="2024-02-20T14:16:19.096" v="3725" actId="1036"/>
          <ac:spMkLst>
            <pc:docMk/>
            <pc:sldMk cId="4198764099" sldId="2147483554"/>
            <ac:spMk id="73" creationId="{CBC511E1-3622-F1A2-FE77-0EDA66FCEA24}"/>
          </ac:spMkLst>
        </pc:spChg>
      </pc:sldChg>
      <pc:sldChg chg="mod modShow">
        <pc:chgData name="Hänninen, Lauri" userId="b62831d1-2046-40aa-b4b7-d67e2d73afe1" providerId="ADAL" clId="{F907ACC7-C8F7-470E-B883-D49732EB787C}" dt="2024-02-20T19:47:17.604" v="7825" actId="729"/>
        <pc:sldMkLst>
          <pc:docMk/>
          <pc:sldMk cId="1938886422" sldId="2147483557"/>
        </pc:sldMkLst>
      </pc:sldChg>
      <pc:sldChg chg="modSp del mod">
        <pc:chgData name="Hänninen, Lauri" userId="b62831d1-2046-40aa-b4b7-d67e2d73afe1" providerId="ADAL" clId="{F907ACC7-C8F7-470E-B883-D49732EB787C}" dt="2024-02-19T19:17:52.997" v="2803" actId="47"/>
        <pc:sldMkLst>
          <pc:docMk/>
          <pc:sldMk cId="301266476" sldId="2147483558"/>
        </pc:sldMkLst>
        <pc:spChg chg="mod">
          <ac:chgData name="Hänninen, Lauri" userId="b62831d1-2046-40aa-b4b7-d67e2d73afe1" providerId="ADAL" clId="{F907ACC7-C8F7-470E-B883-D49732EB787C}" dt="2024-02-19T18:21:11.645" v="83"/>
          <ac:spMkLst>
            <pc:docMk/>
            <pc:sldMk cId="301266476" sldId="2147483558"/>
            <ac:spMk id="5" creationId="{5F43F86A-EE19-5783-47DD-51DBCADCF320}"/>
          </ac:spMkLst>
        </pc:spChg>
        <pc:spChg chg="mod">
          <ac:chgData name="Hänninen, Lauri" userId="b62831d1-2046-40aa-b4b7-d67e2d73afe1" providerId="ADAL" clId="{F907ACC7-C8F7-470E-B883-D49732EB787C}" dt="2024-02-19T18:35:04.611" v="277" actId="20577"/>
          <ac:spMkLst>
            <pc:docMk/>
            <pc:sldMk cId="301266476" sldId="2147483558"/>
            <ac:spMk id="8" creationId="{24EF2106-88A7-B93B-D598-5542B4169E41}"/>
          </ac:spMkLst>
        </pc:spChg>
      </pc:sldChg>
      <pc:sldChg chg="addSp delSp modSp del mod">
        <pc:chgData name="Hänninen, Lauri" userId="b62831d1-2046-40aa-b4b7-d67e2d73afe1" providerId="ADAL" clId="{F907ACC7-C8F7-470E-B883-D49732EB787C}" dt="2024-02-21T14:34:50.608" v="29169" actId="2696"/>
        <pc:sldMkLst>
          <pc:docMk/>
          <pc:sldMk cId="1152882007" sldId="2147483559"/>
        </pc:sldMkLst>
        <pc:spChg chg="mod">
          <ac:chgData name="Hänninen, Lauri" userId="b62831d1-2046-40aa-b4b7-d67e2d73afe1" providerId="ADAL" clId="{F907ACC7-C8F7-470E-B883-D49732EB787C}" dt="2024-02-20T14:28:37.197" v="3976" actId="20577"/>
          <ac:spMkLst>
            <pc:docMk/>
            <pc:sldMk cId="1152882007" sldId="2147483559"/>
            <ac:spMk id="5" creationId="{5F43F86A-EE19-5783-47DD-51DBCADCF320}"/>
          </ac:spMkLst>
        </pc:spChg>
        <pc:spChg chg="mod">
          <ac:chgData name="Hänninen, Lauri" userId="b62831d1-2046-40aa-b4b7-d67e2d73afe1" providerId="ADAL" clId="{F907ACC7-C8F7-470E-B883-D49732EB787C}" dt="2024-02-20T14:29:12.060" v="3988" actId="1037"/>
          <ac:spMkLst>
            <pc:docMk/>
            <pc:sldMk cId="1152882007" sldId="2147483559"/>
            <ac:spMk id="60" creationId="{5BD22249-25D3-4F0A-D909-C57A7C687EEF}"/>
          </ac:spMkLst>
        </pc:spChg>
        <pc:spChg chg="mod">
          <ac:chgData name="Hänninen, Lauri" userId="b62831d1-2046-40aa-b4b7-d67e2d73afe1" providerId="ADAL" clId="{F907ACC7-C8F7-470E-B883-D49732EB787C}" dt="2024-02-20T14:29:12.060" v="3988" actId="1037"/>
          <ac:spMkLst>
            <pc:docMk/>
            <pc:sldMk cId="1152882007" sldId="2147483559"/>
            <ac:spMk id="61" creationId="{060F6B84-5012-1D98-11FC-06E9CAB989DD}"/>
          </ac:spMkLst>
        </pc:spChg>
        <pc:spChg chg="mod">
          <ac:chgData name="Hänninen, Lauri" userId="b62831d1-2046-40aa-b4b7-d67e2d73afe1" providerId="ADAL" clId="{F907ACC7-C8F7-470E-B883-D49732EB787C}" dt="2024-02-20T14:29:12.060" v="3988" actId="1037"/>
          <ac:spMkLst>
            <pc:docMk/>
            <pc:sldMk cId="1152882007" sldId="2147483559"/>
            <ac:spMk id="62" creationId="{28292A01-3AB1-7830-E66D-7B2EB7E44196}"/>
          </ac:spMkLst>
        </pc:spChg>
        <pc:spChg chg="mod">
          <ac:chgData name="Hänninen, Lauri" userId="b62831d1-2046-40aa-b4b7-d67e2d73afe1" providerId="ADAL" clId="{F907ACC7-C8F7-470E-B883-D49732EB787C}" dt="2024-02-20T14:29:12.060" v="3988" actId="1037"/>
          <ac:spMkLst>
            <pc:docMk/>
            <pc:sldMk cId="1152882007" sldId="2147483559"/>
            <ac:spMk id="63" creationId="{638EA041-AB8D-9159-2512-10A59D9C19AF}"/>
          </ac:spMkLst>
        </pc:spChg>
        <pc:spChg chg="mod">
          <ac:chgData name="Hänninen, Lauri" userId="b62831d1-2046-40aa-b4b7-d67e2d73afe1" providerId="ADAL" clId="{F907ACC7-C8F7-470E-B883-D49732EB787C}" dt="2024-02-20T14:29:12.060" v="3988" actId="1037"/>
          <ac:spMkLst>
            <pc:docMk/>
            <pc:sldMk cId="1152882007" sldId="2147483559"/>
            <ac:spMk id="64" creationId="{0FC950B7-50D0-BEEE-25CB-E23749017DD1}"/>
          </ac:spMkLst>
        </pc:spChg>
        <pc:spChg chg="mod">
          <ac:chgData name="Hänninen, Lauri" userId="b62831d1-2046-40aa-b4b7-d67e2d73afe1" providerId="ADAL" clId="{F907ACC7-C8F7-470E-B883-D49732EB787C}" dt="2024-02-20T14:29:12.060" v="3988" actId="1037"/>
          <ac:spMkLst>
            <pc:docMk/>
            <pc:sldMk cId="1152882007" sldId="2147483559"/>
            <ac:spMk id="65" creationId="{2724926A-6C9B-E798-096B-B4DB5A29AB7F}"/>
          </ac:spMkLst>
        </pc:spChg>
        <pc:spChg chg="mod">
          <ac:chgData name="Hänninen, Lauri" userId="b62831d1-2046-40aa-b4b7-d67e2d73afe1" providerId="ADAL" clId="{F907ACC7-C8F7-470E-B883-D49732EB787C}" dt="2024-02-20T14:29:12.060" v="3988" actId="1037"/>
          <ac:spMkLst>
            <pc:docMk/>
            <pc:sldMk cId="1152882007" sldId="2147483559"/>
            <ac:spMk id="66" creationId="{FDE7FF8F-9A43-B5E6-2A5B-F5B1D85C2FD2}"/>
          </ac:spMkLst>
        </pc:spChg>
        <pc:spChg chg="mod">
          <ac:chgData name="Hänninen, Lauri" userId="b62831d1-2046-40aa-b4b7-d67e2d73afe1" providerId="ADAL" clId="{F907ACC7-C8F7-470E-B883-D49732EB787C}" dt="2024-02-20T14:29:12.060" v="3988" actId="1037"/>
          <ac:spMkLst>
            <pc:docMk/>
            <pc:sldMk cId="1152882007" sldId="2147483559"/>
            <ac:spMk id="67" creationId="{6097C977-C096-75AA-B1BB-11E0300C00E2}"/>
          </ac:spMkLst>
        </pc:spChg>
        <pc:spChg chg="mod">
          <ac:chgData name="Hänninen, Lauri" userId="b62831d1-2046-40aa-b4b7-d67e2d73afe1" providerId="ADAL" clId="{F907ACC7-C8F7-470E-B883-D49732EB787C}" dt="2024-02-20T14:29:12.060" v="3988" actId="1037"/>
          <ac:spMkLst>
            <pc:docMk/>
            <pc:sldMk cId="1152882007" sldId="2147483559"/>
            <ac:spMk id="68" creationId="{48DD6062-926C-1910-A869-9632DC00EBAB}"/>
          </ac:spMkLst>
        </pc:spChg>
        <pc:spChg chg="mod">
          <ac:chgData name="Hänninen, Lauri" userId="b62831d1-2046-40aa-b4b7-d67e2d73afe1" providerId="ADAL" clId="{F907ACC7-C8F7-470E-B883-D49732EB787C}" dt="2024-02-20T14:29:12.060" v="3988" actId="1037"/>
          <ac:spMkLst>
            <pc:docMk/>
            <pc:sldMk cId="1152882007" sldId="2147483559"/>
            <ac:spMk id="69" creationId="{A06ECE1C-14BB-0B7E-8FA5-72894FB2A392}"/>
          </ac:spMkLst>
        </pc:spChg>
        <pc:spChg chg="mod">
          <ac:chgData name="Hänninen, Lauri" userId="b62831d1-2046-40aa-b4b7-d67e2d73afe1" providerId="ADAL" clId="{F907ACC7-C8F7-470E-B883-D49732EB787C}" dt="2024-02-20T14:29:12.060" v="3988" actId="1037"/>
          <ac:spMkLst>
            <pc:docMk/>
            <pc:sldMk cId="1152882007" sldId="2147483559"/>
            <ac:spMk id="70" creationId="{C290A65B-9C43-7720-25D9-BD48A78E3B28}"/>
          </ac:spMkLst>
        </pc:spChg>
        <pc:spChg chg="mod">
          <ac:chgData name="Hänninen, Lauri" userId="b62831d1-2046-40aa-b4b7-d67e2d73afe1" providerId="ADAL" clId="{F907ACC7-C8F7-470E-B883-D49732EB787C}" dt="2024-02-20T14:29:12.060" v="3988" actId="1037"/>
          <ac:spMkLst>
            <pc:docMk/>
            <pc:sldMk cId="1152882007" sldId="2147483559"/>
            <ac:spMk id="71" creationId="{35D96789-E440-BC78-C8E6-AD235F757A02}"/>
          </ac:spMkLst>
        </pc:spChg>
        <pc:spChg chg="mod">
          <ac:chgData name="Hänninen, Lauri" userId="b62831d1-2046-40aa-b4b7-d67e2d73afe1" providerId="ADAL" clId="{F907ACC7-C8F7-470E-B883-D49732EB787C}" dt="2024-02-20T14:29:12.060" v="3988" actId="1037"/>
          <ac:spMkLst>
            <pc:docMk/>
            <pc:sldMk cId="1152882007" sldId="2147483559"/>
            <ac:spMk id="72" creationId="{8FB06394-42F4-FC70-9E4E-A174AA19D907}"/>
          </ac:spMkLst>
        </pc:spChg>
        <pc:spChg chg="mod">
          <ac:chgData name="Hänninen, Lauri" userId="b62831d1-2046-40aa-b4b7-d67e2d73afe1" providerId="ADAL" clId="{F907ACC7-C8F7-470E-B883-D49732EB787C}" dt="2024-02-20T14:29:12.060" v="3988" actId="1037"/>
          <ac:spMkLst>
            <pc:docMk/>
            <pc:sldMk cId="1152882007" sldId="2147483559"/>
            <ac:spMk id="73" creationId="{2CCDAC78-7CF9-4AF7-4F1E-486DA154A128}"/>
          </ac:spMkLst>
        </pc:spChg>
        <pc:spChg chg="mod">
          <ac:chgData name="Hänninen, Lauri" userId="b62831d1-2046-40aa-b4b7-d67e2d73afe1" providerId="ADAL" clId="{F907ACC7-C8F7-470E-B883-D49732EB787C}" dt="2024-02-20T14:29:12.060" v="3988" actId="1037"/>
          <ac:spMkLst>
            <pc:docMk/>
            <pc:sldMk cId="1152882007" sldId="2147483559"/>
            <ac:spMk id="74" creationId="{5D530390-DD8D-ECE4-D386-F2831223C404}"/>
          </ac:spMkLst>
        </pc:spChg>
        <pc:spChg chg="mod">
          <ac:chgData name="Hänninen, Lauri" userId="b62831d1-2046-40aa-b4b7-d67e2d73afe1" providerId="ADAL" clId="{F907ACC7-C8F7-470E-B883-D49732EB787C}" dt="2024-02-20T14:29:12.060" v="3988" actId="1037"/>
          <ac:spMkLst>
            <pc:docMk/>
            <pc:sldMk cId="1152882007" sldId="2147483559"/>
            <ac:spMk id="75" creationId="{56F6B9C8-11B2-A39C-2EBD-F43F82E55AE4}"/>
          </ac:spMkLst>
        </pc:spChg>
        <pc:spChg chg="mod">
          <ac:chgData name="Hänninen, Lauri" userId="b62831d1-2046-40aa-b4b7-d67e2d73afe1" providerId="ADAL" clId="{F907ACC7-C8F7-470E-B883-D49732EB787C}" dt="2024-02-20T14:29:12.060" v="3988" actId="1037"/>
          <ac:spMkLst>
            <pc:docMk/>
            <pc:sldMk cId="1152882007" sldId="2147483559"/>
            <ac:spMk id="77" creationId="{CBC3C983-FC9E-CCBB-6257-9BEB7E834AB4}"/>
          </ac:spMkLst>
        </pc:spChg>
        <pc:spChg chg="mod">
          <ac:chgData name="Hänninen, Lauri" userId="b62831d1-2046-40aa-b4b7-d67e2d73afe1" providerId="ADAL" clId="{F907ACC7-C8F7-470E-B883-D49732EB787C}" dt="2024-02-20T14:29:12.060" v="3988" actId="1037"/>
          <ac:spMkLst>
            <pc:docMk/>
            <pc:sldMk cId="1152882007" sldId="2147483559"/>
            <ac:spMk id="78" creationId="{2B6BAB24-3A12-F57B-7B67-33144AA9969D}"/>
          </ac:spMkLst>
        </pc:spChg>
        <pc:spChg chg="mod">
          <ac:chgData name="Hänninen, Lauri" userId="b62831d1-2046-40aa-b4b7-d67e2d73afe1" providerId="ADAL" clId="{F907ACC7-C8F7-470E-B883-D49732EB787C}" dt="2024-02-20T14:29:12.060" v="3988" actId="1037"/>
          <ac:spMkLst>
            <pc:docMk/>
            <pc:sldMk cId="1152882007" sldId="2147483559"/>
            <ac:spMk id="107" creationId="{3E2E6731-7116-1D16-5064-363C99D4A08F}"/>
          </ac:spMkLst>
        </pc:spChg>
        <pc:spChg chg="mod">
          <ac:chgData name="Hänninen, Lauri" userId="b62831d1-2046-40aa-b4b7-d67e2d73afe1" providerId="ADAL" clId="{F907ACC7-C8F7-470E-B883-D49732EB787C}" dt="2024-02-20T14:29:12.060" v="3988" actId="1037"/>
          <ac:spMkLst>
            <pc:docMk/>
            <pc:sldMk cId="1152882007" sldId="2147483559"/>
            <ac:spMk id="109" creationId="{43B4839A-3895-59C0-F77D-E4FFDD277B6D}"/>
          </ac:spMkLst>
        </pc:spChg>
        <pc:spChg chg="mod">
          <ac:chgData name="Hänninen, Lauri" userId="b62831d1-2046-40aa-b4b7-d67e2d73afe1" providerId="ADAL" clId="{F907ACC7-C8F7-470E-B883-D49732EB787C}" dt="2024-02-20T14:29:12.060" v="3988" actId="1037"/>
          <ac:spMkLst>
            <pc:docMk/>
            <pc:sldMk cId="1152882007" sldId="2147483559"/>
            <ac:spMk id="111" creationId="{508CB0FD-EAA4-15AC-EB17-196F2245F10F}"/>
          </ac:spMkLst>
        </pc:spChg>
        <pc:spChg chg="mod">
          <ac:chgData name="Hänninen, Lauri" userId="b62831d1-2046-40aa-b4b7-d67e2d73afe1" providerId="ADAL" clId="{F907ACC7-C8F7-470E-B883-D49732EB787C}" dt="2024-02-20T14:29:12.060" v="3988" actId="1037"/>
          <ac:spMkLst>
            <pc:docMk/>
            <pc:sldMk cId="1152882007" sldId="2147483559"/>
            <ac:spMk id="112" creationId="{A9B033B9-EB11-8D0E-276E-BF983E7AAE56}"/>
          </ac:spMkLst>
        </pc:spChg>
        <pc:spChg chg="mod">
          <ac:chgData name="Hänninen, Lauri" userId="b62831d1-2046-40aa-b4b7-d67e2d73afe1" providerId="ADAL" clId="{F907ACC7-C8F7-470E-B883-D49732EB787C}" dt="2024-02-20T14:29:12.060" v="3988" actId="1037"/>
          <ac:spMkLst>
            <pc:docMk/>
            <pc:sldMk cId="1152882007" sldId="2147483559"/>
            <ac:spMk id="128" creationId="{C7AF6FDF-AB81-C116-0D91-3EEB46B0AACA}"/>
          </ac:spMkLst>
        </pc:spChg>
        <pc:spChg chg="mod">
          <ac:chgData name="Hänninen, Lauri" userId="b62831d1-2046-40aa-b4b7-d67e2d73afe1" providerId="ADAL" clId="{F907ACC7-C8F7-470E-B883-D49732EB787C}" dt="2024-02-20T14:29:12.060" v="3988" actId="1037"/>
          <ac:spMkLst>
            <pc:docMk/>
            <pc:sldMk cId="1152882007" sldId="2147483559"/>
            <ac:spMk id="129" creationId="{8E3BE2EA-D328-345D-0E9C-CC0639F56B7E}"/>
          </ac:spMkLst>
        </pc:spChg>
        <pc:spChg chg="mod">
          <ac:chgData name="Hänninen, Lauri" userId="b62831d1-2046-40aa-b4b7-d67e2d73afe1" providerId="ADAL" clId="{F907ACC7-C8F7-470E-B883-D49732EB787C}" dt="2024-02-20T14:29:12.060" v="3988" actId="1037"/>
          <ac:spMkLst>
            <pc:docMk/>
            <pc:sldMk cId="1152882007" sldId="2147483559"/>
            <ac:spMk id="131" creationId="{BD8D9E0A-09CE-E77C-46C4-1D024D62A047}"/>
          </ac:spMkLst>
        </pc:spChg>
        <pc:spChg chg="mod">
          <ac:chgData name="Hänninen, Lauri" userId="b62831d1-2046-40aa-b4b7-d67e2d73afe1" providerId="ADAL" clId="{F907ACC7-C8F7-470E-B883-D49732EB787C}" dt="2024-02-20T14:29:12.060" v="3988" actId="1037"/>
          <ac:spMkLst>
            <pc:docMk/>
            <pc:sldMk cId="1152882007" sldId="2147483559"/>
            <ac:spMk id="132" creationId="{56367FA7-042C-F611-5F90-E5D9838CA6BC}"/>
          </ac:spMkLst>
        </pc:spChg>
        <pc:spChg chg="mod">
          <ac:chgData name="Hänninen, Lauri" userId="b62831d1-2046-40aa-b4b7-d67e2d73afe1" providerId="ADAL" clId="{F907ACC7-C8F7-470E-B883-D49732EB787C}" dt="2024-02-20T14:29:12.060" v="3988" actId="1037"/>
          <ac:spMkLst>
            <pc:docMk/>
            <pc:sldMk cId="1152882007" sldId="2147483559"/>
            <ac:spMk id="134" creationId="{82627183-A9C7-8858-B164-4F23D9737191}"/>
          </ac:spMkLst>
        </pc:spChg>
        <pc:spChg chg="mod">
          <ac:chgData name="Hänninen, Lauri" userId="b62831d1-2046-40aa-b4b7-d67e2d73afe1" providerId="ADAL" clId="{F907ACC7-C8F7-470E-B883-D49732EB787C}" dt="2024-02-20T14:29:12.060" v="3988" actId="1037"/>
          <ac:spMkLst>
            <pc:docMk/>
            <pc:sldMk cId="1152882007" sldId="2147483559"/>
            <ac:spMk id="135" creationId="{4C63DA58-02DF-BD69-9149-9A37A56C5F37}"/>
          </ac:spMkLst>
        </pc:spChg>
        <pc:spChg chg="mod">
          <ac:chgData name="Hänninen, Lauri" userId="b62831d1-2046-40aa-b4b7-d67e2d73afe1" providerId="ADAL" clId="{F907ACC7-C8F7-470E-B883-D49732EB787C}" dt="2024-02-20T14:29:12.060" v="3988" actId="1037"/>
          <ac:spMkLst>
            <pc:docMk/>
            <pc:sldMk cId="1152882007" sldId="2147483559"/>
            <ac:spMk id="137" creationId="{DBD1EA98-A94D-5366-4D28-ACB1F5560BEC}"/>
          </ac:spMkLst>
        </pc:spChg>
        <pc:spChg chg="mod">
          <ac:chgData name="Hänninen, Lauri" userId="b62831d1-2046-40aa-b4b7-d67e2d73afe1" providerId="ADAL" clId="{F907ACC7-C8F7-470E-B883-D49732EB787C}" dt="2024-02-20T14:29:12.060" v="3988" actId="1037"/>
          <ac:spMkLst>
            <pc:docMk/>
            <pc:sldMk cId="1152882007" sldId="2147483559"/>
            <ac:spMk id="138" creationId="{EF3C5588-9426-B166-BA51-68290A3FF6A7}"/>
          </ac:spMkLst>
        </pc:spChg>
        <pc:spChg chg="mod">
          <ac:chgData name="Hänninen, Lauri" userId="b62831d1-2046-40aa-b4b7-d67e2d73afe1" providerId="ADAL" clId="{F907ACC7-C8F7-470E-B883-D49732EB787C}" dt="2024-02-20T14:29:12.060" v="3988" actId="1037"/>
          <ac:spMkLst>
            <pc:docMk/>
            <pc:sldMk cId="1152882007" sldId="2147483559"/>
            <ac:spMk id="140" creationId="{2035EAC3-4524-5B82-5F07-FC1DF88BD286}"/>
          </ac:spMkLst>
        </pc:spChg>
        <pc:spChg chg="mod">
          <ac:chgData name="Hänninen, Lauri" userId="b62831d1-2046-40aa-b4b7-d67e2d73afe1" providerId="ADAL" clId="{F907ACC7-C8F7-470E-B883-D49732EB787C}" dt="2024-02-20T14:29:12.060" v="3988" actId="1037"/>
          <ac:spMkLst>
            <pc:docMk/>
            <pc:sldMk cId="1152882007" sldId="2147483559"/>
            <ac:spMk id="141" creationId="{30B66A25-18B3-4ACC-CCD6-5EA864AAE0E6}"/>
          </ac:spMkLst>
        </pc:spChg>
        <pc:spChg chg="mod">
          <ac:chgData name="Hänninen, Lauri" userId="b62831d1-2046-40aa-b4b7-d67e2d73afe1" providerId="ADAL" clId="{F907ACC7-C8F7-470E-B883-D49732EB787C}" dt="2024-02-20T14:29:12.060" v="3988" actId="1037"/>
          <ac:spMkLst>
            <pc:docMk/>
            <pc:sldMk cId="1152882007" sldId="2147483559"/>
            <ac:spMk id="143" creationId="{4851C61A-EA8F-CC37-1C1F-1C0C50B61DF1}"/>
          </ac:spMkLst>
        </pc:spChg>
        <pc:spChg chg="mod">
          <ac:chgData name="Hänninen, Lauri" userId="b62831d1-2046-40aa-b4b7-d67e2d73afe1" providerId="ADAL" clId="{F907ACC7-C8F7-470E-B883-D49732EB787C}" dt="2024-02-20T14:29:12.060" v="3988" actId="1037"/>
          <ac:spMkLst>
            <pc:docMk/>
            <pc:sldMk cId="1152882007" sldId="2147483559"/>
            <ac:spMk id="144" creationId="{129BF8EA-6934-A6CE-1C99-FCF4A05D757F}"/>
          </ac:spMkLst>
        </pc:spChg>
        <pc:spChg chg="mod">
          <ac:chgData name="Hänninen, Lauri" userId="b62831d1-2046-40aa-b4b7-d67e2d73afe1" providerId="ADAL" clId="{F907ACC7-C8F7-470E-B883-D49732EB787C}" dt="2024-02-20T14:29:12.060" v="3988" actId="1037"/>
          <ac:spMkLst>
            <pc:docMk/>
            <pc:sldMk cId="1152882007" sldId="2147483559"/>
            <ac:spMk id="146" creationId="{2837E827-58D8-E3A5-9359-4EC582AEE0A8}"/>
          </ac:spMkLst>
        </pc:spChg>
        <pc:spChg chg="mod">
          <ac:chgData name="Hänninen, Lauri" userId="b62831d1-2046-40aa-b4b7-d67e2d73afe1" providerId="ADAL" clId="{F907ACC7-C8F7-470E-B883-D49732EB787C}" dt="2024-02-20T14:29:12.060" v="3988" actId="1037"/>
          <ac:spMkLst>
            <pc:docMk/>
            <pc:sldMk cId="1152882007" sldId="2147483559"/>
            <ac:spMk id="147" creationId="{3EBD4AD1-E5FB-EE6F-042D-3B4145D41093}"/>
          </ac:spMkLst>
        </pc:spChg>
        <pc:spChg chg="mod">
          <ac:chgData name="Hänninen, Lauri" userId="b62831d1-2046-40aa-b4b7-d67e2d73afe1" providerId="ADAL" clId="{F907ACC7-C8F7-470E-B883-D49732EB787C}" dt="2024-02-20T14:29:12.060" v="3988" actId="1037"/>
          <ac:spMkLst>
            <pc:docMk/>
            <pc:sldMk cId="1152882007" sldId="2147483559"/>
            <ac:spMk id="149" creationId="{3EE1892E-44EB-08C7-F3F7-DED7EE550F25}"/>
          </ac:spMkLst>
        </pc:spChg>
        <pc:spChg chg="mod">
          <ac:chgData name="Hänninen, Lauri" userId="b62831d1-2046-40aa-b4b7-d67e2d73afe1" providerId="ADAL" clId="{F907ACC7-C8F7-470E-B883-D49732EB787C}" dt="2024-02-20T14:29:12.060" v="3988" actId="1037"/>
          <ac:spMkLst>
            <pc:docMk/>
            <pc:sldMk cId="1152882007" sldId="2147483559"/>
            <ac:spMk id="150" creationId="{608FA77B-1741-B674-E607-5FBCAC23EBA0}"/>
          </ac:spMkLst>
        </pc:spChg>
        <pc:spChg chg="mod">
          <ac:chgData name="Hänninen, Lauri" userId="b62831d1-2046-40aa-b4b7-d67e2d73afe1" providerId="ADAL" clId="{F907ACC7-C8F7-470E-B883-D49732EB787C}" dt="2024-02-20T14:29:12.060" v="3988" actId="1037"/>
          <ac:spMkLst>
            <pc:docMk/>
            <pc:sldMk cId="1152882007" sldId="2147483559"/>
            <ac:spMk id="154" creationId="{FCF8BAB2-D8C4-6D04-4C79-048E05CB6B36}"/>
          </ac:spMkLst>
        </pc:spChg>
        <pc:spChg chg="mod">
          <ac:chgData name="Hänninen, Lauri" userId="b62831d1-2046-40aa-b4b7-d67e2d73afe1" providerId="ADAL" clId="{F907ACC7-C8F7-470E-B883-D49732EB787C}" dt="2024-02-20T14:29:12.060" v="3988" actId="1037"/>
          <ac:spMkLst>
            <pc:docMk/>
            <pc:sldMk cId="1152882007" sldId="2147483559"/>
            <ac:spMk id="155" creationId="{601AA2D5-0F23-B313-A950-30B6F92A42F1}"/>
          </ac:spMkLst>
        </pc:spChg>
        <pc:spChg chg="mod">
          <ac:chgData name="Hänninen, Lauri" userId="b62831d1-2046-40aa-b4b7-d67e2d73afe1" providerId="ADAL" clId="{F907ACC7-C8F7-470E-B883-D49732EB787C}" dt="2024-02-20T14:29:12.060" v="3988" actId="1037"/>
          <ac:spMkLst>
            <pc:docMk/>
            <pc:sldMk cId="1152882007" sldId="2147483559"/>
            <ac:spMk id="157" creationId="{FDF36826-5E06-D7B5-9B0C-C7D0FD455A92}"/>
          </ac:spMkLst>
        </pc:spChg>
        <pc:spChg chg="mod">
          <ac:chgData name="Hänninen, Lauri" userId="b62831d1-2046-40aa-b4b7-d67e2d73afe1" providerId="ADAL" clId="{F907ACC7-C8F7-470E-B883-D49732EB787C}" dt="2024-02-20T14:29:12.060" v="3988" actId="1037"/>
          <ac:spMkLst>
            <pc:docMk/>
            <pc:sldMk cId="1152882007" sldId="2147483559"/>
            <ac:spMk id="158" creationId="{DA816D02-0DF7-01C6-1DC3-4AE5E8AEDF5B}"/>
          </ac:spMkLst>
        </pc:spChg>
        <pc:grpChg chg="del">
          <ac:chgData name="Hänninen, Lauri" userId="b62831d1-2046-40aa-b4b7-d67e2d73afe1" providerId="ADAL" clId="{F907ACC7-C8F7-470E-B883-D49732EB787C}" dt="2024-02-20T14:29:06.279" v="3977" actId="478"/>
          <ac:grpSpMkLst>
            <pc:docMk/>
            <pc:sldMk cId="1152882007" sldId="2147483559"/>
            <ac:grpSpMk id="6" creationId="{464FFA22-1D2D-E0E9-4084-7A7396B521EA}"/>
          </ac:grpSpMkLst>
        </pc:grpChg>
        <pc:grpChg chg="add del">
          <ac:chgData name="Hänninen, Lauri" userId="b62831d1-2046-40aa-b4b7-d67e2d73afe1" providerId="ADAL" clId="{F907ACC7-C8F7-470E-B883-D49732EB787C}" dt="2024-02-20T14:29:06.279" v="3977" actId="478"/>
          <ac:grpSpMkLst>
            <pc:docMk/>
            <pc:sldMk cId="1152882007" sldId="2147483559"/>
            <ac:grpSpMk id="14" creationId="{ED122542-5476-F88D-5CAE-C93806D86C9C}"/>
          </ac:grpSpMkLst>
        </pc:grpChg>
        <pc:grpChg chg="mod">
          <ac:chgData name="Hänninen, Lauri" userId="b62831d1-2046-40aa-b4b7-d67e2d73afe1" providerId="ADAL" clId="{F907ACC7-C8F7-470E-B883-D49732EB787C}" dt="2024-02-20T14:29:12.060" v="3988" actId="1037"/>
          <ac:grpSpMkLst>
            <pc:docMk/>
            <pc:sldMk cId="1152882007" sldId="2147483559"/>
            <ac:grpSpMk id="76" creationId="{0FB6B899-0B9D-7103-00AE-E8AA850C95CB}"/>
          </ac:grpSpMkLst>
        </pc:grpChg>
        <pc:grpChg chg="mod">
          <ac:chgData name="Hänninen, Lauri" userId="b62831d1-2046-40aa-b4b7-d67e2d73afe1" providerId="ADAL" clId="{F907ACC7-C8F7-470E-B883-D49732EB787C}" dt="2024-02-20T14:29:12.060" v="3988" actId="1037"/>
          <ac:grpSpMkLst>
            <pc:docMk/>
            <pc:sldMk cId="1152882007" sldId="2147483559"/>
            <ac:grpSpMk id="127" creationId="{A862A51A-B884-BE74-CB5B-4E713D8DF92F}"/>
          </ac:grpSpMkLst>
        </pc:grpChg>
        <pc:grpChg chg="mod">
          <ac:chgData name="Hänninen, Lauri" userId="b62831d1-2046-40aa-b4b7-d67e2d73afe1" providerId="ADAL" clId="{F907ACC7-C8F7-470E-B883-D49732EB787C}" dt="2024-02-20T14:29:12.060" v="3988" actId="1037"/>
          <ac:grpSpMkLst>
            <pc:docMk/>
            <pc:sldMk cId="1152882007" sldId="2147483559"/>
            <ac:grpSpMk id="130" creationId="{B361CF5E-46B0-4E8E-7A1E-B5AECBEB8D3B}"/>
          </ac:grpSpMkLst>
        </pc:grpChg>
        <pc:grpChg chg="mod">
          <ac:chgData name="Hänninen, Lauri" userId="b62831d1-2046-40aa-b4b7-d67e2d73afe1" providerId="ADAL" clId="{F907ACC7-C8F7-470E-B883-D49732EB787C}" dt="2024-02-20T14:29:12.060" v="3988" actId="1037"/>
          <ac:grpSpMkLst>
            <pc:docMk/>
            <pc:sldMk cId="1152882007" sldId="2147483559"/>
            <ac:grpSpMk id="133" creationId="{FB369870-FFEC-B75B-21B8-1E7D7CA6FC54}"/>
          </ac:grpSpMkLst>
        </pc:grpChg>
        <pc:grpChg chg="mod">
          <ac:chgData name="Hänninen, Lauri" userId="b62831d1-2046-40aa-b4b7-d67e2d73afe1" providerId="ADAL" clId="{F907ACC7-C8F7-470E-B883-D49732EB787C}" dt="2024-02-20T14:29:12.060" v="3988" actId="1037"/>
          <ac:grpSpMkLst>
            <pc:docMk/>
            <pc:sldMk cId="1152882007" sldId="2147483559"/>
            <ac:grpSpMk id="136" creationId="{ABB63206-B430-F540-5552-8533B0B80D03}"/>
          </ac:grpSpMkLst>
        </pc:grpChg>
        <pc:grpChg chg="mod">
          <ac:chgData name="Hänninen, Lauri" userId="b62831d1-2046-40aa-b4b7-d67e2d73afe1" providerId="ADAL" clId="{F907ACC7-C8F7-470E-B883-D49732EB787C}" dt="2024-02-20T14:29:12.060" v="3988" actId="1037"/>
          <ac:grpSpMkLst>
            <pc:docMk/>
            <pc:sldMk cId="1152882007" sldId="2147483559"/>
            <ac:grpSpMk id="139" creationId="{88EB32D2-92C2-858C-D34C-AB320CF9793D}"/>
          </ac:grpSpMkLst>
        </pc:grpChg>
        <pc:grpChg chg="mod">
          <ac:chgData name="Hänninen, Lauri" userId="b62831d1-2046-40aa-b4b7-d67e2d73afe1" providerId="ADAL" clId="{F907ACC7-C8F7-470E-B883-D49732EB787C}" dt="2024-02-20T14:29:12.060" v="3988" actId="1037"/>
          <ac:grpSpMkLst>
            <pc:docMk/>
            <pc:sldMk cId="1152882007" sldId="2147483559"/>
            <ac:grpSpMk id="142" creationId="{89A09ED7-DF71-9C47-EA90-07C92CF8FE85}"/>
          </ac:grpSpMkLst>
        </pc:grpChg>
        <pc:grpChg chg="mod">
          <ac:chgData name="Hänninen, Lauri" userId="b62831d1-2046-40aa-b4b7-d67e2d73afe1" providerId="ADAL" clId="{F907ACC7-C8F7-470E-B883-D49732EB787C}" dt="2024-02-20T14:29:12.060" v="3988" actId="1037"/>
          <ac:grpSpMkLst>
            <pc:docMk/>
            <pc:sldMk cId="1152882007" sldId="2147483559"/>
            <ac:grpSpMk id="145" creationId="{C953C6DC-62A0-57EE-F8F6-49825D17273B}"/>
          </ac:grpSpMkLst>
        </pc:grpChg>
        <pc:grpChg chg="mod">
          <ac:chgData name="Hänninen, Lauri" userId="b62831d1-2046-40aa-b4b7-d67e2d73afe1" providerId="ADAL" clId="{F907ACC7-C8F7-470E-B883-D49732EB787C}" dt="2024-02-20T14:29:12.060" v="3988" actId="1037"/>
          <ac:grpSpMkLst>
            <pc:docMk/>
            <pc:sldMk cId="1152882007" sldId="2147483559"/>
            <ac:grpSpMk id="148" creationId="{A5796A35-7775-778C-3589-CED3CF8E8293}"/>
          </ac:grpSpMkLst>
        </pc:grpChg>
        <pc:grpChg chg="mod">
          <ac:chgData name="Hänninen, Lauri" userId="b62831d1-2046-40aa-b4b7-d67e2d73afe1" providerId="ADAL" clId="{F907ACC7-C8F7-470E-B883-D49732EB787C}" dt="2024-02-20T14:29:12.060" v="3988" actId="1037"/>
          <ac:grpSpMkLst>
            <pc:docMk/>
            <pc:sldMk cId="1152882007" sldId="2147483559"/>
            <ac:grpSpMk id="156" creationId="{D92DB3BA-DB6A-0729-2795-4FD6E55086D5}"/>
          </ac:grpSpMkLst>
        </pc:grpChg>
        <pc:cxnChg chg="mod">
          <ac:chgData name="Hänninen, Lauri" userId="b62831d1-2046-40aa-b4b7-d67e2d73afe1" providerId="ADAL" clId="{F907ACC7-C8F7-470E-B883-D49732EB787C}" dt="2024-02-20T14:29:12.060" v="3988" actId="1037"/>
          <ac:cxnSpMkLst>
            <pc:docMk/>
            <pc:sldMk cId="1152882007" sldId="2147483559"/>
            <ac:cxnSpMk id="59" creationId="{AC3D3624-8968-2490-A300-49E5F1BC1694}"/>
          </ac:cxnSpMkLst>
        </pc:cxnChg>
        <pc:cxnChg chg="mod">
          <ac:chgData name="Hänninen, Lauri" userId="b62831d1-2046-40aa-b4b7-d67e2d73afe1" providerId="ADAL" clId="{F907ACC7-C8F7-470E-B883-D49732EB787C}" dt="2024-02-20T14:29:12.060" v="3988" actId="1037"/>
          <ac:cxnSpMkLst>
            <pc:docMk/>
            <pc:sldMk cId="1152882007" sldId="2147483559"/>
            <ac:cxnSpMk id="100" creationId="{49033E7E-57E8-A9C6-DE60-6E2C6E44D713}"/>
          </ac:cxnSpMkLst>
        </pc:cxnChg>
        <pc:cxnChg chg="mod">
          <ac:chgData name="Hänninen, Lauri" userId="b62831d1-2046-40aa-b4b7-d67e2d73afe1" providerId="ADAL" clId="{F907ACC7-C8F7-470E-B883-D49732EB787C}" dt="2024-02-20T14:29:12.060" v="3988" actId="1037"/>
          <ac:cxnSpMkLst>
            <pc:docMk/>
            <pc:sldMk cId="1152882007" sldId="2147483559"/>
            <ac:cxnSpMk id="101" creationId="{2938C6D6-F09A-07BE-70D5-27C66363F45F}"/>
          </ac:cxnSpMkLst>
        </pc:cxnChg>
        <pc:cxnChg chg="mod">
          <ac:chgData name="Hänninen, Lauri" userId="b62831d1-2046-40aa-b4b7-d67e2d73afe1" providerId="ADAL" clId="{F907ACC7-C8F7-470E-B883-D49732EB787C}" dt="2024-02-20T14:29:12.060" v="3988" actId="1037"/>
          <ac:cxnSpMkLst>
            <pc:docMk/>
            <pc:sldMk cId="1152882007" sldId="2147483559"/>
            <ac:cxnSpMk id="102" creationId="{A8FE5DA9-D619-140C-8B01-D6C642827DC7}"/>
          </ac:cxnSpMkLst>
        </pc:cxnChg>
        <pc:cxnChg chg="mod">
          <ac:chgData name="Hänninen, Lauri" userId="b62831d1-2046-40aa-b4b7-d67e2d73afe1" providerId="ADAL" clId="{F907ACC7-C8F7-470E-B883-D49732EB787C}" dt="2024-02-20T14:29:12.060" v="3988" actId="1037"/>
          <ac:cxnSpMkLst>
            <pc:docMk/>
            <pc:sldMk cId="1152882007" sldId="2147483559"/>
            <ac:cxnSpMk id="103" creationId="{056D4BED-57A2-12B0-7C6C-F143481E5564}"/>
          </ac:cxnSpMkLst>
        </pc:cxnChg>
        <pc:cxnChg chg="mod">
          <ac:chgData name="Hänninen, Lauri" userId="b62831d1-2046-40aa-b4b7-d67e2d73afe1" providerId="ADAL" clId="{F907ACC7-C8F7-470E-B883-D49732EB787C}" dt="2024-02-20T14:29:12.060" v="3988" actId="1037"/>
          <ac:cxnSpMkLst>
            <pc:docMk/>
            <pc:sldMk cId="1152882007" sldId="2147483559"/>
            <ac:cxnSpMk id="104" creationId="{07E1602F-7209-CE9E-A8FB-F621A3F3F981}"/>
          </ac:cxnSpMkLst>
        </pc:cxnChg>
        <pc:cxnChg chg="mod">
          <ac:chgData name="Hänninen, Lauri" userId="b62831d1-2046-40aa-b4b7-d67e2d73afe1" providerId="ADAL" clId="{F907ACC7-C8F7-470E-B883-D49732EB787C}" dt="2024-02-20T14:29:12.060" v="3988" actId="1037"/>
          <ac:cxnSpMkLst>
            <pc:docMk/>
            <pc:sldMk cId="1152882007" sldId="2147483559"/>
            <ac:cxnSpMk id="105" creationId="{61F3BE8C-4418-EB86-F1A6-8874747115E5}"/>
          </ac:cxnSpMkLst>
        </pc:cxnChg>
        <pc:cxnChg chg="mod">
          <ac:chgData name="Hänninen, Lauri" userId="b62831d1-2046-40aa-b4b7-d67e2d73afe1" providerId="ADAL" clId="{F907ACC7-C8F7-470E-B883-D49732EB787C}" dt="2024-02-20T14:29:12.060" v="3988" actId="1037"/>
          <ac:cxnSpMkLst>
            <pc:docMk/>
            <pc:sldMk cId="1152882007" sldId="2147483559"/>
            <ac:cxnSpMk id="106" creationId="{9374FECC-0DD8-7DE9-373A-00F58E0A94B5}"/>
          </ac:cxnSpMkLst>
        </pc:cxnChg>
        <pc:cxnChg chg="mod">
          <ac:chgData name="Hänninen, Lauri" userId="b62831d1-2046-40aa-b4b7-d67e2d73afe1" providerId="ADAL" clId="{F907ACC7-C8F7-470E-B883-D49732EB787C}" dt="2024-02-20T14:29:12.060" v="3988" actId="1037"/>
          <ac:cxnSpMkLst>
            <pc:docMk/>
            <pc:sldMk cId="1152882007" sldId="2147483559"/>
            <ac:cxnSpMk id="108" creationId="{4FE5BF6C-782A-164D-BBB4-67F392D72B5E}"/>
          </ac:cxnSpMkLst>
        </pc:cxnChg>
        <pc:cxnChg chg="mod">
          <ac:chgData name="Hänninen, Lauri" userId="b62831d1-2046-40aa-b4b7-d67e2d73afe1" providerId="ADAL" clId="{F907ACC7-C8F7-470E-B883-D49732EB787C}" dt="2024-02-20T14:29:12.060" v="3988" actId="1037"/>
          <ac:cxnSpMkLst>
            <pc:docMk/>
            <pc:sldMk cId="1152882007" sldId="2147483559"/>
            <ac:cxnSpMk id="116" creationId="{DD99C2D7-36CC-3088-5268-65C2090F205A}"/>
          </ac:cxnSpMkLst>
        </pc:cxnChg>
        <pc:cxnChg chg="mod">
          <ac:chgData name="Hänninen, Lauri" userId="b62831d1-2046-40aa-b4b7-d67e2d73afe1" providerId="ADAL" clId="{F907ACC7-C8F7-470E-B883-D49732EB787C}" dt="2024-02-20T14:29:12.060" v="3988" actId="1037"/>
          <ac:cxnSpMkLst>
            <pc:docMk/>
            <pc:sldMk cId="1152882007" sldId="2147483559"/>
            <ac:cxnSpMk id="159" creationId="{89B48A68-4235-033C-2140-27B706436590}"/>
          </ac:cxnSpMkLst>
        </pc:cxnChg>
      </pc:sldChg>
      <pc:sldChg chg="modSp add mod">
        <pc:chgData name="Hänninen, Lauri" userId="b62831d1-2046-40aa-b4b7-d67e2d73afe1" providerId="ADAL" clId="{F907ACC7-C8F7-470E-B883-D49732EB787C}" dt="2024-02-22T11:46:27.010" v="42346" actId="14100"/>
        <pc:sldMkLst>
          <pc:docMk/>
          <pc:sldMk cId="1343589809" sldId="2147483559"/>
        </pc:sldMkLst>
        <pc:cxnChg chg="mod">
          <ac:chgData name="Hänninen, Lauri" userId="b62831d1-2046-40aa-b4b7-d67e2d73afe1" providerId="ADAL" clId="{F907ACC7-C8F7-470E-B883-D49732EB787C}" dt="2024-02-22T11:46:27.010" v="42346" actId="14100"/>
          <ac:cxnSpMkLst>
            <pc:docMk/>
            <pc:sldMk cId="1343589809" sldId="2147483559"/>
            <ac:cxnSpMk id="59" creationId="{AC3D3624-8968-2490-A300-49E5F1BC1694}"/>
          </ac:cxnSpMkLst>
        </pc:cxnChg>
      </pc:sldChg>
      <pc:sldChg chg="addSp delSp modSp mod ord">
        <pc:chgData name="Hänninen, Lauri" userId="b62831d1-2046-40aa-b4b7-d67e2d73afe1" providerId="ADAL" clId="{F907ACC7-C8F7-470E-B883-D49732EB787C}" dt="2024-02-22T08:42:44.873" v="33107" actId="20577"/>
        <pc:sldMkLst>
          <pc:docMk/>
          <pc:sldMk cId="292208671" sldId="2147483560"/>
        </pc:sldMkLst>
        <pc:spChg chg="mod">
          <ac:chgData name="Hänninen, Lauri" userId="b62831d1-2046-40aa-b4b7-d67e2d73afe1" providerId="ADAL" clId="{F907ACC7-C8F7-470E-B883-D49732EB787C}" dt="2024-02-20T14:31:42.733" v="4000" actId="2711"/>
          <ac:spMkLst>
            <pc:docMk/>
            <pc:sldMk cId="292208671" sldId="2147483560"/>
            <ac:spMk id="2" creationId="{7F9358A2-7766-50CF-8105-070E3FC9ED7C}"/>
          </ac:spMkLst>
        </pc:spChg>
        <pc:spChg chg="mod">
          <ac:chgData name="Hänninen, Lauri" userId="b62831d1-2046-40aa-b4b7-d67e2d73afe1" providerId="ADAL" clId="{F907ACC7-C8F7-470E-B883-D49732EB787C}" dt="2024-02-20T14:31:42.733" v="4000" actId="2711"/>
          <ac:spMkLst>
            <pc:docMk/>
            <pc:sldMk cId="292208671" sldId="2147483560"/>
            <ac:spMk id="3" creationId="{F3CD5B43-8C88-D768-9624-DD56AB196786}"/>
          </ac:spMkLst>
        </pc:spChg>
        <pc:spChg chg="mod">
          <ac:chgData name="Hänninen, Lauri" userId="b62831d1-2046-40aa-b4b7-d67e2d73afe1" providerId="ADAL" clId="{F907ACC7-C8F7-470E-B883-D49732EB787C}" dt="2024-02-20T14:31:42.733" v="4000" actId="2711"/>
          <ac:spMkLst>
            <pc:docMk/>
            <pc:sldMk cId="292208671" sldId="2147483560"/>
            <ac:spMk id="4" creationId="{CA5ED283-AA97-AE6F-C3BB-C9A18FE8029F}"/>
          </ac:spMkLst>
        </pc:spChg>
        <pc:spChg chg="del mod">
          <ac:chgData name="Hänninen, Lauri" userId="b62831d1-2046-40aa-b4b7-d67e2d73afe1" providerId="ADAL" clId="{F907ACC7-C8F7-470E-B883-D49732EB787C}" dt="2024-02-20T20:00:56.966" v="8139" actId="478"/>
          <ac:spMkLst>
            <pc:docMk/>
            <pc:sldMk cId="292208671" sldId="2147483560"/>
            <ac:spMk id="5" creationId="{C366F721-438D-8591-1264-4FE3CE8076D4}"/>
          </ac:spMkLst>
        </pc:spChg>
        <pc:spChg chg="add mod">
          <ac:chgData name="Hänninen, Lauri" userId="b62831d1-2046-40aa-b4b7-d67e2d73afe1" providerId="ADAL" clId="{F907ACC7-C8F7-470E-B883-D49732EB787C}" dt="2024-02-22T08:02:54.066" v="32715"/>
          <ac:spMkLst>
            <pc:docMk/>
            <pc:sldMk cId="292208671" sldId="2147483560"/>
            <ac:spMk id="5" creationId="{CB120C98-8F44-AFF9-80AF-E148E43A294D}"/>
          </ac:spMkLst>
        </pc:spChg>
        <pc:spChg chg="add del mod">
          <ac:chgData name="Hänninen, Lauri" userId="b62831d1-2046-40aa-b4b7-d67e2d73afe1" providerId="ADAL" clId="{F907ACC7-C8F7-470E-B883-D49732EB787C}" dt="2024-02-22T08:35:16.210" v="32749" actId="478"/>
          <ac:spMkLst>
            <pc:docMk/>
            <pc:sldMk cId="292208671" sldId="2147483560"/>
            <ac:spMk id="7" creationId="{A8279B0A-4DB8-34EB-671E-B11153F857B9}"/>
          </ac:spMkLst>
        </pc:spChg>
        <pc:spChg chg="add mod">
          <ac:chgData name="Hänninen, Lauri" userId="b62831d1-2046-40aa-b4b7-d67e2d73afe1" providerId="ADAL" clId="{F907ACC7-C8F7-470E-B883-D49732EB787C}" dt="2024-02-22T08:03:00.818" v="32718" actId="408"/>
          <ac:spMkLst>
            <pc:docMk/>
            <pc:sldMk cId="292208671" sldId="2147483560"/>
            <ac:spMk id="8" creationId="{2F87ABC6-D9C9-7C64-2072-7CBAA6B741B5}"/>
          </ac:spMkLst>
        </pc:spChg>
        <pc:spChg chg="del mod">
          <ac:chgData name="Hänninen, Lauri" userId="b62831d1-2046-40aa-b4b7-d67e2d73afe1" providerId="ADAL" clId="{F907ACC7-C8F7-470E-B883-D49732EB787C}" dt="2024-02-20T14:29:25.270" v="3989" actId="478"/>
          <ac:spMkLst>
            <pc:docMk/>
            <pc:sldMk cId="292208671" sldId="2147483560"/>
            <ac:spMk id="8" creationId="{A2E1652D-251D-7134-ACB2-8D86522CBF0D}"/>
          </ac:spMkLst>
        </pc:spChg>
        <pc:spChg chg="mod topLvl">
          <ac:chgData name="Hänninen, Lauri" userId="b62831d1-2046-40aa-b4b7-d67e2d73afe1" providerId="ADAL" clId="{F907ACC7-C8F7-470E-B883-D49732EB787C}" dt="2024-02-22T08:00:14.376" v="32712" actId="1036"/>
          <ac:spMkLst>
            <pc:docMk/>
            <pc:sldMk cId="292208671" sldId="2147483560"/>
            <ac:spMk id="9" creationId="{6115EB21-074A-3159-DB01-4B393CF2B80F}"/>
          </ac:spMkLst>
        </pc:spChg>
        <pc:spChg chg="mod topLvl">
          <ac:chgData name="Hänninen, Lauri" userId="b62831d1-2046-40aa-b4b7-d67e2d73afe1" providerId="ADAL" clId="{F907ACC7-C8F7-470E-B883-D49732EB787C}" dt="2024-02-22T08:00:14.376" v="32712" actId="1036"/>
          <ac:spMkLst>
            <pc:docMk/>
            <pc:sldMk cId="292208671" sldId="2147483560"/>
            <ac:spMk id="10" creationId="{0EA4BC53-F9B0-27C6-AE27-F7B69F4C91AA}"/>
          </ac:spMkLst>
        </pc:spChg>
        <pc:spChg chg="mod topLvl">
          <ac:chgData name="Hänninen, Lauri" userId="b62831d1-2046-40aa-b4b7-d67e2d73afe1" providerId="ADAL" clId="{F907ACC7-C8F7-470E-B883-D49732EB787C}" dt="2024-02-22T08:00:14.376" v="32712" actId="1036"/>
          <ac:spMkLst>
            <pc:docMk/>
            <pc:sldMk cId="292208671" sldId="2147483560"/>
            <ac:spMk id="11" creationId="{440E2D8D-75DB-98E1-C787-CD6805761B7A}"/>
          </ac:spMkLst>
        </pc:spChg>
        <pc:spChg chg="mod topLvl">
          <ac:chgData name="Hänninen, Lauri" userId="b62831d1-2046-40aa-b4b7-d67e2d73afe1" providerId="ADAL" clId="{F907ACC7-C8F7-470E-B883-D49732EB787C}" dt="2024-02-22T08:00:14.376" v="32712" actId="1036"/>
          <ac:spMkLst>
            <pc:docMk/>
            <pc:sldMk cId="292208671" sldId="2147483560"/>
            <ac:spMk id="12" creationId="{98C84493-61C2-3886-88A6-6C352BBCED33}"/>
          </ac:spMkLst>
        </pc:spChg>
        <pc:spChg chg="mod topLvl">
          <ac:chgData name="Hänninen, Lauri" userId="b62831d1-2046-40aa-b4b7-d67e2d73afe1" providerId="ADAL" clId="{F907ACC7-C8F7-470E-B883-D49732EB787C}" dt="2024-02-22T08:00:14.376" v="32712" actId="1036"/>
          <ac:spMkLst>
            <pc:docMk/>
            <pc:sldMk cId="292208671" sldId="2147483560"/>
            <ac:spMk id="13" creationId="{108F1A2B-F36C-31A6-210C-01AFE46D4D57}"/>
          </ac:spMkLst>
        </pc:spChg>
        <pc:spChg chg="mod topLvl">
          <ac:chgData name="Hänninen, Lauri" userId="b62831d1-2046-40aa-b4b7-d67e2d73afe1" providerId="ADAL" clId="{F907ACC7-C8F7-470E-B883-D49732EB787C}" dt="2024-02-22T08:00:14.376" v="32712" actId="1036"/>
          <ac:spMkLst>
            <pc:docMk/>
            <pc:sldMk cId="292208671" sldId="2147483560"/>
            <ac:spMk id="14" creationId="{984A9F16-406B-A346-10E1-A91687FE7FBF}"/>
          </ac:spMkLst>
        </pc:spChg>
        <pc:spChg chg="mod topLvl">
          <ac:chgData name="Hänninen, Lauri" userId="b62831d1-2046-40aa-b4b7-d67e2d73afe1" providerId="ADAL" clId="{F907ACC7-C8F7-470E-B883-D49732EB787C}" dt="2024-02-22T08:00:14.376" v="32712" actId="1036"/>
          <ac:spMkLst>
            <pc:docMk/>
            <pc:sldMk cId="292208671" sldId="2147483560"/>
            <ac:spMk id="15" creationId="{611F7FEC-1CCE-7956-DEA1-25F2EF24BEA6}"/>
          </ac:spMkLst>
        </pc:spChg>
        <pc:spChg chg="mod topLvl">
          <ac:chgData name="Hänninen, Lauri" userId="b62831d1-2046-40aa-b4b7-d67e2d73afe1" providerId="ADAL" clId="{F907ACC7-C8F7-470E-B883-D49732EB787C}" dt="2024-02-22T08:00:14.376" v="32712" actId="1036"/>
          <ac:spMkLst>
            <pc:docMk/>
            <pc:sldMk cId="292208671" sldId="2147483560"/>
            <ac:spMk id="16" creationId="{896B2EC7-C945-3330-B4FC-169BC36DA9DC}"/>
          </ac:spMkLst>
        </pc:spChg>
        <pc:spChg chg="mod topLvl">
          <ac:chgData name="Hänninen, Lauri" userId="b62831d1-2046-40aa-b4b7-d67e2d73afe1" providerId="ADAL" clId="{F907ACC7-C8F7-470E-B883-D49732EB787C}" dt="2024-02-22T08:00:14.376" v="32712" actId="1036"/>
          <ac:spMkLst>
            <pc:docMk/>
            <pc:sldMk cId="292208671" sldId="2147483560"/>
            <ac:spMk id="17" creationId="{285EB9E3-A2B7-D1B1-855B-E2AA70DB815C}"/>
          </ac:spMkLst>
        </pc:spChg>
        <pc:spChg chg="mod topLvl">
          <ac:chgData name="Hänninen, Lauri" userId="b62831d1-2046-40aa-b4b7-d67e2d73afe1" providerId="ADAL" clId="{F907ACC7-C8F7-470E-B883-D49732EB787C}" dt="2024-02-22T08:00:14.376" v="32712" actId="1036"/>
          <ac:spMkLst>
            <pc:docMk/>
            <pc:sldMk cId="292208671" sldId="2147483560"/>
            <ac:spMk id="18" creationId="{375E8287-A601-3E0A-BC40-B3A41D42C222}"/>
          </ac:spMkLst>
        </pc:spChg>
        <pc:spChg chg="mod topLvl">
          <ac:chgData name="Hänninen, Lauri" userId="b62831d1-2046-40aa-b4b7-d67e2d73afe1" providerId="ADAL" clId="{F907ACC7-C8F7-470E-B883-D49732EB787C}" dt="2024-02-22T08:00:14.376" v="32712" actId="1036"/>
          <ac:spMkLst>
            <pc:docMk/>
            <pc:sldMk cId="292208671" sldId="2147483560"/>
            <ac:spMk id="19" creationId="{7E1AF81A-7C64-B109-A714-4F90C4A79680}"/>
          </ac:spMkLst>
        </pc:spChg>
        <pc:spChg chg="mod topLvl">
          <ac:chgData name="Hänninen, Lauri" userId="b62831d1-2046-40aa-b4b7-d67e2d73afe1" providerId="ADAL" clId="{F907ACC7-C8F7-470E-B883-D49732EB787C}" dt="2024-02-22T08:00:14.376" v="32712" actId="1036"/>
          <ac:spMkLst>
            <pc:docMk/>
            <pc:sldMk cId="292208671" sldId="2147483560"/>
            <ac:spMk id="20" creationId="{6EF43088-924A-5D56-7841-FD5AE2D8CF91}"/>
          </ac:spMkLst>
        </pc:spChg>
        <pc:spChg chg="mod topLvl">
          <ac:chgData name="Hänninen, Lauri" userId="b62831d1-2046-40aa-b4b7-d67e2d73afe1" providerId="ADAL" clId="{F907ACC7-C8F7-470E-B883-D49732EB787C}" dt="2024-02-22T08:00:14.376" v="32712" actId="1036"/>
          <ac:spMkLst>
            <pc:docMk/>
            <pc:sldMk cId="292208671" sldId="2147483560"/>
            <ac:spMk id="21" creationId="{C4D31375-757D-BE56-9107-58FBA961233A}"/>
          </ac:spMkLst>
        </pc:spChg>
        <pc:spChg chg="mod topLvl">
          <ac:chgData name="Hänninen, Lauri" userId="b62831d1-2046-40aa-b4b7-d67e2d73afe1" providerId="ADAL" clId="{F907ACC7-C8F7-470E-B883-D49732EB787C}" dt="2024-02-22T08:00:14.376" v="32712" actId="1036"/>
          <ac:spMkLst>
            <pc:docMk/>
            <pc:sldMk cId="292208671" sldId="2147483560"/>
            <ac:spMk id="22" creationId="{58BEA33D-1037-12D6-32BC-85F258667802}"/>
          </ac:spMkLst>
        </pc:spChg>
        <pc:spChg chg="mod topLvl">
          <ac:chgData name="Hänninen, Lauri" userId="b62831d1-2046-40aa-b4b7-d67e2d73afe1" providerId="ADAL" clId="{F907ACC7-C8F7-470E-B883-D49732EB787C}" dt="2024-02-22T08:00:14.376" v="32712" actId="1036"/>
          <ac:spMkLst>
            <pc:docMk/>
            <pc:sldMk cId="292208671" sldId="2147483560"/>
            <ac:spMk id="23" creationId="{65AF2D31-FB75-FE9F-3D5A-DAD9E5EF4B64}"/>
          </ac:spMkLst>
        </pc:spChg>
        <pc:spChg chg="add del mod">
          <ac:chgData name="Hänninen, Lauri" userId="b62831d1-2046-40aa-b4b7-d67e2d73afe1" providerId="ADAL" clId="{F907ACC7-C8F7-470E-B883-D49732EB787C}" dt="2024-02-22T07:59:59.472" v="32664" actId="478"/>
          <ac:spMkLst>
            <pc:docMk/>
            <pc:sldMk cId="292208671" sldId="2147483560"/>
            <ac:spMk id="24" creationId="{076B6E06-CDAE-EC4E-8471-F8698F3C295A}"/>
          </ac:spMkLst>
        </pc:spChg>
        <pc:spChg chg="add mod">
          <ac:chgData name="Hänninen, Lauri" userId="b62831d1-2046-40aa-b4b7-d67e2d73afe1" providerId="ADAL" clId="{F907ACC7-C8F7-470E-B883-D49732EB787C}" dt="2024-02-22T08:33:15.168" v="32723" actId="20577"/>
          <ac:spMkLst>
            <pc:docMk/>
            <pc:sldMk cId="292208671" sldId="2147483560"/>
            <ac:spMk id="25" creationId="{1E3FC43D-AE00-E8CA-5104-FB0E55F89003}"/>
          </ac:spMkLst>
        </pc:spChg>
        <pc:spChg chg="add mod">
          <ac:chgData name="Hänninen, Lauri" userId="b62831d1-2046-40aa-b4b7-d67e2d73afe1" providerId="ADAL" clId="{F907ACC7-C8F7-470E-B883-D49732EB787C}" dt="2024-02-22T08:03:00.818" v="32718" actId="408"/>
          <ac:spMkLst>
            <pc:docMk/>
            <pc:sldMk cId="292208671" sldId="2147483560"/>
            <ac:spMk id="26" creationId="{15F30BE6-9D98-328F-0BC5-39FAEB13A70B}"/>
          </ac:spMkLst>
        </pc:spChg>
        <pc:spChg chg="add del mod">
          <ac:chgData name="Hänninen, Lauri" userId="b62831d1-2046-40aa-b4b7-d67e2d73afe1" providerId="ADAL" clId="{F907ACC7-C8F7-470E-B883-D49732EB787C}" dt="2024-02-20T15:03:35.031" v="4738" actId="478"/>
          <ac:spMkLst>
            <pc:docMk/>
            <pc:sldMk cId="292208671" sldId="2147483560"/>
            <ac:spMk id="26" creationId="{1ED995DC-4D7F-0A13-CEC4-8CD96FEF6D6F}"/>
          </ac:spMkLst>
        </pc:spChg>
        <pc:spChg chg="add del mod">
          <ac:chgData name="Hänninen, Lauri" userId="b62831d1-2046-40aa-b4b7-d67e2d73afe1" providerId="ADAL" clId="{F907ACC7-C8F7-470E-B883-D49732EB787C}" dt="2024-02-20T20:00:59.873" v="8140" actId="478"/>
          <ac:spMkLst>
            <pc:docMk/>
            <pc:sldMk cId="292208671" sldId="2147483560"/>
            <ac:spMk id="26" creationId="{FEA6EF80-9542-8DF0-2E9B-804A211C0A43}"/>
          </ac:spMkLst>
        </pc:spChg>
        <pc:spChg chg="add mod">
          <ac:chgData name="Hänninen, Lauri" userId="b62831d1-2046-40aa-b4b7-d67e2d73afe1" providerId="ADAL" clId="{F907ACC7-C8F7-470E-B883-D49732EB787C}" dt="2024-02-22T08:03:00.818" v="32718" actId="408"/>
          <ac:spMkLst>
            <pc:docMk/>
            <pc:sldMk cId="292208671" sldId="2147483560"/>
            <ac:spMk id="27" creationId="{6B8E960C-77D8-F230-A5E3-FCE79BD37080}"/>
          </ac:spMkLst>
        </pc:spChg>
        <pc:spChg chg="add mod">
          <ac:chgData name="Hänninen, Lauri" userId="b62831d1-2046-40aa-b4b7-d67e2d73afe1" providerId="ADAL" clId="{F907ACC7-C8F7-470E-B883-D49732EB787C}" dt="2024-02-22T08:02:57.814" v="32717"/>
          <ac:spMkLst>
            <pc:docMk/>
            <pc:sldMk cId="292208671" sldId="2147483560"/>
            <ac:spMk id="28" creationId="{32F9D6E5-6411-B113-AA40-CEB11267A345}"/>
          </ac:spMkLst>
        </pc:spChg>
        <pc:spChg chg="add mod">
          <ac:chgData name="Hänninen, Lauri" userId="b62831d1-2046-40aa-b4b7-d67e2d73afe1" providerId="ADAL" clId="{F907ACC7-C8F7-470E-B883-D49732EB787C}" dt="2024-02-22T08:42:44.873" v="33107" actId="20577"/>
          <ac:spMkLst>
            <pc:docMk/>
            <pc:sldMk cId="292208671" sldId="2147483560"/>
            <ac:spMk id="29" creationId="{DB160747-67A6-9D1D-3FBD-53B153F15214}"/>
          </ac:spMkLst>
        </pc:spChg>
        <pc:grpChg chg="add del mod">
          <ac:chgData name="Hänninen, Lauri" userId="b62831d1-2046-40aa-b4b7-d67e2d73afe1" providerId="ADAL" clId="{F907ACC7-C8F7-470E-B883-D49732EB787C}" dt="2024-02-20T14:31:32.609" v="3998" actId="165"/>
          <ac:grpSpMkLst>
            <pc:docMk/>
            <pc:sldMk cId="292208671" sldId="2147483560"/>
            <ac:grpSpMk id="7" creationId="{0704CE14-2F46-948A-51F4-F488163BE9D3}"/>
          </ac:grpSpMkLst>
        </pc:grpChg>
      </pc:sldChg>
      <pc:sldChg chg="mod modShow">
        <pc:chgData name="Hänninen, Lauri" userId="b62831d1-2046-40aa-b4b7-d67e2d73afe1" providerId="ADAL" clId="{F907ACC7-C8F7-470E-B883-D49732EB787C}" dt="2024-02-20T19:47:17.604" v="7825" actId="729"/>
        <pc:sldMkLst>
          <pc:docMk/>
          <pc:sldMk cId="3199200530" sldId="2147483561"/>
        </pc:sldMkLst>
      </pc:sldChg>
      <pc:sldChg chg="mod modShow">
        <pc:chgData name="Hänninen, Lauri" userId="b62831d1-2046-40aa-b4b7-d67e2d73afe1" providerId="ADAL" clId="{F907ACC7-C8F7-470E-B883-D49732EB787C}" dt="2024-02-19T18:25:19.203" v="204" actId="729"/>
        <pc:sldMkLst>
          <pc:docMk/>
          <pc:sldMk cId="3260886565" sldId="2147483564"/>
        </pc:sldMkLst>
      </pc:sldChg>
      <pc:sldChg chg="mod modShow">
        <pc:chgData name="Hänninen, Lauri" userId="b62831d1-2046-40aa-b4b7-d67e2d73afe1" providerId="ADAL" clId="{F907ACC7-C8F7-470E-B883-D49732EB787C}" dt="2024-02-20T19:47:17.604" v="7825" actId="729"/>
        <pc:sldMkLst>
          <pc:docMk/>
          <pc:sldMk cId="1969782702" sldId="2147483567"/>
        </pc:sldMkLst>
      </pc:sldChg>
      <pc:sldChg chg="mod modShow">
        <pc:chgData name="Hänninen, Lauri" userId="b62831d1-2046-40aa-b4b7-d67e2d73afe1" providerId="ADAL" clId="{F907ACC7-C8F7-470E-B883-D49732EB787C}" dt="2024-02-20T19:47:17.604" v="7825" actId="729"/>
        <pc:sldMkLst>
          <pc:docMk/>
          <pc:sldMk cId="1706326155" sldId="2147483584"/>
        </pc:sldMkLst>
      </pc:sldChg>
      <pc:sldChg chg="addSp delSp modSp new mod">
        <pc:chgData name="Hänninen, Lauri" userId="b62831d1-2046-40aa-b4b7-d67e2d73afe1" providerId="ADAL" clId="{F907ACC7-C8F7-470E-B883-D49732EB787C}" dt="2024-02-20T19:36:48.486" v="7555" actId="1076"/>
        <pc:sldMkLst>
          <pc:docMk/>
          <pc:sldMk cId="2551518534" sldId="2147483585"/>
        </pc:sldMkLst>
        <pc:spChg chg="del">
          <ac:chgData name="Hänninen, Lauri" userId="b62831d1-2046-40aa-b4b7-d67e2d73afe1" providerId="ADAL" clId="{F907ACC7-C8F7-470E-B883-D49732EB787C}" dt="2024-02-19T19:21:06.655" v="2817" actId="478"/>
          <ac:spMkLst>
            <pc:docMk/>
            <pc:sldMk cId="2551518534" sldId="2147483585"/>
            <ac:spMk id="6" creationId="{D87669A5-894A-463B-4AB5-7EAC67830204}"/>
          </ac:spMkLst>
        </pc:spChg>
        <pc:spChg chg="del">
          <ac:chgData name="Hänninen, Lauri" userId="b62831d1-2046-40aa-b4b7-d67e2d73afe1" providerId="ADAL" clId="{F907ACC7-C8F7-470E-B883-D49732EB787C}" dt="2024-02-19T19:21:04.975" v="2816" actId="478"/>
          <ac:spMkLst>
            <pc:docMk/>
            <pc:sldMk cId="2551518534" sldId="2147483585"/>
            <ac:spMk id="7" creationId="{F4407858-CCDF-3FE4-8792-CC6B6E0D7F3B}"/>
          </ac:spMkLst>
        </pc:spChg>
        <pc:spChg chg="add mod">
          <ac:chgData name="Hänninen, Lauri" userId="b62831d1-2046-40aa-b4b7-d67e2d73afe1" providerId="ADAL" clId="{F907ACC7-C8F7-470E-B883-D49732EB787C}" dt="2024-02-20T19:36:48.486" v="7555" actId="1076"/>
          <ac:spMkLst>
            <pc:docMk/>
            <pc:sldMk cId="2551518534" sldId="2147483585"/>
            <ac:spMk id="8" creationId="{DF71A25C-9F54-8198-22E2-B5073FEF7903}"/>
          </ac:spMkLst>
        </pc:spChg>
      </pc:sldChg>
      <pc:sldChg chg="addSp delSp modSp new del mod">
        <pc:chgData name="Hänninen, Lauri" userId="b62831d1-2046-40aa-b4b7-d67e2d73afe1" providerId="ADAL" clId="{F907ACC7-C8F7-470E-B883-D49732EB787C}" dt="2024-02-19T19:17:54.449" v="2804" actId="47"/>
        <pc:sldMkLst>
          <pc:docMk/>
          <pc:sldMk cId="2949884503" sldId="2147483585"/>
        </pc:sldMkLst>
        <pc:spChg chg="mod ord">
          <ac:chgData name="Hänninen, Lauri" userId="b62831d1-2046-40aa-b4b7-d67e2d73afe1" providerId="ADAL" clId="{F907ACC7-C8F7-470E-B883-D49732EB787C}" dt="2024-02-19T18:36:05.868" v="805"/>
          <ac:spMkLst>
            <pc:docMk/>
            <pc:sldMk cId="2949884503" sldId="2147483585"/>
            <ac:spMk id="2" creationId="{62E0ACD2-9471-64A7-A4B3-A0089E27F7E9}"/>
          </ac:spMkLst>
        </pc:spChg>
        <pc:spChg chg="mod ord">
          <ac:chgData name="Hänninen, Lauri" userId="b62831d1-2046-40aa-b4b7-d67e2d73afe1" providerId="ADAL" clId="{F907ACC7-C8F7-470E-B883-D49732EB787C}" dt="2024-02-19T18:36:05.868" v="807"/>
          <ac:spMkLst>
            <pc:docMk/>
            <pc:sldMk cId="2949884503" sldId="2147483585"/>
            <ac:spMk id="3" creationId="{381BE24B-983A-F62E-314D-FC3A7E6E288C}"/>
          </ac:spMkLst>
        </pc:spChg>
        <pc:spChg chg="mod ord">
          <ac:chgData name="Hänninen, Lauri" userId="b62831d1-2046-40aa-b4b7-d67e2d73afe1" providerId="ADAL" clId="{F907ACC7-C8F7-470E-B883-D49732EB787C}" dt="2024-02-19T18:36:05.868" v="809"/>
          <ac:spMkLst>
            <pc:docMk/>
            <pc:sldMk cId="2949884503" sldId="2147483585"/>
            <ac:spMk id="4" creationId="{1488DC65-2374-99C2-32A0-FDB189D12F81}"/>
          </ac:spMkLst>
        </pc:spChg>
        <pc:spChg chg="del">
          <ac:chgData name="Hänninen, Lauri" userId="b62831d1-2046-40aa-b4b7-d67e2d73afe1" providerId="ADAL" clId="{F907ACC7-C8F7-470E-B883-D49732EB787C}" dt="2024-02-19T18:36:03.295" v="281" actId="478"/>
          <ac:spMkLst>
            <pc:docMk/>
            <pc:sldMk cId="2949884503" sldId="2147483585"/>
            <ac:spMk id="5" creationId="{F23E4533-BA89-122E-5F00-5F9DC41B5BB5}"/>
          </ac:spMkLst>
        </pc:spChg>
        <pc:spChg chg="del">
          <ac:chgData name="Hänninen, Lauri" userId="b62831d1-2046-40aa-b4b7-d67e2d73afe1" providerId="ADAL" clId="{F907ACC7-C8F7-470E-B883-D49732EB787C}" dt="2024-02-19T18:36:01.386" v="280" actId="478"/>
          <ac:spMkLst>
            <pc:docMk/>
            <pc:sldMk cId="2949884503" sldId="2147483585"/>
            <ac:spMk id="6" creationId="{ECC1BE7D-9387-CFBE-4893-15E8279E047B}"/>
          </ac:spMkLst>
        </pc:spChg>
        <pc:spChg chg="del">
          <ac:chgData name="Hänninen, Lauri" userId="b62831d1-2046-40aa-b4b7-d67e2d73afe1" providerId="ADAL" clId="{F907ACC7-C8F7-470E-B883-D49732EB787C}" dt="2024-02-19T18:35:59.824" v="279" actId="478"/>
          <ac:spMkLst>
            <pc:docMk/>
            <pc:sldMk cId="2949884503" sldId="2147483585"/>
            <ac:spMk id="7" creationId="{DB406238-73BA-4991-E8C0-981811F87AE4}"/>
          </ac:spMkLst>
        </pc:spChg>
        <pc:spChg chg="add mod ord">
          <ac:chgData name="Hänninen, Lauri" userId="b62831d1-2046-40aa-b4b7-d67e2d73afe1" providerId="ADAL" clId="{F907ACC7-C8F7-470E-B883-D49732EB787C}" dt="2024-02-19T18:36:05.868" v="811"/>
          <ac:spMkLst>
            <pc:docMk/>
            <pc:sldMk cId="2949884503" sldId="2147483585"/>
            <ac:spMk id="8" creationId="{8E69B428-623E-6661-BAA8-877783690C9B}"/>
          </ac:spMkLst>
        </pc:spChg>
        <pc:spChg chg="add mod">
          <ac:chgData name="Hänninen, Lauri" userId="b62831d1-2046-40aa-b4b7-d67e2d73afe1" providerId="ADAL" clId="{F907ACC7-C8F7-470E-B883-D49732EB787C}" dt="2024-02-19T18:36:05.868" v="812"/>
          <ac:spMkLst>
            <pc:docMk/>
            <pc:sldMk cId="2949884503" sldId="2147483585"/>
            <ac:spMk id="9" creationId="{0BDB3EAA-BAF4-CCD5-B647-7F7FB532C1E6}"/>
          </ac:spMkLst>
        </pc:spChg>
        <pc:spChg chg="add mod">
          <ac:chgData name="Hänninen, Lauri" userId="b62831d1-2046-40aa-b4b7-d67e2d73afe1" providerId="ADAL" clId="{F907ACC7-C8F7-470E-B883-D49732EB787C}" dt="2024-02-19T18:36:05.868" v="813"/>
          <ac:spMkLst>
            <pc:docMk/>
            <pc:sldMk cId="2949884503" sldId="2147483585"/>
            <ac:spMk id="10" creationId="{43E0E3F5-CD0C-9859-170B-9A33F4398BE5}"/>
          </ac:spMkLst>
        </pc:spChg>
        <pc:spChg chg="add mod ord">
          <ac:chgData name="Hänninen, Lauri" userId="b62831d1-2046-40aa-b4b7-d67e2d73afe1" providerId="ADAL" clId="{F907ACC7-C8F7-470E-B883-D49732EB787C}" dt="2024-02-19T18:36:05.868" v="815"/>
          <ac:spMkLst>
            <pc:docMk/>
            <pc:sldMk cId="2949884503" sldId="2147483585"/>
            <ac:spMk id="11" creationId="{434F0072-36D0-B005-8A56-4B145E96D3DF}"/>
          </ac:spMkLst>
        </pc:spChg>
        <pc:spChg chg="add mod">
          <ac:chgData name="Hänninen, Lauri" userId="b62831d1-2046-40aa-b4b7-d67e2d73afe1" providerId="ADAL" clId="{F907ACC7-C8F7-470E-B883-D49732EB787C}" dt="2024-02-19T18:36:05.868" v="816"/>
          <ac:spMkLst>
            <pc:docMk/>
            <pc:sldMk cId="2949884503" sldId="2147483585"/>
            <ac:spMk id="12" creationId="{118B3E7B-4464-FA9B-ADDA-EA8E62218898}"/>
          </ac:spMkLst>
        </pc:spChg>
        <pc:spChg chg="add mod ord">
          <ac:chgData name="Hänninen, Lauri" userId="b62831d1-2046-40aa-b4b7-d67e2d73afe1" providerId="ADAL" clId="{F907ACC7-C8F7-470E-B883-D49732EB787C}" dt="2024-02-19T18:36:05.868" v="818"/>
          <ac:spMkLst>
            <pc:docMk/>
            <pc:sldMk cId="2949884503" sldId="2147483585"/>
            <ac:spMk id="13" creationId="{C07E1A3A-06D0-DE5B-9040-EDFA3D97267D}"/>
          </ac:spMkLst>
        </pc:spChg>
        <pc:spChg chg="add mod">
          <ac:chgData name="Hänninen, Lauri" userId="b62831d1-2046-40aa-b4b7-d67e2d73afe1" providerId="ADAL" clId="{F907ACC7-C8F7-470E-B883-D49732EB787C}" dt="2024-02-19T18:36:05.868" v="819"/>
          <ac:spMkLst>
            <pc:docMk/>
            <pc:sldMk cId="2949884503" sldId="2147483585"/>
            <ac:spMk id="14" creationId="{D6748A61-3B36-7F8A-1F11-7AC5C800F7BD}"/>
          </ac:spMkLst>
        </pc:spChg>
        <pc:spChg chg="add mod replST">
          <ac:chgData name="Hänninen, Lauri" userId="b62831d1-2046-40aa-b4b7-d67e2d73afe1" providerId="ADAL" clId="{F907ACC7-C8F7-470E-B883-D49732EB787C}" dt="2024-02-19T18:36:05.868" v="821"/>
          <ac:spMkLst>
            <pc:docMk/>
            <pc:sldMk cId="2949884503" sldId="2147483585"/>
            <ac:spMk id="16" creationId="{BE274DCB-0FDB-58F6-ED7A-642FEAB94AFF}"/>
          </ac:spMkLst>
        </pc:spChg>
        <pc:spChg chg="add mod replST">
          <ac:chgData name="Hänninen, Lauri" userId="b62831d1-2046-40aa-b4b7-d67e2d73afe1" providerId="ADAL" clId="{F907ACC7-C8F7-470E-B883-D49732EB787C}" dt="2024-02-19T18:36:05.868" v="822"/>
          <ac:spMkLst>
            <pc:docMk/>
            <pc:sldMk cId="2949884503" sldId="2147483585"/>
            <ac:spMk id="17" creationId="{E55D0783-3890-B505-F2D8-52CE38592D16}"/>
          </ac:spMkLst>
        </pc:spChg>
        <pc:spChg chg="add mod replST">
          <ac:chgData name="Hänninen, Lauri" userId="b62831d1-2046-40aa-b4b7-d67e2d73afe1" providerId="ADAL" clId="{F907ACC7-C8F7-470E-B883-D49732EB787C}" dt="2024-02-19T18:36:05.868" v="823"/>
          <ac:spMkLst>
            <pc:docMk/>
            <pc:sldMk cId="2949884503" sldId="2147483585"/>
            <ac:spMk id="18" creationId="{836C03E7-9C24-236A-5A7B-6EDBB68A656E}"/>
          </ac:spMkLst>
        </pc:spChg>
        <pc:spChg chg="add mod replST">
          <ac:chgData name="Hänninen, Lauri" userId="b62831d1-2046-40aa-b4b7-d67e2d73afe1" providerId="ADAL" clId="{F907ACC7-C8F7-470E-B883-D49732EB787C}" dt="2024-02-19T18:36:05.868" v="824"/>
          <ac:spMkLst>
            <pc:docMk/>
            <pc:sldMk cId="2949884503" sldId="2147483585"/>
            <ac:spMk id="19" creationId="{4223AAB5-E806-03CB-D83B-08793FFC9BFA}"/>
          </ac:spMkLst>
        </pc:spChg>
        <pc:spChg chg="add mod replST">
          <ac:chgData name="Hänninen, Lauri" userId="b62831d1-2046-40aa-b4b7-d67e2d73afe1" providerId="ADAL" clId="{F907ACC7-C8F7-470E-B883-D49732EB787C}" dt="2024-02-19T18:36:05.868" v="825"/>
          <ac:spMkLst>
            <pc:docMk/>
            <pc:sldMk cId="2949884503" sldId="2147483585"/>
            <ac:spMk id="20" creationId="{99F05072-7738-DA50-CAD9-079EF02E4D09}"/>
          </ac:spMkLst>
        </pc:spChg>
        <pc:spChg chg="add mod replST">
          <ac:chgData name="Hänninen, Lauri" userId="b62831d1-2046-40aa-b4b7-d67e2d73afe1" providerId="ADAL" clId="{F907ACC7-C8F7-470E-B883-D49732EB787C}" dt="2024-02-19T18:36:05.868" v="826"/>
          <ac:spMkLst>
            <pc:docMk/>
            <pc:sldMk cId="2949884503" sldId="2147483585"/>
            <ac:spMk id="21" creationId="{A6A188E0-063D-0253-BA33-CD40339CC126}"/>
          </ac:spMkLst>
        </pc:spChg>
        <pc:spChg chg="add mod replST">
          <ac:chgData name="Hänninen, Lauri" userId="b62831d1-2046-40aa-b4b7-d67e2d73afe1" providerId="ADAL" clId="{F907ACC7-C8F7-470E-B883-D49732EB787C}" dt="2024-02-19T18:36:05.868" v="827"/>
          <ac:spMkLst>
            <pc:docMk/>
            <pc:sldMk cId="2949884503" sldId="2147483585"/>
            <ac:spMk id="22" creationId="{DA82CA20-DD98-73B9-B41E-668257964A6C}"/>
          </ac:spMkLst>
        </pc:spChg>
        <pc:spChg chg="add mod replST">
          <ac:chgData name="Hänninen, Lauri" userId="b62831d1-2046-40aa-b4b7-d67e2d73afe1" providerId="ADAL" clId="{F907ACC7-C8F7-470E-B883-D49732EB787C}" dt="2024-02-19T18:36:05.868" v="828"/>
          <ac:spMkLst>
            <pc:docMk/>
            <pc:sldMk cId="2949884503" sldId="2147483585"/>
            <ac:spMk id="23" creationId="{E1582F34-3B74-E98F-8410-AD5A946F4EF8}"/>
          </ac:spMkLst>
        </pc:spChg>
        <pc:spChg chg="add mod replST">
          <ac:chgData name="Hänninen, Lauri" userId="b62831d1-2046-40aa-b4b7-d67e2d73afe1" providerId="ADAL" clId="{F907ACC7-C8F7-470E-B883-D49732EB787C}" dt="2024-02-19T18:36:05.868" v="829"/>
          <ac:spMkLst>
            <pc:docMk/>
            <pc:sldMk cId="2949884503" sldId="2147483585"/>
            <ac:spMk id="24" creationId="{05CB1E6C-C422-0EB1-093E-6D4D1F4E5D9D}"/>
          </ac:spMkLst>
        </pc:spChg>
        <pc:spChg chg="add mod replST">
          <ac:chgData name="Hänninen, Lauri" userId="b62831d1-2046-40aa-b4b7-d67e2d73afe1" providerId="ADAL" clId="{F907ACC7-C8F7-470E-B883-D49732EB787C}" dt="2024-02-19T18:36:05.868" v="830"/>
          <ac:spMkLst>
            <pc:docMk/>
            <pc:sldMk cId="2949884503" sldId="2147483585"/>
            <ac:spMk id="25" creationId="{A143975E-2E4E-E90E-483C-563BDEF44D45}"/>
          </ac:spMkLst>
        </pc:spChg>
        <pc:spChg chg="add mod replST">
          <ac:chgData name="Hänninen, Lauri" userId="b62831d1-2046-40aa-b4b7-d67e2d73afe1" providerId="ADAL" clId="{F907ACC7-C8F7-470E-B883-D49732EB787C}" dt="2024-02-19T18:36:05.868" v="831"/>
          <ac:spMkLst>
            <pc:docMk/>
            <pc:sldMk cId="2949884503" sldId="2147483585"/>
            <ac:spMk id="26" creationId="{8B3F2BF1-DB1C-CF74-4CCE-6ACF49B6A82A}"/>
          </ac:spMkLst>
        </pc:spChg>
        <pc:spChg chg="add mod replST">
          <ac:chgData name="Hänninen, Lauri" userId="b62831d1-2046-40aa-b4b7-d67e2d73afe1" providerId="ADAL" clId="{F907ACC7-C8F7-470E-B883-D49732EB787C}" dt="2024-02-19T18:36:05.868" v="832"/>
          <ac:spMkLst>
            <pc:docMk/>
            <pc:sldMk cId="2949884503" sldId="2147483585"/>
            <ac:spMk id="27" creationId="{7F383443-2310-34CA-20D1-452077AD2AEE}"/>
          </ac:spMkLst>
        </pc:spChg>
        <pc:spChg chg="add mod replST">
          <ac:chgData name="Hänninen, Lauri" userId="b62831d1-2046-40aa-b4b7-d67e2d73afe1" providerId="ADAL" clId="{F907ACC7-C8F7-470E-B883-D49732EB787C}" dt="2024-02-19T18:36:05.868" v="833"/>
          <ac:spMkLst>
            <pc:docMk/>
            <pc:sldMk cId="2949884503" sldId="2147483585"/>
            <ac:spMk id="28" creationId="{0FFCB199-B602-D763-2270-7EEF12E1BFF6}"/>
          </ac:spMkLst>
        </pc:spChg>
        <pc:spChg chg="add mod replST">
          <ac:chgData name="Hänninen, Lauri" userId="b62831d1-2046-40aa-b4b7-d67e2d73afe1" providerId="ADAL" clId="{F907ACC7-C8F7-470E-B883-D49732EB787C}" dt="2024-02-19T18:36:05.868" v="834"/>
          <ac:spMkLst>
            <pc:docMk/>
            <pc:sldMk cId="2949884503" sldId="2147483585"/>
            <ac:spMk id="29" creationId="{267121B7-899F-C7E4-7BFD-B416A0BCB6FA}"/>
          </ac:spMkLst>
        </pc:spChg>
        <pc:spChg chg="add mod replST">
          <ac:chgData name="Hänninen, Lauri" userId="b62831d1-2046-40aa-b4b7-d67e2d73afe1" providerId="ADAL" clId="{F907ACC7-C8F7-470E-B883-D49732EB787C}" dt="2024-02-19T18:36:05.868" v="835"/>
          <ac:spMkLst>
            <pc:docMk/>
            <pc:sldMk cId="2949884503" sldId="2147483585"/>
            <ac:spMk id="30" creationId="{DB379D9B-B548-63F1-FEF2-7862E2800B19}"/>
          </ac:spMkLst>
        </pc:spChg>
        <pc:spChg chg="add mod replST">
          <ac:chgData name="Hänninen, Lauri" userId="b62831d1-2046-40aa-b4b7-d67e2d73afe1" providerId="ADAL" clId="{F907ACC7-C8F7-470E-B883-D49732EB787C}" dt="2024-02-19T18:36:05.868" v="836"/>
          <ac:spMkLst>
            <pc:docMk/>
            <pc:sldMk cId="2949884503" sldId="2147483585"/>
            <ac:spMk id="31" creationId="{04C96B87-2C65-D972-29F6-F5EE615F8A39}"/>
          </ac:spMkLst>
        </pc:spChg>
        <pc:spChg chg="add mod replST">
          <ac:chgData name="Hänninen, Lauri" userId="b62831d1-2046-40aa-b4b7-d67e2d73afe1" providerId="ADAL" clId="{F907ACC7-C8F7-470E-B883-D49732EB787C}" dt="2024-02-19T18:36:05.868" v="837"/>
          <ac:spMkLst>
            <pc:docMk/>
            <pc:sldMk cId="2949884503" sldId="2147483585"/>
            <ac:spMk id="32" creationId="{40100F37-867D-3B3F-24C4-F796C134989C}"/>
          </ac:spMkLst>
        </pc:spChg>
        <pc:spChg chg="add mod replST">
          <ac:chgData name="Hänninen, Lauri" userId="b62831d1-2046-40aa-b4b7-d67e2d73afe1" providerId="ADAL" clId="{F907ACC7-C8F7-470E-B883-D49732EB787C}" dt="2024-02-19T18:36:05.868" v="838"/>
          <ac:spMkLst>
            <pc:docMk/>
            <pc:sldMk cId="2949884503" sldId="2147483585"/>
            <ac:spMk id="33" creationId="{54BC0947-6CD5-D41B-2A96-08523C01B806}"/>
          </ac:spMkLst>
        </pc:spChg>
        <pc:spChg chg="add mod replST">
          <ac:chgData name="Hänninen, Lauri" userId="b62831d1-2046-40aa-b4b7-d67e2d73afe1" providerId="ADAL" clId="{F907ACC7-C8F7-470E-B883-D49732EB787C}" dt="2024-02-19T18:36:05.868" v="839"/>
          <ac:spMkLst>
            <pc:docMk/>
            <pc:sldMk cId="2949884503" sldId="2147483585"/>
            <ac:spMk id="34" creationId="{7CD5BC46-CB26-59C5-7582-3F1FAAFCFF4A}"/>
          </ac:spMkLst>
        </pc:spChg>
        <pc:spChg chg="add mod replST">
          <ac:chgData name="Hänninen, Lauri" userId="b62831d1-2046-40aa-b4b7-d67e2d73afe1" providerId="ADAL" clId="{F907ACC7-C8F7-470E-B883-D49732EB787C}" dt="2024-02-19T18:36:05.884" v="840"/>
          <ac:spMkLst>
            <pc:docMk/>
            <pc:sldMk cId="2949884503" sldId="2147483585"/>
            <ac:spMk id="35" creationId="{7578BB79-0C45-20D7-FAF2-21C3BF63F799}"/>
          </ac:spMkLst>
        </pc:spChg>
        <pc:spChg chg="add mod replST">
          <ac:chgData name="Hänninen, Lauri" userId="b62831d1-2046-40aa-b4b7-d67e2d73afe1" providerId="ADAL" clId="{F907ACC7-C8F7-470E-B883-D49732EB787C}" dt="2024-02-19T18:36:05.884" v="841"/>
          <ac:spMkLst>
            <pc:docMk/>
            <pc:sldMk cId="2949884503" sldId="2147483585"/>
            <ac:spMk id="36" creationId="{958FEDA9-3D12-90DC-706C-47A39893D938}"/>
          </ac:spMkLst>
        </pc:spChg>
        <pc:spChg chg="add mod">
          <ac:chgData name="Hänninen, Lauri" userId="b62831d1-2046-40aa-b4b7-d67e2d73afe1" providerId="ADAL" clId="{F907ACC7-C8F7-470E-B883-D49732EB787C}" dt="2024-02-19T18:36:05.884" v="842"/>
          <ac:spMkLst>
            <pc:docMk/>
            <pc:sldMk cId="2949884503" sldId="2147483585"/>
            <ac:spMk id="37" creationId="{E5F9C9B1-9B54-57F5-66B0-72EBB6B4D8FE}"/>
          </ac:spMkLst>
        </pc:spChg>
        <pc:spChg chg="add mod">
          <ac:chgData name="Hänninen, Lauri" userId="b62831d1-2046-40aa-b4b7-d67e2d73afe1" providerId="ADAL" clId="{F907ACC7-C8F7-470E-B883-D49732EB787C}" dt="2024-02-19T18:36:05.884" v="843"/>
          <ac:spMkLst>
            <pc:docMk/>
            <pc:sldMk cId="2949884503" sldId="2147483585"/>
            <ac:spMk id="38" creationId="{519B62C1-A010-DF63-DA7A-EAF18073DC75}"/>
          </ac:spMkLst>
        </pc:spChg>
        <pc:spChg chg="add mod">
          <ac:chgData name="Hänninen, Lauri" userId="b62831d1-2046-40aa-b4b7-d67e2d73afe1" providerId="ADAL" clId="{F907ACC7-C8F7-470E-B883-D49732EB787C}" dt="2024-02-19T18:36:05.884" v="844"/>
          <ac:spMkLst>
            <pc:docMk/>
            <pc:sldMk cId="2949884503" sldId="2147483585"/>
            <ac:spMk id="39" creationId="{D389FFB6-1AAB-A593-748B-C5C80048CEFF}"/>
          </ac:spMkLst>
        </pc:spChg>
        <pc:spChg chg="add mod">
          <ac:chgData name="Hänninen, Lauri" userId="b62831d1-2046-40aa-b4b7-d67e2d73afe1" providerId="ADAL" clId="{F907ACC7-C8F7-470E-B883-D49732EB787C}" dt="2024-02-19T18:36:05.884" v="845"/>
          <ac:spMkLst>
            <pc:docMk/>
            <pc:sldMk cId="2949884503" sldId="2147483585"/>
            <ac:spMk id="40" creationId="{1A9D269E-8A86-641B-2427-FF7D32B167B9}"/>
          </ac:spMkLst>
        </pc:spChg>
        <pc:spChg chg="add mod">
          <ac:chgData name="Hänninen, Lauri" userId="b62831d1-2046-40aa-b4b7-d67e2d73afe1" providerId="ADAL" clId="{F907ACC7-C8F7-470E-B883-D49732EB787C}" dt="2024-02-19T18:36:05.884" v="846"/>
          <ac:spMkLst>
            <pc:docMk/>
            <pc:sldMk cId="2949884503" sldId="2147483585"/>
            <ac:spMk id="41" creationId="{B8C15F15-BC7A-1AFD-3705-736367F7AE22}"/>
          </ac:spMkLst>
        </pc:spChg>
        <pc:spChg chg="add mod">
          <ac:chgData name="Hänninen, Lauri" userId="b62831d1-2046-40aa-b4b7-d67e2d73afe1" providerId="ADAL" clId="{F907ACC7-C8F7-470E-B883-D49732EB787C}" dt="2024-02-19T18:36:05.884" v="847"/>
          <ac:spMkLst>
            <pc:docMk/>
            <pc:sldMk cId="2949884503" sldId="2147483585"/>
            <ac:spMk id="42" creationId="{E0E324AB-EAB1-A6C7-127D-EBCBDA43A84D}"/>
          </ac:spMkLst>
        </pc:spChg>
        <pc:spChg chg="add mod">
          <ac:chgData name="Hänninen, Lauri" userId="b62831d1-2046-40aa-b4b7-d67e2d73afe1" providerId="ADAL" clId="{F907ACC7-C8F7-470E-B883-D49732EB787C}" dt="2024-02-19T18:36:05.884" v="848"/>
          <ac:spMkLst>
            <pc:docMk/>
            <pc:sldMk cId="2949884503" sldId="2147483585"/>
            <ac:spMk id="43" creationId="{50284CBE-7487-6B42-5D88-8D83536A39C6}"/>
          </ac:spMkLst>
        </pc:spChg>
        <pc:spChg chg="add mod">
          <ac:chgData name="Hänninen, Lauri" userId="b62831d1-2046-40aa-b4b7-d67e2d73afe1" providerId="ADAL" clId="{F907ACC7-C8F7-470E-B883-D49732EB787C}" dt="2024-02-19T18:36:05.884" v="849"/>
          <ac:spMkLst>
            <pc:docMk/>
            <pc:sldMk cId="2949884503" sldId="2147483585"/>
            <ac:spMk id="44" creationId="{E80475B1-0482-0A77-2FD7-B9FFEB9D18EA}"/>
          </ac:spMkLst>
        </pc:spChg>
        <pc:spChg chg="add mod">
          <ac:chgData name="Hänninen, Lauri" userId="b62831d1-2046-40aa-b4b7-d67e2d73afe1" providerId="ADAL" clId="{F907ACC7-C8F7-470E-B883-D49732EB787C}" dt="2024-02-19T18:36:05.884" v="850"/>
          <ac:spMkLst>
            <pc:docMk/>
            <pc:sldMk cId="2949884503" sldId="2147483585"/>
            <ac:spMk id="45" creationId="{4C97BE95-0724-21DB-F70A-F73429353461}"/>
          </ac:spMkLst>
        </pc:spChg>
        <pc:spChg chg="add mod replST">
          <ac:chgData name="Hänninen, Lauri" userId="b62831d1-2046-40aa-b4b7-d67e2d73afe1" providerId="ADAL" clId="{F907ACC7-C8F7-470E-B883-D49732EB787C}" dt="2024-02-19T18:36:05.884" v="851"/>
          <ac:spMkLst>
            <pc:docMk/>
            <pc:sldMk cId="2949884503" sldId="2147483585"/>
            <ac:spMk id="46" creationId="{244BCF28-5D7D-A7BB-ACF3-F4CD5C692F8D}"/>
          </ac:spMkLst>
        </pc:spChg>
        <pc:spChg chg="add mod replST">
          <ac:chgData name="Hänninen, Lauri" userId="b62831d1-2046-40aa-b4b7-d67e2d73afe1" providerId="ADAL" clId="{F907ACC7-C8F7-470E-B883-D49732EB787C}" dt="2024-02-19T18:36:05.884" v="852"/>
          <ac:spMkLst>
            <pc:docMk/>
            <pc:sldMk cId="2949884503" sldId="2147483585"/>
            <ac:spMk id="47" creationId="{E8FBC390-D45B-ECAA-B152-80FA0E39E9C7}"/>
          </ac:spMkLst>
        </pc:spChg>
        <pc:spChg chg="add mod ord">
          <ac:chgData name="Hänninen, Lauri" userId="b62831d1-2046-40aa-b4b7-d67e2d73afe1" providerId="ADAL" clId="{F907ACC7-C8F7-470E-B883-D49732EB787C}" dt="2024-02-19T18:36:05.884" v="854"/>
          <ac:spMkLst>
            <pc:docMk/>
            <pc:sldMk cId="2949884503" sldId="2147483585"/>
            <ac:spMk id="48" creationId="{08636642-5215-BD05-494C-08472C34EF85}"/>
          </ac:spMkLst>
        </pc:spChg>
        <pc:spChg chg="add mod">
          <ac:chgData name="Hänninen, Lauri" userId="b62831d1-2046-40aa-b4b7-d67e2d73afe1" providerId="ADAL" clId="{F907ACC7-C8F7-470E-B883-D49732EB787C}" dt="2024-02-19T18:36:05.884" v="855"/>
          <ac:spMkLst>
            <pc:docMk/>
            <pc:sldMk cId="2949884503" sldId="2147483585"/>
            <ac:spMk id="49" creationId="{7796666C-A5AB-F633-D574-053938C14C27}"/>
          </ac:spMkLst>
        </pc:spChg>
        <pc:spChg chg="add mod ord">
          <ac:chgData name="Hänninen, Lauri" userId="b62831d1-2046-40aa-b4b7-d67e2d73afe1" providerId="ADAL" clId="{F907ACC7-C8F7-470E-B883-D49732EB787C}" dt="2024-02-19T18:36:05.884" v="857"/>
          <ac:spMkLst>
            <pc:docMk/>
            <pc:sldMk cId="2949884503" sldId="2147483585"/>
            <ac:spMk id="50" creationId="{8DA4EE7D-9433-F54D-56F3-352D1E68E6BA}"/>
          </ac:spMkLst>
        </pc:spChg>
        <pc:spChg chg="add mod">
          <ac:chgData name="Hänninen, Lauri" userId="b62831d1-2046-40aa-b4b7-d67e2d73afe1" providerId="ADAL" clId="{F907ACC7-C8F7-470E-B883-D49732EB787C}" dt="2024-02-19T18:36:05.884" v="858"/>
          <ac:spMkLst>
            <pc:docMk/>
            <pc:sldMk cId="2949884503" sldId="2147483585"/>
            <ac:spMk id="51" creationId="{196A9CD3-BAF3-4FAE-6512-E61944A77C80}"/>
          </ac:spMkLst>
        </pc:spChg>
        <pc:spChg chg="add mod">
          <ac:chgData name="Hänninen, Lauri" userId="b62831d1-2046-40aa-b4b7-d67e2d73afe1" providerId="ADAL" clId="{F907ACC7-C8F7-470E-B883-D49732EB787C}" dt="2024-02-19T18:36:05.890" v="859"/>
          <ac:spMkLst>
            <pc:docMk/>
            <pc:sldMk cId="2949884503" sldId="2147483585"/>
            <ac:spMk id="52" creationId="{14CECFAC-1E36-3E10-1BB6-F17410A18F83}"/>
          </ac:spMkLst>
        </pc:spChg>
        <pc:spChg chg="add del mod modVis">
          <ac:chgData name="Hänninen, Lauri" userId="b62831d1-2046-40aa-b4b7-d67e2d73afe1" providerId="ADAL" clId="{F907ACC7-C8F7-470E-B883-D49732EB787C}" dt="2024-02-19T18:36:05.890" v="863"/>
          <ac:spMkLst>
            <pc:docMk/>
            <pc:sldMk cId="2949884503" sldId="2147483585"/>
            <ac:spMk id="53" creationId="{52890D5D-F1E8-5F46-05AE-018CA6F2B7DD}"/>
          </ac:spMkLst>
        </pc:spChg>
        <pc:graphicFrameChg chg="add del mod replST">
          <ac:chgData name="Hänninen, Lauri" userId="b62831d1-2046-40aa-b4b7-d67e2d73afe1" providerId="ADAL" clId="{F907ACC7-C8F7-470E-B883-D49732EB787C}" dt="2024-02-19T18:36:05.805" v="725"/>
          <ac:graphicFrameMkLst>
            <pc:docMk/>
            <pc:sldMk cId="2949884503" sldId="2147483585"/>
            <ac:graphicFrameMk id="15" creationId="{CE8287FD-88A4-A585-1C81-0225D86A00B7}"/>
          </ac:graphicFrameMkLst>
        </pc:graphicFrameChg>
        <pc:graphicFrameChg chg="add mod replST">
          <ac:chgData name="Hänninen, Lauri" userId="b62831d1-2046-40aa-b4b7-d67e2d73afe1" providerId="ADAL" clId="{F907ACC7-C8F7-470E-B883-D49732EB787C}" dt="2024-02-19T18:36:05.868" v="820"/>
          <ac:graphicFrameMkLst>
            <pc:docMk/>
            <pc:sldMk cId="2949884503" sldId="2147483585"/>
            <ac:graphicFrameMk id="54" creationId="{CF174D08-8FFA-0DDF-543F-CFE9B4FE4DEC}"/>
          </ac:graphicFrameMkLst>
        </pc:graphicFrameChg>
        <pc:graphicFrameChg chg="add mod ord modVis replST">
          <ac:chgData name="Hänninen, Lauri" userId="b62831d1-2046-40aa-b4b7-d67e2d73afe1" providerId="ADAL" clId="{F907ACC7-C8F7-470E-B883-D49732EB787C}" dt="2024-02-19T18:36:05.922" v="878"/>
          <ac:graphicFrameMkLst>
            <pc:docMk/>
            <pc:sldMk cId="2949884503" sldId="2147483585"/>
            <ac:graphicFrameMk id="55" creationId="{79244257-1D19-1C8C-53EF-9CA748035527}"/>
          </ac:graphicFrameMkLst>
        </pc:graphicFrameChg>
      </pc:sldChg>
      <pc:sldChg chg="addSp delSp modSp add mod">
        <pc:chgData name="Hänninen, Lauri" userId="b62831d1-2046-40aa-b4b7-d67e2d73afe1" providerId="ADAL" clId="{F907ACC7-C8F7-470E-B883-D49732EB787C}" dt="2024-02-22T11:44:27.163" v="42343" actId="1076"/>
        <pc:sldMkLst>
          <pc:docMk/>
          <pc:sldMk cId="805076339" sldId="2147483586"/>
        </pc:sldMkLst>
        <pc:spChg chg="del mod ord">
          <ac:chgData name="Hänninen, Lauri" userId="b62831d1-2046-40aa-b4b7-d67e2d73afe1" providerId="ADAL" clId="{F907ACC7-C8F7-470E-B883-D49732EB787C}" dt="2024-02-22T11:43:35.518" v="42340" actId="478"/>
          <ac:spMkLst>
            <pc:docMk/>
            <pc:sldMk cId="805076339" sldId="2147483586"/>
            <ac:spMk id="4" creationId="{262773ED-D36A-881A-BBCC-06333F2FBA32}"/>
          </ac:spMkLst>
        </pc:spChg>
        <pc:spChg chg="mod ord">
          <ac:chgData name="Hänninen, Lauri" userId="b62831d1-2046-40aa-b4b7-d67e2d73afe1" providerId="ADAL" clId="{F907ACC7-C8F7-470E-B883-D49732EB787C}" dt="2024-02-22T07:51:01.203" v="32319"/>
          <ac:spMkLst>
            <pc:docMk/>
            <pc:sldMk cId="805076339" sldId="2147483586"/>
            <ac:spMk id="5" creationId="{466EECFC-7F57-1001-4C54-E053FD02A596}"/>
          </ac:spMkLst>
        </pc:spChg>
        <pc:spChg chg="mod ord">
          <ac:chgData name="Hänninen, Lauri" userId="b62831d1-2046-40aa-b4b7-d67e2d73afe1" providerId="ADAL" clId="{F907ACC7-C8F7-470E-B883-D49732EB787C}" dt="2024-02-22T07:51:01.203" v="32321"/>
          <ac:spMkLst>
            <pc:docMk/>
            <pc:sldMk cId="805076339" sldId="2147483586"/>
            <ac:spMk id="6" creationId="{922AD939-6BDC-6481-1BDE-245E7E24EFEA}"/>
          </ac:spMkLst>
        </pc:spChg>
        <pc:spChg chg="mod">
          <ac:chgData name="Hänninen, Lauri" userId="b62831d1-2046-40aa-b4b7-d67e2d73afe1" providerId="ADAL" clId="{F907ACC7-C8F7-470E-B883-D49732EB787C}" dt="2024-02-22T11:44:27.163" v="42343" actId="1076"/>
          <ac:spMkLst>
            <pc:docMk/>
            <pc:sldMk cId="805076339" sldId="2147483586"/>
            <ac:spMk id="11" creationId="{CA11FF84-F91E-7E1B-9430-DF369DDF2DA4}"/>
          </ac:spMkLst>
        </pc:spChg>
        <pc:spChg chg="mod">
          <ac:chgData name="Hänninen, Lauri" userId="b62831d1-2046-40aa-b4b7-d67e2d73afe1" providerId="ADAL" clId="{F907ACC7-C8F7-470E-B883-D49732EB787C}" dt="2024-02-22T07:51:01.196" v="32296"/>
          <ac:spMkLst>
            <pc:docMk/>
            <pc:sldMk cId="805076339" sldId="2147483586"/>
            <ac:spMk id="24" creationId="{6537DC89-F377-B4DB-5732-2BEDF435F80E}"/>
          </ac:spMkLst>
        </pc:spChg>
        <pc:spChg chg="mod">
          <ac:chgData name="Hänninen, Lauri" userId="b62831d1-2046-40aa-b4b7-d67e2d73afe1" providerId="ADAL" clId="{F907ACC7-C8F7-470E-B883-D49732EB787C}" dt="2024-02-22T07:51:01.196" v="32297"/>
          <ac:spMkLst>
            <pc:docMk/>
            <pc:sldMk cId="805076339" sldId="2147483586"/>
            <ac:spMk id="25" creationId="{EB9E5D9D-7CB6-4EB6-0D26-019B8A18CBC6}"/>
          </ac:spMkLst>
        </pc:spChg>
        <pc:spChg chg="mod">
          <ac:chgData name="Hänninen, Lauri" userId="b62831d1-2046-40aa-b4b7-d67e2d73afe1" providerId="ADAL" clId="{F907ACC7-C8F7-470E-B883-D49732EB787C}" dt="2024-02-22T07:51:01.197" v="32298"/>
          <ac:spMkLst>
            <pc:docMk/>
            <pc:sldMk cId="805076339" sldId="2147483586"/>
            <ac:spMk id="26" creationId="{5295E371-481A-1922-EA81-3B1743E92F88}"/>
          </ac:spMkLst>
        </pc:spChg>
        <pc:spChg chg="mod">
          <ac:chgData name="Hänninen, Lauri" userId="b62831d1-2046-40aa-b4b7-d67e2d73afe1" providerId="ADAL" clId="{F907ACC7-C8F7-470E-B883-D49732EB787C}" dt="2024-02-22T07:51:01.197" v="32299"/>
          <ac:spMkLst>
            <pc:docMk/>
            <pc:sldMk cId="805076339" sldId="2147483586"/>
            <ac:spMk id="27" creationId="{BD5A5F1F-2C78-A2CD-26B6-335913E7A245}"/>
          </ac:spMkLst>
        </pc:spChg>
        <pc:spChg chg="mod ord">
          <ac:chgData name="Hänninen, Lauri" userId="b62831d1-2046-40aa-b4b7-d67e2d73afe1" providerId="ADAL" clId="{F907ACC7-C8F7-470E-B883-D49732EB787C}" dt="2024-02-22T07:51:01.188" v="32267"/>
          <ac:spMkLst>
            <pc:docMk/>
            <pc:sldMk cId="805076339" sldId="2147483586"/>
            <ac:spMk id="28" creationId="{D0F2F533-F545-9A04-3036-9EB7EFE10B6A}"/>
          </ac:spMkLst>
        </pc:spChg>
        <pc:spChg chg="mod ord">
          <ac:chgData name="Hänninen, Lauri" userId="b62831d1-2046-40aa-b4b7-d67e2d73afe1" providerId="ADAL" clId="{F907ACC7-C8F7-470E-B883-D49732EB787C}" dt="2024-02-22T11:39:46.141" v="42199" actId="1076"/>
          <ac:spMkLst>
            <pc:docMk/>
            <pc:sldMk cId="805076339" sldId="2147483586"/>
            <ac:spMk id="29" creationId="{559E3F9E-D1D4-C364-DAE1-F7DAE8D40310}"/>
          </ac:spMkLst>
        </pc:spChg>
        <pc:spChg chg="mod ord">
          <ac:chgData name="Hänninen, Lauri" userId="b62831d1-2046-40aa-b4b7-d67e2d73afe1" providerId="ADAL" clId="{F907ACC7-C8F7-470E-B883-D49732EB787C}" dt="2024-02-22T07:51:01.189" v="32271"/>
          <ac:spMkLst>
            <pc:docMk/>
            <pc:sldMk cId="805076339" sldId="2147483586"/>
            <ac:spMk id="30" creationId="{B49E7DF5-CBA9-46D8-3F84-D394D0352659}"/>
          </ac:spMkLst>
        </pc:spChg>
        <pc:spChg chg="mod ord">
          <ac:chgData name="Hänninen, Lauri" userId="b62831d1-2046-40aa-b4b7-d67e2d73afe1" providerId="ADAL" clId="{F907ACC7-C8F7-470E-B883-D49732EB787C}" dt="2024-02-22T07:51:01.190" v="32273"/>
          <ac:spMkLst>
            <pc:docMk/>
            <pc:sldMk cId="805076339" sldId="2147483586"/>
            <ac:spMk id="31" creationId="{22A38F90-2A60-EACC-D81E-16339E98DE25}"/>
          </ac:spMkLst>
        </pc:spChg>
        <pc:spChg chg="mod ord">
          <ac:chgData name="Hänninen, Lauri" userId="b62831d1-2046-40aa-b4b7-d67e2d73afe1" providerId="ADAL" clId="{F907ACC7-C8F7-470E-B883-D49732EB787C}" dt="2024-02-22T07:51:01.190" v="32275"/>
          <ac:spMkLst>
            <pc:docMk/>
            <pc:sldMk cId="805076339" sldId="2147483586"/>
            <ac:spMk id="32" creationId="{16973211-1C9C-6AA5-986B-1EA00156E9D1}"/>
          </ac:spMkLst>
        </pc:spChg>
        <pc:spChg chg="mod ord">
          <ac:chgData name="Hänninen, Lauri" userId="b62831d1-2046-40aa-b4b7-d67e2d73afe1" providerId="ADAL" clId="{F907ACC7-C8F7-470E-B883-D49732EB787C}" dt="2024-02-22T11:39:49.721" v="42200" actId="255"/>
          <ac:spMkLst>
            <pc:docMk/>
            <pc:sldMk cId="805076339" sldId="2147483586"/>
            <ac:spMk id="33" creationId="{AAA4FCA3-E88C-997D-79FB-CFD1DCFA495E}"/>
          </ac:spMkLst>
        </pc:spChg>
        <pc:spChg chg="mod">
          <ac:chgData name="Hänninen, Lauri" userId="b62831d1-2046-40aa-b4b7-d67e2d73afe1" providerId="ADAL" clId="{F907ACC7-C8F7-470E-B883-D49732EB787C}" dt="2024-02-22T07:51:01.197" v="32300"/>
          <ac:spMkLst>
            <pc:docMk/>
            <pc:sldMk cId="805076339" sldId="2147483586"/>
            <ac:spMk id="34" creationId="{0C27ED2B-DD9E-8A06-15BC-A15060906198}"/>
          </ac:spMkLst>
        </pc:spChg>
        <pc:spChg chg="mod">
          <ac:chgData name="Hänninen, Lauri" userId="b62831d1-2046-40aa-b4b7-d67e2d73afe1" providerId="ADAL" clId="{F907ACC7-C8F7-470E-B883-D49732EB787C}" dt="2024-02-22T07:51:01.198" v="32301"/>
          <ac:spMkLst>
            <pc:docMk/>
            <pc:sldMk cId="805076339" sldId="2147483586"/>
            <ac:spMk id="35" creationId="{0B535C3F-5565-5370-FD6F-70C2031A0239}"/>
          </ac:spMkLst>
        </pc:spChg>
        <pc:spChg chg="mod ord">
          <ac:chgData name="Hänninen, Lauri" userId="b62831d1-2046-40aa-b4b7-d67e2d73afe1" providerId="ADAL" clId="{F907ACC7-C8F7-470E-B883-D49732EB787C}" dt="2024-02-22T07:51:01.191" v="32279"/>
          <ac:spMkLst>
            <pc:docMk/>
            <pc:sldMk cId="805076339" sldId="2147483586"/>
            <ac:spMk id="37" creationId="{19C61A89-EF11-F97F-C85F-3BF2157BD852}"/>
          </ac:spMkLst>
        </pc:spChg>
        <pc:spChg chg="mod ord">
          <ac:chgData name="Hänninen, Lauri" userId="b62831d1-2046-40aa-b4b7-d67e2d73afe1" providerId="ADAL" clId="{F907ACC7-C8F7-470E-B883-D49732EB787C}" dt="2024-02-22T07:51:01.192" v="32281"/>
          <ac:spMkLst>
            <pc:docMk/>
            <pc:sldMk cId="805076339" sldId="2147483586"/>
            <ac:spMk id="38" creationId="{755B70D6-EB26-64E1-B9C6-2800DDAFA023}"/>
          </ac:spMkLst>
        </pc:spChg>
        <pc:spChg chg="mod ord">
          <ac:chgData name="Hänninen, Lauri" userId="b62831d1-2046-40aa-b4b7-d67e2d73afe1" providerId="ADAL" clId="{F907ACC7-C8F7-470E-B883-D49732EB787C}" dt="2024-02-22T07:51:01.192" v="32283"/>
          <ac:spMkLst>
            <pc:docMk/>
            <pc:sldMk cId="805076339" sldId="2147483586"/>
            <ac:spMk id="39" creationId="{C2EEE899-C965-7810-9351-EFEAB67255B9}"/>
          </ac:spMkLst>
        </pc:spChg>
        <pc:spChg chg="mod ord">
          <ac:chgData name="Hänninen, Lauri" userId="b62831d1-2046-40aa-b4b7-d67e2d73afe1" providerId="ADAL" clId="{F907ACC7-C8F7-470E-B883-D49732EB787C}" dt="2024-02-22T07:51:01.193" v="32285"/>
          <ac:spMkLst>
            <pc:docMk/>
            <pc:sldMk cId="805076339" sldId="2147483586"/>
            <ac:spMk id="40" creationId="{AE48ECA3-0B3F-4EAC-7D79-633E0E511B92}"/>
          </ac:spMkLst>
        </pc:spChg>
        <pc:spChg chg="mod ord">
          <ac:chgData name="Hänninen, Lauri" userId="b62831d1-2046-40aa-b4b7-d67e2d73afe1" providerId="ADAL" clId="{F907ACC7-C8F7-470E-B883-D49732EB787C}" dt="2024-02-22T07:51:01.193" v="32287"/>
          <ac:spMkLst>
            <pc:docMk/>
            <pc:sldMk cId="805076339" sldId="2147483586"/>
            <ac:spMk id="41" creationId="{D45B152F-8042-DA74-14EA-FB7376462E93}"/>
          </ac:spMkLst>
        </pc:spChg>
        <pc:spChg chg="mod ord">
          <ac:chgData name="Hänninen, Lauri" userId="b62831d1-2046-40aa-b4b7-d67e2d73afe1" providerId="ADAL" clId="{F907ACC7-C8F7-470E-B883-D49732EB787C}" dt="2024-02-22T07:51:01.194" v="32289"/>
          <ac:spMkLst>
            <pc:docMk/>
            <pc:sldMk cId="805076339" sldId="2147483586"/>
            <ac:spMk id="42" creationId="{BCFC615A-E11C-6B4B-89C7-0F28E3F26638}"/>
          </ac:spMkLst>
        </pc:spChg>
        <pc:spChg chg="mod ord">
          <ac:chgData name="Hänninen, Lauri" userId="b62831d1-2046-40aa-b4b7-d67e2d73afe1" providerId="ADAL" clId="{F907ACC7-C8F7-470E-B883-D49732EB787C}" dt="2024-02-22T07:51:01.194" v="32291"/>
          <ac:spMkLst>
            <pc:docMk/>
            <pc:sldMk cId="805076339" sldId="2147483586"/>
            <ac:spMk id="43" creationId="{84A6B2E0-03F1-D30B-D3DD-5B9A6ED49988}"/>
          </ac:spMkLst>
        </pc:spChg>
        <pc:spChg chg="mod ord">
          <ac:chgData name="Hänninen, Lauri" userId="b62831d1-2046-40aa-b4b7-d67e2d73afe1" providerId="ADAL" clId="{F907ACC7-C8F7-470E-B883-D49732EB787C}" dt="2024-02-22T07:51:01.195" v="32293"/>
          <ac:spMkLst>
            <pc:docMk/>
            <pc:sldMk cId="805076339" sldId="2147483586"/>
            <ac:spMk id="44" creationId="{B5A3133E-A60A-AEA5-76BB-2CE799F215EF}"/>
          </ac:spMkLst>
        </pc:spChg>
        <pc:spChg chg="mod ord">
          <ac:chgData name="Hänninen, Lauri" userId="b62831d1-2046-40aa-b4b7-d67e2d73afe1" providerId="ADAL" clId="{F907ACC7-C8F7-470E-B883-D49732EB787C}" dt="2024-02-22T07:51:01.195" v="32295"/>
          <ac:spMkLst>
            <pc:docMk/>
            <pc:sldMk cId="805076339" sldId="2147483586"/>
            <ac:spMk id="45" creationId="{6EB64CD5-754D-AE4F-86AE-1F8B5B1713FB}"/>
          </ac:spMkLst>
        </pc:spChg>
        <pc:spChg chg="mod">
          <ac:chgData name="Hänninen, Lauri" userId="b62831d1-2046-40aa-b4b7-d67e2d73afe1" providerId="ADAL" clId="{F907ACC7-C8F7-470E-B883-D49732EB787C}" dt="2024-02-22T07:51:01.198" v="32302"/>
          <ac:spMkLst>
            <pc:docMk/>
            <pc:sldMk cId="805076339" sldId="2147483586"/>
            <ac:spMk id="46" creationId="{AC3EC8E5-234D-4C9C-ED79-ABBA88A8781B}"/>
          </ac:spMkLst>
        </pc:spChg>
        <pc:spChg chg="mod ord">
          <ac:chgData name="Hänninen, Lauri" userId="b62831d1-2046-40aa-b4b7-d67e2d73afe1" providerId="ADAL" clId="{F907ACC7-C8F7-470E-B883-D49732EB787C}" dt="2024-02-22T07:51:01.187" v="32260"/>
          <ac:spMkLst>
            <pc:docMk/>
            <pc:sldMk cId="805076339" sldId="2147483586"/>
            <ac:spMk id="47" creationId="{EE6D6F96-9A48-5A44-B2F4-6EBF4B5BD7A0}"/>
          </ac:spMkLst>
        </pc:spChg>
        <pc:spChg chg="mod">
          <ac:chgData name="Hänninen, Lauri" userId="b62831d1-2046-40aa-b4b7-d67e2d73afe1" providerId="ADAL" clId="{F907ACC7-C8F7-470E-B883-D49732EB787C}" dt="2024-02-22T07:51:01.198" v="32303"/>
          <ac:spMkLst>
            <pc:docMk/>
            <pc:sldMk cId="805076339" sldId="2147483586"/>
            <ac:spMk id="48" creationId="{1338A0EB-4480-935A-AE83-68669C06A456}"/>
          </ac:spMkLst>
        </pc:spChg>
        <pc:spChg chg="mod">
          <ac:chgData name="Hänninen, Lauri" userId="b62831d1-2046-40aa-b4b7-d67e2d73afe1" providerId="ADAL" clId="{F907ACC7-C8F7-470E-B883-D49732EB787C}" dt="2024-02-22T07:51:01.198" v="32304"/>
          <ac:spMkLst>
            <pc:docMk/>
            <pc:sldMk cId="805076339" sldId="2147483586"/>
            <ac:spMk id="49" creationId="{07B36BCC-DA94-8BA3-0969-D57D7419C328}"/>
          </ac:spMkLst>
        </pc:spChg>
        <pc:spChg chg="mod ord">
          <ac:chgData name="Hänninen, Lauri" userId="b62831d1-2046-40aa-b4b7-d67e2d73afe1" providerId="ADAL" clId="{F907ACC7-C8F7-470E-B883-D49732EB787C}" dt="2024-02-22T07:51:01.188" v="32265"/>
          <ac:spMkLst>
            <pc:docMk/>
            <pc:sldMk cId="805076339" sldId="2147483586"/>
            <ac:spMk id="50" creationId="{6F34BE38-CBE8-109E-FAA7-E5BAB23CB198}"/>
          </ac:spMkLst>
        </pc:spChg>
        <pc:spChg chg="mod">
          <ac:chgData name="Hänninen, Lauri" userId="b62831d1-2046-40aa-b4b7-d67e2d73afe1" providerId="ADAL" clId="{F907ACC7-C8F7-470E-B883-D49732EB787C}" dt="2024-02-22T07:51:01.199" v="32305"/>
          <ac:spMkLst>
            <pc:docMk/>
            <pc:sldMk cId="805076339" sldId="2147483586"/>
            <ac:spMk id="51" creationId="{B92F7A82-09B0-0AB3-246C-DD62FF9CF8A2}"/>
          </ac:spMkLst>
        </pc:spChg>
        <pc:spChg chg="mod">
          <ac:chgData name="Hänninen, Lauri" userId="b62831d1-2046-40aa-b4b7-d67e2d73afe1" providerId="ADAL" clId="{F907ACC7-C8F7-470E-B883-D49732EB787C}" dt="2024-02-22T07:51:01.199" v="32306"/>
          <ac:spMkLst>
            <pc:docMk/>
            <pc:sldMk cId="805076339" sldId="2147483586"/>
            <ac:spMk id="52" creationId="{50C38333-C424-B82E-3C4C-77B6D9FFB4CC}"/>
          </ac:spMkLst>
        </pc:spChg>
        <pc:spChg chg="mod">
          <ac:chgData name="Hänninen, Lauri" userId="b62831d1-2046-40aa-b4b7-d67e2d73afe1" providerId="ADAL" clId="{F907ACC7-C8F7-470E-B883-D49732EB787C}" dt="2024-02-22T07:51:01.199" v="32307"/>
          <ac:spMkLst>
            <pc:docMk/>
            <pc:sldMk cId="805076339" sldId="2147483586"/>
            <ac:spMk id="53" creationId="{CCFA7DED-A5B1-B2C4-C3FD-A42E51E9B608}"/>
          </ac:spMkLst>
        </pc:spChg>
        <pc:spChg chg="mod">
          <ac:chgData name="Hänninen, Lauri" userId="b62831d1-2046-40aa-b4b7-d67e2d73afe1" providerId="ADAL" clId="{F907ACC7-C8F7-470E-B883-D49732EB787C}" dt="2024-02-22T07:51:01.200" v="32308"/>
          <ac:spMkLst>
            <pc:docMk/>
            <pc:sldMk cId="805076339" sldId="2147483586"/>
            <ac:spMk id="54" creationId="{9879CB70-FBAA-BA5D-E903-8ED6A6384CC1}"/>
          </ac:spMkLst>
        </pc:spChg>
        <pc:spChg chg="mod">
          <ac:chgData name="Hänninen, Lauri" userId="b62831d1-2046-40aa-b4b7-d67e2d73afe1" providerId="ADAL" clId="{F907ACC7-C8F7-470E-B883-D49732EB787C}" dt="2024-02-22T07:51:01.200" v="32309"/>
          <ac:spMkLst>
            <pc:docMk/>
            <pc:sldMk cId="805076339" sldId="2147483586"/>
            <ac:spMk id="55" creationId="{532DA259-E3FE-6E41-8F88-37FDA4913528}"/>
          </ac:spMkLst>
        </pc:spChg>
        <pc:spChg chg="mod">
          <ac:chgData name="Hänninen, Lauri" userId="b62831d1-2046-40aa-b4b7-d67e2d73afe1" providerId="ADAL" clId="{F907ACC7-C8F7-470E-B883-D49732EB787C}" dt="2024-02-22T07:51:01.200" v="32310"/>
          <ac:spMkLst>
            <pc:docMk/>
            <pc:sldMk cId="805076339" sldId="2147483586"/>
            <ac:spMk id="56" creationId="{51C7A53B-A596-144A-E07B-71D66B88C5F6}"/>
          </ac:spMkLst>
        </pc:spChg>
        <pc:spChg chg="mod">
          <ac:chgData name="Hänninen, Lauri" userId="b62831d1-2046-40aa-b4b7-d67e2d73afe1" providerId="ADAL" clId="{F907ACC7-C8F7-470E-B883-D49732EB787C}" dt="2024-02-22T07:51:01.201" v="32311"/>
          <ac:spMkLst>
            <pc:docMk/>
            <pc:sldMk cId="805076339" sldId="2147483586"/>
            <ac:spMk id="57" creationId="{A6C7348E-02C3-4170-8E15-15FD629E6F1B}"/>
          </ac:spMkLst>
        </pc:spChg>
        <pc:spChg chg="mod">
          <ac:chgData name="Hänninen, Lauri" userId="b62831d1-2046-40aa-b4b7-d67e2d73afe1" providerId="ADAL" clId="{F907ACC7-C8F7-470E-B883-D49732EB787C}" dt="2024-02-22T07:51:01.201" v="32312"/>
          <ac:spMkLst>
            <pc:docMk/>
            <pc:sldMk cId="805076339" sldId="2147483586"/>
            <ac:spMk id="58" creationId="{1ED07146-2464-D683-B847-AF4E1A6EA433}"/>
          </ac:spMkLst>
        </pc:spChg>
        <pc:spChg chg="mod">
          <ac:chgData name="Hänninen, Lauri" userId="b62831d1-2046-40aa-b4b7-d67e2d73afe1" providerId="ADAL" clId="{F907ACC7-C8F7-470E-B883-D49732EB787C}" dt="2024-02-22T07:51:01.201" v="32313"/>
          <ac:spMkLst>
            <pc:docMk/>
            <pc:sldMk cId="805076339" sldId="2147483586"/>
            <ac:spMk id="59" creationId="{C2B9D283-941B-4AD0-4158-12D180CEF844}"/>
          </ac:spMkLst>
        </pc:spChg>
        <pc:spChg chg="mod ord">
          <ac:chgData name="Hänninen, Lauri" userId="b62831d1-2046-40aa-b4b7-d67e2d73afe1" providerId="ADAL" clId="{F907ACC7-C8F7-470E-B883-D49732EB787C}" dt="2024-02-22T07:51:01.202" v="32317"/>
          <ac:spMkLst>
            <pc:docMk/>
            <pc:sldMk cId="805076339" sldId="2147483586"/>
            <ac:spMk id="163" creationId="{2D9AF636-C56F-701C-CD7E-36960884DDA5}"/>
          </ac:spMkLst>
        </pc:spChg>
        <pc:graphicFrameChg chg="add del mod replST">
          <ac:chgData name="Hänninen, Lauri" userId="b62831d1-2046-40aa-b4b7-d67e2d73afe1" providerId="ADAL" clId="{F907ACC7-C8F7-470E-B883-D49732EB787C}" dt="2024-02-22T07:51:01.081" v="32118"/>
          <ac:graphicFrameMkLst>
            <pc:docMk/>
            <pc:sldMk cId="805076339" sldId="2147483586"/>
            <ac:graphicFrameMk id="2" creationId="{B9E74045-53E0-FE88-A9D5-FBEC1C7584CA}"/>
          </ac:graphicFrameMkLst>
        </pc:graphicFrameChg>
        <pc:graphicFrameChg chg="add mod replST">
          <ac:chgData name="Hänninen, Lauri" userId="b62831d1-2046-40aa-b4b7-d67e2d73afe1" providerId="ADAL" clId="{F907ACC7-C8F7-470E-B883-D49732EB787C}" dt="2024-02-22T07:51:01.187" v="32263"/>
          <ac:graphicFrameMkLst>
            <pc:docMk/>
            <pc:sldMk cId="805076339" sldId="2147483586"/>
            <ac:graphicFrameMk id="3" creationId="{40D6204A-EAA8-7D93-EECC-F943154D076C}"/>
          </ac:graphicFrameMkLst>
        </pc:graphicFrameChg>
        <pc:graphicFrameChg chg="mod ord modGraphic">
          <ac:chgData name="Hänninen, Lauri" userId="b62831d1-2046-40aa-b4b7-d67e2d73afe1" providerId="ADAL" clId="{F907ACC7-C8F7-470E-B883-D49732EB787C}" dt="2024-02-22T07:51:01.186" v="32258"/>
          <ac:graphicFrameMkLst>
            <pc:docMk/>
            <pc:sldMk cId="805076339" sldId="2147483586"/>
            <ac:graphicFrameMk id="8" creationId="{149D169D-9ABE-5F57-E16B-9A3195D5CB29}"/>
          </ac:graphicFrameMkLst>
        </pc:graphicFrameChg>
        <pc:graphicFrameChg chg="mod">
          <ac:chgData name="Hänninen, Lauri" userId="b62831d1-2046-40aa-b4b7-d67e2d73afe1" providerId="ADAL" clId="{F907ACC7-C8F7-470E-B883-D49732EB787C}" dt="2024-02-22T07:51:01.210" v="32326"/>
          <ac:graphicFrameMkLst>
            <pc:docMk/>
            <pc:sldMk cId="805076339" sldId="2147483586"/>
            <ac:graphicFrameMk id="16" creationId="{38CD42A9-5F70-6F2E-B937-4F607A4B417C}"/>
          </ac:graphicFrameMkLst>
        </pc:graphicFrameChg>
        <pc:graphicFrameChg chg="del">
          <ac:chgData name="Hänninen, Lauri" userId="b62831d1-2046-40aa-b4b7-d67e2d73afe1" providerId="ADAL" clId="{F907ACC7-C8F7-470E-B883-D49732EB787C}" dt="2024-02-22T07:50:58.993" v="31893"/>
          <ac:graphicFrameMkLst>
            <pc:docMk/>
            <pc:sldMk cId="805076339" sldId="2147483586"/>
            <ac:graphicFrameMk id="22" creationId="{8FC87AFB-BD7C-4EEE-DC08-B84567211E41}"/>
          </ac:graphicFrameMkLst>
        </pc:graphicFrameChg>
        <pc:cxnChg chg="mod ord">
          <ac:chgData name="Hänninen, Lauri" userId="b62831d1-2046-40aa-b4b7-d67e2d73afe1" providerId="ADAL" clId="{F907ACC7-C8F7-470E-B883-D49732EB787C}" dt="2024-02-22T07:51:01.187" v="32262"/>
          <ac:cxnSpMkLst>
            <pc:docMk/>
            <pc:sldMk cId="805076339" sldId="2147483586"/>
            <ac:cxnSpMk id="12" creationId="{6A6E4E9F-0335-24BA-FF2F-80D45E4BC7CD}"/>
          </ac:cxnSpMkLst>
        </pc:cxnChg>
      </pc:sldChg>
      <pc:sldChg chg="addSp delSp modSp del mod modShow">
        <pc:chgData name="Hänninen, Lauri" userId="b62831d1-2046-40aa-b4b7-d67e2d73afe1" providerId="ADAL" clId="{F907ACC7-C8F7-470E-B883-D49732EB787C}" dt="2024-02-21T14:34:50.608" v="29169" actId="2696"/>
        <pc:sldMkLst>
          <pc:docMk/>
          <pc:sldMk cId="1036427297" sldId="2147483586"/>
        </pc:sldMkLst>
        <pc:spChg chg="mod ord">
          <ac:chgData name="Hänninen, Lauri" userId="b62831d1-2046-40aa-b4b7-d67e2d73afe1" providerId="ADAL" clId="{F907ACC7-C8F7-470E-B883-D49732EB787C}" dt="2024-02-21T12:16:59.527" v="19026"/>
          <ac:spMkLst>
            <pc:docMk/>
            <pc:sldMk cId="1036427297" sldId="2147483586"/>
            <ac:spMk id="4" creationId="{262773ED-D36A-881A-BBCC-06333F2FBA32}"/>
          </ac:spMkLst>
        </pc:spChg>
        <pc:spChg chg="mod">
          <ac:chgData name="Hänninen, Lauri" userId="b62831d1-2046-40aa-b4b7-d67e2d73afe1" providerId="ADAL" clId="{F907ACC7-C8F7-470E-B883-D49732EB787C}" dt="2024-02-20T15:07:09.375" v="4817" actId="20577"/>
          <ac:spMkLst>
            <pc:docMk/>
            <pc:sldMk cId="1036427297" sldId="2147483586"/>
            <ac:spMk id="9" creationId="{B96488FC-CD0D-0172-EEA2-6AF43FB0F0C3}"/>
          </ac:spMkLst>
        </pc:spChg>
        <pc:spChg chg="mod">
          <ac:chgData name="Hänninen, Lauri" userId="b62831d1-2046-40aa-b4b7-d67e2d73afe1" providerId="ADAL" clId="{F907ACC7-C8F7-470E-B883-D49732EB787C}" dt="2024-02-21T12:16:59.519" v="19007"/>
          <ac:spMkLst>
            <pc:docMk/>
            <pc:sldMk cId="1036427297" sldId="2147483586"/>
            <ac:spMk id="24" creationId="{6537DC89-F377-B4DB-5732-2BEDF435F80E}"/>
          </ac:spMkLst>
        </pc:spChg>
        <pc:spChg chg="mod">
          <ac:chgData name="Hänninen, Lauri" userId="b62831d1-2046-40aa-b4b7-d67e2d73afe1" providerId="ADAL" clId="{F907ACC7-C8F7-470E-B883-D49732EB787C}" dt="2024-02-21T12:16:59.519" v="19008"/>
          <ac:spMkLst>
            <pc:docMk/>
            <pc:sldMk cId="1036427297" sldId="2147483586"/>
            <ac:spMk id="25" creationId="{EB9E5D9D-7CB6-4EB6-0D26-019B8A18CBC6}"/>
          </ac:spMkLst>
        </pc:spChg>
        <pc:spChg chg="mod">
          <ac:chgData name="Hänninen, Lauri" userId="b62831d1-2046-40aa-b4b7-d67e2d73afe1" providerId="ADAL" clId="{F907ACC7-C8F7-470E-B883-D49732EB787C}" dt="2024-02-21T12:16:59.519" v="19009"/>
          <ac:spMkLst>
            <pc:docMk/>
            <pc:sldMk cId="1036427297" sldId="2147483586"/>
            <ac:spMk id="26" creationId="{5295E371-481A-1922-EA81-3B1743E92F88}"/>
          </ac:spMkLst>
        </pc:spChg>
        <pc:spChg chg="mod">
          <ac:chgData name="Hänninen, Lauri" userId="b62831d1-2046-40aa-b4b7-d67e2d73afe1" providerId="ADAL" clId="{F907ACC7-C8F7-470E-B883-D49732EB787C}" dt="2024-02-21T12:16:59.520" v="19010"/>
          <ac:spMkLst>
            <pc:docMk/>
            <pc:sldMk cId="1036427297" sldId="2147483586"/>
            <ac:spMk id="27" creationId="{BD5A5F1F-2C78-A2CD-26B6-335913E7A245}"/>
          </ac:spMkLst>
        </pc:spChg>
        <pc:spChg chg="mod ord">
          <ac:chgData name="Hänninen, Lauri" userId="b62831d1-2046-40aa-b4b7-d67e2d73afe1" providerId="ADAL" clId="{F907ACC7-C8F7-470E-B883-D49732EB787C}" dt="2024-02-21T12:16:59.512" v="18978"/>
          <ac:spMkLst>
            <pc:docMk/>
            <pc:sldMk cId="1036427297" sldId="2147483586"/>
            <ac:spMk id="28" creationId="{D0F2F533-F545-9A04-3036-9EB7EFE10B6A}"/>
          </ac:spMkLst>
        </pc:spChg>
        <pc:spChg chg="mod ord">
          <ac:chgData name="Hänninen, Lauri" userId="b62831d1-2046-40aa-b4b7-d67e2d73afe1" providerId="ADAL" clId="{F907ACC7-C8F7-470E-B883-D49732EB787C}" dt="2024-02-21T12:16:59.513" v="18980"/>
          <ac:spMkLst>
            <pc:docMk/>
            <pc:sldMk cId="1036427297" sldId="2147483586"/>
            <ac:spMk id="29" creationId="{559E3F9E-D1D4-C364-DAE1-F7DAE8D40310}"/>
          </ac:spMkLst>
        </pc:spChg>
        <pc:spChg chg="mod ord">
          <ac:chgData name="Hänninen, Lauri" userId="b62831d1-2046-40aa-b4b7-d67e2d73afe1" providerId="ADAL" clId="{F907ACC7-C8F7-470E-B883-D49732EB787C}" dt="2024-02-21T12:16:59.513" v="18982"/>
          <ac:spMkLst>
            <pc:docMk/>
            <pc:sldMk cId="1036427297" sldId="2147483586"/>
            <ac:spMk id="30" creationId="{B49E7DF5-CBA9-46D8-3F84-D394D0352659}"/>
          </ac:spMkLst>
        </pc:spChg>
        <pc:spChg chg="mod ord">
          <ac:chgData name="Hänninen, Lauri" userId="b62831d1-2046-40aa-b4b7-d67e2d73afe1" providerId="ADAL" clId="{F907ACC7-C8F7-470E-B883-D49732EB787C}" dt="2024-02-21T12:16:59.514" v="18984"/>
          <ac:spMkLst>
            <pc:docMk/>
            <pc:sldMk cId="1036427297" sldId="2147483586"/>
            <ac:spMk id="31" creationId="{22A38F90-2A60-EACC-D81E-16339E98DE25}"/>
          </ac:spMkLst>
        </pc:spChg>
        <pc:spChg chg="mod ord">
          <ac:chgData name="Hänninen, Lauri" userId="b62831d1-2046-40aa-b4b7-d67e2d73afe1" providerId="ADAL" clId="{F907ACC7-C8F7-470E-B883-D49732EB787C}" dt="2024-02-21T12:16:59.514" v="18986"/>
          <ac:spMkLst>
            <pc:docMk/>
            <pc:sldMk cId="1036427297" sldId="2147483586"/>
            <ac:spMk id="32" creationId="{16973211-1C9C-6AA5-986B-1EA00156E9D1}"/>
          </ac:spMkLst>
        </pc:spChg>
        <pc:spChg chg="mod ord">
          <ac:chgData name="Hänninen, Lauri" userId="b62831d1-2046-40aa-b4b7-d67e2d73afe1" providerId="ADAL" clId="{F907ACC7-C8F7-470E-B883-D49732EB787C}" dt="2024-02-21T12:16:59.515" v="18988"/>
          <ac:spMkLst>
            <pc:docMk/>
            <pc:sldMk cId="1036427297" sldId="2147483586"/>
            <ac:spMk id="33" creationId="{AAA4FCA3-E88C-997D-79FB-CFD1DCFA495E}"/>
          </ac:spMkLst>
        </pc:spChg>
        <pc:spChg chg="mod">
          <ac:chgData name="Hänninen, Lauri" userId="b62831d1-2046-40aa-b4b7-d67e2d73afe1" providerId="ADAL" clId="{F907ACC7-C8F7-470E-B883-D49732EB787C}" dt="2024-02-21T12:16:59.520" v="19011"/>
          <ac:spMkLst>
            <pc:docMk/>
            <pc:sldMk cId="1036427297" sldId="2147483586"/>
            <ac:spMk id="34" creationId="{0C27ED2B-DD9E-8A06-15BC-A15060906198}"/>
          </ac:spMkLst>
        </pc:spChg>
        <pc:spChg chg="mod">
          <ac:chgData name="Hänninen, Lauri" userId="b62831d1-2046-40aa-b4b7-d67e2d73afe1" providerId="ADAL" clId="{F907ACC7-C8F7-470E-B883-D49732EB787C}" dt="2024-02-21T12:16:59.521" v="19012"/>
          <ac:spMkLst>
            <pc:docMk/>
            <pc:sldMk cId="1036427297" sldId="2147483586"/>
            <ac:spMk id="35" creationId="{0B535C3F-5565-5370-FD6F-70C2031A0239}"/>
          </ac:spMkLst>
        </pc:spChg>
        <pc:spChg chg="mod ord">
          <ac:chgData name="Hänninen, Lauri" userId="b62831d1-2046-40aa-b4b7-d67e2d73afe1" providerId="ADAL" clId="{F907ACC7-C8F7-470E-B883-D49732EB787C}" dt="2024-02-21T12:16:59.515" v="18990"/>
          <ac:spMkLst>
            <pc:docMk/>
            <pc:sldMk cId="1036427297" sldId="2147483586"/>
            <ac:spMk id="37" creationId="{19C61A89-EF11-F97F-C85F-3BF2157BD852}"/>
          </ac:spMkLst>
        </pc:spChg>
        <pc:spChg chg="mod ord">
          <ac:chgData name="Hänninen, Lauri" userId="b62831d1-2046-40aa-b4b7-d67e2d73afe1" providerId="ADAL" clId="{F907ACC7-C8F7-470E-B883-D49732EB787C}" dt="2024-02-21T12:16:59.515" v="18992"/>
          <ac:spMkLst>
            <pc:docMk/>
            <pc:sldMk cId="1036427297" sldId="2147483586"/>
            <ac:spMk id="38" creationId="{755B70D6-EB26-64E1-B9C6-2800DDAFA023}"/>
          </ac:spMkLst>
        </pc:spChg>
        <pc:spChg chg="mod ord">
          <ac:chgData name="Hänninen, Lauri" userId="b62831d1-2046-40aa-b4b7-d67e2d73afe1" providerId="ADAL" clId="{F907ACC7-C8F7-470E-B883-D49732EB787C}" dt="2024-02-21T12:16:59.516" v="18994"/>
          <ac:spMkLst>
            <pc:docMk/>
            <pc:sldMk cId="1036427297" sldId="2147483586"/>
            <ac:spMk id="39" creationId="{C2EEE899-C965-7810-9351-EFEAB67255B9}"/>
          </ac:spMkLst>
        </pc:spChg>
        <pc:spChg chg="mod ord">
          <ac:chgData name="Hänninen, Lauri" userId="b62831d1-2046-40aa-b4b7-d67e2d73afe1" providerId="ADAL" clId="{F907ACC7-C8F7-470E-B883-D49732EB787C}" dt="2024-02-21T12:16:59.516" v="18996"/>
          <ac:spMkLst>
            <pc:docMk/>
            <pc:sldMk cId="1036427297" sldId="2147483586"/>
            <ac:spMk id="40" creationId="{AE48ECA3-0B3F-4EAC-7D79-633E0E511B92}"/>
          </ac:spMkLst>
        </pc:spChg>
        <pc:spChg chg="mod ord">
          <ac:chgData name="Hänninen, Lauri" userId="b62831d1-2046-40aa-b4b7-d67e2d73afe1" providerId="ADAL" clId="{F907ACC7-C8F7-470E-B883-D49732EB787C}" dt="2024-02-21T12:16:59.516" v="18998"/>
          <ac:spMkLst>
            <pc:docMk/>
            <pc:sldMk cId="1036427297" sldId="2147483586"/>
            <ac:spMk id="41" creationId="{D45B152F-8042-DA74-14EA-FB7376462E93}"/>
          </ac:spMkLst>
        </pc:spChg>
        <pc:spChg chg="mod ord">
          <ac:chgData name="Hänninen, Lauri" userId="b62831d1-2046-40aa-b4b7-d67e2d73afe1" providerId="ADAL" clId="{F907ACC7-C8F7-470E-B883-D49732EB787C}" dt="2024-02-21T12:16:59.517" v="19000"/>
          <ac:spMkLst>
            <pc:docMk/>
            <pc:sldMk cId="1036427297" sldId="2147483586"/>
            <ac:spMk id="42" creationId="{BCFC615A-E11C-6B4B-89C7-0F28E3F26638}"/>
          </ac:spMkLst>
        </pc:spChg>
        <pc:spChg chg="mod ord">
          <ac:chgData name="Hänninen, Lauri" userId="b62831d1-2046-40aa-b4b7-d67e2d73afe1" providerId="ADAL" clId="{F907ACC7-C8F7-470E-B883-D49732EB787C}" dt="2024-02-21T12:16:59.517" v="19002"/>
          <ac:spMkLst>
            <pc:docMk/>
            <pc:sldMk cId="1036427297" sldId="2147483586"/>
            <ac:spMk id="43" creationId="{84A6B2E0-03F1-D30B-D3DD-5B9A6ED49988}"/>
          </ac:spMkLst>
        </pc:spChg>
        <pc:spChg chg="mod ord">
          <ac:chgData name="Hänninen, Lauri" userId="b62831d1-2046-40aa-b4b7-d67e2d73afe1" providerId="ADAL" clId="{F907ACC7-C8F7-470E-B883-D49732EB787C}" dt="2024-02-21T12:16:59.518" v="19004"/>
          <ac:spMkLst>
            <pc:docMk/>
            <pc:sldMk cId="1036427297" sldId="2147483586"/>
            <ac:spMk id="44" creationId="{B5A3133E-A60A-AEA5-76BB-2CE799F215EF}"/>
          </ac:spMkLst>
        </pc:spChg>
        <pc:spChg chg="mod ord">
          <ac:chgData name="Hänninen, Lauri" userId="b62831d1-2046-40aa-b4b7-d67e2d73afe1" providerId="ADAL" clId="{F907ACC7-C8F7-470E-B883-D49732EB787C}" dt="2024-02-21T12:16:59.518" v="19006"/>
          <ac:spMkLst>
            <pc:docMk/>
            <pc:sldMk cId="1036427297" sldId="2147483586"/>
            <ac:spMk id="45" creationId="{6EB64CD5-754D-AE4F-86AE-1F8B5B1713FB}"/>
          </ac:spMkLst>
        </pc:spChg>
        <pc:spChg chg="mod">
          <ac:chgData name="Hänninen, Lauri" userId="b62831d1-2046-40aa-b4b7-d67e2d73afe1" providerId="ADAL" clId="{F907ACC7-C8F7-470E-B883-D49732EB787C}" dt="2024-02-21T12:16:59.521" v="19013"/>
          <ac:spMkLst>
            <pc:docMk/>
            <pc:sldMk cId="1036427297" sldId="2147483586"/>
            <ac:spMk id="46" creationId="{AC3EC8E5-234D-4C9C-ED79-ABBA88A8781B}"/>
          </ac:spMkLst>
        </pc:spChg>
        <pc:spChg chg="mod ord">
          <ac:chgData name="Hänninen, Lauri" userId="b62831d1-2046-40aa-b4b7-d67e2d73afe1" providerId="ADAL" clId="{F907ACC7-C8F7-470E-B883-D49732EB787C}" dt="2024-02-21T12:16:59.511" v="18971"/>
          <ac:spMkLst>
            <pc:docMk/>
            <pc:sldMk cId="1036427297" sldId="2147483586"/>
            <ac:spMk id="47" creationId="{EE6D6F96-9A48-5A44-B2F4-6EBF4B5BD7A0}"/>
          </ac:spMkLst>
        </pc:spChg>
        <pc:spChg chg="mod">
          <ac:chgData name="Hänninen, Lauri" userId="b62831d1-2046-40aa-b4b7-d67e2d73afe1" providerId="ADAL" clId="{F907ACC7-C8F7-470E-B883-D49732EB787C}" dt="2024-02-21T12:16:59.522" v="19014"/>
          <ac:spMkLst>
            <pc:docMk/>
            <pc:sldMk cId="1036427297" sldId="2147483586"/>
            <ac:spMk id="48" creationId="{1338A0EB-4480-935A-AE83-68669C06A456}"/>
          </ac:spMkLst>
        </pc:spChg>
        <pc:spChg chg="mod">
          <ac:chgData name="Hänninen, Lauri" userId="b62831d1-2046-40aa-b4b7-d67e2d73afe1" providerId="ADAL" clId="{F907ACC7-C8F7-470E-B883-D49732EB787C}" dt="2024-02-21T12:16:59.522" v="19015"/>
          <ac:spMkLst>
            <pc:docMk/>
            <pc:sldMk cId="1036427297" sldId="2147483586"/>
            <ac:spMk id="49" creationId="{07B36BCC-DA94-8BA3-0969-D57D7419C328}"/>
          </ac:spMkLst>
        </pc:spChg>
        <pc:spChg chg="mod ord">
          <ac:chgData name="Hänninen, Lauri" userId="b62831d1-2046-40aa-b4b7-d67e2d73afe1" providerId="ADAL" clId="{F907ACC7-C8F7-470E-B883-D49732EB787C}" dt="2024-02-21T12:16:59.512" v="18976"/>
          <ac:spMkLst>
            <pc:docMk/>
            <pc:sldMk cId="1036427297" sldId="2147483586"/>
            <ac:spMk id="50" creationId="{6F34BE38-CBE8-109E-FAA7-E5BAB23CB198}"/>
          </ac:spMkLst>
        </pc:spChg>
        <pc:spChg chg="mod">
          <ac:chgData name="Hänninen, Lauri" userId="b62831d1-2046-40aa-b4b7-d67e2d73afe1" providerId="ADAL" clId="{F907ACC7-C8F7-470E-B883-D49732EB787C}" dt="2024-02-21T12:16:59.522" v="19016"/>
          <ac:spMkLst>
            <pc:docMk/>
            <pc:sldMk cId="1036427297" sldId="2147483586"/>
            <ac:spMk id="51" creationId="{B92F7A82-09B0-0AB3-246C-DD62FF9CF8A2}"/>
          </ac:spMkLst>
        </pc:spChg>
        <pc:spChg chg="mod">
          <ac:chgData name="Hänninen, Lauri" userId="b62831d1-2046-40aa-b4b7-d67e2d73afe1" providerId="ADAL" clId="{F907ACC7-C8F7-470E-B883-D49732EB787C}" dt="2024-02-21T12:16:59.523" v="19017"/>
          <ac:spMkLst>
            <pc:docMk/>
            <pc:sldMk cId="1036427297" sldId="2147483586"/>
            <ac:spMk id="52" creationId="{50C38333-C424-B82E-3C4C-77B6D9FFB4CC}"/>
          </ac:spMkLst>
        </pc:spChg>
        <pc:spChg chg="mod">
          <ac:chgData name="Hänninen, Lauri" userId="b62831d1-2046-40aa-b4b7-d67e2d73afe1" providerId="ADAL" clId="{F907ACC7-C8F7-470E-B883-D49732EB787C}" dt="2024-02-21T12:16:59.523" v="19018"/>
          <ac:spMkLst>
            <pc:docMk/>
            <pc:sldMk cId="1036427297" sldId="2147483586"/>
            <ac:spMk id="53" creationId="{CCFA7DED-A5B1-B2C4-C3FD-A42E51E9B608}"/>
          </ac:spMkLst>
        </pc:spChg>
        <pc:spChg chg="mod">
          <ac:chgData name="Hänninen, Lauri" userId="b62831d1-2046-40aa-b4b7-d67e2d73afe1" providerId="ADAL" clId="{F907ACC7-C8F7-470E-B883-D49732EB787C}" dt="2024-02-21T12:16:59.524" v="19019"/>
          <ac:spMkLst>
            <pc:docMk/>
            <pc:sldMk cId="1036427297" sldId="2147483586"/>
            <ac:spMk id="54" creationId="{9879CB70-FBAA-BA5D-E903-8ED6A6384CC1}"/>
          </ac:spMkLst>
        </pc:spChg>
        <pc:spChg chg="mod">
          <ac:chgData name="Hänninen, Lauri" userId="b62831d1-2046-40aa-b4b7-d67e2d73afe1" providerId="ADAL" clId="{F907ACC7-C8F7-470E-B883-D49732EB787C}" dt="2024-02-21T12:16:59.524" v="19020"/>
          <ac:spMkLst>
            <pc:docMk/>
            <pc:sldMk cId="1036427297" sldId="2147483586"/>
            <ac:spMk id="55" creationId="{532DA259-E3FE-6E41-8F88-37FDA4913528}"/>
          </ac:spMkLst>
        </pc:spChg>
        <pc:spChg chg="mod">
          <ac:chgData name="Hänninen, Lauri" userId="b62831d1-2046-40aa-b4b7-d67e2d73afe1" providerId="ADAL" clId="{F907ACC7-C8F7-470E-B883-D49732EB787C}" dt="2024-02-21T12:16:59.524" v="19021"/>
          <ac:spMkLst>
            <pc:docMk/>
            <pc:sldMk cId="1036427297" sldId="2147483586"/>
            <ac:spMk id="56" creationId="{51C7A53B-A596-144A-E07B-71D66B88C5F6}"/>
          </ac:spMkLst>
        </pc:spChg>
        <pc:spChg chg="mod">
          <ac:chgData name="Hänninen, Lauri" userId="b62831d1-2046-40aa-b4b7-d67e2d73afe1" providerId="ADAL" clId="{F907ACC7-C8F7-470E-B883-D49732EB787C}" dt="2024-02-21T12:16:59.525" v="19022"/>
          <ac:spMkLst>
            <pc:docMk/>
            <pc:sldMk cId="1036427297" sldId="2147483586"/>
            <ac:spMk id="57" creationId="{A6C7348E-02C3-4170-8E15-15FD629E6F1B}"/>
          </ac:spMkLst>
        </pc:spChg>
        <pc:spChg chg="mod">
          <ac:chgData name="Hänninen, Lauri" userId="b62831d1-2046-40aa-b4b7-d67e2d73afe1" providerId="ADAL" clId="{F907ACC7-C8F7-470E-B883-D49732EB787C}" dt="2024-02-21T12:16:59.525" v="19023"/>
          <ac:spMkLst>
            <pc:docMk/>
            <pc:sldMk cId="1036427297" sldId="2147483586"/>
            <ac:spMk id="58" creationId="{1ED07146-2464-D683-B847-AF4E1A6EA433}"/>
          </ac:spMkLst>
        </pc:spChg>
        <pc:spChg chg="mod">
          <ac:chgData name="Hänninen, Lauri" userId="b62831d1-2046-40aa-b4b7-d67e2d73afe1" providerId="ADAL" clId="{F907ACC7-C8F7-470E-B883-D49732EB787C}" dt="2024-02-21T12:16:59.526" v="19024"/>
          <ac:spMkLst>
            <pc:docMk/>
            <pc:sldMk cId="1036427297" sldId="2147483586"/>
            <ac:spMk id="59" creationId="{C2B9D283-941B-4AD0-4158-12D180CEF844}"/>
          </ac:spMkLst>
        </pc:spChg>
        <pc:spChg chg="mod">
          <ac:chgData name="Hänninen, Lauri" userId="b62831d1-2046-40aa-b4b7-d67e2d73afe1" providerId="ADAL" clId="{F907ACC7-C8F7-470E-B883-D49732EB787C}" dt="2024-02-21T12:16:59.527" v="19027"/>
          <ac:spMkLst>
            <pc:docMk/>
            <pc:sldMk cId="1036427297" sldId="2147483586"/>
            <ac:spMk id="162" creationId="{774CAC82-D618-4B2B-D40D-FA4FAC4CA2FC}"/>
          </ac:spMkLst>
        </pc:spChg>
        <pc:spChg chg="mod ord">
          <ac:chgData name="Hänninen, Lauri" userId="b62831d1-2046-40aa-b4b7-d67e2d73afe1" providerId="ADAL" clId="{F907ACC7-C8F7-470E-B883-D49732EB787C}" dt="2024-02-21T12:16:59.528" v="19029"/>
          <ac:spMkLst>
            <pc:docMk/>
            <pc:sldMk cId="1036427297" sldId="2147483586"/>
            <ac:spMk id="163" creationId="{2D9AF636-C56F-701C-CD7E-36960884DDA5}"/>
          </ac:spMkLst>
        </pc:spChg>
        <pc:spChg chg="mod ord">
          <ac:chgData name="Hänninen, Lauri" userId="b62831d1-2046-40aa-b4b7-d67e2d73afe1" providerId="ADAL" clId="{F907ACC7-C8F7-470E-B883-D49732EB787C}" dt="2024-02-21T12:16:59.528" v="19031"/>
          <ac:spMkLst>
            <pc:docMk/>
            <pc:sldMk cId="1036427297" sldId="2147483586"/>
            <ac:spMk id="166" creationId="{48CB80BD-D636-1035-CAFE-C326AC04C376}"/>
          </ac:spMkLst>
        </pc:spChg>
        <pc:spChg chg="mod ord">
          <ac:chgData name="Hänninen, Lauri" userId="b62831d1-2046-40aa-b4b7-d67e2d73afe1" providerId="ADAL" clId="{F907ACC7-C8F7-470E-B883-D49732EB787C}" dt="2024-02-21T12:16:59.528" v="19033"/>
          <ac:spMkLst>
            <pc:docMk/>
            <pc:sldMk cId="1036427297" sldId="2147483586"/>
            <ac:spMk id="167" creationId="{2A14BFD3-52DC-05A0-349E-82A57B5F3CAC}"/>
          </ac:spMkLst>
        </pc:spChg>
        <pc:graphicFrameChg chg="add mod replST">
          <ac:chgData name="Hänninen, Lauri" userId="b62831d1-2046-40aa-b4b7-d67e2d73afe1" providerId="ADAL" clId="{F907ACC7-C8F7-470E-B883-D49732EB787C}" dt="2024-02-21T12:16:59.512" v="18974"/>
          <ac:graphicFrameMkLst>
            <pc:docMk/>
            <pc:sldMk cId="1036427297" sldId="2147483586"/>
            <ac:graphicFrameMk id="2" creationId="{0076813C-1D47-21FA-635C-284DFDCA2C66}"/>
          </ac:graphicFrameMkLst>
        </pc:graphicFrameChg>
        <pc:graphicFrameChg chg="mod ord">
          <ac:chgData name="Hänninen, Lauri" userId="b62831d1-2046-40aa-b4b7-d67e2d73afe1" providerId="ADAL" clId="{F907ACC7-C8F7-470E-B883-D49732EB787C}" dt="2024-02-21T12:16:59.510" v="18969"/>
          <ac:graphicFrameMkLst>
            <pc:docMk/>
            <pc:sldMk cId="1036427297" sldId="2147483586"/>
            <ac:graphicFrameMk id="8" creationId="{149D169D-9ABE-5F57-E16B-9A3195D5CB29}"/>
          </ac:graphicFrameMkLst>
        </pc:graphicFrameChg>
        <pc:graphicFrameChg chg="mod">
          <ac:chgData name="Hänninen, Lauri" userId="b62831d1-2046-40aa-b4b7-d67e2d73afe1" providerId="ADAL" clId="{F907ACC7-C8F7-470E-B883-D49732EB787C}" dt="2024-02-21T12:16:59.538" v="19037"/>
          <ac:graphicFrameMkLst>
            <pc:docMk/>
            <pc:sldMk cId="1036427297" sldId="2147483586"/>
            <ac:graphicFrameMk id="16" creationId="{38CD42A9-5F70-6F2E-B937-4F607A4B417C}"/>
          </ac:graphicFrameMkLst>
        </pc:graphicFrameChg>
        <pc:graphicFrameChg chg="del">
          <ac:chgData name="Hänninen, Lauri" userId="b62831d1-2046-40aa-b4b7-d67e2d73afe1" providerId="ADAL" clId="{F907ACC7-C8F7-470E-B883-D49732EB787C}" dt="2024-02-21T12:16:59.449" v="18961"/>
          <ac:graphicFrameMkLst>
            <pc:docMk/>
            <pc:sldMk cId="1036427297" sldId="2147483586"/>
            <ac:graphicFrameMk id="161" creationId="{B7433BAB-67AF-1B20-CEC8-26838CAF628D}"/>
          </ac:graphicFrameMkLst>
        </pc:graphicFrameChg>
        <pc:cxnChg chg="mod ord">
          <ac:chgData name="Hänninen, Lauri" userId="b62831d1-2046-40aa-b4b7-d67e2d73afe1" providerId="ADAL" clId="{F907ACC7-C8F7-470E-B883-D49732EB787C}" dt="2024-02-21T12:16:59.511" v="18973"/>
          <ac:cxnSpMkLst>
            <pc:docMk/>
            <pc:sldMk cId="1036427297" sldId="2147483586"/>
            <ac:cxnSpMk id="12" creationId="{6A6E4E9F-0335-24BA-FF2F-80D45E4BC7CD}"/>
          </ac:cxnSpMkLst>
        </pc:cxnChg>
      </pc:sldChg>
      <pc:sldChg chg="addSp delSp modSp add del mod">
        <pc:chgData name="Hänninen, Lauri" userId="b62831d1-2046-40aa-b4b7-d67e2d73afe1" providerId="ADAL" clId="{F907ACC7-C8F7-470E-B883-D49732EB787C}" dt="2024-02-19T18:45:18.261" v="1207" actId="47"/>
        <pc:sldMkLst>
          <pc:docMk/>
          <pc:sldMk cId="1434268797" sldId="2147483586"/>
        </pc:sldMkLst>
        <pc:spChg chg="add mod">
          <ac:chgData name="Hänninen, Lauri" userId="b62831d1-2046-40aa-b4b7-d67e2d73afe1" providerId="ADAL" clId="{F907ACC7-C8F7-470E-B883-D49732EB787C}" dt="2024-02-19T18:36:45.593" v="882" actId="1076"/>
          <ac:spMkLst>
            <pc:docMk/>
            <pc:sldMk cId="1434268797" sldId="2147483586"/>
            <ac:spMk id="6" creationId="{8DD855E5-C53B-592D-B19A-543690AB20B0}"/>
          </ac:spMkLst>
        </pc:spChg>
        <pc:spChg chg="add mod">
          <ac:chgData name="Hänninen, Lauri" userId="b62831d1-2046-40aa-b4b7-d67e2d73afe1" providerId="ADAL" clId="{F907ACC7-C8F7-470E-B883-D49732EB787C}" dt="2024-02-19T18:36:45.593" v="882" actId="1076"/>
          <ac:spMkLst>
            <pc:docMk/>
            <pc:sldMk cId="1434268797" sldId="2147483586"/>
            <ac:spMk id="7" creationId="{C73C43F6-9797-0487-0F46-5264E8986C80}"/>
          </ac:spMkLst>
        </pc:spChg>
        <pc:spChg chg="del">
          <ac:chgData name="Hänninen, Lauri" userId="b62831d1-2046-40aa-b4b7-d67e2d73afe1" providerId="ADAL" clId="{F907ACC7-C8F7-470E-B883-D49732EB787C}" dt="2024-02-19T18:36:37.219" v="880" actId="478"/>
          <ac:spMkLst>
            <pc:docMk/>
            <pc:sldMk cId="1434268797" sldId="2147483586"/>
            <ac:spMk id="8" creationId="{24EF2106-88A7-B93B-D598-5542B4169E41}"/>
          </ac:spMkLst>
        </pc:spChg>
      </pc:sldChg>
      <pc:sldChg chg="del">
        <pc:chgData name="Hänninen, Lauri" userId="b62831d1-2046-40aa-b4b7-d67e2d73afe1" providerId="ADAL" clId="{F907ACC7-C8F7-470E-B883-D49732EB787C}" dt="2024-02-20T19:05:38.831" v="5933" actId="2696"/>
        <pc:sldMkLst>
          <pc:docMk/>
          <pc:sldMk cId="1066583792" sldId="2147483587"/>
        </pc:sldMkLst>
      </pc:sldChg>
      <pc:sldChg chg="addSp delSp modSp add mod">
        <pc:chgData name="Hänninen, Lauri" userId="b62831d1-2046-40aa-b4b7-d67e2d73afe1" providerId="ADAL" clId="{F907ACC7-C8F7-470E-B883-D49732EB787C}" dt="2024-02-22T08:34:18.108" v="32734" actId="478"/>
        <pc:sldMkLst>
          <pc:docMk/>
          <pc:sldMk cId="1586721897" sldId="2147483587"/>
        </pc:sldMkLst>
        <pc:spChg chg="add mod">
          <ac:chgData name="Hänninen, Lauri" userId="b62831d1-2046-40aa-b4b7-d67e2d73afe1" providerId="ADAL" clId="{F907ACC7-C8F7-470E-B883-D49732EB787C}" dt="2024-02-22T08:33:46.654" v="32727"/>
          <ac:spMkLst>
            <pc:docMk/>
            <pc:sldMk cId="1586721897" sldId="2147483587"/>
            <ac:spMk id="5" creationId="{9411A585-5694-0319-A0DA-72D31C07B99C}"/>
          </ac:spMkLst>
        </pc:spChg>
        <pc:spChg chg="add mod">
          <ac:chgData name="Hänninen, Lauri" userId="b62831d1-2046-40aa-b4b7-d67e2d73afe1" providerId="ADAL" clId="{F907ACC7-C8F7-470E-B883-D49732EB787C}" dt="2024-02-22T08:34:04.651" v="32732" actId="255"/>
          <ac:spMkLst>
            <pc:docMk/>
            <pc:sldMk cId="1586721897" sldId="2147483587"/>
            <ac:spMk id="23" creationId="{578ED5AE-8F49-A9DD-3472-B4D9F168D43D}"/>
          </ac:spMkLst>
        </pc:spChg>
        <pc:spChg chg="del mod">
          <ac:chgData name="Hänninen, Lauri" userId="b62831d1-2046-40aa-b4b7-d67e2d73afe1" providerId="ADAL" clId="{F907ACC7-C8F7-470E-B883-D49732EB787C}" dt="2024-02-22T08:34:16.168" v="32733" actId="478"/>
          <ac:spMkLst>
            <pc:docMk/>
            <pc:sldMk cId="1586721897" sldId="2147483587"/>
            <ac:spMk id="25" creationId="{413A3E1D-B2AF-8F02-1CA9-B569274C2778}"/>
          </ac:spMkLst>
        </pc:spChg>
        <pc:spChg chg="add del mod">
          <ac:chgData name="Hänninen, Lauri" userId="b62831d1-2046-40aa-b4b7-d67e2d73afe1" providerId="ADAL" clId="{F907ACC7-C8F7-470E-B883-D49732EB787C}" dt="2024-02-22T08:34:18.108" v="32734" actId="478"/>
          <ac:spMkLst>
            <pc:docMk/>
            <pc:sldMk cId="1586721897" sldId="2147483587"/>
            <ac:spMk id="27" creationId="{C80B11A1-0C7E-A137-5CE8-04B6681E924B}"/>
          </ac:spMkLst>
        </pc:spChg>
      </pc:sldChg>
      <pc:sldChg chg="delSp modSp add del mod modShow">
        <pc:chgData name="Hänninen, Lauri" userId="b62831d1-2046-40aa-b4b7-d67e2d73afe1" providerId="ADAL" clId="{F907ACC7-C8F7-470E-B883-D49732EB787C}" dt="2024-02-21T14:35:00.061" v="29171" actId="2696"/>
        <pc:sldMkLst>
          <pc:docMk/>
          <pc:sldMk cId="1892899556" sldId="2147483587"/>
        </pc:sldMkLst>
        <pc:spChg chg="mod">
          <ac:chgData name="Hänninen, Lauri" userId="b62831d1-2046-40aa-b4b7-d67e2d73afe1" providerId="ADAL" clId="{F907ACC7-C8F7-470E-B883-D49732EB787C}" dt="2024-02-20T19:06:00.522" v="5937" actId="33524"/>
          <ac:spMkLst>
            <pc:docMk/>
            <pc:sldMk cId="1892899556" sldId="2147483587"/>
            <ac:spMk id="7" creationId="{662CAB21-6D45-B391-170F-469FE0A64245}"/>
          </ac:spMkLst>
        </pc:spChg>
        <pc:spChg chg="mod">
          <ac:chgData name="Hänninen, Lauri" userId="b62831d1-2046-40aa-b4b7-d67e2d73afe1" providerId="ADAL" clId="{F907ACC7-C8F7-470E-B883-D49732EB787C}" dt="2024-02-20T19:05:55.523" v="5936" actId="207"/>
          <ac:spMkLst>
            <pc:docMk/>
            <pc:sldMk cId="1892899556" sldId="2147483587"/>
            <ac:spMk id="8" creationId="{14FF434B-48AC-9C83-7483-A64B2B4C7A20}"/>
          </ac:spMkLst>
        </pc:spChg>
        <pc:spChg chg="mod">
          <ac:chgData name="Hänninen, Lauri" userId="b62831d1-2046-40aa-b4b7-d67e2d73afe1" providerId="ADAL" clId="{F907ACC7-C8F7-470E-B883-D49732EB787C}" dt="2024-02-20T19:05:55.523" v="5936" actId="207"/>
          <ac:spMkLst>
            <pc:docMk/>
            <pc:sldMk cId="1892899556" sldId="2147483587"/>
            <ac:spMk id="9" creationId="{DCA9EE17-A63F-07D2-84EA-34CD67CEC5B1}"/>
          </ac:spMkLst>
        </pc:spChg>
        <pc:spChg chg="del">
          <ac:chgData name="Hänninen, Lauri" userId="b62831d1-2046-40aa-b4b7-d67e2d73afe1" providerId="ADAL" clId="{F907ACC7-C8F7-470E-B883-D49732EB787C}" dt="2024-02-20T19:05:49.122" v="5935" actId="478"/>
          <ac:spMkLst>
            <pc:docMk/>
            <pc:sldMk cId="1892899556" sldId="2147483587"/>
            <ac:spMk id="24" creationId="{20FDC876-27A8-EE5B-B422-ABCFA61CFE6A}"/>
          </ac:spMkLst>
        </pc:spChg>
        <pc:spChg chg="mod">
          <ac:chgData name="Hänninen, Lauri" userId="b62831d1-2046-40aa-b4b7-d67e2d73afe1" providerId="ADAL" clId="{F907ACC7-C8F7-470E-B883-D49732EB787C}" dt="2024-02-20T19:28:38.734" v="7418"/>
          <ac:spMkLst>
            <pc:docMk/>
            <pc:sldMk cId="1892899556" sldId="2147483587"/>
            <ac:spMk id="25" creationId="{413A3E1D-B2AF-8F02-1CA9-B569274C2778}"/>
          </ac:spMkLst>
        </pc:spChg>
      </pc:sldChg>
      <pc:sldChg chg="addSp delSp modSp del mod ord">
        <pc:chgData name="Hänninen, Lauri" userId="b62831d1-2046-40aa-b4b7-d67e2d73afe1" providerId="ADAL" clId="{F907ACC7-C8F7-470E-B883-D49732EB787C}" dt="2024-02-22T11:14:40.567" v="38653" actId="47"/>
        <pc:sldMkLst>
          <pc:docMk/>
          <pc:sldMk cId="2979431457" sldId="2147483588"/>
        </pc:sldMkLst>
        <pc:spChg chg="mod ord">
          <ac:chgData name="Hänninen, Lauri" userId="b62831d1-2046-40aa-b4b7-d67e2d73afe1" providerId="ADAL" clId="{F907ACC7-C8F7-470E-B883-D49732EB787C}" dt="2024-02-20T19:14:51.750" v="6669"/>
          <ac:spMkLst>
            <pc:docMk/>
            <pc:sldMk cId="2979431457" sldId="2147483588"/>
            <ac:spMk id="2" creationId="{551A0760-76B6-B0DA-473F-4F9BCE390A30}"/>
          </ac:spMkLst>
        </pc:spChg>
        <pc:spChg chg="mod ord">
          <ac:chgData name="Hänninen, Lauri" userId="b62831d1-2046-40aa-b4b7-d67e2d73afe1" providerId="ADAL" clId="{F907ACC7-C8F7-470E-B883-D49732EB787C}" dt="2024-02-20T19:14:51.750" v="6671"/>
          <ac:spMkLst>
            <pc:docMk/>
            <pc:sldMk cId="2979431457" sldId="2147483588"/>
            <ac:spMk id="3" creationId="{18FF0807-DAF8-B85E-04CD-C4F80F1262E3}"/>
          </ac:spMkLst>
        </pc:spChg>
        <pc:spChg chg="add del mod replST">
          <ac:chgData name="Hänninen, Lauri" userId="b62831d1-2046-40aa-b4b7-d67e2d73afe1" providerId="ADAL" clId="{F907ACC7-C8F7-470E-B883-D49732EB787C}" dt="2024-02-20T19:14:54.055" v="6817"/>
          <ac:spMkLst>
            <pc:docMk/>
            <pc:sldMk cId="2979431457" sldId="2147483588"/>
            <ac:spMk id="4" creationId="{CCFCE92A-6E20-1C68-9B15-D0BDBD3EA0D8}"/>
          </ac:spMkLst>
        </pc:spChg>
        <pc:spChg chg="mod ord">
          <ac:chgData name="Hänninen, Lauri" userId="b62831d1-2046-40aa-b4b7-d67e2d73afe1" providerId="ADAL" clId="{F907ACC7-C8F7-470E-B883-D49732EB787C}" dt="2024-02-22T09:41:27.139" v="37025" actId="20577"/>
          <ac:spMkLst>
            <pc:docMk/>
            <pc:sldMk cId="2979431457" sldId="2147483588"/>
            <ac:spMk id="5" creationId="{904AF0DD-C736-641B-E724-FB2A35E7801D}"/>
          </ac:spMkLst>
        </pc:spChg>
        <pc:spChg chg="mod">
          <ac:chgData name="Hänninen, Lauri" userId="b62831d1-2046-40aa-b4b7-d67e2d73afe1" providerId="ADAL" clId="{F907ACC7-C8F7-470E-B883-D49732EB787C}" dt="2024-02-20T19:14:51.750" v="6674"/>
          <ac:spMkLst>
            <pc:docMk/>
            <pc:sldMk cId="2979431457" sldId="2147483588"/>
            <ac:spMk id="6" creationId="{7E624B2B-6B3A-A95A-9FB1-955A0F155E43}"/>
          </ac:spMkLst>
        </pc:spChg>
        <pc:spChg chg="mod">
          <ac:chgData name="Hänninen, Lauri" userId="b62831d1-2046-40aa-b4b7-d67e2d73afe1" providerId="ADAL" clId="{F907ACC7-C8F7-470E-B883-D49732EB787C}" dt="2024-02-20T19:14:51.750" v="6675"/>
          <ac:spMkLst>
            <pc:docMk/>
            <pc:sldMk cId="2979431457" sldId="2147483588"/>
            <ac:spMk id="7" creationId="{C7EBDFB9-CDDA-A163-084A-A2FDD8481202}"/>
          </ac:spMkLst>
        </pc:spChg>
        <pc:spChg chg="mod">
          <ac:chgData name="Hänninen, Lauri" userId="b62831d1-2046-40aa-b4b7-d67e2d73afe1" providerId="ADAL" clId="{F907ACC7-C8F7-470E-B883-D49732EB787C}" dt="2024-02-20T19:14:51.750" v="6676"/>
          <ac:spMkLst>
            <pc:docMk/>
            <pc:sldMk cId="2979431457" sldId="2147483588"/>
            <ac:spMk id="8" creationId="{509CA467-F98E-715A-FF85-069C4B346E94}"/>
          </ac:spMkLst>
        </pc:spChg>
        <pc:spChg chg="mod">
          <ac:chgData name="Hänninen, Lauri" userId="b62831d1-2046-40aa-b4b7-d67e2d73afe1" providerId="ADAL" clId="{F907ACC7-C8F7-470E-B883-D49732EB787C}" dt="2024-02-20T19:14:51.750" v="6677"/>
          <ac:spMkLst>
            <pc:docMk/>
            <pc:sldMk cId="2979431457" sldId="2147483588"/>
            <ac:spMk id="9" creationId="{AC40E903-33AA-3C51-F348-AF542B46194F}"/>
          </ac:spMkLst>
        </pc:spChg>
        <pc:spChg chg="mod">
          <ac:chgData name="Hänninen, Lauri" userId="b62831d1-2046-40aa-b4b7-d67e2d73afe1" providerId="ADAL" clId="{F907ACC7-C8F7-470E-B883-D49732EB787C}" dt="2024-02-20T19:14:51.750" v="6678"/>
          <ac:spMkLst>
            <pc:docMk/>
            <pc:sldMk cId="2979431457" sldId="2147483588"/>
            <ac:spMk id="10" creationId="{AED3C9AB-BB1A-A2BF-2DCF-C7B8E59ED87A}"/>
          </ac:spMkLst>
        </pc:spChg>
        <pc:spChg chg="add del mod modVis">
          <ac:chgData name="Hänninen, Lauri" userId="b62831d1-2046-40aa-b4b7-d67e2d73afe1" providerId="ADAL" clId="{F907ACC7-C8F7-470E-B883-D49732EB787C}" dt="2024-02-20T19:14:48.082" v="6540"/>
          <ac:spMkLst>
            <pc:docMk/>
            <pc:sldMk cId="2979431457" sldId="2147483588"/>
            <ac:spMk id="11" creationId="{97CA5C14-1854-8394-1B9A-97E79EB40847}"/>
          </ac:spMkLst>
        </pc:spChg>
        <pc:spChg chg="mod ord">
          <ac:chgData name="Hänninen, Lauri" userId="b62831d1-2046-40aa-b4b7-d67e2d73afe1" providerId="ADAL" clId="{F907ACC7-C8F7-470E-B883-D49732EB787C}" dt="2024-02-20T19:14:51.765" v="6680"/>
          <ac:spMkLst>
            <pc:docMk/>
            <pc:sldMk cId="2979431457" sldId="2147483588"/>
            <ac:spMk id="12" creationId="{0F6EC2C8-148E-08D4-83D4-9AA37827B597}"/>
          </ac:spMkLst>
        </pc:spChg>
        <pc:spChg chg="add del mod replST">
          <ac:chgData name="Hänninen, Lauri" userId="b62831d1-2046-40aa-b4b7-d67e2d73afe1" providerId="ADAL" clId="{F907ACC7-C8F7-470E-B883-D49732EB787C}" dt="2024-02-20T19:14:54.055" v="6816"/>
          <ac:spMkLst>
            <pc:docMk/>
            <pc:sldMk cId="2979431457" sldId="2147483588"/>
            <ac:spMk id="13" creationId="{10C6D56A-66C3-EF7F-131A-0B222124688D}"/>
          </ac:spMkLst>
        </pc:spChg>
        <pc:spChg chg="mod">
          <ac:chgData name="Hänninen, Lauri" userId="b62831d1-2046-40aa-b4b7-d67e2d73afe1" providerId="ADAL" clId="{F907ACC7-C8F7-470E-B883-D49732EB787C}" dt="2024-02-20T19:14:51.765" v="6682"/>
          <ac:spMkLst>
            <pc:docMk/>
            <pc:sldMk cId="2979431457" sldId="2147483588"/>
            <ac:spMk id="14" creationId="{042DD343-6B62-B921-B582-087610584A52}"/>
          </ac:spMkLst>
        </pc:spChg>
        <pc:spChg chg="mod">
          <ac:chgData name="Hänninen, Lauri" userId="b62831d1-2046-40aa-b4b7-d67e2d73afe1" providerId="ADAL" clId="{F907ACC7-C8F7-470E-B883-D49732EB787C}" dt="2024-02-20T19:14:51.765" v="6683"/>
          <ac:spMkLst>
            <pc:docMk/>
            <pc:sldMk cId="2979431457" sldId="2147483588"/>
            <ac:spMk id="15" creationId="{7D9C0861-AE06-53FA-92EC-0BEFE2F70AFE}"/>
          </ac:spMkLst>
        </pc:spChg>
        <pc:spChg chg="mod">
          <ac:chgData name="Hänninen, Lauri" userId="b62831d1-2046-40aa-b4b7-d67e2d73afe1" providerId="ADAL" clId="{F907ACC7-C8F7-470E-B883-D49732EB787C}" dt="2024-02-20T19:14:51.765" v="6684"/>
          <ac:spMkLst>
            <pc:docMk/>
            <pc:sldMk cId="2979431457" sldId="2147483588"/>
            <ac:spMk id="16" creationId="{7EE98975-ACF9-60EA-7A8D-4F86FAC6CC37}"/>
          </ac:spMkLst>
        </pc:spChg>
        <pc:spChg chg="mod">
          <ac:chgData name="Hänninen, Lauri" userId="b62831d1-2046-40aa-b4b7-d67e2d73afe1" providerId="ADAL" clId="{F907ACC7-C8F7-470E-B883-D49732EB787C}" dt="2024-02-20T19:14:51.765" v="6685"/>
          <ac:spMkLst>
            <pc:docMk/>
            <pc:sldMk cId="2979431457" sldId="2147483588"/>
            <ac:spMk id="17" creationId="{20CBCBEC-C02C-210C-82F7-12C0821CC5C4}"/>
          </ac:spMkLst>
        </pc:spChg>
        <pc:spChg chg="mod">
          <ac:chgData name="Hänninen, Lauri" userId="b62831d1-2046-40aa-b4b7-d67e2d73afe1" providerId="ADAL" clId="{F907ACC7-C8F7-470E-B883-D49732EB787C}" dt="2024-02-20T19:14:51.765" v="6686"/>
          <ac:spMkLst>
            <pc:docMk/>
            <pc:sldMk cId="2979431457" sldId="2147483588"/>
            <ac:spMk id="18" creationId="{21296A22-1473-7F56-FACA-1CB8E5B11E4C}"/>
          </ac:spMkLst>
        </pc:spChg>
        <pc:spChg chg="mod">
          <ac:chgData name="Hänninen, Lauri" userId="b62831d1-2046-40aa-b4b7-d67e2d73afe1" providerId="ADAL" clId="{F907ACC7-C8F7-470E-B883-D49732EB787C}" dt="2024-02-20T19:14:51.765" v="6687"/>
          <ac:spMkLst>
            <pc:docMk/>
            <pc:sldMk cId="2979431457" sldId="2147483588"/>
            <ac:spMk id="19" creationId="{6FA4D75D-36C1-157A-E638-34FA99E7A321}"/>
          </ac:spMkLst>
        </pc:spChg>
        <pc:spChg chg="mod">
          <ac:chgData name="Hänninen, Lauri" userId="b62831d1-2046-40aa-b4b7-d67e2d73afe1" providerId="ADAL" clId="{F907ACC7-C8F7-470E-B883-D49732EB787C}" dt="2024-02-20T19:14:51.765" v="6688"/>
          <ac:spMkLst>
            <pc:docMk/>
            <pc:sldMk cId="2979431457" sldId="2147483588"/>
            <ac:spMk id="20" creationId="{53EB66FB-5A6E-BD62-2F8B-104E969CA30A}"/>
          </ac:spMkLst>
        </pc:spChg>
        <pc:spChg chg="mod">
          <ac:chgData name="Hänninen, Lauri" userId="b62831d1-2046-40aa-b4b7-d67e2d73afe1" providerId="ADAL" clId="{F907ACC7-C8F7-470E-B883-D49732EB787C}" dt="2024-02-20T19:14:51.765" v="6689"/>
          <ac:spMkLst>
            <pc:docMk/>
            <pc:sldMk cId="2979431457" sldId="2147483588"/>
            <ac:spMk id="21" creationId="{0075642A-7690-EDE1-68F7-01C3C22FA03C}"/>
          </ac:spMkLst>
        </pc:spChg>
        <pc:spChg chg="mod">
          <ac:chgData name="Hänninen, Lauri" userId="b62831d1-2046-40aa-b4b7-d67e2d73afe1" providerId="ADAL" clId="{F907ACC7-C8F7-470E-B883-D49732EB787C}" dt="2024-02-20T19:14:51.765" v="6690"/>
          <ac:spMkLst>
            <pc:docMk/>
            <pc:sldMk cId="2979431457" sldId="2147483588"/>
            <ac:spMk id="22" creationId="{7DF98394-00F8-44C9-554D-90022B99CCD5}"/>
          </ac:spMkLst>
        </pc:spChg>
        <pc:spChg chg="mod ord">
          <ac:chgData name="Hänninen, Lauri" userId="b62831d1-2046-40aa-b4b7-d67e2d73afe1" providerId="ADAL" clId="{F907ACC7-C8F7-470E-B883-D49732EB787C}" dt="2024-02-20T19:14:51.765" v="6694"/>
          <ac:spMkLst>
            <pc:docMk/>
            <pc:sldMk cId="2979431457" sldId="2147483588"/>
            <ac:spMk id="24" creationId="{A45F945A-6A24-C366-4F58-34061E6914B7}"/>
          </ac:spMkLst>
        </pc:spChg>
        <pc:spChg chg="add del mod ord replST">
          <ac:chgData name="Hänninen, Lauri" userId="b62831d1-2046-40aa-b4b7-d67e2d73afe1" providerId="ADAL" clId="{F907ACC7-C8F7-470E-B883-D49732EB787C}" dt="2024-02-20T19:14:54.055" v="6819"/>
          <ac:spMkLst>
            <pc:docMk/>
            <pc:sldMk cId="2979431457" sldId="2147483588"/>
            <ac:spMk id="25" creationId="{703D1100-2DA3-D733-967C-B12120FE6405}"/>
          </ac:spMkLst>
        </pc:spChg>
        <pc:spChg chg="mod">
          <ac:chgData name="Hänninen, Lauri" userId="b62831d1-2046-40aa-b4b7-d67e2d73afe1" providerId="ADAL" clId="{F907ACC7-C8F7-470E-B883-D49732EB787C}" dt="2024-02-20T19:14:51.765" v="6696"/>
          <ac:spMkLst>
            <pc:docMk/>
            <pc:sldMk cId="2979431457" sldId="2147483588"/>
            <ac:spMk id="26" creationId="{DE7E6193-0153-E1A0-489A-602DAA1F76BA}"/>
          </ac:spMkLst>
        </pc:spChg>
        <pc:spChg chg="mod">
          <ac:chgData name="Hänninen, Lauri" userId="b62831d1-2046-40aa-b4b7-d67e2d73afe1" providerId="ADAL" clId="{F907ACC7-C8F7-470E-B883-D49732EB787C}" dt="2024-02-20T19:14:51.765" v="6697"/>
          <ac:spMkLst>
            <pc:docMk/>
            <pc:sldMk cId="2979431457" sldId="2147483588"/>
            <ac:spMk id="27" creationId="{1AD693D0-35F9-41A2-BC6D-7EC121F69963}"/>
          </ac:spMkLst>
        </pc:spChg>
        <pc:spChg chg="mod">
          <ac:chgData name="Hänninen, Lauri" userId="b62831d1-2046-40aa-b4b7-d67e2d73afe1" providerId="ADAL" clId="{F907ACC7-C8F7-470E-B883-D49732EB787C}" dt="2024-02-20T19:14:51.765" v="6698"/>
          <ac:spMkLst>
            <pc:docMk/>
            <pc:sldMk cId="2979431457" sldId="2147483588"/>
            <ac:spMk id="28" creationId="{BBADFD8D-4D40-7D6D-5429-A631B375E464}"/>
          </ac:spMkLst>
        </pc:spChg>
        <pc:spChg chg="mod">
          <ac:chgData name="Hänninen, Lauri" userId="b62831d1-2046-40aa-b4b7-d67e2d73afe1" providerId="ADAL" clId="{F907ACC7-C8F7-470E-B883-D49732EB787C}" dt="2024-02-20T19:14:51.781" v="6699"/>
          <ac:spMkLst>
            <pc:docMk/>
            <pc:sldMk cId="2979431457" sldId="2147483588"/>
            <ac:spMk id="29" creationId="{C8BCCA10-D4A7-8D35-8411-7BFA4512619D}"/>
          </ac:spMkLst>
        </pc:spChg>
        <pc:spChg chg="mod">
          <ac:chgData name="Hänninen, Lauri" userId="b62831d1-2046-40aa-b4b7-d67e2d73afe1" providerId="ADAL" clId="{F907ACC7-C8F7-470E-B883-D49732EB787C}" dt="2024-02-20T19:14:51.781" v="6700"/>
          <ac:spMkLst>
            <pc:docMk/>
            <pc:sldMk cId="2979431457" sldId="2147483588"/>
            <ac:spMk id="30" creationId="{981184D8-D7DD-E55C-E318-91D5BA7615E9}"/>
          </ac:spMkLst>
        </pc:spChg>
        <pc:spChg chg="mod">
          <ac:chgData name="Hänninen, Lauri" userId="b62831d1-2046-40aa-b4b7-d67e2d73afe1" providerId="ADAL" clId="{F907ACC7-C8F7-470E-B883-D49732EB787C}" dt="2024-02-20T19:14:51.781" v="6701"/>
          <ac:spMkLst>
            <pc:docMk/>
            <pc:sldMk cId="2979431457" sldId="2147483588"/>
            <ac:spMk id="31" creationId="{6B27CC7B-ED07-71A5-912F-1A8560921E65}"/>
          </ac:spMkLst>
        </pc:spChg>
        <pc:spChg chg="mod">
          <ac:chgData name="Hänninen, Lauri" userId="b62831d1-2046-40aa-b4b7-d67e2d73afe1" providerId="ADAL" clId="{F907ACC7-C8F7-470E-B883-D49732EB787C}" dt="2024-02-20T19:14:51.781" v="6702"/>
          <ac:spMkLst>
            <pc:docMk/>
            <pc:sldMk cId="2979431457" sldId="2147483588"/>
            <ac:spMk id="32" creationId="{30BFB511-3FE8-5200-979E-3C4AD1BB2FB4}"/>
          </ac:spMkLst>
        </pc:spChg>
        <pc:spChg chg="mod">
          <ac:chgData name="Hänninen, Lauri" userId="b62831d1-2046-40aa-b4b7-d67e2d73afe1" providerId="ADAL" clId="{F907ACC7-C8F7-470E-B883-D49732EB787C}" dt="2024-02-20T19:14:51.781" v="6703"/>
          <ac:spMkLst>
            <pc:docMk/>
            <pc:sldMk cId="2979431457" sldId="2147483588"/>
            <ac:spMk id="33" creationId="{2E9EF003-9908-D7E6-D0D3-91EAB0667C3E}"/>
          </ac:spMkLst>
        </pc:spChg>
        <pc:spChg chg="mod">
          <ac:chgData name="Hänninen, Lauri" userId="b62831d1-2046-40aa-b4b7-d67e2d73afe1" providerId="ADAL" clId="{F907ACC7-C8F7-470E-B883-D49732EB787C}" dt="2024-02-20T19:14:51.781" v="6704"/>
          <ac:spMkLst>
            <pc:docMk/>
            <pc:sldMk cId="2979431457" sldId="2147483588"/>
            <ac:spMk id="34" creationId="{6A1C4E45-74E8-6558-3070-8A1BB63E7B63}"/>
          </ac:spMkLst>
        </pc:spChg>
        <pc:spChg chg="mod">
          <ac:chgData name="Hänninen, Lauri" userId="b62831d1-2046-40aa-b4b7-d67e2d73afe1" providerId="ADAL" clId="{F907ACC7-C8F7-470E-B883-D49732EB787C}" dt="2024-02-20T19:14:51.781" v="6705"/>
          <ac:spMkLst>
            <pc:docMk/>
            <pc:sldMk cId="2979431457" sldId="2147483588"/>
            <ac:spMk id="35" creationId="{2DB89FBB-1679-B05B-3118-780FABA99724}"/>
          </ac:spMkLst>
        </pc:spChg>
        <pc:spChg chg="mod">
          <ac:chgData name="Hänninen, Lauri" userId="b62831d1-2046-40aa-b4b7-d67e2d73afe1" providerId="ADAL" clId="{F907ACC7-C8F7-470E-B883-D49732EB787C}" dt="2024-02-20T19:14:51.788" v="6706"/>
          <ac:spMkLst>
            <pc:docMk/>
            <pc:sldMk cId="2979431457" sldId="2147483588"/>
            <ac:spMk id="36" creationId="{4AC12EE4-AAE0-600C-5B34-A2D1A5622BAE}"/>
          </ac:spMkLst>
        </pc:spChg>
        <pc:spChg chg="mod">
          <ac:chgData name="Hänninen, Lauri" userId="b62831d1-2046-40aa-b4b7-d67e2d73afe1" providerId="ADAL" clId="{F907ACC7-C8F7-470E-B883-D49732EB787C}" dt="2024-02-20T19:14:51.788" v="6707"/>
          <ac:spMkLst>
            <pc:docMk/>
            <pc:sldMk cId="2979431457" sldId="2147483588"/>
            <ac:spMk id="37" creationId="{35052140-8C82-2F66-AC8E-DDF823272006}"/>
          </ac:spMkLst>
        </pc:spChg>
        <pc:spChg chg="add del mod modVis">
          <ac:chgData name="Hänninen, Lauri" userId="b62831d1-2046-40aa-b4b7-d67e2d73afe1" providerId="ADAL" clId="{F907ACC7-C8F7-470E-B883-D49732EB787C}" dt="2024-02-20T19:14:51.835" v="6812"/>
          <ac:spMkLst>
            <pc:docMk/>
            <pc:sldMk cId="2979431457" sldId="2147483588"/>
            <ac:spMk id="38" creationId="{7A5C5158-6B50-6027-6D87-489B4FC720E7}"/>
          </ac:spMkLst>
        </pc:spChg>
        <pc:spChg chg="add del mod">
          <ac:chgData name="Hänninen, Lauri" userId="b62831d1-2046-40aa-b4b7-d67e2d73afe1" providerId="ADAL" clId="{F907ACC7-C8F7-470E-B883-D49732EB787C}" dt="2024-02-20T19:35:04.141" v="7553"/>
          <ac:spMkLst>
            <pc:docMk/>
            <pc:sldMk cId="2979431457" sldId="2147483588"/>
            <ac:spMk id="40" creationId="{0B250AB2-2677-87A3-22F8-AA394A691D90}"/>
          </ac:spMkLst>
        </pc:spChg>
        <pc:spChg chg="mod">
          <ac:chgData name="Hänninen, Lauri" userId="b62831d1-2046-40aa-b4b7-d67e2d73afe1" providerId="ADAL" clId="{F907ACC7-C8F7-470E-B883-D49732EB787C}" dt="2024-02-20T19:14:59.727" v="6891"/>
          <ac:spMkLst>
            <pc:docMk/>
            <pc:sldMk cId="2979431457" sldId="2147483588"/>
            <ac:spMk id="43" creationId="{0554625D-7C6E-62D2-65F3-422532503E2B}"/>
          </ac:spMkLst>
        </pc:spChg>
        <pc:spChg chg="mod ord">
          <ac:chgData name="Hänninen, Lauri" userId="b62831d1-2046-40aa-b4b7-d67e2d73afe1" providerId="ADAL" clId="{F907ACC7-C8F7-470E-B883-D49732EB787C}" dt="2024-02-20T19:14:59.727" v="6892" actId="948"/>
          <ac:spMkLst>
            <pc:docMk/>
            <pc:sldMk cId="2979431457" sldId="2147483588"/>
            <ac:spMk id="44" creationId="{2F53C558-95A0-4A38-769F-47657E73CFAB}"/>
          </ac:spMkLst>
        </pc:spChg>
        <pc:spChg chg="mod">
          <ac:chgData name="Hänninen, Lauri" userId="b62831d1-2046-40aa-b4b7-d67e2d73afe1" providerId="ADAL" clId="{F907ACC7-C8F7-470E-B883-D49732EB787C}" dt="2024-02-20T19:14:59.727" v="6894"/>
          <ac:spMkLst>
            <pc:docMk/>
            <pc:sldMk cId="2979431457" sldId="2147483588"/>
            <ac:spMk id="45" creationId="{805A1461-642D-563D-1518-A73DC58BC6A5}"/>
          </ac:spMkLst>
        </pc:spChg>
        <pc:spChg chg="mod">
          <ac:chgData name="Hänninen, Lauri" userId="b62831d1-2046-40aa-b4b7-d67e2d73afe1" providerId="ADAL" clId="{F907ACC7-C8F7-470E-B883-D49732EB787C}" dt="2024-02-20T19:14:59.727" v="6895"/>
          <ac:spMkLst>
            <pc:docMk/>
            <pc:sldMk cId="2979431457" sldId="2147483588"/>
            <ac:spMk id="46" creationId="{5EED3477-B67B-0FA6-E0C6-CA3B4D5561A4}"/>
          </ac:spMkLst>
        </pc:spChg>
        <pc:spChg chg="mod">
          <ac:chgData name="Hänninen, Lauri" userId="b62831d1-2046-40aa-b4b7-d67e2d73afe1" providerId="ADAL" clId="{F907ACC7-C8F7-470E-B883-D49732EB787C}" dt="2024-02-20T19:14:59.727" v="6896"/>
          <ac:spMkLst>
            <pc:docMk/>
            <pc:sldMk cId="2979431457" sldId="2147483588"/>
            <ac:spMk id="47" creationId="{A3D86680-6949-E7B7-69B6-D46C6E9BFA1F}"/>
          </ac:spMkLst>
        </pc:spChg>
        <pc:spChg chg="mod">
          <ac:chgData name="Hänninen, Lauri" userId="b62831d1-2046-40aa-b4b7-d67e2d73afe1" providerId="ADAL" clId="{F907ACC7-C8F7-470E-B883-D49732EB787C}" dt="2024-02-20T19:14:59.743" v="6897"/>
          <ac:spMkLst>
            <pc:docMk/>
            <pc:sldMk cId="2979431457" sldId="2147483588"/>
            <ac:spMk id="48" creationId="{9D1EB512-173B-BEA9-1C49-3647099823AD}"/>
          </ac:spMkLst>
        </pc:spChg>
        <pc:spChg chg="mod">
          <ac:chgData name="Hänninen, Lauri" userId="b62831d1-2046-40aa-b4b7-d67e2d73afe1" providerId="ADAL" clId="{F907ACC7-C8F7-470E-B883-D49732EB787C}" dt="2024-02-20T19:14:59.743" v="6898"/>
          <ac:spMkLst>
            <pc:docMk/>
            <pc:sldMk cId="2979431457" sldId="2147483588"/>
            <ac:spMk id="49" creationId="{98BDB999-CE36-81D6-39F9-75631658FF89}"/>
          </ac:spMkLst>
        </pc:spChg>
        <pc:spChg chg="mod ord">
          <ac:chgData name="Hänninen, Lauri" userId="b62831d1-2046-40aa-b4b7-d67e2d73afe1" providerId="ADAL" clId="{F907ACC7-C8F7-470E-B883-D49732EB787C}" dt="2024-02-20T19:14:59.743" v="6899" actId="948"/>
          <ac:spMkLst>
            <pc:docMk/>
            <pc:sldMk cId="2979431457" sldId="2147483588"/>
            <ac:spMk id="50" creationId="{BA4CA0EB-846C-78CD-0FC5-4BC4385A1732}"/>
          </ac:spMkLst>
        </pc:spChg>
        <pc:spChg chg="mod">
          <ac:chgData name="Hänninen, Lauri" userId="b62831d1-2046-40aa-b4b7-d67e2d73afe1" providerId="ADAL" clId="{F907ACC7-C8F7-470E-B883-D49732EB787C}" dt="2024-02-20T19:14:59.743" v="6901"/>
          <ac:spMkLst>
            <pc:docMk/>
            <pc:sldMk cId="2979431457" sldId="2147483588"/>
            <ac:spMk id="51" creationId="{6A4480EA-0783-867A-F314-2FB3F2334C1C}"/>
          </ac:spMkLst>
        </pc:spChg>
        <pc:spChg chg="mod">
          <ac:chgData name="Hänninen, Lauri" userId="b62831d1-2046-40aa-b4b7-d67e2d73afe1" providerId="ADAL" clId="{F907ACC7-C8F7-470E-B883-D49732EB787C}" dt="2024-02-20T19:14:59.743" v="6902"/>
          <ac:spMkLst>
            <pc:docMk/>
            <pc:sldMk cId="2979431457" sldId="2147483588"/>
            <ac:spMk id="52" creationId="{7B80E7D0-3786-ECDC-3BDE-52E7D73BC0FB}"/>
          </ac:spMkLst>
        </pc:spChg>
        <pc:spChg chg="mod">
          <ac:chgData name="Hänninen, Lauri" userId="b62831d1-2046-40aa-b4b7-d67e2d73afe1" providerId="ADAL" clId="{F907ACC7-C8F7-470E-B883-D49732EB787C}" dt="2024-02-20T19:14:59.743" v="6903"/>
          <ac:spMkLst>
            <pc:docMk/>
            <pc:sldMk cId="2979431457" sldId="2147483588"/>
            <ac:spMk id="53" creationId="{549FE3A0-1B08-7B40-A513-38052FF461ED}"/>
          </ac:spMkLst>
        </pc:spChg>
        <pc:spChg chg="mod">
          <ac:chgData name="Hänninen, Lauri" userId="b62831d1-2046-40aa-b4b7-d67e2d73afe1" providerId="ADAL" clId="{F907ACC7-C8F7-470E-B883-D49732EB787C}" dt="2024-02-20T19:14:59.743" v="6904"/>
          <ac:spMkLst>
            <pc:docMk/>
            <pc:sldMk cId="2979431457" sldId="2147483588"/>
            <ac:spMk id="54" creationId="{FEFCCCDD-77E0-5253-0C42-7BD199E9B215}"/>
          </ac:spMkLst>
        </pc:spChg>
        <pc:spChg chg="mod">
          <ac:chgData name="Hänninen, Lauri" userId="b62831d1-2046-40aa-b4b7-d67e2d73afe1" providerId="ADAL" clId="{F907ACC7-C8F7-470E-B883-D49732EB787C}" dt="2024-02-20T19:14:59.743" v="6905"/>
          <ac:spMkLst>
            <pc:docMk/>
            <pc:sldMk cId="2979431457" sldId="2147483588"/>
            <ac:spMk id="55" creationId="{443C3E15-0B2D-3F9E-0829-060167045147}"/>
          </ac:spMkLst>
        </pc:spChg>
        <pc:spChg chg="mod ord">
          <ac:chgData name="Hänninen, Lauri" userId="b62831d1-2046-40aa-b4b7-d67e2d73afe1" providerId="ADAL" clId="{F907ACC7-C8F7-470E-B883-D49732EB787C}" dt="2024-02-20T19:14:59.743" v="6906" actId="948"/>
          <ac:spMkLst>
            <pc:docMk/>
            <pc:sldMk cId="2979431457" sldId="2147483588"/>
            <ac:spMk id="56" creationId="{DEB97388-511B-BB6F-8086-930880E5F1BE}"/>
          </ac:spMkLst>
        </pc:spChg>
        <pc:spChg chg="mod">
          <ac:chgData name="Hänninen, Lauri" userId="b62831d1-2046-40aa-b4b7-d67e2d73afe1" providerId="ADAL" clId="{F907ACC7-C8F7-470E-B883-D49732EB787C}" dt="2024-02-20T19:14:59.743" v="6908"/>
          <ac:spMkLst>
            <pc:docMk/>
            <pc:sldMk cId="2979431457" sldId="2147483588"/>
            <ac:spMk id="57" creationId="{A40C8CF1-2AA1-25BD-B394-4905BDD9FD53}"/>
          </ac:spMkLst>
        </pc:spChg>
        <pc:spChg chg="mod">
          <ac:chgData name="Hänninen, Lauri" userId="b62831d1-2046-40aa-b4b7-d67e2d73afe1" providerId="ADAL" clId="{F907ACC7-C8F7-470E-B883-D49732EB787C}" dt="2024-02-20T19:14:59.743" v="6909"/>
          <ac:spMkLst>
            <pc:docMk/>
            <pc:sldMk cId="2979431457" sldId="2147483588"/>
            <ac:spMk id="58" creationId="{7ADEA06C-B3C7-CB0F-9763-70EFF2C73B76}"/>
          </ac:spMkLst>
        </pc:spChg>
        <pc:spChg chg="mod">
          <ac:chgData name="Hänninen, Lauri" userId="b62831d1-2046-40aa-b4b7-d67e2d73afe1" providerId="ADAL" clId="{F907ACC7-C8F7-470E-B883-D49732EB787C}" dt="2024-02-20T19:14:59.758" v="6910"/>
          <ac:spMkLst>
            <pc:docMk/>
            <pc:sldMk cId="2979431457" sldId="2147483588"/>
            <ac:spMk id="59" creationId="{E2F34B3D-B50C-7A29-A411-FBABA2897AF0}"/>
          </ac:spMkLst>
        </pc:spChg>
        <pc:spChg chg="mod">
          <ac:chgData name="Hänninen, Lauri" userId="b62831d1-2046-40aa-b4b7-d67e2d73afe1" providerId="ADAL" clId="{F907ACC7-C8F7-470E-B883-D49732EB787C}" dt="2024-02-20T19:14:59.758" v="6911"/>
          <ac:spMkLst>
            <pc:docMk/>
            <pc:sldMk cId="2979431457" sldId="2147483588"/>
            <ac:spMk id="60" creationId="{09118D09-58EB-9742-A59F-1204757A54FB}"/>
          </ac:spMkLst>
        </pc:spChg>
        <pc:spChg chg="mod">
          <ac:chgData name="Hänninen, Lauri" userId="b62831d1-2046-40aa-b4b7-d67e2d73afe1" providerId="ADAL" clId="{F907ACC7-C8F7-470E-B883-D49732EB787C}" dt="2024-02-20T19:14:59.758" v="6912"/>
          <ac:spMkLst>
            <pc:docMk/>
            <pc:sldMk cId="2979431457" sldId="2147483588"/>
            <ac:spMk id="61" creationId="{7883F257-DF5A-B4EE-54BF-53387BE32A8D}"/>
          </ac:spMkLst>
        </pc:spChg>
        <pc:spChg chg="mod ord">
          <ac:chgData name="Hänninen, Lauri" userId="b62831d1-2046-40aa-b4b7-d67e2d73afe1" providerId="ADAL" clId="{F907ACC7-C8F7-470E-B883-D49732EB787C}" dt="2024-02-20T19:14:59.758" v="6913" actId="948"/>
          <ac:spMkLst>
            <pc:docMk/>
            <pc:sldMk cId="2979431457" sldId="2147483588"/>
            <ac:spMk id="62" creationId="{8C941C6D-E56B-D8FD-F36F-F3E2EECCF26C}"/>
          </ac:spMkLst>
        </pc:spChg>
        <pc:spChg chg="mod">
          <ac:chgData name="Hänninen, Lauri" userId="b62831d1-2046-40aa-b4b7-d67e2d73afe1" providerId="ADAL" clId="{F907ACC7-C8F7-470E-B883-D49732EB787C}" dt="2024-02-20T19:14:59.758" v="6915"/>
          <ac:spMkLst>
            <pc:docMk/>
            <pc:sldMk cId="2979431457" sldId="2147483588"/>
            <ac:spMk id="63" creationId="{F6DD9591-4703-CCB7-8215-052A8F1E50C8}"/>
          </ac:spMkLst>
        </pc:spChg>
        <pc:spChg chg="mod">
          <ac:chgData name="Hänninen, Lauri" userId="b62831d1-2046-40aa-b4b7-d67e2d73afe1" providerId="ADAL" clId="{F907ACC7-C8F7-470E-B883-D49732EB787C}" dt="2024-02-20T19:14:59.758" v="6916"/>
          <ac:spMkLst>
            <pc:docMk/>
            <pc:sldMk cId="2979431457" sldId="2147483588"/>
            <ac:spMk id="64" creationId="{34306094-62E5-4A20-4861-F13203EFFF6B}"/>
          </ac:spMkLst>
        </pc:spChg>
        <pc:spChg chg="mod">
          <ac:chgData name="Hänninen, Lauri" userId="b62831d1-2046-40aa-b4b7-d67e2d73afe1" providerId="ADAL" clId="{F907ACC7-C8F7-470E-B883-D49732EB787C}" dt="2024-02-20T19:14:59.758" v="6917"/>
          <ac:spMkLst>
            <pc:docMk/>
            <pc:sldMk cId="2979431457" sldId="2147483588"/>
            <ac:spMk id="65" creationId="{A6BECFA4-9E16-920C-6956-A69A4FC03220}"/>
          </ac:spMkLst>
        </pc:spChg>
        <pc:spChg chg="mod">
          <ac:chgData name="Hänninen, Lauri" userId="b62831d1-2046-40aa-b4b7-d67e2d73afe1" providerId="ADAL" clId="{F907ACC7-C8F7-470E-B883-D49732EB787C}" dt="2024-02-20T19:14:59.758" v="6918"/>
          <ac:spMkLst>
            <pc:docMk/>
            <pc:sldMk cId="2979431457" sldId="2147483588"/>
            <ac:spMk id="66" creationId="{5B624E33-F6A0-C26B-F725-3E2B37742EE0}"/>
          </ac:spMkLst>
        </pc:spChg>
        <pc:spChg chg="mod">
          <ac:chgData name="Hänninen, Lauri" userId="b62831d1-2046-40aa-b4b7-d67e2d73afe1" providerId="ADAL" clId="{F907ACC7-C8F7-470E-B883-D49732EB787C}" dt="2024-02-20T19:14:59.758" v="6919"/>
          <ac:spMkLst>
            <pc:docMk/>
            <pc:sldMk cId="2979431457" sldId="2147483588"/>
            <ac:spMk id="67" creationId="{C263D87A-6899-553D-DE5E-7E7FF095FACB}"/>
          </ac:spMkLst>
        </pc:spChg>
        <pc:spChg chg="mod ord">
          <ac:chgData name="Hänninen, Lauri" userId="b62831d1-2046-40aa-b4b7-d67e2d73afe1" providerId="ADAL" clId="{F907ACC7-C8F7-470E-B883-D49732EB787C}" dt="2024-02-20T19:14:59.758" v="6920" actId="948"/>
          <ac:spMkLst>
            <pc:docMk/>
            <pc:sldMk cId="2979431457" sldId="2147483588"/>
            <ac:spMk id="68" creationId="{60A6EDEB-79C2-8D39-2A76-E3D80831AA9D}"/>
          </ac:spMkLst>
        </pc:spChg>
        <pc:spChg chg="mod">
          <ac:chgData name="Hänninen, Lauri" userId="b62831d1-2046-40aa-b4b7-d67e2d73afe1" providerId="ADAL" clId="{F907ACC7-C8F7-470E-B883-D49732EB787C}" dt="2024-02-20T19:14:59.758" v="6922"/>
          <ac:spMkLst>
            <pc:docMk/>
            <pc:sldMk cId="2979431457" sldId="2147483588"/>
            <ac:spMk id="69" creationId="{520F6DB1-F836-692D-CECD-F4B7B29CB482}"/>
          </ac:spMkLst>
        </pc:spChg>
        <pc:spChg chg="mod">
          <ac:chgData name="Hänninen, Lauri" userId="b62831d1-2046-40aa-b4b7-d67e2d73afe1" providerId="ADAL" clId="{F907ACC7-C8F7-470E-B883-D49732EB787C}" dt="2024-02-20T19:14:59.758" v="6923"/>
          <ac:spMkLst>
            <pc:docMk/>
            <pc:sldMk cId="2979431457" sldId="2147483588"/>
            <ac:spMk id="70" creationId="{C2C8256C-C46C-3C97-88D1-942A72D1CBF9}"/>
          </ac:spMkLst>
        </pc:spChg>
        <pc:spChg chg="mod">
          <ac:chgData name="Hänninen, Lauri" userId="b62831d1-2046-40aa-b4b7-d67e2d73afe1" providerId="ADAL" clId="{F907ACC7-C8F7-470E-B883-D49732EB787C}" dt="2024-02-20T19:14:59.758" v="6924"/>
          <ac:spMkLst>
            <pc:docMk/>
            <pc:sldMk cId="2979431457" sldId="2147483588"/>
            <ac:spMk id="71" creationId="{9534C55F-0096-111B-010E-6DAD16F3FED8}"/>
          </ac:spMkLst>
        </pc:spChg>
        <pc:spChg chg="mod">
          <ac:chgData name="Hänninen, Lauri" userId="b62831d1-2046-40aa-b4b7-d67e2d73afe1" providerId="ADAL" clId="{F907ACC7-C8F7-470E-B883-D49732EB787C}" dt="2024-02-20T19:14:59.758" v="6925"/>
          <ac:spMkLst>
            <pc:docMk/>
            <pc:sldMk cId="2979431457" sldId="2147483588"/>
            <ac:spMk id="72" creationId="{94FCB038-9062-C84A-8F51-59989B819371}"/>
          </ac:spMkLst>
        </pc:spChg>
        <pc:spChg chg="mod">
          <ac:chgData name="Hänninen, Lauri" userId="b62831d1-2046-40aa-b4b7-d67e2d73afe1" providerId="ADAL" clId="{F907ACC7-C8F7-470E-B883-D49732EB787C}" dt="2024-02-20T19:14:59.758" v="6926"/>
          <ac:spMkLst>
            <pc:docMk/>
            <pc:sldMk cId="2979431457" sldId="2147483588"/>
            <ac:spMk id="73" creationId="{4FBC1306-2951-E284-FB2C-0534E16488E5}"/>
          </ac:spMkLst>
        </pc:spChg>
        <pc:spChg chg="mod ord">
          <ac:chgData name="Hänninen, Lauri" userId="b62831d1-2046-40aa-b4b7-d67e2d73afe1" providerId="ADAL" clId="{F907ACC7-C8F7-470E-B883-D49732EB787C}" dt="2024-02-20T19:14:59.758" v="6927" actId="948"/>
          <ac:spMkLst>
            <pc:docMk/>
            <pc:sldMk cId="2979431457" sldId="2147483588"/>
            <ac:spMk id="74" creationId="{95C366A9-6862-81B5-088F-6F57D48E9E3D}"/>
          </ac:spMkLst>
        </pc:spChg>
        <pc:spChg chg="mod">
          <ac:chgData name="Hänninen, Lauri" userId="b62831d1-2046-40aa-b4b7-d67e2d73afe1" providerId="ADAL" clId="{F907ACC7-C8F7-470E-B883-D49732EB787C}" dt="2024-02-20T19:14:59.758" v="6929"/>
          <ac:spMkLst>
            <pc:docMk/>
            <pc:sldMk cId="2979431457" sldId="2147483588"/>
            <ac:spMk id="75" creationId="{DB9B4F68-D404-BE3D-5C0A-7D527B76FD5F}"/>
          </ac:spMkLst>
        </pc:spChg>
        <pc:spChg chg="mod">
          <ac:chgData name="Hänninen, Lauri" userId="b62831d1-2046-40aa-b4b7-d67e2d73afe1" providerId="ADAL" clId="{F907ACC7-C8F7-470E-B883-D49732EB787C}" dt="2024-02-20T19:14:59.758" v="6930"/>
          <ac:spMkLst>
            <pc:docMk/>
            <pc:sldMk cId="2979431457" sldId="2147483588"/>
            <ac:spMk id="76" creationId="{0391D58F-BB98-6FE8-9975-4F9960B975FB}"/>
          </ac:spMkLst>
        </pc:spChg>
        <pc:spChg chg="mod">
          <ac:chgData name="Hänninen, Lauri" userId="b62831d1-2046-40aa-b4b7-d67e2d73afe1" providerId="ADAL" clId="{F907ACC7-C8F7-470E-B883-D49732EB787C}" dt="2024-02-20T19:14:59.758" v="6931"/>
          <ac:spMkLst>
            <pc:docMk/>
            <pc:sldMk cId="2979431457" sldId="2147483588"/>
            <ac:spMk id="77" creationId="{59F25E7F-1FFB-7230-7A20-6524FC236038}"/>
          </ac:spMkLst>
        </pc:spChg>
        <pc:spChg chg="mod">
          <ac:chgData name="Hänninen, Lauri" userId="b62831d1-2046-40aa-b4b7-d67e2d73afe1" providerId="ADAL" clId="{F907ACC7-C8F7-470E-B883-D49732EB787C}" dt="2024-02-20T19:14:59.774" v="6932"/>
          <ac:spMkLst>
            <pc:docMk/>
            <pc:sldMk cId="2979431457" sldId="2147483588"/>
            <ac:spMk id="78" creationId="{02A37BCD-B733-06C0-AB78-B5B1CC7C4A0E}"/>
          </ac:spMkLst>
        </pc:spChg>
        <pc:spChg chg="mod">
          <ac:chgData name="Hänninen, Lauri" userId="b62831d1-2046-40aa-b4b7-d67e2d73afe1" providerId="ADAL" clId="{F907ACC7-C8F7-470E-B883-D49732EB787C}" dt="2024-02-20T19:14:59.774" v="6933"/>
          <ac:spMkLst>
            <pc:docMk/>
            <pc:sldMk cId="2979431457" sldId="2147483588"/>
            <ac:spMk id="79" creationId="{529E8FB9-6374-32E5-1A95-F0A0F5760D0C}"/>
          </ac:spMkLst>
        </pc:spChg>
        <pc:spChg chg="mod ord">
          <ac:chgData name="Hänninen, Lauri" userId="b62831d1-2046-40aa-b4b7-d67e2d73afe1" providerId="ADAL" clId="{F907ACC7-C8F7-470E-B883-D49732EB787C}" dt="2024-02-20T19:14:59.774" v="6934" actId="948"/>
          <ac:spMkLst>
            <pc:docMk/>
            <pc:sldMk cId="2979431457" sldId="2147483588"/>
            <ac:spMk id="80" creationId="{BC68EAE7-8F55-2729-8CCB-2E42DFC2335F}"/>
          </ac:spMkLst>
        </pc:spChg>
        <pc:spChg chg="mod">
          <ac:chgData name="Hänninen, Lauri" userId="b62831d1-2046-40aa-b4b7-d67e2d73afe1" providerId="ADAL" clId="{F907ACC7-C8F7-470E-B883-D49732EB787C}" dt="2024-02-20T19:14:59.774" v="6936"/>
          <ac:spMkLst>
            <pc:docMk/>
            <pc:sldMk cId="2979431457" sldId="2147483588"/>
            <ac:spMk id="81" creationId="{95E316D7-F5CE-B329-E73F-8BCABCE2AB46}"/>
          </ac:spMkLst>
        </pc:spChg>
        <pc:spChg chg="mod">
          <ac:chgData name="Hänninen, Lauri" userId="b62831d1-2046-40aa-b4b7-d67e2d73afe1" providerId="ADAL" clId="{F907ACC7-C8F7-470E-B883-D49732EB787C}" dt="2024-02-20T19:14:59.774" v="6937"/>
          <ac:spMkLst>
            <pc:docMk/>
            <pc:sldMk cId="2979431457" sldId="2147483588"/>
            <ac:spMk id="82" creationId="{1762F242-28CC-C769-6395-5B36FEE9D5FD}"/>
          </ac:spMkLst>
        </pc:spChg>
        <pc:spChg chg="mod">
          <ac:chgData name="Hänninen, Lauri" userId="b62831d1-2046-40aa-b4b7-d67e2d73afe1" providerId="ADAL" clId="{F907ACC7-C8F7-470E-B883-D49732EB787C}" dt="2024-02-20T19:14:59.774" v="6938"/>
          <ac:spMkLst>
            <pc:docMk/>
            <pc:sldMk cId="2979431457" sldId="2147483588"/>
            <ac:spMk id="83" creationId="{6A517DB3-A259-ACF8-5ACD-A483AEBDD5B5}"/>
          </ac:spMkLst>
        </pc:spChg>
        <pc:spChg chg="mod">
          <ac:chgData name="Hänninen, Lauri" userId="b62831d1-2046-40aa-b4b7-d67e2d73afe1" providerId="ADAL" clId="{F907ACC7-C8F7-470E-B883-D49732EB787C}" dt="2024-02-20T19:14:59.774" v="6939"/>
          <ac:spMkLst>
            <pc:docMk/>
            <pc:sldMk cId="2979431457" sldId="2147483588"/>
            <ac:spMk id="84" creationId="{CA243931-827C-0B6C-D517-00B7512CB0F0}"/>
          </ac:spMkLst>
        </pc:spChg>
        <pc:spChg chg="mod">
          <ac:chgData name="Hänninen, Lauri" userId="b62831d1-2046-40aa-b4b7-d67e2d73afe1" providerId="ADAL" clId="{F907ACC7-C8F7-470E-B883-D49732EB787C}" dt="2024-02-20T19:14:59.774" v="6940"/>
          <ac:spMkLst>
            <pc:docMk/>
            <pc:sldMk cId="2979431457" sldId="2147483588"/>
            <ac:spMk id="85" creationId="{77475196-C8D5-E87F-1DA6-17578D3009FB}"/>
          </ac:spMkLst>
        </pc:spChg>
        <pc:spChg chg="mod ord">
          <ac:chgData name="Hänninen, Lauri" userId="b62831d1-2046-40aa-b4b7-d67e2d73afe1" providerId="ADAL" clId="{F907ACC7-C8F7-470E-B883-D49732EB787C}" dt="2024-02-20T19:14:59.774" v="6941" actId="948"/>
          <ac:spMkLst>
            <pc:docMk/>
            <pc:sldMk cId="2979431457" sldId="2147483588"/>
            <ac:spMk id="86" creationId="{8B5E83E2-378A-6D21-2DFF-90909FEA66E4}"/>
          </ac:spMkLst>
        </pc:spChg>
        <pc:spChg chg="mod ord">
          <ac:chgData name="Hänninen, Lauri" userId="b62831d1-2046-40aa-b4b7-d67e2d73afe1" providerId="ADAL" clId="{F907ACC7-C8F7-470E-B883-D49732EB787C}" dt="2024-02-20T19:14:51.819" v="6771"/>
          <ac:spMkLst>
            <pc:docMk/>
            <pc:sldMk cId="2979431457" sldId="2147483588"/>
            <ac:spMk id="87" creationId="{8BB88D57-110F-971E-4158-171CD829D728}"/>
          </ac:spMkLst>
        </pc:spChg>
        <pc:spChg chg="mod">
          <ac:chgData name="Hänninen, Lauri" userId="b62831d1-2046-40aa-b4b7-d67e2d73afe1" providerId="ADAL" clId="{F907ACC7-C8F7-470E-B883-D49732EB787C}" dt="2024-02-20T19:14:59.727" v="6887"/>
          <ac:spMkLst>
            <pc:docMk/>
            <pc:sldMk cId="2979431457" sldId="2147483588"/>
            <ac:spMk id="88" creationId="{BDF5670E-C596-ECFC-D41B-130E719A3AE2}"/>
          </ac:spMkLst>
        </pc:spChg>
        <pc:spChg chg="mod">
          <ac:chgData name="Hänninen, Lauri" userId="b62831d1-2046-40aa-b4b7-d67e2d73afe1" providerId="ADAL" clId="{F907ACC7-C8F7-470E-B883-D49732EB787C}" dt="2024-02-20T19:14:59.727" v="6893"/>
          <ac:spMkLst>
            <pc:docMk/>
            <pc:sldMk cId="2979431457" sldId="2147483588"/>
            <ac:spMk id="89" creationId="{D38B9884-44EC-93E5-2C0F-2A565EC41283}"/>
          </ac:spMkLst>
        </pc:spChg>
        <pc:spChg chg="mod">
          <ac:chgData name="Hänninen, Lauri" userId="b62831d1-2046-40aa-b4b7-d67e2d73afe1" providerId="ADAL" clId="{F907ACC7-C8F7-470E-B883-D49732EB787C}" dt="2024-02-20T19:14:59.743" v="6900"/>
          <ac:spMkLst>
            <pc:docMk/>
            <pc:sldMk cId="2979431457" sldId="2147483588"/>
            <ac:spMk id="90" creationId="{78863797-8572-5656-F97C-61776E4FAAAD}"/>
          </ac:spMkLst>
        </pc:spChg>
        <pc:spChg chg="mod">
          <ac:chgData name="Hänninen, Lauri" userId="b62831d1-2046-40aa-b4b7-d67e2d73afe1" providerId="ADAL" clId="{F907ACC7-C8F7-470E-B883-D49732EB787C}" dt="2024-02-20T19:14:59.743" v="6907"/>
          <ac:spMkLst>
            <pc:docMk/>
            <pc:sldMk cId="2979431457" sldId="2147483588"/>
            <ac:spMk id="91" creationId="{E39B64DF-EE1E-07A4-2BCF-2B36A0D0B117}"/>
          </ac:spMkLst>
        </pc:spChg>
        <pc:spChg chg="mod">
          <ac:chgData name="Hänninen, Lauri" userId="b62831d1-2046-40aa-b4b7-d67e2d73afe1" providerId="ADAL" clId="{F907ACC7-C8F7-470E-B883-D49732EB787C}" dt="2024-02-20T19:14:59.758" v="6914"/>
          <ac:spMkLst>
            <pc:docMk/>
            <pc:sldMk cId="2979431457" sldId="2147483588"/>
            <ac:spMk id="92" creationId="{4D2B1ED1-0296-2E94-9463-D7AB4904761C}"/>
          </ac:spMkLst>
        </pc:spChg>
        <pc:spChg chg="mod">
          <ac:chgData name="Hänninen, Lauri" userId="b62831d1-2046-40aa-b4b7-d67e2d73afe1" providerId="ADAL" clId="{F907ACC7-C8F7-470E-B883-D49732EB787C}" dt="2024-02-20T19:14:59.758" v="6921"/>
          <ac:spMkLst>
            <pc:docMk/>
            <pc:sldMk cId="2979431457" sldId="2147483588"/>
            <ac:spMk id="93" creationId="{4FB86E16-4977-20EA-6FF5-1CC61313937F}"/>
          </ac:spMkLst>
        </pc:spChg>
        <pc:spChg chg="mod">
          <ac:chgData name="Hänninen, Lauri" userId="b62831d1-2046-40aa-b4b7-d67e2d73afe1" providerId="ADAL" clId="{F907ACC7-C8F7-470E-B883-D49732EB787C}" dt="2024-02-20T19:14:59.758" v="6928"/>
          <ac:spMkLst>
            <pc:docMk/>
            <pc:sldMk cId="2979431457" sldId="2147483588"/>
            <ac:spMk id="94" creationId="{68AB1EB9-144C-DEDB-E0C8-FF7A25DF6427}"/>
          </ac:spMkLst>
        </pc:spChg>
        <pc:spChg chg="mod">
          <ac:chgData name="Hänninen, Lauri" userId="b62831d1-2046-40aa-b4b7-d67e2d73afe1" providerId="ADAL" clId="{F907ACC7-C8F7-470E-B883-D49732EB787C}" dt="2024-02-20T19:14:59.727" v="6888"/>
          <ac:spMkLst>
            <pc:docMk/>
            <pc:sldMk cId="2979431457" sldId="2147483588"/>
            <ac:spMk id="95" creationId="{D092AD21-9F4F-3DFD-20D2-2437D082C016}"/>
          </ac:spMkLst>
        </pc:spChg>
        <pc:spChg chg="mod">
          <ac:chgData name="Hänninen, Lauri" userId="b62831d1-2046-40aa-b4b7-d67e2d73afe1" providerId="ADAL" clId="{F907ACC7-C8F7-470E-B883-D49732EB787C}" dt="2024-02-20T19:14:59.727" v="6889"/>
          <ac:spMkLst>
            <pc:docMk/>
            <pc:sldMk cId="2979431457" sldId="2147483588"/>
            <ac:spMk id="96" creationId="{65A5F7AD-DDD2-7CAA-532A-2E2A3507F048}"/>
          </ac:spMkLst>
        </pc:spChg>
        <pc:spChg chg="mod">
          <ac:chgData name="Hänninen, Lauri" userId="b62831d1-2046-40aa-b4b7-d67e2d73afe1" providerId="ADAL" clId="{F907ACC7-C8F7-470E-B883-D49732EB787C}" dt="2024-02-20T19:14:59.727" v="6890"/>
          <ac:spMkLst>
            <pc:docMk/>
            <pc:sldMk cId="2979431457" sldId="2147483588"/>
            <ac:spMk id="97" creationId="{0A6CF955-9201-909D-9DA8-B29C814A9082}"/>
          </ac:spMkLst>
        </pc:spChg>
        <pc:spChg chg="mod">
          <ac:chgData name="Hänninen, Lauri" userId="b62831d1-2046-40aa-b4b7-d67e2d73afe1" providerId="ADAL" clId="{F907ACC7-C8F7-470E-B883-D49732EB787C}" dt="2024-02-20T19:14:59.774" v="6935"/>
          <ac:spMkLst>
            <pc:docMk/>
            <pc:sldMk cId="2979431457" sldId="2147483588"/>
            <ac:spMk id="98" creationId="{24173BF2-CAF8-4D1D-BE61-65C3A91DFAEA}"/>
          </ac:spMkLst>
        </pc:spChg>
        <pc:spChg chg="mod">
          <ac:chgData name="Hänninen, Lauri" userId="b62831d1-2046-40aa-b4b7-d67e2d73afe1" providerId="ADAL" clId="{F907ACC7-C8F7-470E-B883-D49732EB787C}" dt="2024-02-20T19:14:59.774" v="6942"/>
          <ac:spMkLst>
            <pc:docMk/>
            <pc:sldMk cId="2979431457" sldId="2147483588"/>
            <ac:spMk id="99" creationId="{15B2BE1D-7D8D-F3FB-893C-8643964E3964}"/>
          </ac:spMkLst>
        </pc:spChg>
        <pc:spChg chg="mod">
          <ac:chgData name="Hänninen, Lauri" userId="b62831d1-2046-40aa-b4b7-d67e2d73afe1" providerId="ADAL" clId="{F907ACC7-C8F7-470E-B883-D49732EB787C}" dt="2024-02-20T19:14:59.774" v="6943"/>
          <ac:spMkLst>
            <pc:docMk/>
            <pc:sldMk cId="2979431457" sldId="2147483588"/>
            <ac:spMk id="100" creationId="{361F27D7-FB91-4C86-5FC6-7FEF9706C429}"/>
          </ac:spMkLst>
        </pc:spChg>
        <pc:spChg chg="mod ord">
          <ac:chgData name="Hänninen, Lauri" userId="b62831d1-2046-40aa-b4b7-d67e2d73afe1" providerId="ADAL" clId="{F907ACC7-C8F7-470E-B883-D49732EB787C}" dt="2024-02-20T19:14:51.835" v="6786"/>
          <ac:spMkLst>
            <pc:docMk/>
            <pc:sldMk cId="2979431457" sldId="2147483588"/>
            <ac:spMk id="101" creationId="{40CAAA70-F467-0126-1C4B-55F8FF0D3C11}"/>
          </ac:spMkLst>
        </pc:spChg>
        <pc:spChg chg="mod ord">
          <ac:chgData name="Hänninen, Lauri" userId="b62831d1-2046-40aa-b4b7-d67e2d73afe1" providerId="ADAL" clId="{F907ACC7-C8F7-470E-B883-D49732EB787C}" dt="2024-02-20T19:14:51.835" v="6788"/>
          <ac:spMkLst>
            <pc:docMk/>
            <pc:sldMk cId="2979431457" sldId="2147483588"/>
            <ac:spMk id="102" creationId="{A4F5A3E5-16B2-EF77-F554-DF0EBF9AEF3B}"/>
          </ac:spMkLst>
        </pc:spChg>
        <pc:spChg chg="mod ord">
          <ac:chgData name="Hänninen, Lauri" userId="b62831d1-2046-40aa-b4b7-d67e2d73afe1" providerId="ADAL" clId="{F907ACC7-C8F7-470E-B883-D49732EB787C}" dt="2024-02-20T19:14:51.835" v="6790"/>
          <ac:spMkLst>
            <pc:docMk/>
            <pc:sldMk cId="2979431457" sldId="2147483588"/>
            <ac:spMk id="103" creationId="{43FCD4BF-8D6E-C310-ADD5-80F92CEFAC3A}"/>
          </ac:spMkLst>
        </pc:spChg>
        <pc:spChg chg="mod ord">
          <ac:chgData name="Hänninen, Lauri" userId="b62831d1-2046-40aa-b4b7-d67e2d73afe1" providerId="ADAL" clId="{F907ACC7-C8F7-470E-B883-D49732EB787C}" dt="2024-02-20T19:14:51.835" v="6792"/>
          <ac:spMkLst>
            <pc:docMk/>
            <pc:sldMk cId="2979431457" sldId="2147483588"/>
            <ac:spMk id="104" creationId="{0C98A232-B4DD-E488-7027-CDEB1A73A5EA}"/>
          </ac:spMkLst>
        </pc:spChg>
        <pc:spChg chg="mod ord">
          <ac:chgData name="Hänninen, Lauri" userId="b62831d1-2046-40aa-b4b7-d67e2d73afe1" providerId="ADAL" clId="{F907ACC7-C8F7-470E-B883-D49732EB787C}" dt="2024-02-20T19:14:51.835" v="6794"/>
          <ac:spMkLst>
            <pc:docMk/>
            <pc:sldMk cId="2979431457" sldId="2147483588"/>
            <ac:spMk id="105" creationId="{E36E6096-926D-AB85-19AD-9CA74FB3A36A}"/>
          </ac:spMkLst>
        </pc:spChg>
        <pc:spChg chg="mod ord">
          <ac:chgData name="Hänninen, Lauri" userId="b62831d1-2046-40aa-b4b7-d67e2d73afe1" providerId="ADAL" clId="{F907ACC7-C8F7-470E-B883-D49732EB787C}" dt="2024-02-20T19:14:51.835" v="6796"/>
          <ac:spMkLst>
            <pc:docMk/>
            <pc:sldMk cId="2979431457" sldId="2147483588"/>
            <ac:spMk id="106" creationId="{4A377679-16C9-B091-3292-41B0BEB8FAFA}"/>
          </ac:spMkLst>
        </pc:spChg>
        <pc:spChg chg="mod ord">
          <ac:chgData name="Hänninen, Lauri" userId="b62831d1-2046-40aa-b4b7-d67e2d73afe1" providerId="ADAL" clId="{F907ACC7-C8F7-470E-B883-D49732EB787C}" dt="2024-02-20T19:14:51.835" v="6798"/>
          <ac:spMkLst>
            <pc:docMk/>
            <pc:sldMk cId="2979431457" sldId="2147483588"/>
            <ac:spMk id="107" creationId="{9D58C52E-06D1-2D2E-0FFE-57463B8BE400}"/>
          </ac:spMkLst>
        </pc:spChg>
        <pc:spChg chg="mod ord">
          <ac:chgData name="Hänninen, Lauri" userId="b62831d1-2046-40aa-b4b7-d67e2d73afe1" providerId="ADAL" clId="{F907ACC7-C8F7-470E-B883-D49732EB787C}" dt="2024-02-20T19:14:51.835" v="6800"/>
          <ac:spMkLst>
            <pc:docMk/>
            <pc:sldMk cId="2979431457" sldId="2147483588"/>
            <ac:spMk id="108" creationId="{728407F1-35EC-F8C6-DC9A-207C5C61E3DB}"/>
          </ac:spMkLst>
        </pc:spChg>
        <pc:spChg chg="mod ord">
          <ac:chgData name="Hänninen, Lauri" userId="b62831d1-2046-40aa-b4b7-d67e2d73afe1" providerId="ADAL" clId="{F907ACC7-C8F7-470E-B883-D49732EB787C}" dt="2024-02-22T08:46:45.769" v="33320" actId="20577"/>
          <ac:spMkLst>
            <pc:docMk/>
            <pc:sldMk cId="2979431457" sldId="2147483588"/>
            <ac:spMk id="109" creationId="{FEFDDD24-76A9-BDB0-95FB-5D787D61631F}"/>
          </ac:spMkLst>
        </pc:spChg>
        <pc:spChg chg="mod ord">
          <ac:chgData name="Hänninen, Lauri" userId="b62831d1-2046-40aa-b4b7-d67e2d73afe1" providerId="ADAL" clId="{F907ACC7-C8F7-470E-B883-D49732EB787C}" dt="2024-02-20T19:14:51.835" v="6804"/>
          <ac:spMkLst>
            <pc:docMk/>
            <pc:sldMk cId="2979431457" sldId="2147483588"/>
            <ac:spMk id="117" creationId="{0E6AD056-2923-FF2A-C0FD-8AB2C6E62685}"/>
          </ac:spMkLst>
        </pc:spChg>
        <pc:spChg chg="mod ord">
          <ac:chgData name="Hänninen, Lauri" userId="b62831d1-2046-40aa-b4b7-d67e2d73afe1" providerId="ADAL" clId="{F907ACC7-C8F7-470E-B883-D49732EB787C}" dt="2024-02-20T19:14:51.788" v="6711"/>
          <ac:spMkLst>
            <pc:docMk/>
            <pc:sldMk cId="2979431457" sldId="2147483588"/>
            <ac:spMk id="135" creationId="{C97869E3-07F7-5993-2E1B-19E50CDF5416}"/>
          </ac:spMkLst>
        </pc:spChg>
        <pc:spChg chg="mod ord">
          <ac:chgData name="Hänninen, Lauri" userId="b62831d1-2046-40aa-b4b7-d67e2d73afe1" providerId="ADAL" clId="{F907ACC7-C8F7-470E-B883-D49732EB787C}" dt="2024-02-20T19:14:51.788" v="6713"/>
          <ac:spMkLst>
            <pc:docMk/>
            <pc:sldMk cId="2979431457" sldId="2147483588"/>
            <ac:spMk id="136" creationId="{546C8BF3-5EF2-CD7B-8628-7AF12989B90C}"/>
          </ac:spMkLst>
        </pc:spChg>
        <pc:spChg chg="mod ord">
          <ac:chgData name="Hänninen, Lauri" userId="b62831d1-2046-40aa-b4b7-d67e2d73afe1" providerId="ADAL" clId="{F907ACC7-C8F7-470E-B883-D49732EB787C}" dt="2024-02-20T19:14:51.788" v="6709"/>
          <ac:spMkLst>
            <pc:docMk/>
            <pc:sldMk cId="2979431457" sldId="2147483588"/>
            <ac:spMk id="137" creationId="{45130CD5-D8D8-5878-900A-6BB420CCC4CC}"/>
          </ac:spMkLst>
        </pc:spChg>
        <pc:spChg chg="del">
          <ac:chgData name="Hänninen, Lauri" userId="b62831d1-2046-40aa-b4b7-d67e2d73afe1" providerId="ADAL" clId="{F907ACC7-C8F7-470E-B883-D49732EB787C}" dt="2024-02-20T19:14:25.700" v="6061" actId="478"/>
          <ac:spMkLst>
            <pc:docMk/>
            <pc:sldMk cId="2979431457" sldId="2147483588"/>
            <ac:spMk id="139" creationId="{5E2D2D1E-D39B-5442-C30D-984C78C3E4AF}"/>
          </ac:spMkLst>
        </pc:spChg>
        <pc:graphicFrameChg chg="add mod replST">
          <ac:chgData name="Hänninen, Lauri" userId="b62831d1-2046-40aa-b4b7-d67e2d73afe1" providerId="ADAL" clId="{F907ACC7-C8F7-470E-B883-D49732EB787C}" dt="2024-02-20T19:14:51.765" v="6681"/>
          <ac:graphicFrameMkLst>
            <pc:docMk/>
            <pc:sldMk cId="2979431457" sldId="2147483588"/>
            <ac:graphicFrameMk id="39" creationId="{6FC673D6-7CB6-966F-89F6-E5BF6C344652}"/>
          </ac:graphicFrameMkLst>
        </pc:graphicFrameChg>
        <pc:graphicFrameChg chg="mod">
          <ac:chgData name="Hänninen, Lauri" userId="b62831d1-2046-40aa-b4b7-d67e2d73afe1" providerId="ADAL" clId="{F907ACC7-C8F7-470E-B883-D49732EB787C}" dt="2024-02-20T19:14:59.789" v="6947"/>
          <ac:graphicFrameMkLst>
            <pc:docMk/>
            <pc:sldMk cId="2979431457" sldId="2147483588"/>
            <ac:graphicFrameMk id="114" creationId="{E2D98394-C65C-A290-5DA9-6A9FB98B123B}"/>
          </ac:graphicFrameMkLst>
        </pc:graphicFrameChg>
        <pc:graphicFrameChg chg="del mod">
          <ac:chgData name="Hänninen, Lauri" userId="b62831d1-2046-40aa-b4b7-d67e2d73afe1" providerId="ADAL" clId="{F907ACC7-C8F7-470E-B883-D49732EB787C}" dt="2024-02-20T19:14:51.634" v="6598"/>
          <ac:graphicFrameMkLst>
            <pc:docMk/>
            <pc:sldMk cId="2979431457" sldId="2147483588"/>
            <ac:graphicFrameMk id="133" creationId="{824AB010-12A7-0CEC-C40D-4DF781BD58DE}"/>
          </ac:graphicFrameMkLst>
        </pc:graphicFrameChg>
        <pc:graphicFrameChg chg="mod">
          <ac:chgData name="Hänninen, Lauri" userId="b62831d1-2046-40aa-b4b7-d67e2d73afe1" providerId="ADAL" clId="{F907ACC7-C8F7-470E-B883-D49732EB787C}" dt="2024-02-20T19:14:51.765" v="6695"/>
          <ac:graphicFrameMkLst>
            <pc:docMk/>
            <pc:sldMk cId="2979431457" sldId="2147483588"/>
            <ac:graphicFrameMk id="138" creationId="{95E2E17C-E0EA-EA59-F2E1-A487F4120636}"/>
          </ac:graphicFrameMkLst>
        </pc:graphicFrameChg>
        <pc:cxnChg chg="mod ord">
          <ac:chgData name="Hänninen, Lauri" userId="b62831d1-2046-40aa-b4b7-d67e2d73afe1" providerId="ADAL" clId="{F907ACC7-C8F7-470E-B883-D49732EB787C}" dt="2024-02-20T19:14:59.711" v="6886" actId="16931"/>
          <ac:cxnSpMkLst>
            <pc:docMk/>
            <pc:sldMk cId="2979431457" sldId="2147483588"/>
            <ac:cxnSpMk id="23" creationId="{002FE36B-C6D1-798C-E926-2E8B3CFB926D}"/>
          </ac:cxnSpMkLst>
        </pc:cxnChg>
        <pc:cxnChg chg="mod ord">
          <ac:chgData name="Hänninen, Lauri" userId="b62831d1-2046-40aa-b4b7-d67e2d73afe1" providerId="ADAL" clId="{F907ACC7-C8F7-470E-B883-D49732EB787C}" dt="2024-02-20T19:14:51.788" v="6715"/>
          <ac:cxnSpMkLst>
            <pc:docMk/>
            <pc:sldMk cId="2979431457" sldId="2147483588"/>
            <ac:cxnSpMk id="41" creationId="{FEDE17CA-9AEE-5D92-9727-EE284FD05B14}"/>
          </ac:cxnSpMkLst>
        </pc:cxnChg>
        <pc:cxnChg chg="mod ord">
          <ac:chgData name="Hänninen, Lauri" userId="b62831d1-2046-40aa-b4b7-d67e2d73afe1" providerId="ADAL" clId="{F907ACC7-C8F7-470E-B883-D49732EB787C}" dt="2024-02-20T19:14:51.788" v="6717"/>
          <ac:cxnSpMkLst>
            <pc:docMk/>
            <pc:sldMk cId="2979431457" sldId="2147483588"/>
            <ac:cxnSpMk id="42" creationId="{A195E535-01DA-1C6E-2AAF-F66406850CEF}"/>
          </ac:cxnSpMkLst>
        </pc:cxnChg>
      </pc:sldChg>
      <pc:sldChg chg="add">
        <pc:chgData name="Hänninen, Lauri" userId="b62831d1-2046-40aa-b4b7-d67e2d73afe1" providerId="ADAL" clId="{F907ACC7-C8F7-470E-B883-D49732EB787C}" dt="2024-02-21T12:09:21.201" v="18674"/>
        <pc:sldMkLst>
          <pc:docMk/>
          <pc:sldMk cId="37108236" sldId="2147483589"/>
        </pc:sldMkLst>
      </pc:sldChg>
      <pc:sldChg chg="del ord">
        <pc:chgData name="Hänninen, Lauri" userId="b62831d1-2046-40aa-b4b7-d67e2d73afe1" providerId="ADAL" clId="{F907ACC7-C8F7-470E-B883-D49732EB787C}" dt="2024-02-20T18:52:57.475" v="5008" actId="2696"/>
        <pc:sldMkLst>
          <pc:docMk/>
          <pc:sldMk cId="1965579048" sldId="2147483589"/>
        </pc:sldMkLst>
      </pc:sldChg>
      <pc:sldChg chg="addSp delSp modSp add del mod ord">
        <pc:chgData name="Hänninen, Lauri" userId="b62831d1-2046-40aa-b4b7-d67e2d73afe1" providerId="ADAL" clId="{F907ACC7-C8F7-470E-B883-D49732EB787C}" dt="2024-02-21T12:09:19.081" v="18673" actId="2696"/>
        <pc:sldMkLst>
          <pc:docMk/>
          <pc:sldMk cId="3374324863" sldId="2147483589"/>
        </pc:sldMkLst>
        <pc:spChg chg="mod ord">
          <ac:chgData name="Hänninen, Lauri" userId="b62831d1-2046-40aa-b4b7-d67e2d73afe1" providerId="ADAL" clId="{F907ACC7-C8F7-470E-B883-D49732EB787C}" dt="2024-02-20T19:58:45.503" v="8034"/>
          <ac:spMkLst>
            <pc:docMk/>
            <pc:sldMk cId="3374324863" sldId="2147483589"/>
            <ac:spMk id="2" creationId="{551A0760-76B6-B0DA-473F-4F9BCE390A30}"/>
          </ac:spMkLst>
        </pc:spChg>
        <pc:spChg chg="mod ord">
          <ac:chgData name="Hänninen, Lauri" userId="b62831d1-2046-40aa-b4b7-d67e2d73afe1" providerId="ADAL" clId="{F907ACC7-C8F7-470E-B883-D49732EB787C}" dt="2024-02-20T19:58:45.503" v="8036"/>
          <ac:spMkLst>
            <pc:docMk/>
            <pc:sldMk cId="3374324863" sldId="2147483589"/>
            <ac:spMk id="3" creationId="{18FF0807-DAF8-B85E-04CD-C4F80F1262E3}"/>
          </ac:spMkLst>
        </pc:spChg>
        <pc:spChg chg="mod ord">
          <ac:chgData name="Hänninen, Lauri" userId="b62831d1-2046-40aa-b4b7-d67e2d73afe1" providerId="ADAL" clId="{F907ACC7-C8F7-470E-B883-D49732EB787C}" dt="2024-02-20T19:58:45.503" v="8038"/>
          <ac:spMkLst>
            <pc:docMk/>
            <pc:sldMk cId="3374324863" sldId="2147483589"/>
            <ac:spMk id="4" creationId="{D621C63B-DC3F-9AB3-994A-92E4128610F0}"/>
          </ac:spMkLst>
        </pc:spChg>
        <pc:spChg chg="del">
          <ac:chgData name="Hänninen, Lauri" userId="b62831d1-2046-40aa-b4b7-d67e2d73afe1" providerId="ADAL" clId="{F907ACC7-C8F7-470E-B883-D49732EB787C}" dt="2024-02-20T18:53:31.587" v="5011" actId="478"/>
          <ac:spMkLst>
            <pc:docMk/>
            <pc:sldMk cId="3374324863" sldId="2147483589"/>
            <ac:spMk id="35" creationId="{8C92BD9B-73D1-8D85-9F2D-AADFAA079265}"/>
          </ac:spMkLst>
        </pc:spChg>
        <pc:spChg chg="add del mod">
          <ac:chgData name="Hänninen, Lauri" userId="b62831d1-2046-40aa-b4b7-d67e2d73afe1" providerId="ADAL" clId="{F907ACC7-C8F7-470E-B883-D49732EB787C}" dt="2024-02-21T11:47:34.928" v="17955" actId="478"/>
          <ac:spMkLst>
            <pc:docMk/>
            <pc:sldMk cId="3374324863" sldId="2147483589"/>
            <ac:spMk id="35" creationId="{A759DDE9-2FAC-05EB-4A56-C8FD95473C56}"/>
          </ac:spMkLst>
        </pc:spChg>
        <pc:spChg chg="mod">
          <ac:chgData name="Hänninen, Lauri" userId="b62831d1-2046-40aa-b4b7-d67e2d73afe1" providerId="ADAL" clId="{F907ACC7-C8F7-470E-B883-D49732EB787C}" dt="2024-02-21T11:55:00.922" v="18232" actId="1038"/>
          <ac:spMkLst>
            <pc:docMk/>
            <pc:sldMk cId="3374324863" sldId="2147483589"/>
            <ac:spMk id="36" creationId="{D61DA5B7-3218-2006-BA12-39C23695AE6E}"/>
          </ac:spMkLst>
        </pc:spChg>
        <pc:spChg chg="mod">
          <ac:chgData name="Hänninen, Lauri" userId="b62831d1-2046-40aa-b4b7-d67e2d73afe1" providerId="ADAL" clId="{F907ACC7-C8F7-470E-B883-D49732EB787C}" dt="2024-02-21T11:55:00.922" v="18232" actId="1038"/>
          <ac:spMkLst>
            <pc:docMk/>
            <pc:sldMk cId="3374324863" sldId="2147483589"/>
            <ac:spMk id="37" creationId="{8E283BF3-2C39-DC24-4287-CF0B25C9BE82}"/>
          </ac:spMkLst>
        </pc:spChg>
        <pc:spChg chg="mod">
          <ac:chgData name="Hänninen, Lauri" userId="b62831d1-2046-40aa-b4b7-d67e2d73afe1" providerId="ADAL" clId="{F907ACC7-C8F7-470E-B883-D49732EB787C}" dt="2024-02-21T11:55:00.922" v="18232" actId="1038"/>
          <ac:spMkLst>
            <pc:docMk/>
            <pc:sldMk cId="3374324863" sldId="2147483589"/>
            <ac:spMk id="38" creationId="{362CFE38-9C88-04CB-2061-1AA2B33F408A}"/>
          </ac:spMkLst>
        </pc:spChg>
        <pc:spChg chg="mod">
          <ac:chgData name="Hänninen, Lauri" userId="b62831d1-2046-40aa-b4b7-d67e2d73afe1" providerId="ADAL" clId="{F907ACC7-C8F7-470E-B883-D49732EB787C}" dt="2024-02-21T11:55:00.922" v="18232" actId="1038"/>
          <ac:spMkLst>
            <pc:docMk/>
            <pc:sldMk cId="3374324863" sldId="2147483589"/>
            <ac:spMk id="39" creationId="{FD94B9CD-D997-EEC3-00B8-8727A5185CDA}"/>
          </ac:spMkLst>
        </pc:spChg>
        <pc:spChg chg="mod">
          <ac:chgData name="Hänninen, Lauri" userId="b62831d1-2046-40aa-b4b7-d67e2d73afe1" providerId="ADAL" clId="{F907ACC7-C8F7-470E-B883-D49732EB787C}" dt="2024-02-21T11:55:00.922" v="18232" actId="1038"/>
          <ac:spMkLst>
            <pc:docMk/>
            <pc:sldMk cId="3374324863" sldId="2147483589"/>
            <ac:spMk id="40" creationId="{8D4EC94F-4DC7-5DA9-CCE1-39088A252928}"/>
          </ac:spMkLst>
        </pc:spChg>
        <pc:spChg chg="mod">
          <ac:chgData name="Hänninen, Lauri" userId="b62831d1-2046-40aa-b4b7-d67e2d73afe1" providerId="ADAL" clId="{F907ACC7-C8F7-470E-B883-D49732EB787C}" dt="2024-02-21T11:55:00.922" v="18232" actId="1038"/>
          <ac:spMkLst>
            <pc:docMk/>
            <pc:sldMk cId="3374324863" sldId="2147483589"/>
            <ac:spMk id="41" creationId="{5211DB1D-88AE-1545-6628-483916C1B2A7}"/>
          </ac:spMkLst>
        </pc:spChg>
        <pc:spChg chg="mod ord">
          <ac:chgData name="Hänninen, Lauri" userId="b62831d1-2046-40aa-b4b7-d67e2d73afe1" providerId="ADAL" clId="{F907ACC7-C8F7-470E-B883-D49732EB787C}" dt="2024-02-21T11:56:18.782" v="18265"/>
          <ac:spMkLst>
            <pc:docMk/>
            <pc:sldMk cId="3374324863" sldId="2147483589"/>
            <ac:spMk id="43" creationId="{C957FCD6-79E3-C503-C92D-93BCABC39AEF}"/>
          </ac:spMkLst>
        </pc:spChg>
        <pc:spChg chg="mod ord">
          <ac:chgData name="Hänninen, Lauri" userId="b62831d1-2046-40aa-b4b7-d67e2d73afe1" providerId="ADAL" clId="{F907ACC7-C8F7-470E-B883-D49732EB787C}" dt="2024-02-21T11:56:16.448" v="18263"/>
          <ac:spMkLst>
            <pc:docMk/>
            <pc:sldMk cId="3374324863" sldId="2147483589"/>
            <ac:spMk id="44" creationId="{B4021556-3B5F-F041-F26E-357CD42B7499}"/>
          </ac:spMkLst>
        </pc:spChg>
        <pc:spChg chg="mod ord">
          <ac:chgData name="Hänninen, Lauri" userId="b62831d1-2046-40aa-b4b7-d67e2d73afe1" providerId="ADAL" clId="{F907ACC7-C8F7-470E-B883-D49732EB787C}" dt="2024-02-21T11:56:58.892" v="18271"/>
          <ac:spMkLst>
            <pc:docMk/>
            <pc:sldMk cId="3374324863" sldId="2147483589"/>
            <ac:spMk id="45" creationId="{4657879F-3BC5-6301-1001-5ED1AEE61328}"/>
          </ac:spMkLst>
        </pc:spChg>
        <pc:spChg chg="mod ord">
          <ac:chgData name="Hänninen, Lauri" userId="b62831d1-2046-40aa-b4b7-d67e2d73afe1" providerId="ADAL" clId="{F907ACC7-C8F7-470E-B883-D49732EB787C}" dt="2024-02-21T11:56:14.115" v="18261"/>
          <ac:spMkLst>
            <pc:docMk/>
            <pc:sldMk cId="3374324863" sldId="2147483589"/>
            <ac:spMk id="46" creationId="{614FD35D-7F32-2D3E-8845-D20014094152}"/>
          </ac:spMkLst>
        </pc:spChg>
        <pc:spChg chg="mod ord">
          <ac:chgData name="Hänninen, Lauri" userId="b62831d1-2046-40aa-b4b7-d67e2d73afe1" providerId="ADAL" clId="{F907ACC7-C8F7-470E-B883-D49732EB787C}" dt="2024-02-21T11:56:56.474" v="18269"/>
          <ac:spMkLst>
            <pc:docMk/>
            <pc:sldMk cId="3374324863" sldId="2147483589"/>
            <ac:spMk id="47" creationId="{C5496458-A953-531B-05A4-F5CC4D44D01C}"/>
          </ac:spMkLst>
        </pc:spChg>
        <pc:spChg chg="mod ord">
          <ac:chgData name="Hänninen, Lauri" userId="b62831d1-2046-40aa-b4b7-d67e2d73afe1" providerId="ADAL" clId="{F907ACC7-C8F7-470E-B883-D49732EB787C}" dt="2024-02-21T11:55:49.692" v="18250" actId="108"/>
          <ac:spMkLst>
            <pc:docMk/>
            <pc:sldMk cId="3374324863" sldId="2147483589"/>
            <ac:spMk id="48" creationId="{1C518AA0-C19D-6212-65A7-FC61A2F217EC}"/>
          </ac:spMkLst>
        </pc:spChg>
        <pc:spChg chg="mod ord">
          <ac:chgData name="Hänninen, Lauri" userId="b62831d1-2046-40aa-b4b7-d67e2d73afe1" providerId="ADAL" clId="{F907ACC7-C8F7-470E-B883-D49732EB787C}" dt="2024-02-21T11:56:54.267" v="18267"/>
          <ac:spMkLst>
            <pc:docMk/>
            <pc:sldMk cId="3374324863" sldId="2147483589"/>
            <ac:spMk id="49" creationId="{DC3A8934-BC51-C1BD-9E37-3C01E30634A5}"/>
          </ac:spMkLst>
        </pc:spChg>
        <pc:spChg chg="mod ord">
          <ac:chgData name="Hänninen, Lauri" userId="b62831d1-2046-40aa-b4b7-d67e2d73afe1" providerId="ADAL" clId="{F907ACC7-C8F7-470E-B883-D49732EB787C}" dt="2024-02-21T11:55:49.692" v="18250" actId="108"/>
          <ac:spMkLst>
            <pc:docMk/>
            <pc:sldMk cId="3374324863" sldId="2147483589"/>
            <ac:spMk id="50" creationId="{60EC45AC-D23A-6613-D408-4FB57FC0255E}"/>
          </ac:spMkLst>
        </pc:spChg>
        <pc:spChg chg="mod ord">
          <ac:chgData name="Hänninen, Lauri" userId="b62831d1-2046-40aa-b4b7-d67e2d73afe1" providerId="ADAL" clId="{F907ACC7-C8F7-470E-B883-D49732EB787C}" dt="2024-02-21T11:56:05.434" v="18257" actId="20577"/>
          <ac:spMkLst>
            <pc:docMk/>
            <pc:sldMk cId="3374324863" sldId="2147483589"/>
            <ac:spMk id="51" creationId="{D19B4448-A9F7-C160-12D9-32F81019B264}"/>
          </ac:spMkLst>
        </pc:spChg>
        <pc:spChg chg="mod ord">
          <ac:chgData name="Hänninen, Lauri" userId="b62831d1-2046-40aa-b4b7-d67e2d73afe1" providerId="ADAL" clId="{F907ACC7-C8F7-470E-B883-D49732EB787C}" dt="2024-02-21T11:56:11.755" v="18259"/>
          <ac:spMkLst>
            <pc:docMk/>
            <pc:sldMk cId="3374324863" sldId="2147483589"/>
            <ac:spMk id="52" creationId="{97BE96F8-3E43-2E36-1C30-67F8C8DB1988}"/>
          </ac:spMkLst>
        </pc:spChg>
        <pc:spChg chg="mod ord">
          <ac:chgData name="Hänninen, Lauri" userId="b62831d1-2046-40aa-b4b7-d67e2d73afe1" providerId="ADAL" clId="{F907ACC7-C8F7-470E-B883-D49732EB787C}" dt="2024-02-21T11:57:06.323" v="18275"/>
          <ac:spMkLst>
            <pc:docMk/>
            <pc:sldMk cId="3374324863" sldId="2147483589"/>
            <ac:spMk id="53" creationId="{A6F89742-99AE-4CE2-861F-863085C718ED}"/>
          </ac:spMkLst>
        </pc:spChg>
        <pc:spChg chg="del mod ord">
          <ac:chgData name="Hänninen, Lauri" userId="b62831d1-2046-40aa-b4b7-d67e2d73afe1" providerId="ADAL" clId="{F907ACC7-C8F7-470E-B883-D49732EB787C}" dt="2024-02-21T11:53:30.436" v="18135" actId="478"/>
          <ac:spMkLst>
            <pc:docMk/>
            <pc:sldMk cId="3374324863" sldId="2147483589"/>
            <ac:spMk id="54" creationId="{6A334C28-7DD3-C39B-5E47-1D11EB646991}"/>
          </ac:spMkLst>
        </pc:spChg>
        <pc:spChg chg="add del mod ord">
          <ac:chgData name="Hänninen, Lauri" userId="b62831d1-2046-40aa-b4b7-d67e2d73afe1" providerId="ADAL" clId="{F907ACC7-C8F7-470E-B883-D49732EB787C}" dt="2024-02-20T19:58:47.755" v="8125" actId="478"/>
          <ac:spMkLst>
            <pc:docMk/>
            <pc:sldMk cId="3374324863" sldId="2147483589"/>
            <ac:spMk id="55" creationId="{7A076BE8-FE56-8E70-8D03-B0386CA97F99}"/>
          </ac:spMkLst>
        </pc:spChg>
        <pc:spChg chg="add mod">
          <ac:chgData name="Hänninen, Lauri" userId="b62831d1-2046-40aa-b4b7-d67e2d73afe1" providerId="ADAL" clId="{F907ACC7-C8F7-470E-B883-D49732EB787C}" dt="2024-02-21T11:55:11.111" v="18234" actId="14100"/>
          <ac:spMkLst>
            <pc:docMk/>
            <pc:sldMk cId="3374324863" sldId="2147483589"/>
            <ac:spMk id="55" creationId="{980D850A-7E88-D35F-31CA-D226144DF1CF}"/>
          </ac:spMkLst>
        </pc:spChg>
        <pc:spChg chg="del mod">
          <ac:chgData name="Hänninen, Lauri" userId="b62831d1-2046-40aa-b4b7-d67e2d73afe1" providerId="ADAL" clId="{F907ACC7-C8F7-470E-B883-D49732EB787C}" dt="2024-02-21T11:53:30.436" v="18135" actId="478"/>
          <ac:spMkLst>
            <pc:docMk/>
            <pc:sldMk cId="3374324863" sldId="2147483589"/>
            <ac:spMk id="61" creationId="{8DB294AC-22DE-386B-6722-4144688F46BD}"/>
          </ac:spMkLst>
        </pc:spChg>
        <pc:spChg chg="del mod">
          <ac:chgData name="Hänninen, Lauri" userId="b62831d1-2046-40aa-b4b7-d67e2d73afe1" providerId="ADAL" clId="{F907ACC7-C8F7-470E-B883-D49732EB787C}" dt="2024-02-21T11:53:30.436" v="18135" actId="478"/>
          <ac:spMkLst>
            <pc:docMk/>
            <pc:sldMk cId="3374324863" sldId="2147483589"/>
            <ac:spMk id="65" creationId="{B59E81D2-0D6A-48FB-29AF-FD102A0DE538}"/>
          </ac:spMkLst>
        </pc:spChg>
        <pc:spChg chg="del mod">
          <ac:chgData name="Hänninen, Lauri" userId="b62831d1-2046-40aa-b4b7-d67e2d73afe1" providerId="ADAL" clId="{F907ACC7-C8F7-470E-B883-D49732EB787C}" dt="2024-02-21T11:53:30.436" v="18135" actId="478"/>
          <ac:spMkLst>
            <pc:docMk/>
            <pc:sldMk cId="3374324863" sldId="2147483589"/>
            <ac:spMk id="69" creationId="{9B4041E9-BCF7-EA90-9210-44D98B29F5F5}"/>
          </ac:spMkLst>
        </pc:spChg>
        <pc:spChg chg="del mod">
          <ac:chgData name="Hänninen, Lauri" userId="b62831d1-2046-40aa-b4b7-d67e2d73afe1" providerId="ADAL" clId="{F907ACC7-C8F7-470E-B883-D49732EB787C}" dt="2024-02-21T11:53:30.436" v="18135" actId="478"/>
          <ac:spMkLst>
            <pc:docMk/>
            <pc:sldMk cId="3374324863" sldId="2147483589"/>
            <ac:spMk id="73" creationId="{A9DBD651-9288-46F7-24E4-DE8BD6A52799}"/>
          </ac:spMkLst>
        </pc:spChg>
        <pc:spChg chg="del mod">
          <ac:chgData name="Hänninen, Lauri" userId="b62831d1-2046-40aa-b4b7-d67e2d73afe1" providerId="ADAL" clId="{F907ACC7-C8F7-470E-B883-D49732EB787C}" dt="2024-02-21T11:53:30.436" v="18135" actId="478"/>
          <ac:spMkLst>
            <pc:docMk/>
            <pc:sldMk cId="3374324863" sldId="2147483589"/>
            <ac:spMk id="77" creationId="{402A7104-AD4B-1986-4C7B-D4D316213C46}"/>
          </ac:spMkLst>
        </pc:spChg>
        <pc:spChg chg="del mod">
          <ac:chgData name="Hänninen, Lauri" userId="b62831d1-2046-40aa-b4b7-d67e2d73afe1" providerId="ADAL" clId="{F907ACC7-C8F7-470E-B883-D49732EB787C}" dt="2024-02-21T11:53:30.436" v="18135" actId="478"/>
          <ac:spMkLst>
            <pc:docMk/>
            <pc:sldMk cId="3374324863" sldId="2147483589"/>
            <ac:spMk id="81" creationId="{5FB79907-9AF7-A9B4-8E2F-D8E60E9285ED}"/>
          </ac:spMkLst>
        </pc:spChg>
        <pc:spChg chg="mod ord">
          <ac:chgData name="Hänninen, Lauri" userId="b62831d1-2046-40aa-b4b7-d67e2d73afe1" providerId="ADAL" clId="{F907ACC7-C8F7-470E-B883-D49732EB787C}" dt="2024-02-21T11:57:01.727" v="18273"/>
          <ac:spMkLst>
            <pc:docMk/>
            <pc:sldMk cId="3374324863" sldId="2147483589"/>
            <ac:spMk id="85" creationId="{60BECB16-66DC-ED92-B420-482909299A4E}"/>
          </ac:spMkLst>
        </pc:spChg>
        <pc:spChg chg="mod">
          <ac:chgData name="Hänninen, Lauri" userId="b62831d1-2046-40aa-b4b7-d67e2d73afe1" providerId="ADAL" clId="{F907ACC7-C8F7-470E-B883-D49732EB787C}" dt="2024-02-21T11:55:00.922" v="18232" actId="1038"/>
          <ac:spMkLst>
            <pc:docMk/>
            <pc:sldMk cId="3374324863" sldId="2147483589"/>
            <ac:spMk id="87" creationId="{F68BE898-0494-067D-F821-332DE537965B}"/>
          </ac:spMkLst>
        </pc:spChg>
        <pc:spChg chg="mod">
          <ac:chgData name="Hänninen, Lauri" userId="b62831d1-2046-40aa-b4b7-d67e2d73afe1" providerId="ADAL" clId="{F907ACC7-C8F7-470E-B883-D49732EB787C}" dt="2024-02-21T11:55:00.922" v="18232" actId="1038"/>
          <ac:spMkLst>
            <pc:docMk/>
            <pc:sldMk cId="3374324863" sldId="2147483589"/>
            <ac:spMk id="89" creationId="{482C91E3-F9E7-D9F5-B694-93AF59602BEE}"/>
          </ac:spMkLst>
        </pc:spChg>
        <pc:spChg chg="add mod">
          <ac:chgData name="Hänninen, Lauri" userId="b62831d1-2046-40aa-b4b7-d67e2d73afe1" providerId="ADAL" clId="{F907ACC7-C8F7-470E-B883-D49732EB787C}" dt="2024-02-21T11:53:35.518" v="18165" actId="1036"/>
          <ac:spMkLst>
            <pc:docMk/>
            <pc:sldMk cId="3374324863" sldId="2147483589"/>
            <ac:spMk id="90" creationId="{8C6A5DA1-B253-18BC-E9D2-AA684B850A95}"/>
          </ac:spMkLst>
        </pc:spChg>
        <pc:spChg chg="add mod">
          <ac:chgData name="Hänninen, Lauri" userId="b62831d1-2046-40aa-b4b7-d67e2d73afe1" providerId="ADAL" clId="{F907ACC7-C8F7-470E-B883-D49732EB787C}" dt="2024-02-21T11:53:35.518" v="18165" actId="1036"/>
          <ac:spMkLst>
            <pc:docMk/>
            <pc:sldMk cId="3374324863" sldId="2147483589"/>
            <ac:spMk id="91" creationId="{632E6A5E-CA5D-3C04-1A88-9742A59A57DD}"/>
          </ac:spMkLst>
        </pc:spChg>
        <pc:spChg chg="add del mod">
          <ac:chgData name="Hänninen, Lauri" userId="b62831d1-2046-40aa-b4b7-d67e2d73afe1" providerId="ADAL" clId="{F907ACC7-C8F7-470E-B883-D49732EB787C}" dt="2024-02-20T19:58:49.481" v="8126" actId="478"/>
          <ac:spMkLst>
            <pc:docMk/>
            <pc:sldMk cId="3374324863" sldId="2147483589"/>
            <ac:spMk id="91" creationId="{E59D33A2-E812-BF77-E898-FA29732A7797}"/>
          </ac:spMkLst>
        </pc:spChg>
        <pc:spChg chg="add del mod ord">
          <ac:chgData name="Hänninen, Lauri" userId="b62831d1-2046-40aa-b4b7-d67e2d73afe1" providerId="ADAL" clId="{F907ACC7-C8F7-470E-B883-D49732EB787C}" dt="2024-02-20T19:58:45.503" v="8032"/>
          <ac:spMkLst>
            <pc:docMk/>
            <pc:sldMk cId="3374324863" sldId="2147483589"/>
            <ac:spMk id="93" creationId="{8C41F1AD-D67F-FFAF-4C71-C09949D141B4}"/>
          </ac:spMkLst>
        </pc:spChg>
        <pc:spChg chg="add mod">
          <ac:chgData name="Hänninen, Lauri" userId="b62831d1-2046-40aa-b4b7-d67e2d73afe1" providerId="ADAL" clId="{F907ACC7-C8F7-470E-B883-D49732EB787C}" dt="2024-02-21T11:53:35.518" v="18165" actId="1036"/>
          <ac:spMkLst>
            <pc:docMk/>
            <pc:sldMk cId="3374324863" sldId="2147483589"/>
            <ac:spMk id="94" creationId="{782B41A5-5BEA-D729-E326-E2C677A33C29}"/>
          </ac:spMkLst>
        </pc:spChg>
        <pc:spChg chg="add mod">
          <ac:chgData name="Hänninen, Lauri" userId="b62831d1-2046-40aa-b4b7-d67e2d73afe1" providerId="ADAL" clId="{F907ACC7-C8F7-470E-B883-D49732EB787C}" dt="2024-02-21T11:53:35.518" v="18165" actId="1036"/>
          <ac:spMkLst>
            <pc:docMk/>
            <pc:sldMk cId="3374324863" sldId="2147483589"/>
            <ac:spMk id="95" creationId="{D222769B-2183-E511-7680-E6857BCCE7B4}"/>
          </ac:spMkLst>
        </pc:spChg>
        <pc:spChg chg="add mod">
          <ac:chgData name="Hänninen, Lauri" userId="b62831d1-2046-40aa-b4b7-d67e2d73afe1" providerId="ADAL" clId="{F907ACC7-C8F7-470E-B883-D49732EB787C}" dt="2024-02-21T11:53:35.518" v="18165" actId="1036"/>
          <ac:spMkLst>
            <pc:docMk/>
            <pc:sldMk cId="3374324863" sldId="2147483589"/>
            <ac:spMk id="96" creationId="{1DC7EBE9-E676-C37F-D850-53B7BCC8020D}"/>
          </ac:spMkLst>
        </pc:spChg>
        <pc:spChg chg="add mod">
          <ac:chgData name="Hänninen, Lauri" userId="b62831d1-2046-40aa-b4b7-d67e2d73afe1" providerId="ADAL" clId="{F907ACC7-C8F7-470E-B883-D49732EB787C}" dt="2024-02-21T11:53:35.518" v="18165" actId="1036"/>
          <ac:spMkLst>
            <pc:docMk/>
            <pc:sldMk cId="3374324863" sldId="2147483589"/>
            <ac:spMk id="97" creationId="{7600430B-B98D-78CA-EFB3-2B8367B1E80E}"/>
          </ac:spMkLst>
        </pc:spChg>
        <pc:spChg chg="mod">
          <ac:chgData name="Hänninen, Lauri" userId="b62831d1-2046-40aa-b4b7-d67e2d73afe1" providerId="ADAL" clId="{F907ACC7-C8F7-470E-B883-D49732EB787C}" dt="2024-02-21T11:53:54.170" v="18166"/>
          <ac:spMkLst>
            <pc:docMk/>
            <pc:sldMk cId="3374324863" sldId="2147483589"/>
            <ac:spMk id="105" creationId="{0177C8F6-6A04-8C29-E9A6-82F07032570C}"/>
          </ac:spMkLst>
        </pc:spChg>
        <pc:spChg chg="mod">
          <ac:chgData name="Hänninen, Lauri" userId="b62831d1-2046-40aa-b4b7-d67e2d73afe1" providerId="ADAL" clId="{F907ACC7-C8F7-470E-B883-D49732EB787C}" dt="2024-02-21T11:53:54.170" v="18166"/>
          <ac:spMkLst>
            <pc:docMk/>
            <pc:sldMk cId="3374324863" sldId="2147483589"/>
            <ac:spMk id="106" creationId="{B7D12CEA-7967-6555-70AD-32F4049B3C8E}"/>
          </ac:spMkLst>
        </pc:spChg>
        <pc:spChg chg="mod">
          <ac:chgData name="Hänninen, Lauri" userId="b62831d1-2046-40aa-b4b7-d67e2d73afe1" providerId="ADAL" clId="{F907ACC7-C8F7-470E-B883-D49732EB787C}" dt="2024-02-21T11:53:54.170" v="18166"/>
          <ac:spMkLst>
            <pc:docMk/>
            <pc:sldMk cId="3374324863" sldId="2147483589"/>
            <ac:spMk id="108" creationId="{297F7E83-F9BD-B5D4-9274-59A5E78D281C}"/>
          </ac:spMkLst>
        </pc:spChg>
        <pc:spChg chg="mod">
          <ac:chgData name="Hänninen, Lauri" userId="b62831d1-2046-40aa-b4b7-d67e2d73afe1" providerId="ADAL" clId="{F907ACC7-C8F7-470E-B883-D49732EB787C}" dt="2024-02-21T11:53:54.170" v="18166"/>
          <ac:spMkLst>
            <pc:docMk/>
            <pc:sldMk cId="3374324863" sldId="2147483589"/>
            <ac:spMk id="109" creationId="{4ADE8A03-0639-EF28-2CFA-C56C6B0464FB}"/>
          </ac:spMkLst>
        </pc:spChg>
        <pc:spChg chg="mod">
          <ac:chgData name="Hänninen, Lauri" userId="b62831d1-2046-40aa-b4b7-d67e2d73afe1" providerId="ADAL" clId="{F907ACC7-C8F7-470E-B883-D49732EB787C}" dt="2024-02-21T11:53:54.170" v="18166"/>
          <ac:spMkLst>
            <pc:docMk/>
            <pc:sldMk cId="3374324863" sldId="2147483589"/>
            <ac:spMk id="111" creationId="{7E4725B8-7C49-99F8-3B45-1530466B6810}"/>
          </ac:spMkLst>
        </pc:spChg>
        <pc:spChg chg="mod">
          <ac:chgData name="Hänninen, Lauri" userId="b62831d1-2046-40aa-b4b7-d67e2d73afe1" providerId="ADAL" clId="{F907ACC7-C8F7-470E-B883-D49732EB787C}" dt="2024-02-21T11:53:54.170" v="18166"/>
          <ac:spMkLst>
            <pc:docMk/>
            <pc:sldMk cId="3374324863" sldId="2147483589"/>
            <ac:spMk id="112" creationId="{542BBF4C-7392-4383-C8AD-4FBC761FAC43}"/>
          </ac:spMkLst>
        </pc:spChg>
        <pc:spChg chg="mod">
          <ac:chgData name="Hänninen, Lauri" userId="b62831d1-2046-40aa-b4b7-d67e2d73afe1" providerId="ADAL" clId="{F907ACC7-C8F7-470E-B883-D49732EB787C}" dt="2024-02-21T11:53:54.170" v="18166"/>
          <ac:spMkLst>
            <pc:docMk/>
            <pc:sldMk cId="3374324863" sldId="2147483589"/>
            <ac:spMk id="114" creationId="{23001924-5043-6147-53BF-812A4027E5DE}"/>
          </ac:spMkLst>
        </pc:spChg>
        <pc:spChg chg="mod">
          <ac:chgData name="Hänninen, Lauri" userId="b62831d1-2046-40aa-b4b7-d67e2d73afe1" providerId="ADAL" clId="{F907ACC7-C8F7-470E-B883-D49732EB787C}" dt="2024-02-21T11:53:54.170" v="18166"/>
          <ac:spMkLst>
            <pc:docMk/>
            <pc:sldMk cId="3374324863" sldId="2147483589"/>
            <ac:spMk id="115" creationId="{76CCF66A-A03A-4186-7F02-331A6E208C56}"/>
          </ac:spMkLst>
        </pc:spChg>
        <pc:spChg chg="mod">
          <ac:chgData name="Hänninen, Lauri" userId="b62831d1-2046-40aa-b4b7-d67e2d73afe1" providerId="ADAL" clId="{F907ACC7-C8F7-470E-B883-D49732EB787C}" dt="2024-02-21T11:53:54.170" v="18166"/>
          <ac:spMkLst>
            <pc:docMk/>
            <pc:sldMk cId="3374324863" sldId="2147483589"/>
            <ac:spMk id="117" creationId="{AFDADDA0-C7DA-2CD1-8B74-26C857AE0808}"/>
          </ac:spMkLst>
        </pc:spChg>
        <pc:spChg chg="mod">
          <ac:chgData name="Hänninen, Lauri" userId="b62831d1-2046-40aa-b4b7-d67e2d73afe1" providerId="ADAL" clId="{F907ACC7-C8F7-470E-B883-D49732EB787C}" dt="2024-02-21T11:53:54.170" v="18166"/>
          <ac:spMkLst>
            <pc:docMk/>
            <pc:sldMk cId="3374324863" sldId="2147483589"/>
            <ac:spMk id="118" creationId="{EB361047-9E68-7209-FC9D-93ECD8A84D87}"/>
          </ac:spMkLst>
        </pc:spChg>
        <pc:spChg chg="mod">
          <ac:chgData name="Hänninen, Lauri" userId="b62831d1-2046-40aa-b4b7-d67e2d73afe1" providerId="ADAL" clId="{F907ACC7-C8F7-470E-B883-D49732EB787C}" dt="2024-02-21T11:53:54.170" v="18166"/>
          <ac:spMkLst>
            <pc:docMk/>
            <pc:sldMk cId="3374324863" sldId="2147483589"/>
            <ac:spMk id="120" creationId="{A779D01E-CE51-903D-E42F-CD88B442D310}"/>
          </ac:spMkLst>
        </pc:spChg>
        <pc:spChg chg="mod">
          <ac:chgData name="Hänninen, Lauri" userId="b62831d1-2046-40aa-b4b7-d67e2d73afe1" providerId="ADAL" clId="{F907ACC7-C8F7-470E-B883-D49732EB787C}" dt="2024-02-21T11:53:54.170" v="18166"/>
          <ac:spMkLst>
            <pc:docMk/>
            <pc:sldMk cId="3374324863" sldId="2147483589"/>
            <ac:spMk id="121" creationId="{3EC5F8D7-5EA8-8581-C96A-87CE78D81FF2}"/>
          </ac:spMkLst>
        </pc:spChg>
        <pc:grpChg chg="del mod ord">
          <ac:chgData name="Hänninen, Lauri" userId="b62831d1-2046-40aa-b4b7-d67e2d73afe1" providerId="ADAL" clId="{F907ACC7-C8F7-470E-B883-D49732EB787C}" dt="2024-02-21T11:53:30.436" v="18135" actId="478"/>
          <ac:grpSpMkLst>
            <pc:docMk/>
            <pc:sldMk cId="3374324863" sldId="2147483589"/>
            <ac:grpSpMk id="5" creationId="{1B55A782-041C-AE3A-AC66-F9DAD6D94A74}"/>
          </ac:grpSpMkLst>
        </pc:grpChg>
        <pc:grpChg chg="del mod ord">
          <ac:chgData name="Hänninen, Lauri" userId="b62831d1-2046-40aa-b4b7-d67e2d73afe1" providerId="ADAL" clId="{F907ACC7-C8F7-470E-B883-D49732EB787C}" dt="2024-02-21T11:53:30.436" v="18135" actId="478"/>
          <ac:grpSpMkLst>
            <pc:docMk/>
            <pc:sldMk cId="3374324863" sldId="2147483589"/>
            <ac:grpSpMk id="10" creationId="{DF070748-8061-4F68-511C-64E87F53EDC5}"/>
          </ac:grpSpMkLst>
        </pc:grpChg>
        <pc:grpChg chg="del mod ord">
          <ac:chgData name="Hänninen, Lauri" userId="b62831d1-2046-40aa-b4b7-d67e2d73afe1" providerId="ADAL" clId="{F907ACC7-C8F7-470E-B883-D49732EB787C}" dt="2024-02-21T11:53:30.436" v="18135" actId="478"/>
          <ac:grpSpMkLst>
            <pc:docMk/>
            <pc:sldMk cId="3374324863" sldId="2147483589"/>
            <ac:grpSpMk id="15" creationId="{515AD43C-76CA-659D-7D48-DD8E52944C4A}"/>
          </ac:grpSpMkLst>
        </pc:grpChg>
        <pc:grpChg chg="del mod ord">
          <ac:chgData name="Hänninen, Lauri" userId="b62831d1-2046-40aa-b4b7-d67e2d73afe1" providerId="ADAL" clId="{F907ACC7-C8F7-470E-B883-D49732EB787C}" dt="2024-02-21T11:53:30.436" v="18135" actId="478"/>
          <ac:grpSpMkLst>
            <pc:docMk/>
            <pc:sldMk cId="3374324863" sldId="2147483589"/>
            <ac:grpSpMk id="20" creationId="{E43961EA-C270-25BD-561A-6E90B7FDD259}"/>
          </ac:grpSpMkLst>
        </pc:grpChg>
        <pc:grpChg chg="del mod ord">
          <ac:chgData name="Hänninen, Lauri" userId="b62831d1-2046-40aa-b4b7-d67e2d73afe1" providerId="ADAL" clId="{F907ACC7-C8F7-470E-B883-D49732EB787C}" dt="2024-02-21T11:53:30.436" v="18135" actId="478"/>
          <ac:grpSpMkLst>
            <pc:docMk/>
            <pc:sldMk cId="3374324863" sldId="2147483589"/>
            <ac:grpSpMk id="25" creationId="{3A5A3D48-A1D0-E73F-E652-F3C0B9B41702}"/>
          </ac:grpSpMkLst>
        </pc:grpChg>
        <pc:grpChg chg="del mod ord">
          <ac:chgData name="Hänninen, Lauri" userId="b62831d1-2046-40aa-b4b7-d67e2d73afe1" providerId="ADAL" clId="{F907ACC7-C8F7-470E-B883-D49732EB787C}" dt="2024-02-21T11:53:30.436" v="18135" actId="478"/>
          <ac:grpSpMkLst>
            <pc:docMk/>
            <pc:sldMk cId="3374324863" sldId="2147483589"/>
            <ac:grpSpMk id="30" creationId="{88E54CD8-3078-6FE8-595F-8652660AF3A7}"/>
          </ac:grpSpMkLst>
        </pc:grpChg>
        <pc:grpChg chg="del mod ord">
          <ac:chgData name="Hänninen, Lauri" userId="b62831d1-2046-40aa-b4b7-d67e2d73afe1" providerId="ADAL" clId="{F907ACC7-C8F7-470E-B883-D49732EB787C}" dt="2024-02-21T11:53:30.436" v="18135" actId="478"/>
          <ac:grpSpMkLst>
            <pc:docMk/>
            <pc:sldMk cId="3374324863" sldId="2147483589"/>
            <ac:grpSpMk id="62" creationId="{523F5903-2B0C-3E04-A9F9-079ADBABCFDA}"/>
          </ac:grpSpMkLst>
        </pc:grpChg>
        <pc:grpChg chg="del mod ord">
          <ac:chgData name="Hänninen, Lauri" userId="b62831d1-2046-40aa-b4b7-d67e2d73afe1" providerId="ADAL" clId="{F907ACC7-C8F7-470E-B883-D49732EB787C}" dt="2024-02-21T11:53:30.436" v="18135" actId="478"/>
          <ac:grpSpMkLst>
            <pc:docMk/>
            <pc:sldMk cId="3374324863" sldId="2147483589"/>
            <ac:grpSpMk id="66" creationId="{B9F4D4E3-52E5-B3C9-FEAC-A482CF73F06E}"/>
          </ac:grpSpMkLst>
        </pc:grpChg>
        <pc:grpChg chg="del mod ord">
          <ac:chgData name="Hänninen, Lauri" userId="b62831d1-2046-40aa-b4b7-d67e2d73afe1" providerId="ADAL" clId="{F907ACC7-C8F7-470E-B883-D49732EB787C}" dt="2024-02-21T11:53:30.436" v="18135" actId="478"/>
          <ac:grpSpMkLst>
            <pc:docMk/>
            <pc:sldMk cId="3374324863" sldId="2147483589"/>
            <ac:grpSpMk id="70" creationId="{A5BF3DCA-56CF-D4B8-F6F8-C64E87A7153B}"/>
          </ac:grpSpMkLst>
        </pc:grpChg>
        <pc:grpChg chg="del mod ord">
          <ac:chgData name="Hänninen, Lauri" userId="b62831d1-2046-40aa-b4b7-d67e2d73afe1" providerId="ADAL" clId="{F907ACC7-C8F7-470E-B883-D49732EB787C}" dt="2024-02-21T11:53:30.436" v="18135" actId="478"/>
          <ac:grpSpMkLst>
            <pc:docMk/>
            <pc:sldMk cId="3374324863" sldId="2147483589"/>
            <ac:grpSpMk id="74" creationId="{A350AAB7-4457-7DF5-1160-4B4FD2C9BEFC}"/>
          </ac:grpSpMkLst>
        </pc:grpChg>
        <pc:grpChg chg="del mod ord">
          <ac:chgData name="Hänninen, Lauri" userId="b62831d1-2046-40aa-b4b7-d67e2d73afe1" providerId="ADAL" clId="{F907ACC7-C8F7-470E-B883-D49732EB787C}" dt="2024-02-21T11:53:30.436" v="18135" actId="478"/>
          <ac:grpSpMkLst>
            <pc:docMk/>
            <pc:sldMk cId="3374324863" sldId="2147483589"/>
            <ac:grpSpMk id="78" creationId="{7B284C85-AAC2-88D4-314B-151F2FA07273}"/>
          </ac:grpSpMkLst>
        </pc:grpChg>
        <pc:grpChg chg="del mod ord">
          <ac:chgData name="Hänninen, Lauri" userId="b62831d1-2046-40aa-b4b7-d67e2d73afe1" providerId="ADAL" clId="{F907ACC7-C8F7-470E-B883-D49732EB787C}" dt="2024-02-21T11:53:30.436" v="18135" actId="478"/>
          <ac:grpSpMkLst>
            <pc:docMk/>
            <pc:sldMk cId="3374324863" sldId="2147483589"/>
            <ac:grpSpMk id="82" creationId="{08B53722-1ABE-267E-3BF8-623F8D4A16FD}"/>
          </ac:grpSpMkLst>
        </pc:grpChg>
        <pc:grpChg chg="add mod">
          <ac:chgData name="Hänninen, Lauri" userId="b62831d1-2046-40aa-b4b7-d67e2d73afe1" providerId="ADAL" clId="{F907ACC7-C8F7-470E-B883-D49732EB787C}" dt="2024-02-21T11:53:57.353" v="18196" actId="1036"/>
          <ac:grpSpMkLst>
            <pc:docMk/>
            <pc:sldMk cId="3374324863" sldId="2147483589"/>
            <ac:grpSpMk id="104" creationId="{1C855EBC-DFB6-AB57-EA86-A6F83FA54737}"/>
          </ac:grpSpMkLst>
        </pc:grpChg>
        <pc:grpChg chg="add mod">
          <ac:chgData name="Hänninen, Lauri" userId="b62831d1-2046-40aa-b4b7-d67e2d73afe1" providerId="ADAL" clId="{F907ACC7-C8F7-470E-B883-D49732EB787C}" dt="2024-02-21T11:53:57.353" v="18196" actId="1036"/>
          <ac:grpSpMkLst>
            <pc:docMk/>
            <pc:sldMk cId="3374324863" sldId="2147483589"/>
            <ac:grpSpMk id="107" creationId="{D4F196BC-CED7-B2F9-B93A-1D56A8C9F6A7}"/>
          </ac:grpSpMkLst>
        </pc:grpChg>
        <pc:grpChg chg="add mod">
          <ac:chgData name="Hänninen, Lauri" userId="b62831d1-2046-40aa-b4b7-d67e2d73afe1" providerId="ADAL" clId="{F907ACC7-C8F7-470E-B883-D49732EB787C}" dt="2024-02-21T11:53:57.353" v="18196" actId="1036"/>
          <ac:grpSpMkLst>
            <pc:docMk/>
            <pc:sldMk cId="3374324863" sldId="2147483589"/>
            <ac:grpSpMk id="110" creationId="{B5E48479-EE07-AA52-D12B-058B63D4F86B}"/>
          </ac:grpSpMkLst>
        </pc:grpChg>
        <pc:grpChg chg="add mod">
          <ac:chgData name="Hänninen, Lauri" userId="b62831d1-2046-40aa-b4b7-d67e2d73afe1" providerId="ADAL" clId="{F907ACC7-C8F7-470E-B883-D49732EB787C}" dt="2024-02-21T11:53:57.353" v="18196" actId="1036"/>
          <ac:grpSpMkLst>
            <pc:docMk/>
            <pc:sldMk cId="3374324863" sldId="2147483589"/>
            <ac:grpSpMk id="113" creationId="{D5A30BE6-BA32-0BA8-7B20-4BC51C1FBBCE}"/>
          </ac:grpSpMkLst>
        </pc:grpChg>
        <pc:grpChg chg="add mod">
          <ac:chgData name="Hänninen, Lauri" userId="b62831d1-2046-40aa-b4b7-d67e2d73afe1" providerId="ADAL" clId="{F907ACC7-C8F7-470E-B883-D49732EB787C}" dt="2024-02-21T11:53:57.353" v="18196" actId="1036"/>
          <ac:grpSpMkLst>
            <pc:docMk/>
            <pc:sldMk cId="3374324863" sldId="2147483589"/>
            <ac:grpSpMk id="116" creationId="{E547E646-8692-AEBA-B480-A749EAEC0188}"/>
          </ac:grpSpMkLst>
        </pc:grpChg>
        <pc:grpChg chg="add mod">
          <ac:chgData name="Hänninen, Lauri" userId="b62831d1-2046-40aa-b4b7-d67e2d73afe1" providerId="ADAL" clId="{F907ACC7-C8F7-470E-B883-D49732EB787C}" dt="2024-02-21T11:53:57.353" v="18196" actId="1036"/>
          <ac:grpSpMkLst>
            <pc:docMk/>
            <pc:sldMk cId="3374324863" sldId="2147483589"/>
            <ac:grpSpMk id="119" creationId="{E6E4F935-F492-614E-ACD0-5B062AC4F969}"/>
          </ac:grpSpMkLst>
        </pc:grpChg>
        <pc:graphicFrameChg chg="mod">
          <ac:chgData name="Hänninen, Lauri" userId="b62831d1-2046-40aa-b4b7-d67e2d73afe1" providerId="ADAL" clId="{F907ACC7-C8F7-470E-B883-D49732EB787C}" dt="2024-02-20T19:58:45.534" v="8124"/>
          <ac:graphicFrameMkLst>
            <pc:docMk/>
            <pc:sldMk cId="3374324863" sldId="2147483589"/>
            <ac:graphicFrameMk id="92" creationId="{701DF10B-BD15-1CC5-106E-42D7102AC1E6}"/>
          </ac:graphicFrameMkLst>
        </pc:graphicFrameChg>
        <pc:picChg chg="del mod ord">
          <ac:chgData name="Hänninen, Lauri" userId="b62831d1-2046-40aa-b4b7-d67e2d73afe1" providerId="ADAL" clId="{F907ACC7-C8F7-470E-B883-D49732EB787C}" dt="2024-02-21T11:53:30.436" v="18135" actId="478"/>
          <ac:picMkLst>
            <pc:docMk/>
            <pc:sldMk cId="3374324863" sldId="2147483589"/>
            <ac:picMk id="42" creationId="{8900669D-5DAB-7575-B0D2-813A9B44C386}"/>
          </ac:picMkLst>
        </pc:picChg>
        <pc:picChg chg="del mod ord">
          <ac:chgData name="Hänninen, Lauri" userId="b62831d1-2046-40aa-b4b7-d67e2d73afe1" providerId="ADAL" clId="{F907ACC7-C8F7-470E-B883-D49732EB787C}" dt="2024-02-21T11:53:30.436" v="18135" actId="478"/>
          <ac:picMkLst>
            <pc:docMk/>
            <pc:sldMk cId="3374324863" sldId="2147483589"/>
            <ac:picMk id="56" creationId="{503CB6B6-ED7B-B4BB-0270-D06A246482AE}"/>
          </ac:picMkLst>
        </pc:picChg>
        <pc:picChg chg="del mod ord">
          <ac:chgData name="Hänninen, Lauri" userId="b62831d1-2046-40aa-b4b7-d67e2d73afe1" providerId="ADAL" clId="{F907ACC7-C8F7-470E-B883-D49732EB787C}" dt="2024-02-21T11:53:30.436" v="18135" actId="478"/>
          <ac:picMkLst>
            <pc:docMk/>
            <pc:sldMk cId="3374324863" sldId="2147483589"/>
            <ac:picMk id="57" creationId="{E8E8C979-C48D-623F-7E35-5E2AA35A846F}"/>
          </ac:picMkLst>
        </pc:picChg>
        <pc:picChg chg="del mod ord">
          <ac:chgData name="Hänninen, Lauri" userId="b62831d1-2046-40aa-b4b7-d67e2d73afe1" providerId="ADAL" clId="{F907ACC7-C8F7-470E-B883-D49732EB787C}" dt="2024-02-21T11:53:30.436" v="18135" actId="478"/>
          <ac:picMkLst>
            <pc:docMk/>
            <pc:sldMk cId="3374324863" sldId="2147483589"/>
            <ac:picMk id="58" creationId="{DB59A5BB-09E6-8AA3-94C4-73558B9078E3}"/>
          </ac:picMkLst>
        </pc:picChg>
        <pc:picChg chg="del mod ord">
          <ac:chgData name="Hänninen, Lauri" userId="b62831d1-2046-40aa-b4b7-d67e2d73afe1" providerId="ADAL" clId="{F907ACC7-C8F7-470E-B883-D49732EB787C}" dt="2024-02-21T11:53:30.436" v="18135" actId="478"/>
          <ac:picMkLst>
            <pc:docMk/>
            <pc:sldMk cId="3374324863" sldId="2147483589"/>
            <ac:picMk id="59" creationId="{8D8A09E3-AA2B-640F-04A0-D541AC3D641C}"/>
          </ac:picMkLst>
        </pc:picChg>
        <pc:picChg chg="del mod ord">
          <ac:chgData name="Hänninen, Lauri" userId="b62831d1-2046-40aa-b4b7-d67e2d73afe1" providerId="ADAL" clId="{F907ACC7-C8F7-470E-B883-D49732EB787C}" dt="2024-02-21T11:53:30.436" v="18135" actId="478"/>
          <ac:picMkLst>
            <pc:docMk/>
            <pc:sldMk cId="3374324863" sldId="2147483589"/>
            <ac:picMk id="60" creationId="{521EF66C-BF51-36E1-F233-650E47A74F66}"/>
          </ac:picMkLst>
        </pc:picChg>
        <pc:picChg chg="add mod">
          <ac:chgData name="Hänninen, Lauri" userId="b62831d1-2046-40aa-b4b7-d67e2d73afe1" providerId="ADAL" clId="{F907ACC7-C8F7-470E-B883-D49732EB787C}" dt="2024-02-21T11:53:35.518" v="18165" actId="1036"/>
          <ac:picMkLst>
            <pc:docMk/>
            <pc:sldMk cId="3374324863" sldId="2147483589"/>
            <ac:picMk id="98" creationId="{51FF0E1B-526C-222A-5C04-F15070B0F3FD}"/>
          </ac:picMkLst>
        </pc:picChg>
        <pc:picChg chg="add mod">
          <ac:chgData name="Hänninen, Lauri" userId="b62831d1-2046-40aa-b4b7-d67e2d73afe1" providerId="ADAL" clId="{F907ACC7-C8F7-470E-B883-D49732EB787C}" dt="2024-02-21T11:53:35.518" v="18165" actId="1036"/>
          <ac:picMkLst>
            <pc:docMk/>
            <pc:sldMk cId="3374324863" sldId="2147483589"/>
            <ac:picMk id="99" creationId="{D70191E7-96C1-C76B-4DBB-2F19B78BE10F}"/>
          </ac:picMkLst>
        </pc:picChg>
        <pc:picChg chg="add mod">
          <ac:chgData name="Hänninen, Lauri" userId="b62831d1-2046-40aa-b4b7-d67e2d73afe1" providerId="ADAL" clId="{F907ACC7-C8F7-470E-B883-D49732EB787C}" dt="2024-02-21T11:53:35.518" v="18165" actId="1036"/>
          <ac:picMkLst>
            <pc:docMk/>
            <pc:sldMk cId="3374324863" sldId="2147483589"/>
            <ac:picMk id="100" creationId="{490FF30F-6CAD-1D53-D7FC-8C637BB5FE63}"/>
          </ac:picMkLst>
        </pc:picChg>
        <pc:picChg chg="add mod">
          <ac:chgData name="Hänninen, Lauri" userId="b62831d1-2046-40aa-b4b7-d67e2d73afe1" providerId="ADAL" clId="{F907ACC7-C8F7-470E-B883-D49732EB787C}" dt="2024-02-21T11:53:35.518" v="18165" actId="1036"/>
          <ac:picMkLst>
            <pc:docMk/>
            <pc:sldMk cId="3374324863" sldId="2147483589"/>
            <ac:picMk id="101" creationId="{19072012-5B9D-3E18-40AE-FD5B3DDB3A51}"/>
          </ac:picMkLst>
        </pc:picChg>
        <pc:picChg chg="add mod">
          <ac:chgData name="Hänninen, Lauri" userId="b62831d1-2046-40aa-b4b7-d67e2d73afe1" providerId="ADAL" clId="{F907ACC7-C8F7-470E-B883-D49732EB787C}" dt="2024-02-21T11:53:35.518" v="18165" actId="1036"/>
          <ac:picMkLst>
            <pc:docMk/>
            <pc:sldMk cId="3374324863" sldId="2147483589"/>
            <ac:picMk id="102" creationId="{1591E3BA-D797-3DC8-4DF7-7F32AB97D3C7}"/>
          </ac:picMkLst>
        </pc:picChg>
        <pc:picChg chg="add mod">
          <ac:chgData name="Hänninen, Lauri" userId="b62831d1-2046-40aa-b4b7-d67e2d73afe1" providerId="ADAL" clId="{F907ACC7-C8F7-470E-B883-D49732EB787C}" dt="2024-02-21T11:53:35.518" v="18165" actId="1036"/>
          <ac:picMkLst>
            <pc:docMk/>
            <pc:sldMk cId="3374324863" sldId="2147483589"/>
            <ac:picMk id="103" creationId="{8F581ECF-3643-FDFB-E69B-52A9B739C0F2}"/>
          </ac:picMkLst>
        </pc:picChg>
        <pc:cxnChg chg="mod ord">
          <ac:chgData name="Hänninen, Lauri" userId="b62831d1-2046-40aa-b4b7-d67e2d73afe1" providerId="ADAL" clId="{F907ACC7-C8F7-470E-B883-D49732EB787C}" dt="2024-02-21T11:55:00.922" v="18232" actId="1038"/>
          <ac:cxnSpMkLst>
            <pc:docMk/>
            <pc:sldMk cId="3374324863" sldId="2147483589"/>
            <ac:cxnSpMk id="86" creationId="{FFF5CB0D-A2E1-B2B0-4E2D-9AD92449820C}"/>
          </ac:cxnSpMkLst>
        </pc:cxnChg>
        <pc:cxnChg chg="mod ord">
          <ac:chgData name="Hänninen, Lauri" userId="b62831d1-2046-40aa-b4b7-d67e2d73afe1" providerId="ADAL" clId="{F907ACC7-C8F7-470E-B883-D49732EB787C}" dt="2024-02-21T11:55:00.922" v="18232" actId="1038"/>
          <ac:cxnSpMkLst>
            <pc:docMk/>
            <pc:sldMk cId="3374324863" sldId="2147483589"/>
            <ac:cxnSpMk id="88" creationId="{0BBD0A38-6C11-375E-2365-DF5E0815BF42}"/>
          </ac:cxnSpMkLst>
        </pc:cxnChg>
      </pc:sldChg>
      <pc:sldChg chg="mod ord modShow">
        <pc:chgData name="Hänninen, Lauri" userId="b62831d1-2046-40aa-b4b7-d67e2d73afe1" providerId="ADAL" clId="{F907ACC7-C8F7-470E-B883-D49732EB787C}" dt="2024-02-20T19:47:12.184" v="7823" actId="729"/>
        <pc:sldMkLst>
          <pc:docMk/>
          <pc:sldMk cId="3137648856" sldId="2147483591"/>
        </pc:sldMkLst>
      </pc:sldChg>
      <pc:sldChg chg="addSp delSp modSp del mod modShow">
        <pc:chgData name="Hänninen, Lauri" userId="b62831d1-2046-40aa-b4b7-d67e2d73afe1" providerId="ADAL" clId="{F907ACC7-C8F7-470E-B883-D49732EB787C}" dt="2024-02-20T20:05:54.953" v="9106" actId="2696"/>
        <pc:sldMkLst>
          <pc:docMk/>
          <pc:sldMk cId="2154558668" sldId="2147483592"/>
        </pc:sldMkLst>
        <pc:spChg chg="del mod ord">
          <ac:chgData name="Hänninen, Lauri" userId="b62831d1-2046-40aa-b4b7-d67e2d73afe1" providerId="ADAL" clId="{F907ACC7-C8F7-470E-B883-D49732EB787C}" dt="2024-02-20T19:38:15.532" v="7597" actId="478"/>
          <ac:spMkLst>
            <pc:docMk/>
            <pc:sldMk cId="2154558668" sldId="2147483592"/>
            <ac:spMk id="3" creationId="{0E9208CD-3F0C-B04C-1CD6-2726C5BFE0C9}"/>
          </ac:spMkLst>
        </pc:spChg>
        <pc:spChg chg="mod ord">
          <ac:chgData name="Hänninen, Lauri" userId="b62831d1-2046-40aa-b4b7-d67e2d73afe1" providerId="ADAL" clId="{F907ACC7-C8F7-470E-B883-D49732EB787C}" dt="2024-02-20T19:15:33.947" v="7070" actId="2711"/>
          <ac:spMkLst>
            <pc:docMk/>
            <pc:sldMk cId="2154558668" sldId="2147483592"/>
            <ac:spMk id="19" creationId="{F40D474C-89A8-8816-5074-94D3F7E079B5}"/>
          </ac:spMkLst>
        </pc:spChg>
        <pc:spChg chg="mod">
          <ac:chgData name="Hänninen, Lauri" userId="b62831d1-2046-40aa-b4b7-d67e2d73afe1" providerId="ADAL" clId="{F907ACC7-C8F7-470E-B883-D49732EB787C}" dt="2024-02-20T19:15:33.947" v="7070" actId="2711"/>
          <ac:spMkLst>
            <pc:docMk/>
            <pc:sldMk cId="2154558668" sldId="2147483592"/>
            <ac:spMk id="21" creationId="{40F919DE-A8B3-C187-769F-F71CC2837DA5}"/>
          </ac:spMkLst>
        </pc:spChg>
        <pc:spChg chg="mod ord">
          <ac:chgData name="Hänninen, Lauri" userId="b62831d1-2046-40aa-b4b7-d67e2d73afe1" providerId="ADAL" clId="{F907ACC7-C8F7-470E-B883-D49732EB787C}" dt="2024-02-20T19:15:33.947" v="7070" actId="2711"/>
          <ac:spMkLst>
            <pc:docMk/>
            <pc:sldMk cId="2154558668" sldId="2147483592"/>
            <ac:spMk id="36" creationId="{F56F7274-FCCA-D28B-4891-A17691D2FBF7}"/>
          </ac:spMkLst>
        </pc:spChg>
        <pc:spChg chg="mod ord">
          <ac:chgData name="Hänninen, Lauri" userId="b62831d1-2046-40aa-b4b7-d67e2d73afe1" providerId="ADAL" clId="{F907ACC7-C8F7-470E-B883-D49732EB787C}" dt="2024-02-20T19:15:33.947" v="7070" actId="2711"/>
          <ac:spMkLst>
            <pc:docMk/>
            <pc:sldMk cId="2154558668" sldId="2147483592"/>
            <ac:spMk id="39" creationId="{2D1006B1-898B-7D62-9A53-1122B3FECDA3}"/>
          </ac:spMkLst>
        </pc:spChg>
        <pc:spChg chg="mod ord">
          <ac:chgData name="Hänninen, Lauri" userId="b62831d1-2046-40aa-b4b7-d67e2d73afe1" providerId="ADAL" clId="{F907ACC7-C8F7-470E-B883-D49732EB787C}" dt="2024-02-20T19:15:33.947" v="7070" actId="2711"/>
          <ac:spMkLst>
            <pc:docMk/>
            <pc:sldMk cId="2154558668" sldId="2147483592"/>
            <ac:spMk id="59" creationId="{24A3ECBE-0778-BF19-B6FA-F0E21224625B}"/>
          </ac:spMkLst>
        </pc:spChg>
        <pc:spChg chg="mod">
          <ac:chgData name="Hänninen, Lauri" userId="b62831d1-2046-40aa-b4b7-d67e2d73afe1" providerId="ADAL" clId="{F907ACC7-C8F7-470E-B883-D49732EB787C}" dt="2024-02-20T19:15:33.947" v="7070" actId="2711"/>
          <ac:spMkLst>
            <pc:docMk/>
            <pc:sldMk cId="2154558668" sldId="2147483592"/>
            <ac:spMk id="69" creationId="{1BF2ECA7-661E-8130-74A2-EB430249591E}"/>
          </ac:spMkLst>
        </pc:spChg>
        <pc:spChg chg="mod">
          <ac:chgData name="Hänninen, Lauri" userId="b62831d1-2046-40aa-b4b7-d67e2d73afe1" providerId="ADAL" clId="{F907ACC7-C8F7-470E-B883-D49732EB787C}" dt="2024-02-20T19:20:15.706" v="7237" actId="14100"/>
          <ac:spMkLst>
            <pc:docMk/>
            <pc:sldMk cId="2154558668" sldId="2147483592"/>
            <ac:spMk id="99" creationId="{90197333-6DA8-1D7D-12D1-87C7ECFAF0A0}"/>
          </ac:spMkLst>
        </pc:spChg>
        <pc:spChg chg="mod">
          <ac:chgData name="Hänninen, Lauri" userId="b62831d1-2046-40aa-b4b7-d67e2d73afe1" providerId="ADAL" clId="{F907ACC7-C8F7-470E-B883-D49732EB787C}" dt="2024-02-20T19:20:06.174" v="7235" actId="255"/>
          <ac:spMkLst>
            <pc:docMk/>
            <pc:sldMk cId="2154558668" sldId="2147483592"/>
            <ac:spMk id="100" creationId="{D3246515-9407-3A0D-BDB6-344454B8FFB3}"/>
          </ac:spMkLst>
        </pc:spChg>
        <pc:spChg chg="mod">
          <ac:chgData name="Hänninen, Lauri" userId="b62831d1-2046-40aa-b4b7-d67e2d73afe1" providerId="ADAL" clId="{F907ACC7-C8F7-470E-B883-D49732EB787C}" dt="2024-02-20T19:20:06.174" v="7235" actId="255"/>
          <ac:spMkLst>
            <pc:docMk/>
            <pc:sldMk cId="2154558668" sldId="2147483592"/>
            <ac:spMk id="101" creationId="{DC26303B-A477-DA3D-E137-B56920E348A2}"/>
          </ac:spMkLst>
        </pc:spChg>
        <pc:spChg chg="mod">
          <ac:chgData name="Hänninen, Lauri" userId="b62831d1-2046-40aa-b4b7-d67e2d73afe1" providerId="ADAL" clId="{F907ACC7-C8F7-470E-B883-D49732EB787C}" dt="2024-02-20T19:20:18.451" v="7238" actId="14100"/>
          <ac:spMkLst>
            <pc:docMk/>
            <pc:sldMk cId="2154558668" sldId="2147483592"/>
            <ac:spMk id="102" creationId="{978F306A-7ACC-D98E-C1EE-54AB3D3D6C73}"/>
          </ac:spMkLst>
        </pc:spChg>
        <pc:spChg chg="mod">
          <ac:chgData name="Hänninen, Lauri" userId="b62831d1-2046-40aa-b4b7-d67e2d73afe1" providerId="ADAL" clId="{F907ACC7-C8F7-470E-B883-D49732EB787C}" dt="2024-02-20T19:20:06.174" v="7235" actId="255"/>
          <ac:spMkLst>
            <pc:docMk/>
            <pc:sldMk cId="2154558668" sldId="2147483592"/>
            <ac:spMk id="103" creationId="{C97C4963-E123-86E1-91C2-8CD78ACA48FA}"/>
          </ac:spMkLst>
        </pc:spChg>
        <pc:spChg chg="mod">
          <ac:chgData name="Hänninen, Lauri" userId="b62831d1-2046-40aa-b4b7-d67e2d73afe1" providerId="ADAL" clId="{F907ACC7-C8F7-470E-B883-D49732EB787C}" dt="2024-02-20T19:20:06.174" v="7235" actId="255"/>
          <ac:spMkLst>
            <pc:docMk/>
            <pc:sldMk cId="2154558668" sldId="2147483592"/>
            <ac:spMk id="104" creationId="{A3658E37-51AA-72EC-F5B7-6917D4EF02F8}"/>
          </ac:spMkLst>
        </pc:spChg>
        <pc:spChg chg="mod">
          <ac:chgData name="Hänninen, Lauri" userId="b62831d1-2046-40aa-b4b7-d67e2d73afe1" providerId="ADAL" clId="{F907ACC7-C8F7-470E-B883-D49732EB787C}" dt="2024-02-20T19:20:11.512" v="7236" actId="1076"/>
          <ac:spMkLst>
            <pc:docMk/>
            <pc:sldMk cId="2154558668" sldId="2147483592"/>
            <ac:spMk id="105" creationId="{1F72EFE6-E7CF-FD29-527A-197163BF8394}"/>
          </ac:spMkLst>
        </pc:spChg>
        <pc:spChg chg="mod">
          <ac:chgData name="Hänninen, Lauri" userId="b62831d1-2046-40aa-b4b7-d67e2d73afe1" providerId="ADAL" clId="{F907ACC7-C8F7-470E-B883-D49732EB787C}" dt="2024-02-20T19:20:06.174" v="7235" actId="255"/>
          <ac:spMkLst>
            <pc:docMk/>
            <pc:sldMk cId="2154558668" sldId="2147483592"/>
            <ac:spMk id="106" creationId="{1118D8B6-CD47-DE62-4E7C-F02EA517CEBE}"/>
          </ac:spMkLst>
        </pc:spChg>
        <pc:spChg chg="mod ord">
          <ac:chgData name="Hänninen, Lauri" userId="b62831d1-2046-40aa-b4b7-d67e2d73afe1" providerId="ADAL" clId="{F907ACC7-C8F7-470E-B883-D49732EB787C}" dt="2024-02-20T19:15:33.947" v="7070" actId="2711"/>
          <ac:spMkLst>
            <pc:docMk/>
            <pc:sldMk cId="2154558668" sldId="2147483592"/>
            <ac:spMk id="108" creationId="{E40B30A0-2A4D-EB7B-8F27-2ABCD6544724}"/>
          </ac:spMkLst>
        </pc:spChg>
        <pc:spChg chg="mod ord">
          <ac:chgData name="Hänninen, Lauri" userId="b62831d1-2046-40aa-b4b7-d67e2d73afe1" providerId="ADAL" clId="{F907ACC7-C8F7-470E-B883-D49732EB787C}" dt="2024-02-20T19:15:33.947" v="7070" actId="2711"/>
          <ac:spMkLst>
            <pc:docMk/>
            <pc:sldMk cId="2154558668" sldId="2147483592"/>
            <ac:spMk id="109" creationId="{4E6C057A-2E69-F38F-1BA8-23A9D6CDE4A7}"/>
          </ac:spMkLst>
        </pc:spChg>
        <pc:spChg chg="mod ord">
          <ac:chgData name="Hänninen, Lauri" userId="b62831d1-2046-40aa-b4b7-d67e2d73afe1" providerId="ADAL" clId="{F907ACC7-C8F7-470E-B883-D49732EB787C}" dt="2024-02-20T19:15:33.947" v="7070" actId="2711"/>
          <ac:spMkLst>
            <pc:docMk/>
            <pc:sldMk cId="2154558668" sldId="2147483592"/>
            <ac:spMk id="110" creationId="{EF2E54DF-A722-5E17-F649-FA81B2F64A28}"/>
          </ac:spMkLst>
        </pc:spChg>
        <pc:spChg chg="mod ord">
          <ac:chgData name="Hänninen, Lauri" userId="b62831d1-2046-40aa-b4b7-d67e2d73afe1" providerId="ADAL" clId="{F907ACC7-C8F7-470E-B883-D49732EB787C}" dt="2024-02-20T19:15:33.947" v="7070" actId="2711"/>
          <ac:spMkLst>
            <pc:docMk/>
            <pc:sldMk cId="2154558668" sldId="2147483592"/>
            <ac:spMk id="111" creationId="{F9F42158-141B-9582-B3E2-A8BD55EFDCAA}"/>
          </ac:spMkLst>
        </pc:spChg>
        <pc:spChg chg="mod ord">
          <ac:chgData name="Hänninen, Lauri" userId="b62831d1-2046-40aa-b4b7-d67e2d73afe1" providerId="ADAL" clId="{F907ACC7-C8F7-470E-B883-D49732EB787C}" dt="2024-02-20T19:15:33.947" v="7070" actId="2711"/>
          <ac:spMkLst>
            <pc:docMk/>
            <pc:sldMk cId="2154558668" sldId="2147483592"/>
            <ac:spMk id="112" creationId="{A117D9F3-ACFB-C803-9B55-ACEF5F0F7DFA}"/>
          </ac:spMkLst>
        </pc:spChg>
        <pc:spChg chg="mod ord">
          <ac:chgData name="Hänninen, Lauri" userId="b62831d1-2046-40aa-b4b7-d67e2d73afe1" providerId="ADAL" clId="{F907ACC7-C8F7-470E-B883-D49732EB787C}" dt="2024-02-20T19:15:33.947" v="7070" actId="2711"/>
          <ac:spMkLst>
            <pc:docMk/>
            <pc:sldMk cId="2154558668" sldId="2147483592"/>
            <ac:spMk id="113" creationId="{5A98E033-15C8-2E60-E83D-E2ABD3E970DB}"/>
          </ac:spMkLst>
        </pc:spChg>
        <pc:spChg chg="mod ord">
          <ac:chgData name="Hänninen, Lauri" userId="b62831d1-2046-40aa-b4b7-d67e2d73afe1" providerId="ADAL" clId="{F907ACC7-C8F7-470E-B883-D49732EB787C}" dt="2024-02-20T19:15:33.947" v="7070" actId="2711"/>
          <ac:spMkLst>
            <pc:docMk/>
            <pc:sldMk cId="2154558668" sldId="2147483592"/>
            <ac:spMk id="114" creationId="{D061000F-DA61-E228-0A54-55BD079664A6}"/>
          </ac:spMkLst>
        </pc:spChg>
        <pc:spChg chg="mod ord">
          <ac:chgData name="Hänninen, Lauri" userId="b62831d1-2046-40aa-b4b7-d67e2d73afe1" providerId="ADAL" clId="{F907ACC7-C8F7-470E-B883-D49732EB787C}" dt="2024-02-20T19:15:33.947" v="7070" actId="2711"/>
          <ac:spMkLst>
            <pc:docMk/>
            <pc:sldMk cId="2154558668" sldId="2147483592"/>
            <ac:spMk id="115" creationId="{4AA6FDD4-56B0-9DDC-87EA-8C316FA12FF5}"/>
          </ac:spMkLst>
        </pc:spChg>
        <pc:spChg chg="mod ord">
          <ac:chgData name="Hänninen, Lauri" userId="b62831d1-2046-40aa-b4b7-d67e2d73afe1" providerId="ADAL" clId="{F907ACC7-C8F7-470E-B883-D49732EB787C}" dt="2024-02-20T19:15:33.947" v="7070" actId="2711"/>
          <ac:spMkLst>
            <pc:docMk/>
            <pc:sldMk cId="2154558668" sldId="2147483592"/>
            <ac:spMk id="116" creationId="{8C6ECAE2-6374-F609-4290-2DECD1F85708}"/>
          </ac:spMkLst>
        </pc:spChg>
        <pc:spChg chg="mod">
          <ac:chgData name="Hänninen, Lauri" userId="b62831d1-2046-40aa-b4b7-d67e2d73afe1" providerId="ADAL" clId="{F907ACC7-C8F7-470E-B883-D49732EB787C}" dt="2024-02-20T19:15:33.947" v="7070" actId="2711"/>
          <ac:spMkLst>
            <pc:docMk/>
            <pc:sldMk cId="2154558668" sldId="2147483592"/>
            <ac:spMk id="119" creationId="{97875BA4-3D2B-04B0-B21B-C26EC1C83D5D}"/>
          </ac:spMkLst>
        </pc:spChg>
        <pc:spChg chg="mod ord">
          <ac:chgData name="Hänninen, Lauri" userId="b62831d1-2046-40aa-b4b7-d67e2d73afe1" providerId="ADAL" clId="{F907ACC7-C8F7-470E-B883-D49732EB787C}" dt="2024-02-20T19:15:33.947" v="7070" actId="2711"/>
          <ac:spMkLst>
            <pc:docMk/>
            <pc:sldMk cId="2154558668" sldId="2147483592"/>
            <ac:spMk id="120" creationId="{1CE90A1C-CACC-F874-0963-6B2E22EB1E9E}"/>
          </ac:spMkLst>
        </pc:spChg>
        <pc:spChg chg="mod">
          <ac:chgData name="Hänninen, Lauri" userId="b62831d1-2046-40aa-b4b7-d67e2d73afe1" providerId="ADAL" clId="{F907ACC7-C8F7-470E-B883-D49732EB787C}" dt="2024-02-20T19:15:33.947" v="7070" actId="2711"/>
          <ac:spMkLst>
            <pc:docMk/>
            <pc:sldMk cId="2154558668" sldId="2147483592"/>
            <ac:spMk id="121" creationId="{C2154570-CAFA-5133-2FD0-F5211F2890C0}"/>
          </ac:spMkLst>
        </pc:spChg>
        <pc:spChg chg="mod ord">
          <ac:chgData name="Hänninen, Lauri" userId="b62831d1-2046-40aa-b4b7-d67e2d73afe1" providerId="ADAL" clId="{F907ACC7-C8F7-470E-B883-D49732EB787C}" dt="2024-02-20T19:15:33.947" v="7070" actId="2711"/>
          <ac:spMkLst>
            <pc:docMk/>
            <pc:sldMk cId="2154558668" sldId="2147483592"/>
            <ac:spMk id="122" creationId="{E37DB653-4B20-1783-24EE-5693024A1012}"/>
          </ac:spMkLst>
        </pc:spChg>
        <pc:spChg chg="mod">
          <ac:chgData name="Hänninen, Lauri" userId="b62831d1-2046-40aa-b4b7-d67e2d73afe1" providerId="ADAL" clId="{F907ACC7-C8F7-470E-B883-D49732EB787C}" dt="2024-02-20T19:15:33.947" v="7070" actId="2711"/>
          <ac:spMkLst>
            <pc:docMk/>
            <pc:sldMk cId="2154558668" sldId="2147483592"/>
            <ac:spMk id="123" creationId="{FC91C974-926B-A299-DDC8-C9295CCC91BC}"/>
          </ac:spMkLst>
        </pc:spChg>
        <pc:spChg chg="mod">
          <ac:chgData name="Hänninen, Lauri" userId="b62831d1-2046-40aa-b4b7-d67e2d73afe1" providerId="ADAL" clId="{F907ACC7-C8F7-470E-B883-D49732EB787C}" dt="2024-02-20T19:15:33.947" v="7070" actId="2711"/>
          <ac:spMkLst>
            <pc:docMk/>
            <pc:sldMk cId="2154558668" sldId="2147483592"/>
            <ac:spMk id="124" creationId="{A0C27FA3-34CE-A062-3D99-9E164DA17D68}"/>
          </ac:spMkLst>
        </pc:spChg>
        <pc:spChg chg="mod ord">
          <ac:chgData name="Hänninen, Lauri" userId="b62831d1-2046-40aa-b4b7-d67e2d73afe1" providerId="ADAL" clId="{F907ACC7-C8F7-470E-B883-D49732EB787C}" dt="2024-02-20T19:15:33.947" v="7070" actId="2711"/>
          <ac:spMkLst>
            <pc:docMk/>
            <pc:sldMk cId="2154558668" sldId="2147483592"/>
            <ac:spMk id="125" creationId="{1037E031-D56F-253D-D296-F4F4639B9C8C}"/>
          </ac:spMkLst>
        </pc:spChg>
        <pc:spChg chg="mod">
          <ac:chgData name="Hänninen, Lauri" userId="b62831d1-2046-40aa-b4b7-d67e2d73afe1" providerId="ADAL" clId="{F907ACC7-C8F7-470E-B883-D49732EB787C}" dt="2024-02-20T19:15:33.947" v="7070" actId="2711"/>
          <ac:spMkLst>
            <pc:docMk/>
            <pc:sldMk cId="2154558668" sldId="2147483592"/>
            <ac:spMk id="126" creationId="{6C9CE506-72A0-9628-B982-4A1F67B80777}"/>
          </ac:spMkLst>
        </pc:spChg>
        <pc:spChg chg="mod ord">
          <ac:chgData name="Hänninen, Lauri" userId="b62831d1-2046-40aa-b4b7-d67e2d73afe1" providerId="ADAL" clId="{F907ACC7-C8F7-470E-B883-D49732EB787C}" dt="2024-02-20T19:15:33.947" v="7070" actId="2711"/>
          <ac:spMkLst>
            <pc:docMk/>
            <pc:sldMk cId="2154558668" sldId="2147483592"/>
            <ac:spMk id="127" creationId="{88B4B46A-0F96-E60E-75D5-30270CE5E9BB}"/>
          </ac:spMkLst>
        </pc:spChg>
        <pc:spChg chg="mod ord">
          <ac:chgData name="Hänninen, Lauri" userId="b62831d1-2046-40aa-b4b7-d67e2d73afe1" providerId="ADAL" clId="{F907ACC7-C8F7-470E-B883-D49732EB787C}" dt="2024-02-20T19:15:33.947" v="7070" actId="2711"/>
          <ac:spMkLst>
            <pc:docMk/>
            <pc:sldMk cId="2154558668" sldId="2147483592"/>
            <ac:spMk id="128" creationId="{7F2031BB-6D40-1FBF-8A83-3F9049C55DA4}"/>
          </ac:spMkLst>
        </pc:spChg>
        <pc:spChg chg="mod ord">
          <ac:chgData name="Hänninen, Lauri" userId="b62831d1-2046-40aa-b4b7-d67e2d73afe1" providerId="ADAL" clId="{F907ACC7-C8F7-470E-B883-D49732EB787C}" dt="2024-02-20T19:15:33.947" v="7070" actId="2711"/>
          <ac:spMkLst>
            <pc:docMk/>
            <pc:sldMk cId="2154558668" sldId="2147483592"/>
            <ac:spMk id="129" creationId="{060E0663-395C-5D71-86B1-E7D77FD503AA}"/>
          </ac:spMkLst>
        </pc:spChg>
        <pc:spChg chg="mod ord">
          <ac:chgData name="Hänninen, Lauri" userId="b62831d1-2046-40aa-b4b7-d67e2d73afe1" providerId="ADAL" clId="{F907ACC7-C8F7-470E-B883-D49732EB787C}" dt="2024-02-20T19:15:33.947" v="7070" actId="2711"/>
          <ac:spMkLst>
            <pc:docMk/>
            <pc:sldMk cId="2154558668" sldId="2147483592"/>
            <ac:spMk id="130" creationId="{F6923AB5-8C60-3ABC-0D06-0BD85F2A3CD5}"/>
          </ac:spMkLst>
        </pc:spChg>
        <pc:spChg chg="mod ord">
          <ac:chgData name="Hänninen, Lauri" userId="b62831d1-2046-40aa-b4b7-d67e2d73afe1" providerId="ADAL" clId="{F907ACC7-C8F7-470E-B883-D49732EB787C}" dt="2024-02-20T19:15:33.947" v="7070" actId="2711"/>
          <ac:spMkLst>
            <pc:docMk/>
            <pc:sldMk cId="2154558668" sldId="2147483592"/>
            <ac:spMk id="131" creationId="{788975D6-05CD-89C0-5102-B2D94F7920D5}"/>
          </ac:spMkLst>
        </pc:spChg>
        <pc:spChg chg="mod ord">
          <ac:chgData name="Hänninen, Lauri" userId="b62831d1-2046-40aa-b4b7-d67e2d73afe1" providerId="ADAL" clId="{F907ACC7-C8F7-470E-B883-D49732EB787C}" dt="2024-02-20T19:15:33.947" v="7070" actId="2711"/>
          <ac:spMkLst>
            <pc:docMk/>
            <pc:sldMk cId="2154558668" sldId="2147483592"/>
            <ac:spMk id="132" creationId="{FD66EB41-54B0-C983-4C3D-F9846A119FB3}"/>
          </ac:spMkLst>
        </pc:spChg>
        <pc:spChg chg="mod ord">
          <ac:chgData name="Hänninen, Lauri" userId="b62831d1-2046-40aa-b4b7-d67e2d73afe1" providerId="ADAL" clId="{F907ACC7-C8F7-470E-B883-D49732EB787C}" dt="2024-02-20T19:15:33.947" v="7070" actId="2711"/>
          <ac:spMkLst>
            <pc:docMk/>
            <pc:sldMk cId="2154558668" sldId="2147483592"/>
            <ac:spMk id="138" creationId="{F4556DC1-58D7-00F3-1CC6-DAD32889F5B1}"/>
          </ac:spMkLst>
        </pc:spChg>
        <pc:spChg chg="mod ord">
          <ac:chgData name="Hänninen, Lauri" userId="b62831d1-2046-40aa-b4b7-d67e2d73afe1" providerId="ADAL" clId="{F907ACC7-C8F7-470E-B883-D49732EB787C}" dt="2024-02-20T19:15:33.947" v="7070" actId="2711"/>
          <ac:spMkLst>
            <pc:docMk/>
            <pc:sldMk cId="2154558668" sldId="2147483592"/>
            <ac:spMk id="139" creationId="{C5E00945-F663-D318-BE64-7F6C2DC7870E}"/>
          </ac:spMkLst>
        </pc:spChg>
        <pc:spChg chg="mod ord">
          <ac:chgData name="Hänninen, Lauri" userId="b62831d1-2046-40aa-b4b7-d67e2d73afe1" providerId="ADAL" clId="{F907ACC7-C8F7-470E-B883-D49732EB787C}" dt="2024-02-20T19:15:33.947" v="7070" actId="2711"/>
          <ac:spMkLst>
            <pc:docMk/>
            <pc:sldMk cId="2154558668" sldId="2147483592"/>
            <ac:spMk id="140" creationId="{D06001BF-0049-5F77-C03E-A35363ECD257}"/>
          </ac:spMkLst>
        </pc:spChg>
        <pc:spChg chg="mod ord">
          <ac:chgData name="Hänninen, Lauri" userId="b62831d1-2046-40aa-b4b7-d67e2d73afe1" providerId="ADAL" clId="{F907ACC7-C8F7-470E-B883-D49732EB787C}" dt="2024-02-20T19:15:33.947" v="7070" actId="2711"/>
          <ac:spMkLst>
            <pc:docMk/>
            <pc:sldMk cId="2154558668" sldId="2147483592"/>
            <ac:spMk id="141" creationId="{94135BD0-1BF1-9C8D-515F-35C466314C5A}"/>
          </ac:spMkLst>
        </pc:spChg>
        <pc:spChg chg="mod ord">
          <ac:chgData name="Hänninen, Lauri" userId="b62831d1-2046-40aa-b4b7-d67e2d73afe1" providerId="ADAL" clId="{F907ACC7-C8F7-470E-B883-D49732EB787C}" dt="2024-02-20T19:15:33.947" v="7070" actId="2711"/>
          <ac:spMkLst>
            <pc:docMk/>
            <pc:sldMk cId="2154558668" sldId="2147483592"/>
            <ac:spMk id="142" creationId="{5450BC10-0C3F-6187-24D3-AFD54288BA7B}"/>
          </ac:spMkLst>
        </pc:spChg>
        <pc:spChg chg="mod ord">
          <ac:chgData name="Hänninen, Lauri" userId="b62831d1-2046-40aa-b4b7-d67e2d73afe1" providerId="ADAL" clId="{F907ACC7-C8F7-470E-B883-D49732EB787C}" dt="2024-02-20T19:15:33.947" v="7070" actId="2711"/>
          <ac:spMkLst>
            <pc:docMk/>
            <pc:sldMk cId="2154558668" sldId="2147483592"/>
            <ac:spMk id="143" creationId="{A48868C2-713E-A307-9DC9-E7632D167F69}"/>
          </ac:spMkLst>
        </pc:spChg>
        <pc:spChg chg="mod ord">
          <ac:chgData name="Hänninen, Lauri" userId="b62831d1-2046-40aa-b4b7-d67e2d73afe1" providerId="ADAL" clId="{F907ACC7-C8F7-470E-B883-D49732EB787C}" dt="2024-02-20T19:15:33.947" v="7070" actId="2711"/>
          <ac:spMkLst>
            <pc:docMk/>
            <pc:sldMk cId="2154558668" sldId="2147483592"/>
            <ac:spMk id="144" creationId="{7C4B8ED1-9734-1352-C830-48F496CD17B6}"/>
          </ac:spMkLst>
        </pc:spChg>
        <pc:spChg chg="mod ord">
          <ac:chgData name="Hänninen, Lauri" userId="b62831d1-2046-40aa-b4b7-d67e2d73afe1" providerId="ADAL" clId="{F907ACC7-C8F7-470E-B883-D49732EB787C}" dt="2024-02-20T19:15:33.947" v="7070" actId="2711"/>
          <ac:spMkLst>
            <pc:docMk/>
            <pc:sldMk cId="2154558668" sldId="2147483592"/>
            <ac:spMk id="145" creationId="{697450C7-831C-C0B5-0546-6DE84B737B08}"/>
          </ac:spMkLst>
        </pc:spChg>
        <pc:spChg chg="mod ord">
          <ac:chgData name="Hänninen, Lauri" userId="b62831d1-2046-40aa-b4b7-d67e2d73afe1" providerId="ADAL" clId="{F907ACC7-C8F7-470E-B883-D49732EB787C}" dt="2024-02-20T19:15:33.947" v="7070" actId="2711"/>
          <ac:spMkLst>
            <pc:docMk/>
            <pc:sldMk cId="2154558668" sldId="2147483592"/>
            <ac:spMk id="146" creationId="{F94C4AE3-F040-FF47-718F-31E4741DCDBF}"/>
          </ac:spMkLst>
        </pc:spChg>
        <pc:spChg chg="mod ord">
          <ac:chgData name="Hänninen, Lauri" userId="b62831d1-2046-40aa-b4b7-d67e2d73afe1" providerId="ADAL" clId="{F907ACC7-C8F7-470E-B883-D49732EB787C}" dt="2024-02-20T19:15:33.947" v="7070" actId="2711"/>
          <ac:spMkLst>
            <pc:docMk/>
            <pc:sldMk cId="2154558668" sldId="2147483592"/>
            <ac:spMk id="147" creationId="{A29A0C86-FEAB-147F-8FD6-9A484FEB7ED9}"/>
          </ac:spMkLst>
        </pc:spChg>
        <pc:spChg chg="mod ord">
          <ac:chgData name="Hänninen, Lauri" userId="b62831d1-2046-40aa-b4b7-d67e2d73afe1" providerId="ADAL" clId="{F907ACC7-C8F7-470E-B883-D49732EB787C}" dt="2024-02-20T19:15:33.947" v="7070" actId="2711"/>
          <ac:spMkLst>
            <pc:docMk/>
            <pc:sldMk cId="2154558668" sldId="2147483592"/>
            <ac:spMk id="148" creationId="{939ACCD7-4B9D-9CF2-2D36-B67BA3FD65B5}"/>
          </ac:spMkLst>
        </pc:spChg>
        <pc:spChg chg="mod ord">
          <ac:chgData name="Hänninen, Lauri" userId="b62831d1-2046-40aa-b4b7-d67e2d73afe1" providerId="ADAL" clId="{F907ACC7-C8F7-470E-B883-D49732EB787C}" dt="2024-02-20T19:15:33.947" v="7070" actId="2711"/>
          <ac:spMkLst>
            <pc:docMk/>
            <pc:sldMk cId="2154558668" sldId="2147483592"/>
            <ac:spMk id="149" creationId="{B33FE652-814C-50E4-700E-F1F444BE4145}"/>
          </ac:spMkLst>
        </pc:spChg>
        <pc:spChg chg="mod ord">
          <ac:chgData name="Hänninen, Lauri" userId="b62831d1-2046-40aa-b4b7-d67e2d73afe1" providerId="ADAL" clId="{F907ACC7-C8F7-470E-B883-D49732EB787C}" dt="2024-02-20T19:15:33.947" v="7070" actId="2711"/>
          <ac:spMkLst>
            <pc:docMk/>
            <pc:sldMk cId="2154558668" sldId="2147483592"/>
            <ac:spMk id="150" creationId="{C6908206-5590-3495-8FC6-7A4CA616931D}"/>
          </ac:spMkLst>
        </pc:spChg>
        <pc:spChg chg="mod ord">
          <ac:chgData name="Hänninen, Lauri" userId="b62831d1-2046-40aa-b4b7-d67e2d73afe1" providerId="ADAL" clId="{F907ACC7-C8F7-470E-B883-D49732EB787C}" dt="2024-02-20T19:15:33.947" v="7070" actId="2711"/>
          <ac:spMkLst>
            <pc:docMk/>
            <pc:sldMk cId="2154558668" sldId="2147483592"/>
            <ac:spMk id="151" creationId="{915A31FE-B912-DA41-7CF9-68A456CA86AE}"/>
          </ac:spMkLst>
        </pc:spChg>
        <pc:spChg chg="mod">
          <ac:chgData name="Hänninen, Lauri" userId="b62831d1-2046-40aa-b4b7-d67e2d73afe1" providerId="ADAL" clId="{F907ACC7-C8F7-470E-B883-D49732EB787C}" dt="2024-02-20T19:15:33.947" v="7070" actId="2711"/>
          <ac:spMkLst>
            <pc:docMk/>
            <pc:sldMk cId="2154558668" sldId="2147483592"/>
            <ac:spMk id="154" creationId="{DD72A9A2-A0CF-74CF-8FEF-1023FA8E1648}"/>
          </ac:spMkLst>
        </pc:spChg>
        <pc:spChg chg="mod">
          <ac:chgData name="Hänninen, Lauri" userId="b62831d1-2046-40aa-b4b7-d67e2d73afe1" providerId="ADAL" clId="{F907ACC7-C8F7-470E-B883-D49732EB787C}" dt="2024-02-20T19:15:33.947" v="7070" actId="2711"/>
          <ac:spMkLst>
            <pc:docMk/>
            <pc:sldMk cId="2154558668" sldId="2147483592"/>
            <ac:spMk id="155" creationId="{16165DA9-B0A9-1FBA-4804-1C5F8F013B54}"/>
          </ac:spMkLst>
        </pc:spChg>
        <pc:spChg chg="mod">
          <ac:chgData name="Hänninen, Lauri" userId="b62831d1-2046-40aa-b4b7-d67e2d73afe1" providerId="ADAL" clId="{F907ACC7-C8F7-470E-B883-D49732EB787C}" dt="2024-02-20T19:15:33.947" v="7070" actId="2711"/>
          <ac:spMkLst>
            <pc:docMk/>
            <pc:sldMk cId="2154558668" sldId="2147483592"/>
            <ac:spMk id="156" creationId="{82C1065E-938F-369A-4145-8B610B38C4C1}"/>
          </ac:spMkLst>
        </pc:spChg>
        <pc:grpChg chg="mod">
          <ac:chgData name="Hänninen, Lauri" userId="b62831d1-2046-40aa-b4b7-d67e2d73afe1" providerId="ADAL" clId="{F907ACC7-C8F7-470E-B883-D49732EB787C}" dt="2024-02-20T19:15:33.947" v="7070" actId="2711"/>
          <ac:grpSpMkLst>
            <pc:docMk/>
            <pc:sldMk cId="2154558668" sldId="2147483592"/>
            <ac:grpSpMk id="66" creationId="{EAFD7208-8A37-3C59-0A65-646B59F45C65}"/>
          </ac:grpSpMkLst>
        </pc:grpChg>
        <pc:grpChg chg="mod">
          <ac:chgData name="Hänninen, Lauri" userId="b62831d1-2046-40aa-b4b7-d67e2d73afe1" providerId="ADAL" clId="{F907ACC7-C8F7-470E-B883-D49732EB787C}" dt="2024-02-20T19:15:33.947" v="7070" actId="2711"/>
          <ac:grpSpMkLst>
            <pc:docMk/>
            <pc:sldMk cId="2154558668" sldId="2147483592"/>
            <ac:grpSpMk id="70" creationId="{C298259A-D1C1-95A4-B1D0-F62573B79A15}"/>
          </ac:grpSpMkLst>
        </pc:grpChg>
        <pc:grpChg chg="mod">
          <ac:chgData name="Hänninen, Lauri" userId="b62831d1-2046-40aa-b4b7-d67e2d73afe1" providerId="ADAL" clId="{F907ACC7-C8F7-470E-B883-D49732EB787C}" dt="2024-02-20T19:15:33.947" v="7070" actId="2711"/>
          <ac:grpSpMkLst>
            <pc:docMk/>
            <pc:sldMk cId="2154558668" sldId="2147483592"/>
            <ac:grpSpMk id="73" creationId="{E0F372C0-CDB9-ABD5-4F7C-A1181415B3D5}"/>
          </ac:grpSpMkLst>
        </pc:grpChg>
        <pc:grpChg chg="mod">
          <ac:chgData name="Hänninen, Lauri" userId="b62831d1-2046-40aa-b4b7-d67e2d73afe1" providerId="ADAL" clId="{F907ACC7-C8F7-470E-B883-D49732EB787C}" dt="2024-02-20T19:15:33.947" v="7070" actId="2711"/>
          <ac:grpSpMkLst>
            <pc:docMk/>
            <pc:sldMk cId="2154558668" sldId="2147483592"/>
            <ac:grpSpMk id="76" creationId="{05BF9C4E-1AAC-AB26-41FE-DA5BB26B0C6A}"/>
          </ac:grpSpMkLst>
        </pc:grpChg>
        <pc:grpChg chg="mod">
          <ac:chgData name="Hänninen, Lauri" userId="b62831d1-2046-40aa-b4b7-d67e2d73afe1" providerId="ADAL" clId="{F907ACC7-C8F7-470E-B883-D49732EB787C}" dt="2024-02-20T19:15:33.947" v="7070" actId="2711"/>
          <ac:grpSpMkLst>
            <pc:docMk/>
            <pc:sldMk cId="2154558668" sldId="2147483592"/>
            <ac:grpSpMk id="79" creationId="{BED62B43-63B7-DE07-16B0-856A18801E5A}"/>
          </ac:grpSpMkLst>
        </pc:grpChg>
        <pc:grpChg chg="mod">
          <ac:chgData name="Hänninen, Lauri" userId="b62831d1-2046-40aa-b4b7-d67e2d73afe1" providerId="ADAL" clId="{F907ACC7-C8F7-470E-B883-D49732EB787C}" dt="2024-02-20T19:15:33.947" v="7070" actId="2711"/>
          <ac:grpSpMkLst>
            <pc:docMk/>
            <pc:sldMk cId="2154558668" sldId="2147483592"/>
            <ac:grpSpMk id="82" creationId="{8C32F201-92EC-C348-814F-26E6C71E43E6}"/>
          </ac:grpSpMkLst>
        </pc:grpChg>
        <pc:grpChg chg="mod">
          <ac:chgData name="Hänninen, Lauri" userId="b62831d1-2046-40aa-b4b7-d67e2d73afe1" providerId="ADAL" clId="{F907ACC7-C8F7-470E-B883-D49732EB787C}" dt="2024-02-20T19:15:33.947" v="7070" actId="2711"/>
          <ac:grpSpMkLst>
            <pc:docMk/>
            <pc:sldMk cId="2154558668" sldId="2147483592"/>
            <ac:grpSpMk id="85" creationId="{AA0E48E8-E70A-5A4A-47F1-52B2668B5DD4}"/>
          </ac:grpSpMkLst>
        </pc:grpChg>
        <pc:grpChg chg="mod">
          <ac:chgData name="Hänninen, Lauri" userId="b62831d1-2046-40aa-b4b7-d67e2d73afe1" providerId="ADAL" clId="{F907ACC7-C8F7-470E-B883-D49732EB787C}" dt="2024-02-20T19:15:33.947" v="7070" actId="2711"/>
          <ac:grpSpMkLst>
            <pc:docMk/>
            <pc:sldMk cId="2154558668" sldId="2147483592"/>
            <ac:grpSpMk id="88" creationId="{19706DAB-C1C9-82BF-4E07-6A15FA8C4344}"/>
          </ac:grpSpMkLst>
        </pc:grpChg>
        <pc:grpChg chg="mod ord">
          <ac:chgData name="Hänninen, Lauri" userId="b62831d1-2046-40aa-b4b7-d67e2d73afe1" providerId="ADAL" clId="{F907ACC7-C8F7-470E-B883-D49732EB787C}" dt="2024-02-20T19:15:33.947" v="7070" actId="2711"/>
          <ac:grpSpMkLst>
            <pc:docMk/>
            <pc:sldMk cId="2154558668" sldId="2147483592"/>
            <ac:grpSpMk id="91" creationId="{CEAD866C-0AE5-C0DF-B97C-F644EFE7FAE0}"/>
          </ac:grpSpMkLst>
        </pc:grpChg>
        <pc:graphicFrameChg chg="del">
          <ac:chgData name="Hänninen, Lauri" userId="b62831d1-2046-40aa-b4b7-d67e2d73afe1" providerId="ADAL" clId="{F907ACC7-C8F7-470E-B883-D49732EB787C}" dt="2024-02-20T19:15:33.778" v="6950"/>
          <ac:graphicFrameMkLst>
            <pc:docMk/>
            <pc:sldMk cId="2154558668" sldId="2147483592"/>
            <ac:graphicFrameMk id="2" creationId="{2ED03C86-718C-469D-0B7C-A1639BF0DDE5}"/>
          </ac:graphicFrameMkLst>
        </pc:graphicFrameChg>
        <pc:graphicFrameChg chg="add mod replST">
          <ac:chgData name="Hänninen, Lauri" userId="b62831d1-2046-40aa-b4b7-d67e2d73afe1" providerId="ADAL" clId="{F907ACC7-C8F7-470E-B883-D49732EB787C}" dt="2024-02-20T19:15:33.842" v="6969"/>
          <ac:graphicFrameMkLst>
            <pc:docMk/>
            <pc:sldMk cId="2154558668" sldId="2147483592"/>
            <ac:graphicFrameMk id="4" creationId="{79BF6302-0DEB-F579-52E1-BB83F13A3B1D}"/>
          </ac:graphicFrameMkLst>
        </pc:graphicFrameChg>
        <pc:graphicFrameChg chg="mod ord">
          <ac:chgData name="Hänninen, Lauri" userId="b62831d1-2046-40aa-b4b7-d67e2d73afe1" providerId="ADAL" clId="{F907ACC7-C8F7-470E-B883-D49732EB787C}" dt="2024-02-20T19:15:33.947" v="7070" actId="2711"/>
          <ac:graphicFrameMkLst>
            <pc:docMk/>
            <pc:sldMk cId="2154558668" sldId="2147483592"/>
            <ac:graphicFrameMk id="6" creationId="{CB4BEEFC-C3F5-94B5-DBB8-EC3315D13178}"/>
          </ac:graphicFrameMkLst>
        </pc:graphicFrameChg>
        <pc:graphicFrameChg chg="mod">
          <ac:chgData name="Hänninen, Lauri" userId="b62831d1-2046-40aa-b4b7-d67e2d73afe1" providerId="ADAL" clId="{F907ACC7-C8F7-470E-B883-D49732EB787C}" dt="2024-02-20T19:15:33.900" v="7069"/>
          <ac:graphicFrameMkLst>
            <pc:docMk/>
            <pc:sldMk cId="2154558668" sldId="2147483592"/>
            <ac:graphicFrameMk id="20" creationId="{437572E1-602E-4976-FD0B-6774FEAACF7E}"/>
          </ac:graphicFrameMkLst>
        </pc:graphicFrameChg>
        <pc:picChg chg="add mod">
          <ac:chgData name="Hänninen, Lauri" userId="b62831d1-2046-40aa-b4b7-d67e2d73afe1" providerId="ADAL" clId="{F907ACC7-C8F7-470E-B883-D49732EB787C}" dt="2024-02-20T19:19:49.224" v="7233" actId="14100"/>
          <ac:picMkLst>
            <pc:docMk/>
            <pc:sldMk cId="2154558668" sldId="2147483592"/>
            <ac:picMk id="5" creationId="{9AA2CDEE-B1C2-2B87-7679-A35152D13DBE}"/>
          </ac:picMkLst>
        </pc:picChg>
        <pc:cxnChg chg="mod ord">
          <ac:chgData name="Hänninen, Lauri" userId="b62831d1-2046-40aa-b4b7-d67e2d73afe1" providerId="ADAL" clId="{F907ACC7-C8F7-470E-B883-D49732EB787C}" dt="2024-02-20T19:15:33.947" v="7070" actId="2711"/>
          <ac:cxnSpMkLst>
            <pc:docMk/>
            <pc:sldMk cId="2154558668" sldId="2147483592"/>
            <ac:cxnSpMk id="37" creationId="{C0C038B1-8689-F752-FD2C-B25F2C448F78}"/>
          </ac:cxnSpMkLst>
        </pc:cxnChg>
        <pc:cxnChg chg="mod ord">
          <ac:chgData name="Hänninen, Lauri" userId="b62831d1-2046-40aa-b4b7-d67e2d73afe1" providerId="ADAL" clId="{F907ACC7-C8F7-470E-B883-D49732EB787C}" dt="2024-02-20T19:15:33.947" v="7070" actId="2711"/>
          <ac:cxnSpMkLst>
            <pc:docMk/>
            <pc:sldMk cId="2154558668" sldId="2147483592"/>
            <ac:cxnSpMk id="40" creationId="{494DEB55-F1DB-7F4D-DD25-AD6E7C226EC5}"/>
          </ac:cxnSpMkLst>
        </pc:cxnChg>
      </pc:sldChg>
      <pc:sldChg chg="add">
        <pc:chgData name="Hänninen, Lauri" userId="b62831d1-2046-40aa-b4b7-d67e2d73afe1" providerId="ADAL" clId="{F907ACC7-C8F7-470E-B883-D49732EB787C}" dt="2024-02-20T20:05:56.783" v="9107"/>
        <pc:sldMkLst>
          <pc:docMk/>
          <pc:sldMk cId="2453663028" sldId="2147483592"/>
        </pc:sldMkLst>
      </pc:sldChg>
      <pc:sldChg chg="addSp delSp modSp add mod ord">
        <pc:chgData name="Hänninen, Lauri" userId="b62831d1-2046-40aa-b4b7-d67e2d73afe1" providerId="ADAL" clId="{F907ACC7-C8F7-470E-B883-D49732EB787C}" dt="2024-02-21T14:39:36.050" v="29275"/>
        <pc:sldMkLst>
          <pc:docMk/>
          <pc:sldMk cId="1783604824" sldId="2147483593"/>
        </pc:sldMkLst>
        <pc:spChg chg="mod ord">
          <ac:chgData name="Hänninen, Lauri" userId="b62831d1-2046-40aa-b4b7-d67e2d73afe1" providerId="ADAL" clId="{F907ACC7-C8F7-470E-B883-D49732EB787C}" dt="2024-02-21T12:10:13.414" v="18714"/>
          <ac:spMkLst>
            <pc:docMk/>
            <pc:sldMk cId="1783604824" sldId="2147483593"/>
            <ac:spMk id="2" creationId="{551A0760-76B6-B0DA-473F-4F9BCE390A30}"/>
          </ac:spMkLst>
        </pc:spChg>
        <pc:spChg chg="mod ord">
          <ac:chgData name="Hänninen, Lauri" userId="b62831d1-2046-40aa-b4b7-d67e2d73afe1" providerId="ADAL" clId="{F907ACC7-C8F7-470E-B883-D49732EB787C}" dt="2024-02-21T12:10:13.414" v="18716"/>
          <ac:spMkLst>
            <pc:docMk/>
            <pc:sldMk cId="1783604824" sldId="2147483593"/>
            <ac:spMk id="3" creationId="{18FF0807-DAF8-B85E-04CD-C4F80F1262E3}"/>
          </ac:spMkLst>
        </pc:spChg>
        <pc:spChg chg="add del mod">
          <ac:chgData name="Hänninen, Lauri" userId="b62831d1-2046-40aa-b4b7-d67e2d73afe1" providerId="ADAL" clId="{F907ACC7-C8F7-470E-B883-D49732EB787C}" dt="2024-02-20T20:00:37.272" v="8135" actId="478"/>
          <ac:spMkLst>
            <pc:docMk/>
            <pc:sldMk cId="1783604824" sldId="2147483593"/>
            <ac:spMk id="6" creationId="{8BEE939F-5F7D-27D5-1912-5B721B29A901}"/>
          </ac:spMkLst>
        </pc:spChg>
        <pc:spChg chg="add del mod">
          <ac:chgData name="Hänninen, Lauri" userId="b62831d1-2046-40aa-b4b7-d67e2d73afe1" providerId="ADAL" clId="{F907ACC7-C8F7-470E-B883-D49732EB787C}" dt="2024-02-20T19:59:31.730" v="8131" actId="478"/>
          <ac:spMkLst>
            <pc:docMk/>
            <pc:sldMk cId="1783604824" sldId="2147483593"/>
            <ac:spMk id="8" creationId="{F791C61C-D1B7-78EF-BFEA-4513DF580063}"/>
          </ac:spMkLst>
        </pc:spChg>
        <pc:spChg chg="add mod ord">
          <ac:chgData name="Hänninen, Lauri" userId="b62831d1-2046-40aa-b4b7-d67e2d73afe1" providerId="ADAL" clId="{F907ACC7-C8F7-470E-B883-D49732EB787C}" dt="2024-02-21T14:37:57.329" v="29215" actId="20577"/>
          <ac:spMkLst>
            <pc:docMk/>
            <pc:sldMk cId="1783604824" sldId="2147483593"/>
            <ac:spMk id="9" creationId="{4B26B1E8-17AA-B189-D211-D3B5BE72648E}"/>
          </ac:spMkLst>
        </pc:spChg>
        <pc:spChg chg="mod ord topLvl">
          <ac:chgData name="Hänninen, Lauri" userId="b62831d1-2046-40aa-b4b7-d67e2d73afe1" providerId="ADAL" clId="{F907ACC7-C8F7-470E-B883-D49732EB787C}" dt="2024-02-21T12:10:13.432" v="18794"/>
          <ac:spMkLst>
            <pc:docMk/>
            <pc:sldMk cId="1783604824" sldId="2147483593"/>
            <ac:spMk id="150" creationId="{130DCC69-4B5A-1575-5822-68BA65BA545E}"/>
          </ac:spMkLst>
        </pc:spChg>
        <pc:spChg chg="mod ord topLvl">
          <ac:chgData name="Hänninen, Lauri" userId="b62831d1-2046-40aa-b4b7-d67e2d73afe1" providerId="ADAL" clId="{F907ACC7-C8F7-470E-B883-D49732EB787C}" dt="2024-02-21T12:10:13.416" v="18724"/>
          <ac:spMkLst>
            <pc:docMk/>
            <pc:sldMk cId="1783604824" sldId="2147483593"/>
            <ac:spMk id="151" creationId="{6D3545EF-CF80-9A1E-9645-749A07159827}"/>
          </ac:spMkLst>
        </pc:spChg>
        <pc:spChg chg="mod ord topLvl">
          <ac:chgData name="Hänninen, Lauri" userId="b62831d1-2046-40aa-b4b7-d67e2d73afe1" providerId="ADAL" clId="{F907ACC7-C8F7-470E-B883-D49732EB787C}" dt="2024-02-21T12:10:13.416" v="18726"/>
          <ac:spMkLst>
            <pc:docMk/>
            <pc:sldMk cId="1783604824" sldId="2147483593"/>
            <ac:spMk id="152" creationId="{86EE7EFF-188F-C90D-7328-356F6DA904F5}"/>
          </ac:spMkLst>
        </pc:spChg>
        <pc:spChg chg="mod ord topLvl">
          <ac:chgData name="Hänninen, Lauri" userId="b62831d1-2046-40aa-b4b7-d67e2d73afe1" providerId="ADAL" clId="{F907ACC7-C8F7-470E-B883-D49732EB787C}" dt="2024-02-21T12:10:13.416" v="18728"/>
          <ac:spMkLst>
            <pc:docMk/>
            <pc:sldMk cId="1783604824" sldId="2147483593"/>
            <ac:spMk id="153" creationId="{0A174314-4A05-29CD-AFD3-28846A28FD7D}"/>
          </ac:spMkLst>
        </pc:spChg>
        <pc:spChg chg="mod ord topLvl">
          <ac:chgData name="Hänninen, Lauri" userId="b62831d1-2046-40aa-b4b7-d67e2d73afe1" providerId="ADAL" clId="{F907ACC7-C8F7-470E-B883-D49732EB787C}" dt="2024-02-21T12:10:13.432" v="18796"/>
          <ac:spMkLst>
            <pc:docMk/>
            <pc:sldMk cId="1783604824" sldId="2147483593"/>
            <ac:spMk id="154" creationId="{BAE4C34D-D6F7-7BFA-153B-F4EF9700C09F}"/>
          </ac:spMkLst>
        </pc:spChg>
        <pc:spChg chg="mod ord topLvl">
          <ac:chgData name="Hänninen, Lauri" userId="b62831d1-2046-40aa-b4b7-d67e2d73afe1" providerId="ADAL" clId="{F907ACC7-C8F7-470E-B883-D49732EB787C}" dt="2024-02-21T12:10:13.433" v="18798"/>
          <ac:spMkLst>
            <pc:docMk/>
            <pc:sldMk cId="1783604824" sldId="2147483593"/>
            <ac:spMk id="157" creationId="{ECBCA1C5-AE9D-B684-25D0-4762D92E71AE}"/>
          </ac:spMkLst>
        </pc:spChg>
        <pc:spChg chg="mod ord topLvl">
          <ac:chgData name="Hänninen, Lauri" userId="b62831d1-2046-40aa-b4b7-d67e2d73afe1" providerId="ADAL" clId="{F907ACC7-C8F7-470E-B883-D49732EB787C}" dt="2024-02-21T12:10:13.433" v="18800"/>
          <ac:spMkLst>
            <pc:docMk/>
            <pc:sldMk cId="1783604824" sldId="2147483593"/>
            <ac:spMk id="158" creationId="{0A4F8B90-B1A1-DD7C-3193-B3FC9DDA7350}"/>
          </ac:spMkLst>
        </pc:spChg>
        <pc:spChg chg="mod ord topLvl">
          <ac:chgData name="Hänninen, Lauri" userId="b62831d1-2046-40aa-b4b7-d67e2d73afe1" providerId="ADAL" clId="{F907ACC7-C8F7-470E-B883-D49732EB787C}" dt="2024-02-21T12:10:13.418" v="18734"/>
          <ac:spMkLst>
            <pc:docMk/>
            <pc:sldMk cId="1783604824" sldId="2147483593"/>
            <ac:spMk id="159" creationId="{A06A9B47-AD2A-DFCF-A628-7F4169BC07BE}"/>
          </ac:spMkLst>
        </pc:spChg>
        <pc:spChg chg="mod ord topLvl">
          <ac:chgData name="Hänninen, Lauri" userId="b62831d1-2046-40aa-b4b7-d67e2d73afe1" providerId="ADAL" clId="{F907ACC7-C8F7-470E-B883-D49732EB787C}" dt="2024-02-21T12:10:13.418" v="18736"/>
          <ac:spMkLst>
            <pc:docMk/>
            <pc:sldMk cId="1783604824" sldId="2147483593"/>
            <ac:spMk id="160" creationId="{92B93959-7006-5D92-100F-E6D6B58D128E}"/>
          </ac:spMkLst>
        </pc:spChg>
        <pc:spChg chg="mod ord topLvl">
          <ac:chgData name="Hänninen, Lauri" userId="b62831d1-2046-40aa-b4b7-d67e2d73afe1" providerId="ADAL" clId="{F907ACC7-C8F7-470E-B883-D49732EB787C}" dt="2024-02-21T12:10:13.420" v="18746"/>
          <ac:spMkLst>
            <pc:docMk/>
            <pc:sldMk cId="1783604824" sldId="2147483593"/>
            <ac:spMk id="165" creationId="{44D71904-6F1A-6137-B833-0372AB266D0F}"/>
          </ac:spMkLst>
        </pc:spChg>
        <pc:spChg chg="mod ord topLvl">
          <ac:chgData name="Hänninen, Lauri" userId="b62831d1-2046-40aa-b4b7-d67e2d73afe1" providerId="ADAL" clId="{F907ACC7-C8F7-470E-B883-D49732EB787C}" dt="2024-02-21T12:10:13.420" v="18748"/>
          <ac:spMkLst>
            <pc:docMk/>
            <pc:sldMk cId="1783604824" sldId="2147483593"/>
            <ac:spMk id="166" creationId="{15FD31FD-1494-C48A-0305-59F03B819898}"/>
          </ac:spMkLst>
        </pc:spChg>
        <pc:spChg chg="mod ord topLvl">
          <ac:chgData name="Hänninen, Lauri" userId="b62831d1-2046-40aa-b4b7-d67e2d73afe1" providerId="ADAL" clId="{F907ACC7-C8F7-470E-B883-D49732EB787C}" dt="2024-02-21T12:10:13.421" v="18750"/>
          <ac:spMkLst>
            <pc:docMk/>
            <pc:sldMk cId="1783604824" sldId="2147483593"/>
            <ac:spMk id="167" creationId="{7DC01E97-1D4B-36F1-4D1A-D13F6B3BB318}"/>
          </ac:spMkLst>
        </pc:spChg>
        <pc:spChg chg="mod">
          <ac:chgData name="Hänninen, Lauri" userId="b62831d1-2046-40aa-b4b7-d67e2d73afe1" providerId="ADAL" clId="{F907ACC7-C8F7-470E-B883-D49732EB787C}" dt="2024-02-20T15:04:44.711" v="4767" actId="165"/>
          <ac:spMkLst>
            <pc:docMk/>
            <pc:sldMk cId="1783604824" sldId="2147483593"/>
            <ac:spMk id="168" creationId="{4E1272DB-CD5C-72A9-7E49-92CF01F47019}"/>
          </ac:spMkLst>
        </pc:spChg>
        <pc:spChg chg="mod">
          <ac:chgData name="Hänninen, Lauri" userId="b62831d1-2046-40aa-b4b7-d67e2d73afe1" providerId="ADAL" clId="{F907ACC7-C8F7-470E-B883-D49732EB787C}" dt="2024-02-20T15:04:44.711" v="4767" actId="165"/>
          <ac:spMkLst>
            <pc:docMk/>
            <pc:sldMk cId="1783604824" sldId="2147483593"/>
            <ac:spMk id="169" creationId="{5546D730-C112-929B-15D1-4FCB4C7ABA70}"/>
          </ac:spMkLst>
        </pc:spChg>
        <pc:spChg chg="mod">
          <ac:chgData name="Hänninen, Lauri" userId="b62831d1-2046-40aa-b4b7-d67e2d73afe1" providerId="ADAL" clId="{F907ACC7-C8F7-470E-B883-D49732EB787C}" dt="2024-02-20T15:04:44.711" v="4767" actId="165"/>
          <ac:spMkLst>
            <pc:docMk/>
            <pc:sldMk cId="1783604824" sldId="2147483593"/>
            <ac:spMk id="172" creationId="{0A560ED2-2C81-4B8C-E749-5E642C831A40}"/>
          </ac:spMkLst>
        </pc:spChg>
        <pc:spChg chg="mod">
          <ac:chgData name="Hänninen, Lauri" userId="b62831d1-2046-40aa-b4b7-d67e2d73afe1" providerId="ADAL" clId="{F907ACC7-C8F7-470E-B883-D49732EB787C}" dt="2024-02-20T15:04:44.711" v="4767" actId="165"/>
          <ac:spMkLst>
            <pc:docMk/>
            <pc:sldMk cId="1783604824" sldId="2147483593"/>
            <ac:spMk id="173" creationId="{C538D790-B960-158F-0464-4F5CFF6A1621}"/>
          </ac:spMkLst>
        </pc:spChg>
        <pc:spChg chg="mod">
          <ac:chgData name="Hänninen, Lauri" userId="b62831d1-2046-40aa-b4b7-d67e2d73afe1" providerId="ADAL" clId="{F907ACC7-C8F7-470E-B883-D49732EB787C}" dt="2024-02-20T15:04:44.711" v="4767" actId="165"/>
          <ac:spMkLst>
            <pc:docMk/>
            <pc:sldMk cId="1783604824" sldId="2147483593"/>
            <ac:spMk id="175" creationId="{0AD1785B-C21A-861F-D247-80DF3242AFE2}"/>
          </ac:spMkLst>
        </pc:spChg>
        <pc:spChg chg="mod">
          <ac:chgData name="Hänninen, Lauri" userId="b62831d1-2046-40aa-b4b7-d67e2d73afe1" providerId="ADAL" clId="{F907ACC7-C8F7-470E-B883-D49732EB787C}" dt="2024-02-20T15:04:44.711" v="4767" actId="165"/>
          <ac:spMkLst>
            <pc:docMk/>
            <pc:sldMk cId="1783604824" sldId="2147483593"/>
            <ac:spMk id="176" creationId="{EF47AFF4-2809-0813-CB34-28C6A8332C83}"/>
          </ac:spMkLst>
        </pc:spChg>
        <pc:spChg chg="mod">
          <ac:chgData name="Hänninen, Lauri" userId="b62831d1-2046-40aa-b4b7-d67e2d73afe1" providerId="ADAL" clId="{F907ACC7-C8F7-470E-B883-D49732EB787C}" dt="2024-02-20T15:04:44.711" v="4767" actId="165"/>
          <ac:spMkLst>
            <pc:docMk/>
            <pc:sldMk cId="1783604824" sldId="2147483593"/>
            <ac:spMk id="179" creationId="{C1DBF72D-46DE-D695-99EA-42EF73E659D8}"/>
          </ac:spMkLst>
        </pc:spChg>
        <pc:spChg chg="mod">
          <ac:chgData name="Hänninen, Lauri" userId="b62831d1-2046-40aa-b4b7-d67e2d73afe1" providerId="ADAL" clId="{F907ACC7-C8F7-470E-B883-D49732EB787C}" dt="2024-02-20T15:04:44.711" v="4767" actId="165"/>
          <ac:spMkLst>
            <pc:docMk/>
            <pc:sldMk cId="1783604824" sldId="2147483593"/>
            <ac:spMk id="180" creationId="{443B7DD1-9087-B465-58F1-14BF9DB40409}"/>
          </ac:spMkLst>
        </pc:spChg>
        <pc:spChg chg="mod">
          <ac:chgData name="Hänninen, Lauri" userId="b62831d1-2046-40aa-b4b7-d67e2d73afe1" providerId="ADAL" clId="{F907ACC7-C8F7-470E-B883-D49732EB787C}" dt="2024-02-20T15:04:44.711" v="4767" actId="165"/>
          <ac:spMkLst>
            <pc:docMk/>
            <pc:sldMk cId="1783604824" sldId="2147483593"/>
            <ac:spMk id="182" creationId="{83E2D172-B15A-D6A5-D913-29F4B52D1146}"/>
          </ac:spMkLst>
        </pc:spChg>
        <pc:spChg chg="mod">
          <ac:chgData name="Hänninen, Lauri" userId="b62831d1-2046-40aa-b4b7-d67e2d73afe1" providerId="ADAL" clId="{F907ACC7-C8F7-470E-B883-D49732EB787C}" dt="2024-02-20T15:04:44.711" v="4767" actId="165"/>
          <ac:spMkLst>
            <pc:docMk/>
            <pc:sldMk cId="1783604824" sldId="2147483593"/>
            <ac:spMk id="183" creationId="{5340A596-A46A-F61D-EE24-66BF7C3DB422}"/>
          </ac:spMkLst>
        </pc:spChg>
        <pc:spChg chg="mod">
          <ac:chgData name="Hänninen, Lauri" userId="b62831d1-2046-40aa-b4b7-d67e2d73afe1" providerId="ADAL" clId="{F907ACC7-C8F7-470E-B883-D49732EB787C}" dt="2024-02-20T15:04:44.711" v="4767" actId="165"/>
          <ac:spMkLst>
            <pc:docMk/>
            <pc:sldMk cId="1783604824" sldId="2147483593"/>
            <ac:spMk id="186" creationId="{1B25680F-F9B9-C2DD-CE6E-6BD0C3FA1686}"/>
          </ac:spMkLst>
        </pc:spChg>
        <pc:spChg chg="mod">
          <ac:chgData name="Hänninen, Lauri" userId="b62831d1-2046-40aa-b4b7-d67e2d73afe1" providerId="ADAL" clId="{F907ACC7-C8F7-470E-B883-D49732EB787C}" dt="2024-02-20T15:04:44.711" v="4767" actId="165"/>
          <ac:spMkLst>
            <pc:docMk/>
            <pc:sldMk cId="1783604824" sldId="2147483593"/>
            <ac:spMk id="187" creationId="{4F0F6C36-4334-0988-17CE-4EB70E5AB079}"/>
          </ac:spMkLst>
        </pc:spChg>
        <pc:spChg chg="mod">
          <ac:chgData name="Hänninen, Lauri" userId="b62831d1-2046-40aa-b4b7-d67e2d73afe1" providerId="ADAL" clId="{F907ACC7-C8F7-470E-B883-D49732EB787C}" dt="2024-02-20T15:04:44.711" v="4767" actId="165"/>
          <ac:spMkLst>
            <pc:docMk/>
            <pc:sldMk cId="1783604824" sldId="2147483593"/>
            <ac:spMk id="189" creationId="{FF24D22D-067F-2F8E-C30B-DC8F280BD2B3}"/>
          </ac:spMkLst>
        </pc:spChg>
        <pc:spChg chg="mod">
          <ac:chgData name="Hänninen, Lauri" userId="b62831d1-2046-40aa-b4b7-d67e2d73afe1" providerId="ADAL" clId="{F907ACC7-C8F7-470E-B883-D49732EB787C}" dt="2024-02-20T15:04:44.711" v="4767" actId="165"/>
          <ac:spMkLst>
            <pc:docMk/>
            <pc:sldMk cId="1783604824" sldId="2147483593"/>
            <ac:spMk id="190" creationId="{FE6CC261-51A2-639E-0868-67E327B892D7}"/>
          </ac:spMkLst>
        </pc:spChg>
        <pc:spChg chg="mod">
          <ac:chgData name="Hänninen, Lauri" userId="b62831d1-2046-40aa-b4b7-d67e2d73afe1" providerId="ADAL" clId="{F907ACC7-C8F7-470E-B883-D49732EB787C}" dt="2024-02-20T15:04:44.711" v="4767" actId="165"/>
          <ac:spMkLst>
            <pc:docMk/>
            <pc:sldMk cId="1783604824" sldId="2147483593"/>
            <ac:spMk id="193" creationId="{1F27A8E0-1861-47FB-43E6-8B3F2647E9A1}"/>
          </ac:spMkLst>
        </pc:spChg>
        <pc:spChg chg="mod">
          <ac:chgData name="Hänninen, Lauri" userId="b62831d1-2046-40aa-b4b7-d67e2d73afe1" providerId="ADAL" clId="{F907ACC7-C8F7-470E-B883-D49732EB787C}" dt="2024-02-20T15:04:44.711" v="4767" actId="165"/>
          <ac:spMkLst>
            <pc:docMk/>
            <pc:sldMk cId="1783604824" sldId="2147483593"/>
            <ac:spMk id="194" creationId="{98866337-7545-8C67-C61C-C8BEE51AC168}"/>
          </ac:spMkLst>
        </pc:spChg>
        <pc:spChg chg="mod">
          <ac:chgData name="Hänninen, Lauri" userId="b62831d1-2046-40aa-b4b7-d67e2d73afe1" providerId="ADAL" clId="{F907ACC7-C8F7-470E-B883-D49732EB787C}" dt="2024-02-20T15:04:44.711" v="4767" actId="165"/>
          <ac:spMkLst>
            <pc:docMk/>
            <pc:sldMk cId="1783604824" sldId="2147483593"/>
            <ac:spMk id="196" creationId="{0FB723F4-C876-567A-0992-29F7132388D9}"/>
          </ac:spMkLst>
        </pc:spChg>
        <pc:spChg chg="mod">
          <ac:chgData name="Hänninen, Lauri" userId="b62831d1-2046-40aa-b4b7-d67e2d73afe1" providerId="ADAL" clId="{F907ACC7-C8F7-470E-B883-D49732EB787C}" dt="2024-02-20T15:04:44.711" v="4767" actId="165"/>
          <ac:spMkLst>
            <pc:docMk/>
            <pc:sldMk cId="1783604824" sldId="2147483593"/>
            <ac:spMk id="197" creationId="{1A21BAD1-77E5-B0E5-3FAF-533E4694E6BD}"/>
          </ac:spMkLst>
        </pc:spChg>
        <pc:spChg chg="mod">
          <ac:chgData name="Hänninen, Lauri" userId="b62831d1-2046-40aa-b4b7-d67e2d73afe1" providerId="ADAL" clId="{F907ACC7-C8F7-470E-B883-D49732EB787C}" dt="2024-02-20T15:04:44.711" v="4767" actId="165"/>
          <ac:spMkLst>
            <pc:docMk/>
            <pc:sldMk cId="1783604824" sldId="2147483593"/>
            <ac:spMk id="198" creationId="{74966A92-9109-D55D-1EBF-BC729B500474}"/>
          </ac:spMkLst>
        </pc:spChg>
        <pc:spChg chg="mod">
          <ac:chgData name="Hänninen, Lauri" userId="b62831d1-2046-40aa-b4b7-d67e2d73afe1" providerId="ADAL" clId="{F907ACC7-C8F7-470E-B883-D49732EB787C}" dt="2024-02-20T15:04:44.711" v="4767" actId="165"/>
          <ac:spMkLst>
            <pc:docMk/>
            <pc:sldMk cId="1783604824" sldId="2147483593"/>
            <ac:spMk id="199" creationId="{95ECA9EC-F881-7A8D-2421-39CFCA0DA929}"/>
          </ac:spMkLst>
        </pc:spChg>
        <pc:spChg chg="mod ord topLvl">
          <ac:chgData name="Hänninen, Lauri" userId="b62831d1-2046-40aa-b4b7-d67e2d73afe1" providerId="ADAL" clId="{F907ACC7-C8F7-470E-B883-D49732EB787C}" dt="2024-02-21T12:10:13.415" v="18720"/>
          <ac:spMkLst>
            <pc:docMk/>
            <pc:sldMk cId="1783604824" sldId="2147483593"/>
            <ac:spMk id="200" creationId="{E0F431D6-B44E-5D99-77F7-ADE32AD6FF93}"/>
          </ac:spMkLst>
        </pc:spChg>
        <pc:spChg chg="mod ord topLvl">
          <ac:chgData name="Hänninen, Lauri" userId="b62831d1-2046-40aa-b4b7-d67e2d73afe1" providerId="ADAL" clId="{F907ACC7-C8F7-470E-B883-D49732EB787C}" dt="2024-02-21T12:10:13.432" v="18792"/>
          <ac:spMkLst>
            <pc:docMk/>
            <pc:sldMk cId="1783604824" sldId="2147483593"/>
            <ac:spMk id="201" creationId="{5F15BAB3-E49E-8B25-FE58-58E8267433B1}"/>
          </ac:spMkLst>
        </pc:spChg>
        <pc:spChg chg="mod">
          <ac:chgData name="Hänninen, Lauri" userId="b62831d1-2046-40aa-b4b7-d67e2d73afe1" providerId="ADAL" clId="{F907ACC7-C8F7-470E-B883-D49732EB787C}" dt="2024-02-20T15:04:50.549" v="4768" actId="165"/>
          <ac:spMkLst>
            <pc:docMk/>
            <pc:sldMk cId="1783604824" sldId="2147483593"/>
            <ac:spMk id="203" creationId="{CD6C2FFE-02B9-AB12-E0DE-884956E227F8}"/>
          </ac:spMkLst>
        </pc:spChg>
        <pc:spChg chg="mod">
          <ac:chgData name="Hänninen, Lauri" userId="b62831d1-2046-40aa-b4b7-d67e2d73afe1" providerId="ADAL" clId="{F907ACC7-C8F7-470E-B883-D49732EB787C}" dt="2024-02-20T15:04:50.549" v="4768" actId="165"/>
          <ac:spMkLst>
            <pc:docMk/>
            <pc:sldMk cId="1783604824" sldId="2147483593"/>
            <ac:spMk id="204" creationId="{577DCD39-17A3-A8F3-9991-D88639FBB887}"/>
          </ac:spMkLst>
        </pc:spChg>
        <pc:spChg chg="mod">
          <ac:chgData name="Hänninen, Lauri" userId="b62831d1-2046-40aa-b4b7-d67e2d73afe1" providerId="ADAL" clId="{F907ACC7-C8F7-470E-B883-D49732EB787C}" dt="2024-02-20T15:04:44.711" v="4767" actId="165"/>
          <ac:spMkLst>
            <pc:docMk/>
            <pc:sldMk cId="1783604824" sldId="2147483593"/>
            <ac:spMk id="205" creationId="{EE426DB6-7F73-6F10-9D93-C721554C201A}"/>
          </ac:spMkLst>
        </pc:spChg>
        <pc:spChg chg="mod">
          <ac:chgData name="Hänninen, Lauri" userId="b62831d1-2046-40aa-b4b7-d67e2d73afe1" providerId="ADAL" clId="{F907ACC7-C8F7-470E-B883-D49732EB787C}" dt="2024-02-20T15:04:44.711" v="4767" actId="165"/>
          <ac:spMkLst>
            <pc:docMk/>
            <pc:sldMk cId="1783604824" sldId="2147483593"/>
            <ac:spMk id="206" creationId="{A099B744-8BA2-88BD-FC84-357449E93FBB}"/>
          </ac:spMkLst>
        </pc:spChg>
        <pc:spChg chg="mod">
          <ac:chgData name="Hänninen, Lauri" userId="b62831d1-2046-40aa-b4b7-d67e2d73afe1" providerId="ADAL" clId="{F907ACC7-C8F7-470E-B883-D49732EB787C}" dt="2024-02-20T15:04:44.711" v="4767" actId="165"/>
          <ac:spMkLst>
            <pc:docMk/>
            <pc:sldMk cId="1783604824" sldId="2147483593"/>
            <ac:spMk id="209" creationId="{42ABE3CB-D036-D9E7-55F1-2AAAF95EAEDB}"/>
          </ac:spMkLst>
        </pc:spChg>
        <pc:spChg chg="mod">
          <ac:chgData name="Hänninen, Lauri" userId="b62831d1-2046-40aa-b4b7-d67e2d73afe1" providerId="ADAL" clId="{F907ACC7-C8F7-470E-B883-D49732EB787C}" dt="2024-02-20T15:04:44.711" v="4767" actId="165"/>
          <ac:spMkLst>
            <pc:docMk/>
            <pc:sldMk cId="1783604824" sldId="2147483593"/>
            <ac:spMk id="210" creationId="{F18308B7-2AB2-CABC-F417-1275801179CB}"/>
          </ac:spMkLst>
        </pc:spChg>
        <pc:spChg chg="mod ord">
          <ac:chgData name="Hänninen, Lauri" userId="b62831d1-2046-40aa-b4b7-d67e2d73afe1" providerId="ADAL" clId="{F907ACC7-C8F7-470E-B883-D49732EB787C}" dt="2024-02-21T12:10:13.421" v="18752"/>
          <ac:spMkLst>
            <pc:docMk/>
            <pc:sldMk cId="1783604824" sldId="2147483593"/>
            <ac:spMk id="242" creationId="{F9982B29-7BFF-751A-D163-0C92423DABC1}"/>
          </ac:spMkLst>
        </pc:spChg>
        <pc:spChg chg="mod ord">
          <ac:chgData name="Hänninen, Lauri" userId="b62831d1-2046-40aa-b4b7-d67e2d73afe1" providerId="ADAL" clId="{F907ACC7-C8F7-470E-B883-D49732EB787C}" dt="2024-02-21T12:10:13.422" v="18754"/>
          <ac:spMkLst>
            <pc:docMk/>
            <pc:sldMk cId="1783604824" sldId="2147483593"/>
            <ac:spMk id="243" creationId="{E8158CC9-BB1A-63D6-8F8C-B2878500C646}"/>
          </ac:spMkLst>
        </pc:spChg>
        <pc:spChg chg="del mod ord">
          <ac:chgData name="Hänninen, Lauri" userId="b62831d1-2046-40aa-b4b7-d67e2d73afe1" providerId="ADAL" clId="{F907ACC7-C8F7-470E-B883-D49732EB787C}" dt="2024-02-20T19:59:29.494" v="8130" actId="478"/>
          <ac:spMkLst>
            <pc:docMk/>
            <pc:sldMk cId="1783604824" sldId="2147483593"/>
            <ac:spMk id="244" creationId="{929FEC08-B969-C79D-32C6-6B1D4BC9CC1B}"/>
          </ac:spMkLst>
        </pc:spChg>
        <pc:spChg chg="del">
          <ac:chgData name="Hänninen, Lauri" userId="b62831d1-2046-40aa-b4b7-d67e2d73afe1" providerId="ADAL" clId="{F907ACC7-C8F7-470E-B883-D49732EB787C}" dt="2024-02-20T15:04:03.148" v="4748" actId="478"/>
          <ac:spMkLst>
            <pc:docMk/>
            <pc:sldMk cId="1783604824" sldId="2147483593"/>
            <ac:spMk id="247" creationId="{7784A767-0B51-C152-979C-F823DC679D35}"/>
          </ac:spMkLst>
        </pc:spChg>
        <pc:spChg chg="del">
          <ac:chgData name="Hänninen, Lauri" userId="b62831d1-2046-40aa-b4b7-d67e2d73afe1" providerId="ADAL" clId="{F907ACC7-C8F7-470E-B883-D49732EB787C}" dt="2024-02-20T15:04:03.148" v="4748" actId="478"/>
          <ac:spMkLst>
            <pc:docMk/>
            <pc:sldMk cId="1783604824" sldId="2147483593"/>
            <ac:spMk id="252" creationId="{5AFDF54C-5D6D-CC47-090D-48292689C42F}"/>
          </ac:spMkLst>
        </pc:spChg>
        <pc:spChg chg="del">
          <ac:chgData name="Hänninen, Lauri" userId="b62831d1-2046-40aa-b4b7-d67e2d73afe1" providerId="ADAL" clId="{F907ACC7-C8F7-470E-B883-D49732EB787C}" dt="2024-02-20T15:04:03.148" v="4748" actId="478"/>
          <ac:spMkLst>
            <pc:docMk/>
            <pc:sldMk cId="1783604824" sldId="2147483593"/>
            <ac:spMk id="253" creationId="{5DDA9409-C18C-7399-6BA2-D83DF05075B2}"/>
          </ac:spMkLst>
        </pc:spChg>
        <pc:spChg chg="del">
          <ac:chgData name="Hänninen, Lauri" userId="b62831d1-2046-40aa-b4b7-d67e2d73afe1" providerId="ADAL" clId="{F907ACC7-C8F7-470E-B883-D49732EB787C}" dt="2024-02-20T15:04:03.148" v="4748" actId="478"/>
          <ac:spMkLst>
            <pc:docMk/>
            <pc:sldMk cId="1783604824" sldId="2147483593"/>
            <ac:spMk id="254" creationId="{912EA443-078D-F525-1135-299B3FB9AD58}"/>
          </ac:spMkLst>
        </pc:spChg>
        <pc:spChg chg="del">
          <ac:chgData name="Hänninen, Lauri" userId="b62831d1-2046-40aa-b4b7-d67e2d73afe1" providerId="ADAL" clId="{F907ACC7-C8F7-470E-B883-D49732EB787C}" dt="2024-02-20T15:04:03.148" v="4748" actId="478"/>
          <ac:spMkLst>
            <pc:docMk/>
            <pc:sldMk cId="1783604824" sldId="2147483593"/>
            <ac:spMk id="255" creationId="{CE944AFE-96D9-230E-3A39-B2D25BAADF27}"/>
          </ac:spMkLst>
        </pc:spChg>
        <pc:spChg chg="mod ord">
          <ac:chgData name="Hänninen, Lauri" userId="b62831d1-2046-40aa-b4b7-d67e2d73afe1" providerId="ADAL" clId="{F907ACC7-C8F7-470E-B883-D49732EB787C}" dt="2024-02-21T12:10:13.423" v="18758"/>
          <ac:spMkLst>
            <pc:docMk/>
            <pc:sldMk cId="1783604824" sldId="2147483593"/>
            <ac:spMk id="256" creationId="{12387DAE-532B-000A-47CA-D0773EF1C741}"/>
          </ac:spMkLst>
        </pc:spChg>
        <pc:spChg chg="mod">
          <ac:chgData name="Hänninen, Lauri" userId="b62831d1-2046-40aa-b4b7-d67e2d73afe1" providerId="ADAL" clId="{F907ACC7-C8F7-470E-B883-D49732EB787C}" dt="2024-02-21T12:10:13.423" v="18759"/>
          <ac:spMkLst>
            <pc:docMk/>
            <pc:sldMk cId="1783604824" sldId="2147483593"/>
            <ac:spMk id="257" creationId="{C0B3B776-CFC4-7DCD-469A-97437DAC0D88}"/>
          </ac:spMkLst>
        </pc:spChg>
        <pc:spChg chg="mod">
          <ac:chgData name="Hänninen, Lauri" userId="b62831d1-2046-40aa-b4b7-d67e2d73afe1" providerId="ADAL" clId="{F907ACC7-C8F7-470E-B883-D49732EB787C}" dt="2024-02-21T12:10:13.423" v="18760"/>
          <ac:spMkLst>
            <pc:docMk/>
            <pc:sldMk cId="1783604824" sldId="2147483593"/>
            <ac:spMk id="258" creationId="{3D0EE2A8-4ECC-116B-ECD7-EBAF7C926BA1}"/>
          </ac:spMkLst>
        </pc:spChg>
        <pc:spChg chg="mod">
          <ac:chgData name="Hänninen, Lauri" userId="b62831d1-2046-40aa-b4b7-d67e2d73afe1" providerId="ADAL" clId="{F907ACC7-C8F7-470E-B883-D49732EB787C}" dt="2024-02-21T12:10:13.424" v="18761"/>
          <ac:spMkLst>
            <pc:docMk/>
            <pc:sldMk cId="1783604824" sldId="2147483593"/>
            <ac:spMk id="259" creationId="{9F937A56-0E4F-2626-7D33-011C6AE98ED9}"/>
          </ac:spMkLst>
        </pc:spChg>
        <pc:spChg chg="mod">
          <ac:chgData name="Hänninen, Lauri" userId="b62831d1-2046-40aa-b4b7-d67e2d73afe1" providerId="ADAL" clId="{F907ACC7-C8F7-470E-B883-D49732EB787C}" dt="2024-02-21T12:10:13.424" v="18762"/>
          <ac:spMkLst>
            <pc:docMk/>
            <pc:sldMk cId="1783604824" sldId="2147483593"/>
            <ac:spMk id="260" creationId="{9450A999-ACE3-15D5-C4FE-9C88E9D29C2D}"/>
          </ac:spMkLst>
        </pc:spChg>
        <pc:spChg chg="mod">
          <ac:chgData name="Hänninen, Lauri" userId="b62831d1-2046-40aa-b4b7-d67e2d73afe1" providerId="ADAL" clId="{F907ACC7-C8F7-470E-B883-D49732EB787C}" dt="2024-02-21T12:10:13.425" v="18763"/>
          <ac:spMkLst>
            <pc:docMk/>
            <pc:sldMk cId="1783604824" sldId="2147483593"/>
            <ac:spMk id="261" creationId="{EA634C07-8487-AEA1-A2D8-7C3470093540}"/>
          </ac:spMkLst>
        </pc:spChg>
        <pc:spChg chg="mod">
          <ac:chgData name="Hänninen, Lauri" userId="b62831d1-2046-40aa-b4b7-d67e2d73afe1" providerId="ADAL" clId="{F907ACC7-C8F7-470E-B883-D49732EB787C}" dt="2024-02-21T12:10:13.425" v="18764"/>
          <ac:spMkLst>
            <pc:docMk/>
            <pc:sldMk cId="1783604824" sldId="2147483593"/>
            <ac:spMk id="262" creationId="{82BB3ECD-8EC7-0169-A533-C53E182075EA}"/>
          </ac:spMkLst>
        </pc:spChg>
        <pc:spChg chg="mod">
          <ac:chgData name="Hänninen, Lauri" userId="b62831d1-2046-40aa-b4b7-d67e2d73afe1" providerId="ADAL" clId="{F907ACC7-C8F7-470E-B883-D49732EB787C}" dt="2024-02-21T12:05:11.476" v="18469" actId="1038"/>
          <ac:spMkLst>
            <pc:docMk/>
            <pc:sldMk cId="1783604824" sldId="2147483593"/>
            <ac:spMk id="285" creationId="{1A84B550-8FC5-AFE5-E3E8-9B3B95C610F3}"/>
          </ac:spMkLst>
        </pc:spChg>
        <pc:spChg chg="mod">
          <ac:chgData name="Hänninen, Lauri" userId="b62831d1-2046-40aa-b4b7-d67e2d73afe1" providerId="ADAL" clId="{F907ACC7-C8F7-470E-B883-D49732EB787C}" dt="2024-02-21T12:05:11.476" v="18469" actId="1038"/>
          <ac:spMkLst>
            <pc:docMk/>
            <pc:sldMk cId="1783604824" sldId="2147483593"/>
            <ac:spMk id="286" creationId="{FD6F617D-D1C0-9354-6C19-53B0D7176493}"/>
          </ac:spMkLst>
        </pc:spChg>
        <pc:spChg chg="mod">
          <ac:chgData name="Hänninen, Lauri" userId="b62831d1-2046-40aa-b4b7-d67e2d73afe1" providerId="ADAL" clId="{F907ACC7-C8F7-470E-B883-D49732EB787C}" dt="2024-02-21T12:10:13.431" v="18789"/>
          <ac:spMkLst>
            <pc:docMk/>
            <pc:sldMk cId="1783604824" sldId="2147483593"/>
            <ac:spMk id="287" creationId="{E1C1B311-3F37-182B-566D-D37CF3B31C7A}"/>
          </ac:spMkLst>
        </pc:spChg>
        <pc:spChg chg="mod">
          <ac:chgData name="Hänninen, Lauri" userId="b62831d1-2046-40aa-b4b7-d67e2d73afe1" providerId="ADAL" clId="{F907ACC7-C8F7-470E-B883-D49732EB787C}" dt="2024-02-21T14:38:11.080" v="29218" actId="20577"/>
          <ac:spMkLst>
            <pc:docMk/>
            <pc:sldMk cId="1783604824" sldId="2147483593"/>
            <ac:spMk id="288" creationId="{5396B244-4B6E-161F-138B-1AE339A4AA6A}"/>
          </ac:spMkLst>
        </pc:spChg>
        <pc:grpChg chg="add del mod ord">
          <ac:chgData name="Hänninen, Lauri" userId="b62831d1-2046-40aa-b4b7-d67e2d73afe1" providerId="ADAL" clId="{F907ACC7-C8F7-470E-B883-D49732EB787C}" dt="2024-02-21T12:09:34.880" v="18675" actId="478"/>
          <ac:grpSpMkLst>
            <pc:docMk/>
            <pc:sldMk cId="1783604824" sldId="2147483593"/>
            <ac:grpSpMk id="6" creationId="{02DE9981-42AD-27B0-133A-5412C17A5C1D}"/>
          </ac:grpSpMkLst>
        </pc:grpChg>
        <pc:grpChg chg="add del mod ord">
          <ac:chgData name="Hänninen, Lauri" userId="b62831d1-2046-40aa-b4b7-d67e2d73afe1" providerId="ADAL" clId="{F907ACC7-C8F7-470E-B883-D49732EB787C}" dt="2024-02-21T12:09:34.880" v="18675" actId="478"/>
          <ac:grpSpMkLst>
            <pc:docMk/>
            <pc:sldMk cId="1783604824" sldId="2147483593"/>
            <ac:grpSpMk id="12" creationId="{3701AF9E-820E-6FFD-992B-A17A6A6A057D}"/>
          </ac:grpSpMkLst>
        </pc:grpChg>
        <pc:grpChg chg="add del mod ord">
          <ac:chgData name="Hänninen, Lauri" userId="b62831d1-2046-40aa-b4b7-d67e2d73afe1" providerId="ADAL" clId="{F907ACC7-C8F7-470E-B883-D49732EB787C}" dt="2024-02-21T12:09:34.880" v="18675" actId="478"/>
          <ac:grpSpMkLst>
            <pc:docMk/>
            <pc:sldMk cId="1783604824" sldId="2147483593"/>
            <ac:grpSpMk id="17" creationId="{78F5D248-4CC9-ACDA-F587-6836B402A66C}"/>
          </ac:grpSpMkLst>
        </pc:grpChg>
        <pc:grpChg chg="add del mod ord">
          <ac:chgData name="Hänninen, Lauri" userId="b62831d1-2046-40aa-b4b7-d67e2d73afe1" providerId="ADAL" clId="{F907ACC7-C8F7-470E-B883-D49732EB787C}" dt="2024-02-21T12:09:34.880" v="18675" actId="478"/>
          <ac:grpSpMkLst>
            <pc:docMk/>
            <pc:sldMk cId="1783604824" sldId="2147483593"/>
            <ac:grpSpMk id="22" creationId="{9DEAB6F2-F813-6534-177E-147ED0B48400}"/>
          </ac:grpSpMkLst>
        </pc:grpChg>
        <pc:grpChg chg="add del mod ord">
          <ac:chgData name="Hänninen, Lauri" userId="b62831d1-2046-40aa-b4b7-d67e2d73afe1" providerId="ADAL" clId="{F907ACC7-C8F7-470E-B883-D49732EB787C}" dt="2024-02-21T12:08:11.796" v="18661" actId="478"/>
          <ac:grpSpMkLst>
            <pc:docMk/>
            <pc:sldMk cId="1783604824" sldId="2147483593"/>
            <ac:grpSpMk id="27" creationId="{D174ACE8-7688-5C9D-F7D7-CA283628F014}"/>
          </ac:grpSpMkLst>
        </pc:grpChg>
        <pc:grpChg chg="add mod ord">
          <ac:chgData name="Hänninen, Lauri" userId="b62831d1-2046-40aa-b4b7-d67e2d73afe1" providerId="ADAL" clId="{F907ACC7-C8F7-470E-B883-D49732EB787C}" dt="2024-02-21T12:10:13.411" v="18704"/>
          <ac:grpSpMkLst>
            <pc:docMk/>
            <pc:sldMk cId="1783604824" sldId="2147483593"/>
            <ac:grpSpMk id="32" creationId="{5C0745CF-93FC-5997-3362-F23E4306EAA4}"/>
          </ac:grpSpMkLst>
        </pc:grpChg>
        <pc:grpChg chg="add mod ord">
          <ac:chgData name="Hänninen, Lauri" userId="b62831d1-2046-40aa-b4b7-d67e2d73afe1" providerId="ADAL" clId="{F907ACC7-C8F7-470E-B883-D49732EB787C}" dt="2024-02-21T12:10:13.412" v="18706"/>
          <ac:grpSpMkLst>
            <pc:docMk/>
            <pc:sldMk cId="1783604824" sldId="2147483593"/>
            <ac:grpSpMk id="37" creationId="{53251CE7-9E2D-8DA2-2E69-E04C3E7247E8}"/>
          </ac:grpSpMkLst>
        </pc:grpChg>
        <pc:grpChg chg="add mod ord">
          <ac:chgData name="Hänninen, Lauri" userId="b62831d1-2046-40aa-b4b7-d67e2d73afe1" providerId="ADAL" clId="{F907ACC7-C8F7-470E-B883-D49732EB787C}" dt="2024-02-21T12:10:13.412" v="18708"/>
          <ac:grpSpMkLst>
            <pc:docMk/>
            <pc:sldMk cId="1783604824" sldId="2147483593"/>
            <ac:grpSpMk id="42" creationId="{1EC3BA18-5F96-BBD4-DD6A-E71A65CFE6AE}"/>
          </ac:grpSpMkLst>
        </pc:grpChg>
        <pc:grpChg chg="add mod ord">
          <ac:chgData name="Hänninen, Lauri" userId="b62831d1-2046-40aa-b4b7-d67e2d73afe1" providerId="ADAL" clId="{F907ACC7-C8F7-470E-B883-D49732EB787C}" dt="2024-02-21T12:10:13.413" v="18710"/>
          <ac:grpSpMkLst>
            <pc:docMk/>
            <pc:sldMk cId="1783604824" sldId="2147483593"/>
            <ac:grpSpMk id="47" creationId="{9ADE92EF-3B4E-9271-2A30-EA99983F7653}"/>
          </ac:grpSpMkLst>
        </pc:grpChg>
        <pc:grpChg chg="add mod ord">
          <ac:chgData name="Hänninen, Lauri" userId="b62831d1-2046-40aa-b4b7-d67e2d73afe1" providerId="ADAL" clId="{F907ACC7-C8F7-470E-B883-D49732EB787C}" dt="2024-02-21T12:10:13.413" v="18712"/>
          <ac:grpSpMkLst>
            <pc:docMk/>
            <pc:sldMk cId="1783604824" sldId="2147483593"/>
            <ac:grpSpMk id="52" creationId="{2E02E9EF-1CED-16AC-6245-BFAADED8BF0E}"/>
          </ac:grpSpMkLst>
        </pc:grpChg>
        <pc:grpChg chg="del mod">
          <ac:chgData name="Hänninen, Lauri" userId="b62831d1-2046-40aa-b4b7-d67e2d73afe1" providerId="ADAL" clId="{F907ACC7-C8F7-470E-B883-D49732EB787C}" dt="2024-02-20T15:04:44.711" v="4767" actId="165"/>
          <ac:grpSpMkLst>
            <pc:docMk/>
            <pc:sldMk cId="1783604824" sldId="2147483593"/>
            <ac:grpSpMk id="147" creationId="{AA65DE73-1E67-832E-267E-E8AF792C5CC9}"/>
          </ac:grpSpMkLst>
        </pc:grpChg>
        <pc:grpChg chg="mod ord topLvl">
          <ac:chgData name="Hänninen, Lauri" userId="b62831d1-2046-40aa-b4b7-d67e2d73afe1" providerId="ADAL" clId="{F907ACC7-C8F7-470E-B883-D49732EB787C}" dt="2024-02-21T12:10:13.414" v="18718"/>
          <ac:grpSpMkLst>
            <pc:docMk/>
            <pc:sldMk cId="1783604824" sldId="2147483593"/>
            <ac:grpSpMk id="148" creationId="{4B9D4539-97F9-BF3B-D39F-1BA970736CF4}"/>
          </ac:grpSpMkLst>
        </pc:grpChg>
        <pc:grpChg chg="del mod topLvl">
          <ac:chgData name="Hänninen, Lauri" userId="b62831d1-2046-40aa-b4b7-d67e2d73afe1" providerId="ADAL" clId="{F907ACC7-C8F7-470E-B883-D49732EB787C}" dt="2024-02-20T15:04:50.549" v="4768" actId="165"/>
          <ac:grpSpMkLst>
            <pc:docMk/>
            <pc:sldMk cId="1783604824" sldId="2147483593"/>
            <ac:grpSpMk id="149" creationId="{031A1D4A-A8C6-F43B-792C-AB65C5EA0AFA}"/>
          </ac:grpSpMkLst>
        </pc:grpChg>
        <pc:grpChg chg="mod ord topLvl">
          <ac:chgData name="Hänninen, Lauri" userId="b62831d1-2046-40aa-b4b7-d67e2d73afe1" providerId="ADAL" clId="{F907ACC7-C8F7-470E-B883-D49732EB787C}" dt="2024-02-21T12:10:13.417" v="18730"/>
          <ac:grpSpMkLst>
            <pc:docMk/>
            <pc:sldMk cId="1783604824" sldId="2147483593"/>
            <ac:grpSpMk id="155" creationId="{CEEE8025-D2D1-ECEE-26B5-E21469FE54A6}"/>
          </ac:grpSpMkLst>
        </pc:grpChg>
        <pc:grpChg chg="mod ord topLvl">
          <ac:chgData name="Hänninen, Lauri" userId="b62831d1-2046-40aa-b4b7-d67e2d73afe1" providerId="ADAL" clId="{F907ACC7-C8F7-470E-B883-D49732EB787C}" dt="2024-02-21T12:10:13.417" v="18732"/>
          <ac:grpSpMkLst>
            <pc:docMk/>
            <pc:sldMk cId="1783604824" sldId="2147483593"/>
            <ac:grpSpMk id="156" creationId="{45BE73E2-10A4-3222-3482-3E0476FFE06F}"/>
          </ac:grpSpMkLst>
        </pc:grpChg>
        <pc:grpChg chg="mod ord topLvl">
          <ac:chgData name="Hänninen, Lauri" userId="b62831d1-2046-40aa-b4b7-d67e2d73afe1" providerId="ADAL" clId="{F907ACC7-C8F7-470E-B883-D49732EB787C}" dt="2024-02-21T12:10:13.418" v="18738"/>
          <ac:grpSpMkLst>
            <pc:docMk/>
            <pc:sldMk cId="1783604824" sldId="2147483593"/>
            <ac:grpSpMk id="161" creationId="{74A5AA56-AD22-3A4D-8F91-03E122A7DEAD}"/>
          </ac:grpSpMkLst>
        </pc:grpChg>
        <pc:grpChg chg="mod ord topLvl">
          <ac:chgData name="Hänninen, Lauri" userId="b62831d1-2046-40aa-b4b7-d67e2d73afe1" providerId="ADAL" clId="{F907ACC7-C8F7-470E-B883-D49732EB787C}" dt="2024-02-21T12:10:13.419" v="18740"/>
          <ac:grpSpMkLst>
            <pc:docMk/>
            <pc:sldMk cId="1783604824" sldId="2147483593"/>
            <ac:grpSpMk id="162" creationId="{53861C93-288B-0A86-34E6-9D5A223809F0}"/>
          </ac:grpSpMkLst>
        </pc:grpChg>
        <pc:grpChg chg="mod ord topLvl">
          <ac:chgData name="Hänninen, Lauri" userId="b62831d1-2046-40aa-b4b7-d67e2d73afe1" providerId="ADAL" clId="{F907ACC7-C8F7-470E-B883-D49732EB787C}" dt="2024-02-21T12:10:13.419" v="18742"/>
          <ac:grpSpMkLst>
            <pc:docMk/>
            <pc:sldMk cId="1783604824" sldId="2147483593"/>
            <ac:grpSpMk id="163" creationId="{6AD99F70-1216-8ECD-20AF-FDDCD61E75D0}"/>
          </ac:grpSpMkLst>
        </pc:grpChg>
        <pc:grpChg chg="mod ord topLvl">
          <ac:chgData name="Hänninen, Lauri" userId="b62831d1-2046-40aa-b4b7-d67e2d73afe1" providerId="ADAL" clId="{F907ACC7-C8F7-470E-B883-D49732EB787C}" dt="2024-02-21T12:10:13.420" v="18744"/>
          <ac:grpSpMkLst>
            <pc:docMk/>
            <pc:sldMk cId="1783604824" sldId="2147483593"/>
            <ac:grpSpMk id="164" creationId="{7B6A1835-B61C-7DEC-E589-3798A7D292F7}"/>
          </ac:grpSpMkLst>
        </pc:grpChg>
        <pc:grpChg chg="mod">
          <ac:chgData name="Hänninen, Lauri" userId="b62831d1-2046-40aa-b4b7-d67e2d73afe1" providerId="ADAL" clId="{F907ACC7-C8F7-470E-B883-D49732EB787C}" dt="2024-02-20T15:04:44.711" v="4767" actId="165"/>
          <ac:grpSpMkLst>
            <pc:docMk/>
            <pc:sldMk cId="1783604824" sldId="2147483593"/>
            <ac:grpSpMk id="171" creationId="{56391DA5-0D02-CA9E-0BC9-74F98DFBAFAD}"/>
          </ac:grpSpMkLst>
        </pc:grpChg>
        <pc:grpChg chg="mod">
          <ac:chgData name="Hänninen, Lauri" userId="b62831d1-2046-40aa-b4b7-d67e2d73afe1" providerId="ADAL" clId="{F907ACC7-C8F7-470E-B883-D49732EB787C}" dt="2024-02-20T15:04:44.711" v="4767" actId="165"/>
          <ac:grpSpMkLst>
            <pc:docMk/>
            <pc:sldMk cId="1783604824" sldId="2147483593"/>
            <ac:grpSpMk id="178" creationId="{3DF9BB79-7EAF-8FAB-4F6F-5D52786EE004}"/>
          </ac:grpSpMkLst>
        </pc:grpChg>
        <pc:grpChg chg="mod">
          <ac:chgData name="Hänninen, Lauri" userId="b62831d1-2046-40aa-b4b7-d67e2d73afe1" providerId="ADAL" clId="{F907ACC7-C8F7-470E-B883-D49732EB787C}" dt="2024-02-20T15:04:44.711" v="4767" actId="165"/>
          <ac:grpSpMkLst>
            <pc:docMk/>
            <pc:sldMk cId="1783604824" sldId="2147483593"/>
            <ac:grpSpMk id="185" creationId="{D5A6EFED-562F-EE59-F1CE-F8D686EF76E2}"/>
          </ac:grpSpMkLst>
        </pc:grpChg>
        <pc:grpChg chg="mod">
          <ac:chgData name="Hänninen, Lauri" userId="b62831d1-2046-40aa-b4b7-d67e2d73afe1" providerId="ADAL" clId="{F907ACC7-C8F7-470E-B883-D49732EB787C}" dt="2024-02-20T15:04:44.711" v="4767" actId="165"/>
          <ac:grpSpMkLst>
            <pc:docMk/>
            <pc:sldMk cId="1783604824" sldId="2147483593"/>
            <ac:grpSpMk id="192" creationId="{05173C95-38CB-FBEC-F147-EF6295DAA46A}"/>
          </ac:grpSpMkLst>
        </pc:grpChg>
        <pc:grpChg chg="mod ord topLvl">
          <ac:chgData name="Hänninen, Lauri" userId="b62831d1-2046-40aa-b4b7-d67e2d73afe1" providerId="ADAL" clId="{F907ACC7-C8F7-470E-B883-D49732EB787C}" dt="2024-02-21T12:10:13.415" v="18722"/>
          <ac:grpSpMkLst>
            <pc:docMk/>
            <pc:sldMk cId="1783604824" sldId="2147483593"/>
            <ac:grpSpMk id="202" creationId="{221C6793-CCB6-6F3B-A7BE-7CC607251FAB}"/>
          </ac:grpSpMkLst>
        </pc:grpChg>
        <pc:grpChg chg="mod">
          <ac:chgData name="Hänninen, Lauri" userId="b62831d1-2046-40aa-b4b7-d67e2d73afe1" providerId="ADAL" clId="{F907ACC7-C8F7-470E-B883-D49732EB787C}" dt="2024-02-20T15:04:44.711" v="4767" actId="165"/>
          <ac:grpSpMkLst>
            <pc:docMk/>
            <pc:sldMk cId="1783604824" sldId="2147483593"/>
            <ac:grpSpMk id="208" creationId="{B552501C-B27C-0E1B-1660-371ADABC88FE}"/>
          </ac:grpSpMkLst>
        </pc:grpChg>
        <pc:grpChg chg="del mod ord">
          <ac:chgData name="Hänninen, Lauri" userId="b62831d1-2046-40aa-b4b7-d67e2d73afe1" providerId="ADAL" clId="{F907ACC7-C8F7-470E-B883-D49732EB787C}" dt="2024-02-21T12:06:34.346" v="18495" actId="478"/>
          <ac:grpSpMkLst>
            <pc:docMk/>
            <pc:sldMk cId="1783604824" sldId="2147483593"/>
            <ac:grpSpMk id="212" creationId="{DA943A04-1F15-8CF1-7F72-9B3F31F0235F}"/>
          </ac:grpSpMkLst>
        </pc:grpChg>
        <pc:grpChg chg="del mod ord">
          <ac:chgData name="Hänninen, Lauri" userId="b62831d1-2046-40aa-b4b7-d67e2d73afe1" providerId="ADAL" clId="{F907ACC7-C8F7-470E-B883-D49732EB787C}" dt="2024-02-21T12:06:39.663" v="18496" actId="478"/>
          <ac:grpSpMkLst>
            <pc:docMk/>
            <pc:sldMk cId="1783604824" sldId="2147483593"/>
            <ac:grpSpMk id="217" creationId="{174C583D-19B6-1D57-D4F5-BEB98D5D3911}"/>
          </ac:grpSpMkLst>
        </pc:grpChg>
        <pc:grpChg chg="del mod ord">
          <ac:chgData name="Hänninen, Lauri" userId="b62831d1-2046-40aa-b4b7-d67e2d73afe1" providerId="ADAL" clId="{F907ACC7-C8F7-470E-B883-D49732EB787C}" dt="2024-02-21T12:06:39.663" v="18496" actId="478"/>
          <ac:grpSpMkLst>
            <pc:docMk/>
            <pc:sldMk cId="1783604824" sldId="2147483593"/>
            <ac:grpSpMk id="222" creationId="{5259A442-C6FF-8027-7901-D4346CD94F5C}"/>
          </ac:grpSpMkLst>
        </pc:grpChg>
        <pc:grpChg chg="del mod ord">
          <ac:chgData name="Hänninen, Lauri" userId="b62831d1-2046-40aa-b4b7-d67e2d73afe1" providerId="ADAL" clId="{F907ACC7-C8F7-470E-B883-D49732EB787C}" dt="2024-02-21T12:06:39.663" v="18496" actId="478"/>
          <ac:grpSpMkLst>
            <pc:docMk/>
            <pc:sldMk cId="1783604824" sldId="2147483593"/>
            <ac:grpSpMk id="227" creationId="{A5DAEC05-CCF8-FC59-74BF-F9083549A208}"/>
          </ac:grpSpMkLst>
        </pc:grpChg>
        <pc:grpChg chg="del mod ord">
          <ac:chgData name="Hänninen, Lauri" userId="b62831d1-2046-40aa-b4b7-d67e2d73afe1" providerId="ADAL" clId="{F907ACC7-C8F7-470E-B883-D49732EB787C}" dt="2024-02-21T12:06:39.663" v="18496" actId="478"/>
          <ac:grpSpMkLst>
            <pc:docMk/>
            <pc:sldMk cId="1783604824" sldId="2147483593"/>
            <ac:grpSpMk id="232" creationId="{E73FA58F-E999-E9AD-EDFE-B32190169E8B}"/>
          </ac:grpSpMkLst>
        </pc:grpChg>
        <pc:grpChg chg="mod ord">
          <ac:chgData name="Hänninen, Lauri" userId="b62831d1-2046-40aa-b4b7-d67e2d73afe1" providerId="ADAL" clId="{F907ACC7-C8F7-470E-B883-D49732EB787C}" dt="2024-02-21T12:10:13.409" v="18702"/>
          <ac:grpSpMkLst>
            <pc:docMk/>
            <pc:sldMk cId="1783604824" sldId="2147483593"/>
            <ac:grpSpMk id="237" creationId="{7F6208FF-EF8B-0DBB-A47C-BC95673B56A3}"/>
          </ac:grpSpMkLst>
        </pc:grpChg>
        <pc:grpChg chg="mod ord">
          <ac:chgData name="Hänninen, Lauri" userId="b62831d1-2046-40aa-b4b7-d67e2d73afe1" providerId="ADAL" clId="{F907ACC7-C8F7-470E-B883-D49732EB787C}" dt="2024-02-21T12:10:13.422" v="18756"/>
          <ac:grpSpMkLst>
            <pc:docMk/>
            <pc:sldMk cId="1783604824" sldId="2147483593"/>
            <ac:grpSpMk id="245" creationId="{4B1F0165-72D5-5487-6A2E-214459968E43}"/>
          </ac:grpSpMkLst>
        </pc:grpChg>
        <pc:grpChg chg="mod ord">
          <ac:chgData name="Hänninen, Lauri" userId="b62831d1-2046-40aa-b4b7-d67e2d73afe1" providerId="ADAL" clId="{F907ACC7-C8F7-470E-B883-D49732EB787C}" dt="2024-02-21T12:10:13.428" v="18778"/>
          <ac:grpSpMkLst>
            <pc:docMk/>
            <pc:sldMk cId="1783604824" sldId="2147483593"/>
            <ac:grpSpMk id="269" creationId="{7105B763-A496-E334-ADDE-C2E606890524}"/>
          </ac:grpSpMkLst>
        </pc:grpChg>
        <pc:grpChg chg="mod ord">
          <ac:chgData name="Hänninen, Lauri" userId="b62831d1-2046-40aa-b4b7-d67e2d73afe1" providerId="ADAL" clId="{F907ACC7-C8F7-470E-B883-D49732EB787C}" dt="2024-02-21T12:10:13.428" v="18780"/>
          <ac:grpSpMkLst>
            <pc:docMk/>
            <pc:sldMk cId="1783604824" sldId="2147483593"/>
            <ac:grpSpMk id="272" creationId="{51F206E0-0259-9340-3956-0C4D437AFBD9}"/>
          </ac:grpSpMkLst>
        </pc:grpChg>
        <pc:grpChg chg="mod ord">
          <ac:chgData name="Hänninen, Lauri" userId="b62831d1-2046-40aa-b4b7-d67e2d73afe1" providerId="ADAL" clId="{F907ACC7-C8F7-470E-B883-D49732EB787C}" dt="2024-02-21T12:10:13.429" v="18782"/>
          <ac:grpSpMkLst>
            <pc:docMk/>
            <pc:sldMk cId="1783604824" sldId="2147483593"/>
            <ac:grpSpMk id="275" creationId="{7A00FAB1-AE2E-D046-A660-F85156BFEE0A}"/>
          </ac:grpSpMkLst>
        </pc:grpChg>
        <pc:grpChg chg="mod ord">
          <ac:chgData name="Hänninen, Lauri" userId="b62831d1-2046-40aa-b4b7-d67e2d73afe1" providerId="ADAL" clId="{F907ACC7-C8F7-470E-B883-D49732EB787C}" dt="2024-02-21T12:10:13.430" v="18784"/>
          <ac:grpSpMkLst>
            <pc:docMk/>
            <pc:sldMk cId="1783604824" sldId="2147483593"/>
            <ac:grpSpMk id="278" creationId="{7D6D5D17-D27D-202D-0180-EAC7B6F187C1}"/>
          </ac:grpSpMkLst>
        </pc:grpChg>
        <pc:grpChg chg="mod ord">
          <ac:chgData name="Hänninen, Lauri" userId="b62831d1-2046-40aa-b4b7-d67e2d73afe1" providerId="ADAL" clId="{F907ACC7-C8F7-470E-B883-D49732EB787C}" dt="2024-02-21T12:10:13.430" v="18786"/>
          <ac:grpSpMkLst>
            <pc:docMk/>
            <pc:sldMk cId="1783604824" sldId="2147483593"/>
            <ac:grpSpMk id="281" creationId="{2FDE7277-3645-BD6F-7178-31017C9652B6}"/>
          </ac:grpSpMkLst>
        </pc:grpChg>
        <pc:grpChg chg="mod ord">
          <ac:chgData name="Hänninen, Lauri" userId="b62831d1-2046-40aa-b4b7-d67e2d73afe1" providerId="ADAL" clId="{F907ACC7-C8F7-470E-B883-D49732EB787C}" dt="2024-02-21T12:10:13.430" v="18788"/>
          <ac:grpSpMkLst>
            <pc:docMk/>
            <pc:sldMk cId="1783604824" sldId="2147483593"/>
            <ac:grpSpMk id="284" creationId="{075A570A-4441-5376-44FA-CF5EE6CA5F5F}"/>
          </ac:grpSpMkLst>
        </pc:grpChg>
        <pc:graphicFrameChg chg="mod">
          <ac:chgData name="Hänninen, Lauri" userId="b62831d1-2046-40aa-b4b7-d67e2d73afe1" providerId="ADAL" clId="{F907ACC7-C8F7-470E-B883-D49732EB787C}" dt="2024-02-21T12:10:13.439" v="18806"/>
          <ac:graphicFrameMkLst>
            <pc:docMk/>
            <pc:sldMk cId="1783604824" sldId="2147483593"/>
            <ac:graphicFrameMk id="5" creationId="{1DBB522C-E0A8-BBF0-E798-8627F458E5FD}"/>
          </ac:graphicFrameMkLst>
        </pc:graphicFrameChg>
        <pc:picChg chg="mod ord">
          <ac:chgData name="Hänninen, Lauri" userId="b62831d1-2046-40aa-b4b7-d67e2d73afe1" providerId="ADAL" clId="{F907ACC7-C8F7-470E-B883-D49732EB787C}" dt="2024-02-21T12:10:13.426" v="18766"/>
          <ac:picMkLst>
            <pc:docMk/>
            <pc:sldMk cId="1783604824" sldId="2147483593"/>
            <ac:picMk id="4" creationId="{CA7F1122-0A88-BE71-F975-6BC21635D17C}"/>
          </ac:picMkLst>
        </pc:picChg>
        <pc:picChg chg="mod ord">
          <ac:chgData name="Hänninen, Lauri" userId="b62831d1-2046-40aa-b4b7-d67e2d73afe1" providerId="ADAL" clId="{F907ACC7-C8F7-470E-B883-D49732EB787C}" dt="2024-02-21T12:10:13.427" v="18768"/>
          <ac:picMkLst>
            <pc:docMk/>
            <pc:sldMk cId="1783604824" sldId="2147483593"/>
            <ac:picMk id="264" creationId="{1698A710-C918-43E5-1EFB-F73B09F94DBE}"/>
          </ac:picMkLst>
        </pc:picChg>
        <pc:picChg chg="mod ord">
          <ac:chgData name="Hänninen, Lauri" userId="b62831d1-2046-40aa-b4b7-d67e2d73afe1" providerId="ADAL" clId="{F907ACC7-C8F7-470E-B883-D49732EB787C}" dt="2024-02-21T12:10:13.427" v="18770"/>
          <ac:picMkLst>
            <pc:docMk/>
            <pc:sldMk cId="1783604824" sldId="2147483593"/>
            <ac:picMk id="265" creationId="{4355A9D2-160A-0B8F-329C-E4D1434EB2BA}"/>
          </ac:picMkLst>
        </pc:picChg>
        <pc:picChg chg="mod ord">
          <ac:chgData name="Hänninen, Lauri" userId="b62831d1-2046-40aa-b4b7-d67e2d73afe1" providerId="ADAL" clId="{F907ACC7-C8F7-470E-B883-D49732EB787C}" dt="2024-02-21T12:10:13.427" v="18772"/>
          <ac:picMkLst>
            <pc:docMk/>
            <pc:sldMk cId="1783604824" sldId="2147483593"/>
            <ac:picMk id="266" creationId="{6C4F869A-E462-7D0E-F58A-D5B4F457A5BF}"/>
          </ac:picMkLst>
        </pc:picChg>
        <pc:picChg chg="mod ord">
          <ac:chgData name="Hänninen, Lauri" userId="b62831d1-2046-40aa-b4b7-d67e2d73afe1" providerId="ADAL" clId="{F907ACC7-C8F7-470E-B883-D49732EB787C}" dt="2024-02-21T12:10:13.427" v="18774"/>
          <ac:picMkLst>
            <pc:docMk/>
            <pc:sldMk cId="1783604824" sldId="2147483593"/>
            <ac:picMk id="267" creationId="{0F356A11-01DE-256F-98F8-E0E21D773E0E}"/>
          </ac:picMkLst>
        </pc:picChg>
        <pc:picChg chg="mod ord">
          <ac:chgData name="Hänninen, Lauri" userId="b62831d1-2046-40aa-b4b7-d67e2d73afe1" providerId="ADAL" clId="{F907ACC7-C8F7-470E-B883-D49732EB787C}" dt="2024-02-21T12:10:13.427" v="18776"/>
          <ac:picMkLst>
            <pc:docMk/>
            <pc:sldMk cId="1783604824" sldId="2147483593"/>
            <ac:picMk id="268" creationId="{C200BE2A-6277-DB55-5940-94D978E20F76}"/>
          </ac:picMkLst>
        </pc:picChg>
        <pc:cxnChg chg="mod">
          <ac:chgData name="Hänninen, Lauri" userId="b62831d1-2046-40aa-b4b7-d67e2d73afe1" providerId="ADAL" clId="{F907ACC7-C8F7-470E-B883-D49732EB787C}" dt="2024-02-21T12:07:07.358" v="18513"/>
          <ac:cxnSpMkLst>
            <pc:docMk/>
            <pc:sldMk cId="1783604824" sldId="2147483593"/>
            <ac:cxnSpMk id="7" creationId="{07109C55-0215-1E7C-D594-2AC7E17AB1B3}"/>
          </ac:cxnSpMkLst>
        </pc:cxnChg>
        <pc:cxnChg chg="mod">
          <ac:chgData name="Hänninen, Lauri" userId="b62831d1-2046-40aa-b4b7-d67e2d73afe1" providerId="ADAL" clId="{F907ACC7-C8F7-470E-B883-D49732EB787C}" dt="2024-02-21T12:07:07.358" v="18513"/>
          <ac:cxnSpMkLst>
            <pc:docMk/>
            <pc:sldMk cId="1783604824" sldId="2147483593"/>
            <ac:cxnSpMk id="8" creationId="{370D5801-597E-AA84-7730-F875FF9E83C7}"/>
          </ac:cxnSpMkLst>
        </pc:cxnChg>
        <pc:cxnChg chg="mod">
          <ac:chgData name="Hänninen, Lauri" userId="b62831d1-2046-40aa-b4b7-d67e2d73afe1" providerId="ADAL" clId="{F907ACC7-C8F7-470E-B883-D49732EB787C}" dt="2024-02-21T12:07:07.358" v="18513"/>
          <ac:cxnSpMkLst>
            <pc:docMk/>
            <pc:sldMk cId="1783604824" sldId="2147483593"/>
            <ac:cxnSpMk id="10" creationId="{8D345F85-20FB-158A-D57B-C41687DFFDC6}"/>
          </ac:cxnSpMkLst>
        </pc:cxnChg>
        <pc:cxnChg chg="mod">
          <ac:chgData name="Hänninen, Lauri" userId="b62831d1-2046-40aa-b4b7-d67e2d73afe1" providerId="ADAL" clId="{F907ACC7-C8F7-470E-B883-D49732EB787C}" dt="2024-02-21T12:07:07.358" v="18513"/>
          <ac:cxnSpMkLst>
            <pc:docMk/>
            <pc:sldMk cId="1783604824" sldId="2147483593"/>
            <ac:cxnSpMk id="11" creationId="{4A755ABB-C96A-8946-CBF8-8D7515D42911}"/>
          </ac:cxnSpMkLst>
        </pc:cxnChg>
        <pc:cxnChg chg="mod">
          <ac:chgData name="Hänninen, Lauri" userId="b62831d1-2046-40aa-b4b7-d67e2d73afe1" providerId="ADAL" clId="{F907ACC7-C8F7-470E-B883-D49732EB787C}" dt="2024-02-21T12:07:07.357" v="18511"/>
          <ac:cxnSpMkLst>
            <pc:docMk/>
            <pc:sldMk cId="1783604824" sldId="2147483593"/>
            <ac:cxnSpMk id="13" creationId="{E6BB72A4-7F82-FA26-9DAF-1D140E5EC331}"/>
          </ac:cxnSpMkLst>
        </pc:cxnChg>
        <pc:cxnChg chg="mod">
          <ac:chgData name="Hänninen, Lauri" userId="b62831d1-2046-40aa-b4b7-d67e2d73afe1" providerId="ADAL" clId="{F907ACC7-C8F7-470E-B883-D49732EB787C}" dt="2024-02-21T12:07:07.357" v="18511"/>
          <ac:cxnSpMkLst>
            <pc:docMk/>
            <pc:sldMk cId="1783604824" sldId="2147483593"/>
            <ac:cxnSpMk id="14" creationId="{23DCAEA2-8B75-D10B-BD00-B9CE0B488C8C}"/>
          </ac:cxnSpMkLst>
        </pc:cxnChg>
        <pc:cxnChg chg="mod">
          <ac:chgData name="Hänninen, Lauri" userId="b62831d1-2046-40aa-b4b7-d67e2d73afe1" providerId="ADAL" clId="{F907ACC7-C8F7-470E-B883-D49732EB787C}" dt="2024-02-21T12:07:07.357" v="18511"/>
          <ac:cxnSpMkLst>
            <pc:docMk/>
            <pc:sldMk cId="1783604824" sldId="2147483593"/>
            <ac:cxnSpMk id="15" creationId="{0A51BBA6-D4A7-8F76-1FBF-2BAB3BC41B54}"/>
          </ac:cxnSpMkLst>
        </pc:cxnChg>
        <pc:cxnChg chg="mod">
          <ac:chgData name="Hänninen, Lauri" userId="b62831d1-2046-40aa-b4b7-d67e2d73afe1" providerId="ADAL" clId="{F907ACC7-C8F7-470E-B883-D49732EB787C}" dt="2024-02-21T12:07:07.357" v="18511"/>
          <ac:cxnSpMkLst>
            <pc:docMk/>
            <pc:sldMk cId="1783604824" sldId="2147483593"/>
            <ac:cxnSpMk id="16" creationId="{8C7FB38C-3348-FA1E-D72A-22D472467E32}"/>
          </ac:cxnSpMkLst>
        </pc:cxnChg>
        <pc:cxnChg chg="mod">
          <ac:chgData name="Hänninen, Lauri" userId="b62831d1-2046-40aa-b4b7-d67e2d73afe1" providerId="ADAL" clId="{F907ACC7-C8F7-470E-B883-D49732EB787C}" dt="2024-02-21T12:07:07.357" v="18509"/>
          <ac:cxnSpMkLst>
            <pc:docMk/>
            <pc:sldMk cId="1783604824" sldId="2147483593"/>
            <ac:cxnSpMk id="18" creationId="{6E740EE5-35FD-65EC-04DB-4E15D567F163}"/>
          </ac:cxnSpMkLst>
        </pc:cxnChg>
        <pc:cxnChg chg="mod">
          <ac:chgData name="Hänninen, Lauri" userId="b62831d1-2046-40aa-b4b7-d67e2d73afe1" providerId="ADAL" clId="{F907ACC7-C8F7-470E-B883-D49732EB787C}" dt="2024-02-21T12:07:07.357" v="18509"/>
          <ac:cxnSpMkLst>
            <pc:docMk/>
            <pc:sldMk cId="1783604824" sldId="2147483593"/>
            <ac:cxnSpMk id="19" creationId="{DA7ED6DD-398E-7645-B4E6-3EB0ECC3D473}"/>
          </ac:cxnSpMkLst>
        </pc:cxnChg>
        <pc:cxnChg chg="mod">
          <ac:chgData name="Hänninen, Lauri" userId="b62831d1-2046-40aa-b4b7-d67e2d73afe1" providerId="ADAL" clId="{F907ACC7-C8F7-470E-B883-D49732EB787C}" dt="2024-02-21T12:07:07.357" v="18509"/>
          <ac:cxnSpMkLst>
            <pc:docMk/>
            <pc:sldMk cId="1783604824" sldId="2147483593"/>
            <ac:cxnSpMk id="20" creationId="{BAAA5D53-5DF5-198A-6C05-3E55A4A8B80F}"/>
          </ac:cxnSpMkLst>
        </pc:cxnChg>
        <pc:cxnChg chg="mod">
          <ac:chgData name="Hänninen, Lauri" userId="b62831d1-2046-40aa-b4b7-d67e2d73afe1" providerId="ADAL" clId="{F907ACC7-C8F7-470E-B883-D49732EB787C}" dt="2024-02-21T12:07:07.357" v="18509"/>
          <ac:cxnSpMkLst>
            <pc:docMk/>
            <pc:sldMk cId="1783604824" sldId="2147483593"/>
            <ac:cxnSpMk id="21" creationId="{6B9E94B7-E568-5E77-5EF7-D653A276C481}"/>
          </ac:cxnSpMkLst>
        </pc:cxnChg>
        <pc:cxnChg chg="mod">
          <ac:chgData name="Hänninen, Lauri" userId="b62831d1-2046-40aa-b4b7-d67e2d73afe1" providerId="ADAL" clId="{F907ACC7-C8F7-470E-B883-D49732EB787C}" dt="2024-02-21T12:07:07.356" v="18507"/>
          <ac:cxnSpMkLst>
            <pc:docMk/>
            <pc:sldMk cId="1783604824" sldId="2147483593"/>
            <ac:cxnSpMk id="23" creationId="{6FA47A78-B7D0-5DEA-18AA-F297FBD8937D}"/>
          </ac:cxnSpMkLst>
        </pc:cxnChg>
        <pc:cxnChg chg="mod">
          <ac:chgData name="Hänninen, Lauri" userId="b62831d1-2046-40aa-b4b7-d67e2d73afe1" providerId="ADAL" clId="{F907ACC7-C8F7-470E-B883-D49732EB787C}" dt="2024-02-21T12:07:07.356" v="18507"/>
          <ac:cxnSpMkLst>
            <pc:docMk/>
            <pc:sldMk cId="1783604824" sldId="2147483593"/>
            <ac:cxnSpMk id="24" creationId="{0E88E9E5-D0A3-3D82-7629-3CD3F7E1CDD4}"/>
          </ac:cxnSpMkLst>
        </pc:cxnChg>
        <pc:cxnChg chg="mod">
          <ac:chgData name="Hänninen, Lauri" userId="b62831d1-2046-40aa-b4b7-d67e2d73afe1" providerId="ADAL" clId="{F907ACC7-C8F7-470E-B883-D49732EB787C}" dt="2024-02-21T12:07:07.356" v="18507"/>
          <ac:cxnSpMkLst>
            <pc:docMk/>
            <pc:sldMk cId="1783604824" sldId="2147483593"/>
            <ac:cxnSpMk id="25" creationId="{AAA2D992-6737-418F-82CA-1DF81E4070BA}"/>
          </ac:cxnSpMkLst>
        </pc:cxnChg>
        <pc:cxnChg chg="mod">
          <ac:chgData name="Hänninen, Lauri" userId="b62831d1-2046-40aa-b4b7-d67e2d73afe1" providerId="ADAL" clId="{F907ACC7-C8F7-470E-B883-D49732EB787C}" dt="2024-02-21T12:07:07.356" v="18507"/>
          <ac:cxnSpMkLst>
            <pc:docMk/>
            <pc:sldMk cId="1783604824" sldId="2147483593"/>
            <ac:cxnSpMk id="26" creationId="{B39DB0D1-862E-74E3-87D8-2C006500DBDE}"/>
          </ac:cxnSpMkLst>
        </pc:cxnChg>
        <pc:cxnChg chg="mod">
          <ac:chgData name="Hänninen, Lauri" userId="b62831d1-2046-40aa-b4b7-d67e2d73afe1" providerId="ADAL" clId="{F907ACC7-C8F7-470E-B883-D49732EB787C}" dt="2024-02-21T12:07:07.354" v="18505"/>
          <ac:cxnSpMkLst>
            <pc:docMk/>
            <pc:sldMk cId="1783604824" sldId="2147483593"/>
            <ac:cxnSpMk id="28" creationId="{52EBA9FC-E0C0-CA83-7F62-D59080596F75}"/>
          </ac:cxnSpMkLst>
        </pc:cxnChg>
        <pc:cxnChg chg="mod">
          <ac:chgData name="Hänninen, Lauri" userId="b62831d1-2046-40aa-b4b7-d67e2d73afe1" providerId="ADAL" clId="{F907ACC7-C8F7-470E-B883-D49732EB787C}" dt="2024-02-21T12:07:07.354" v="18505"/>
          <ac:cxnSpMkLst>
            <pc:docMk/>
            <pc:sldMk cId="1783604824" sldId="2147483593"/>
            <ac:cxnSpMk id="29" creationId="{A4813AF8-DCAE-EAA6-25E9-A389D48086E4}"/>
          </ac:cxnSpMkLst>
        </pc:cxnChg>
        <pc:cxnChg chg="mod">
          <ac:chgData name="Hänninen, Lauri" userId="b62831d1-2046-40aa-b4b7-d67e2d73afe1" providerId="ADAL" clId="{F907ACC7-C8F7-470E-B883-D49732EB787C}" dt="2024-02-21T12:07:07.354" v="18505"/>
          <ac:cxnSpMkLst>
            <pc:docMk/>
            <pc:sldMk cId="1783604824" sldId="2147483593"/>
            <ac:cxnSpMk id="30" creationId="{4617A674-2B35-8DFA-EBD2-D07D69A6FF1A}"/>
          </ac:cxnSpMkLst>
        </pc:cxnChg>
        <pc:cxnChg chg="mod">
          <ac:chgData name="Hänninen, Lauri" userId="b62831d1-2046-40aa-b4b7-d67e2d73afe1" providerId="ADAL" clId="{F907ACC7-C8F7-470E-B883-D49732EB787C}" dt="2024-02-21T12:07:07.354" v="18505"/>
          <ac:cxnSpMkLst>
            <pc:docMk/>
            <pc:sldMk cId="1783604824" sldId="2147483593"/>
            <ac:cxnSpMk id="31" creationId="{2036A72D-79AC-A9B5-5EEC-3F225998D5EC}"/>
          </ac:cxnSpMkLst>
        </pc:cxnChg>
        <pc:cxnChg chg="mod">
          <ac:chgData name="Hänninen, Lauri" userId="b62831d1-2046-40aa-b4b7-d67e2d73afe1" providerId="ADAL" clId="{F907ACC7-C8F7-470E-B883-D49732EB787C}" dt="2024-02-21T12:10:08.084" v="18699"/>
          <ac:cxnSpMkLst>
            <pc:docMk/>
            <pc:sldMk cId="1783604824" sldId="2147483593"/>
            <ac:cxnSpMk id="33" creationId="{C6AA927E-EACB-A6A0-1239-A57B3FDD8C5D}"/>
          </ac:cxnSpMkLst>
        </pc:cxnChg>
        <pc:cxnChg chg="mod">
          <ac:chgData name="Hänninen, Lauri" userId="b62831d1-2046-40aa-b4b7-d67e2d73afe1" providerId="ADAL" clId="{F907ACC7-C8F7-470E-B883-D49732EB787C}" dt="2024-02-21T12:10:08.084" v="18699"/>
          <ac:cxnSpMkLst>
            <pc:docMk/>
            <pc:sldMk cId="1783604824" sldId="2147483593"/>
            <ac:cxnSpMk id="34" creationId="{98E75366-1A28-6782-DE91-5386EE66A5A8}"/>
          </ac:cxnSpMkLst>
        </pc:cxnChg>
        <pc:cxnChg chg="mod">
          <ac:chgData name="Hänninen, Lauri" userId="b62831d1-2046-40aa-b4b7-d67e2d73afe1" providerId="ADAL" clId="{F907ACC7-C8F7-470E-B883-D49732EB787C}" dt="2024-02-21T12:10:08.084" v="18699"/>
          <ac:cxnSpMkLst>
            <pc:docMk/>
            <pc:sldMk cId="1783604824" sldId="2147483593"/>
            <ac:cxnSpMk id="35" creationId="{35C5C998-6EEE-4688-BDC5-0F07C27D2924}"/>
          </ac:cxnSpMkLst>
        </pc:cxnChg>
        <pc:cxnChg chg="mod">
          <ac:chgData name="Hänninen, Lauri" userId="b62831d1-2046-40aa-b4b7-d67e2d73afe1" providerId="ADAL" clId="{F907ACC7-C8F7-470E-B883-D49732EB787C}" dt="2024-02-21T12:10:08.084" v="18699"/>
          <ac:cxnSpMkLst>
            <pc:docMk/>
            <pc:sldMk cId="1783604824" sldId="2147483593"/>
            <ac:cxnSpMk id="36" creationId="{196EF256-3123-A6E2-FD0C-7B18D675EEBC}"/>
          </ac:cxnSpMkLst>
        </pc:cxnChg>
        <pc:cxnChg chg="mod">
          <ac:chgData name="Hänninen, Lauri" userId="b62831d1-2046-40aa-b4b7-d67e2d73afe1" providerId="ADAL" clId="{F907ACC7-C8F7-470E-B883-D49732EB787C}" dt="2024-02-21T12:10:08.084" v="18699"/>
          <ac:cxnSpMkLst>
            <pc:docMk/>
            <pc:sldMk cId="1783604824" sldId="2147483593"/>
            <ac:cxnSpMk id="38" creationId="{8491C3A8-4DAA-7A47-C5B4-CF1A6A6077D3}"/>
          </ac:cxnSpMkLst>
        </pc:cxnChg>
        <pc:cxnChg chg="mod">
          <ac:chgData name="Hänninen, Lauri" userId="b62831d1-2046-40aa-b4b7-d67e2d73afe1" providerId="ADAL" clId="{F907ACC7-C8F7-470E-B883-D49732EB787C}" dt="2024-02-21T12:10:08.084" v="18699"/>
          <ac:cxnSpMkLst>
            <pc:docMk/>
            <pc:sldMk cId="1783604824" sldId="2147483593"/>
            <ac:cxnSpMk id="39" creationId="{7242E988-6550-00AF-42D1-D46CC6FC7347}"/>
          </ac:cxnSpMkLst>
        </pc:cxnChg>
        <pc:cxnChg chg="mod">
          <ac:chgData name="Hänninen, Lauri" userId="b62831d1-2046-40aa-b4b7-d67e2d73afe1" providerId="ADAL" clId="{F907ACC7-C8F7-470E-B883-D49732EB787C}" dt="2024-02-21T12:10:08.084" v="18699"/>
          <ac:cxnSpMkLst>
            <pc:docMk/>
            <pc:sldMk cId="1783604824" sldId="2147483593"/>
            <ac:cxnSpMk id="40" creationId="{4F5B16BA-A011-9EC8-63E3-5F4C8E18C3B8}"/>
          </ac:cxnSpMkLst>
        </pc:cxnChg>
        <pc:cxnChg chg="mod">
          <ac:chgData name="Hänninen, Lauri" userId="b62831d1-2046-40aa-b4b7-d67e2d73afe1" providerId="ADAL" clId="{F907ACC7-C8F7-470E-B883-D49732EB787C}" dt="2024-02-21T12:10:08.084" v="18699"/>
          <ac:cxnSpMkLst>
            <pc:docMk/>
            <pc:sldMk cId="1783604824" sldId="2147483593"/>
            <ac:cxnSpMk id="41" creationId="{CCAB8FFD-C1FB-6203-3CDB-FF4B4A455E44}"/>
          </ac:cxnSpMkLst>
        </pc:cxnChg>
        <pc:cxnChg chg="mod">
          <ac:chgData name="Hänninen, Lauri" userId="b62831d1-2046-40aa-b4b7-d67e2d73afe1" providerId="ADAL" clId="{F907ACC7-C8F7-470E-B883-D49732EB787C}" dt="2024-02-21T12:10:08.084" v="18699"/>
          <ac:cxnSpMkLst>
            <pc:docMk/>
            <pc:sldMk cId="1783604824" sldId="2147483593"/>
            <ac:cxnSpMk id="43" creationId="{963C7B2E-2289-C773-7092-C476E0E11BFB}"/>
          </ac:cxnSpMkLst>
        </pc:cxnChg>
        <pc:cxnChg chg="mod">
          <ac:chgData name="Hänninen, Lauri" userId="b62831d1-2046-40aa-b4b7-d67e2d73afe1" providerId="ADAL" clId="{F907ACC7-C8F7-470E-B883-D49732EB787C}" dt="2024-02-21T12:10:08.084" v="18699"/>
          <ac:cxnSpMkLst>
            <pc:docMk/>
            <pc:sldMk cId="1783604824" sldId="2147483593"/>
            <ac:cxnSpMk id="44" creationId="{F0998349-39D2-5507-CA49-A0DEE5F336ED}"/>
          </ac:cxnSpMkLst>
        </pc:cxnChg>
        <pc:cxnChg chg="mod">
          <ac:chgData name="Hänninen, Lauri" userId="b62831d1-2046-40aa-b4b7-d67e2d73afe1" providerId="ADAL" clId="{F907ACC7-C8F7-470E-B883-D49732EB787C}" dt="2024-02-21T12:10:08.084" v="18699"/>
          <ac:cxnSpMkLst>
            <pc:docMk/>
            <pc:sldMk cId="1783604824" sldId="2147483593"/>
            <ac:cxnSpMk id="45" creationId="{1A9A4FAE-1629-6359-17DA-6646C64276D6}"/>
          </ac:cxnSpMkLst>
        </pc:cxnChg>
        <pc:cxnChg chg="mod">
          <ac:chgData name="Hänninen, Lauri" userId="b62831d1-2046-40aa-b4b7-d67e2d73afe1" providerId="ADAL" clId="{F907ACC7-C8F7-470E-B883-D49732EB787C}" dt="2024-02-21T12:10:08.084" v="18699"/>
          <ac:cxnSpMkLst>
            <pc:docMk/>
            <pc:sldMk cId="1783604824" sldId="2147483593"/>
            <ac:cxnSpMk id="46" creationId="{6802C5F7-37B1-8988-C913-358710ECFB76}"/>
          </ac:cxnSpMkLst>
        </pc:cxnChg>
        <pc:cxnChg chg="mod">
          <ac:chgData name="Hänninen, Lauri" userId="b62831d1-2046-40aa-b4b7-d67e2d73afe1" providerId="ADAL" clId="{F907ACC7-C8F7-470E-B883-D49732EB787C}" dt="2024-02-21T12:10:08.084" v="18699"/>
          <ac:cxnSpMkLst>
            <pc:docMk/>
            <pc:sldMk cId="1783604824" sldId="2147483593"/>
            <ac:cxnSpMk id="48" creationId="{7ECE9BC0-5F54-642E-2C6F-23D7865336FF}"/>
          </ac:cxnSpMkLst>
        </pc:cxnChg>
        <pc:cxnChg chg="mod">
          <ac:chgData name="Hänninen, Lauri" userId="b62831d1-2046-40aa-b4b7-d67e2d73afe1" providerId="ADAL" clId="{F907ACC7-C8F7-470E-B883-D49732EB787C}" dt="2024-02-21T12:10:08.084" v="18699"/>
          <ac:cxnSpMkLst>
            <pc:docMk/>
            <pc:sldMk cId="1783604824" sldId="2147483593"/>
            <ac:cxnSpMk id="49" creationId="{A1379574-B88C-8B57-15C4-A5B0411D03CC}"/>
          </ac:cxnSpMkLst>
        </pc:cxnChg>
        <pc:cxnChg chg="mod">
          <ac:chgData name="Hänninen, Lauri" userId="b62831d1-2046-40aa-b4b7-d67e2d73afe1" providerId="ADAL" clId="{F907ACC7-C8F7-470E-B883-D49732EB787C}" dt="2024-02-21T12:10:08.084" v="18699"/>
          <ac:cxnSpMkLst>
            <pc:docMk/>
            <pc:sldMk cId="1783604824" sldId="2147483593"/>
            <ac:cxnSpMk id="50" creationId="{E52D619E-419B-FF3F-485F-C2686366C397}"/>
          </ac:cxnSpMkLst>
        </pc:cxnChg>
        <pc:cxnChg chg="mod">
          <ac:chgData name="Hänninen, Lauri" userId="b62831d1-2046-40aa-b4b7-d67e2d73afe1" providerId="ADAL" clId="{F907ACC7-C8F7-470E-B883-D49732EB787C}" dt="2024-02-21T12:10:08.084" v="18699"/>
          <ac:cxnSpMkLst>
            <pc:docMk/>
            <pc:sldMk cId="1783604824" sldId="2147483593"/>
            <ac:cxnSpMk id="51" creationId="{8AAED3FF-BBBE-6BD5-D9C6-DEC5B655D656}"/>
          </ac:cxnSpMkLst>
        </pc:cxnChg>
        <pc:cxnChg chg="mod">
          <ac:chgData name="Hänninen, Lauri" userId="b62831d1-2046-40aa-b4b7-d67e2d73afe1" providerId="ADAL" clId="{F907ACC7-C8F7-470E-B883-D49732EB787C}" dt="2024-02-21T12:10:08.084" v="18699"/>
          <ac:cxnSpMkLst>
            <pc:docMk/>
            <pc:sldMk cId="1783604824" sldId="2147483593"/>
            <ac:cxnSpMk id="53" creationId="{FF97239F-E277-C6F0-2D2A-248DA3833684}"/>
          </ac:cxnSpMkLst>
        </pc:cxnChg>
        <pc:cxnChg chg="mod">
          <ac:chgData name="Hänninen, Lauri" userId="b62831d1-2046-40aa-b4b7-d67e2d73afe1" providerId="ADAL" clId="{F907ACC7-C8F7-470E-B883-D49732EB787C}" dt="2024-02-21T12:10:08.084" v="18699"/>
          <ac:cxnSpMkLst>
            <pc:docMk/>
            <pc:sldMk cId="1783604824" sldId="2147483593"/>
            <ac:cxnSpMk id="54" creationId="{8AF2223B-34D5-9B50-DEC4-64F340ED94F0}"/>
          </ac:cxnSpMkLst>
        </pc:cxnChg>
        <pc:cxnChg chg="mod">
          <ac:chgData name="Hänninen, Lauri" userId="b62831d1-2046-40aa-b4b7-d67e2d73afe1" providerId="ADAL" clId="{F907ACC7-C8F7-470E-B883-D49732EB787C}" dt="2024-02-21T12:10:08.084" v="18699"/>
          <ac:cxnSpMkLst>
            <pc:docMk/>
            <pc:sldMk cId="1783604824" sldId="2147483593"/>
            <ac:cxnSpMk id="55" creationId="{5C02A20C-7E7E-3FD6-1B98-4664732ACE23}"/>
          </ac:cxnSpMkLst>
        </pc:cxnChg>
        <pc:cxnChg chg="mod">
          <ac:chgData name="Hänninen, Lauri" userId="b62831d1-2046-40aa-b4b7-d67e2d73afe1" providerId="ADAL" clId="{F907ACC7-C8F7-470E-B883-D49732EB787C}" dt="2024-02-21T12:10:08.084" v="18699"/>
          <ac:cxnSpMkLst>
            <pc:docMk/>
            <pc:sldMk cId="1783604824" sldId="2147483593"/>
            <ac:cxnSpMk id="56" creationId="{F1AA1E28-BCCB-C9F6-73E0-8D22D29176E7}"/>
          </ac:cxnSpMkLst>
        </pc:cxnChg>
        <pc:cxnChg chg="mod">
          <ac:chgData name="Hänninen, Lauri" userId="b62831d1-2046-40aa-b4b7-d67e2d73afe1" providerId="ADAL" clId="{F907ACC7-C8F7-470E-B883-D49732EB787C}" dt="2024-02-20T15:04:44.711" v="4767" actId="165"/>
          <ac:cxnSpMkLst>
            <pc:docMk/>
            <pc:sldMk cId="1783604824" sldId="2147483593"/>
            <ac:cxnSpMk id="170" creationId="{5E732570-B116-0B44-3912-DC2C6A451FAD}"/>
          </ac:cxnSpMkLst>
        </pc:cxnChg>
        <pc:cxnChg chg="mod">
          <ac:chgData name="Hänninen, Lauri" userId="b62831d1-2046-40aa-b4b7-d67e2d73afe1" providerId="ADAL" clId="{F907ACC7-C8F7-470E-B883-D49732EB787C}" dt="2024-02-20T15:04:44.711" v="4767" actId="165"/>
          <ac:cxnSpMkLst>
            <pc:docMk/>
            <pc:sldMk cId="1783604824" sldId="2147483593"/>
            <ac:cxnSpMk id="174" creationId="{1D4D0DE1-F779-D2BA-D090-6C2382D7A440}"/>
          </ac:cxnSpMkLst>
        </pc:cxnChg>
        <pc:cxnChg chg="mod">
          <ac:chgData name="Hänninen, Lauri" userId="b62831d1-2046-40aa-b4b7-d67e2d73afe1" providerId="ADAL" clId="{F907ACC7-C8F7-470E-B883-D49732EB787C}" dt="2024-02-20T15:04:44.711" v="4767" actId="165"/>
          <ac:cxnSpMkLst>
            <pc:docMk/>
            <pc:sldMk cId="1783604824" sldId="2147483593"/>
            <ac:cxnSpMk id="177" creationId="{D0A75E7F-0B63-9B5C-7DE5-59BDC6CA499A}"/>
          </ac:cxnSpMkLst>
        </pc:cxnChg>
        <pc:cxnChg chg="mod">
          <ac:chgData name="Hänninen, Lauri" userId="b62831d1-2046-40aa-b4b7-d67e2d73afe1" providerId="ADAL" clId="{F907ACC7-C8F7-470E-B883-D49732EB787C}" dt="2024-02-20T15:04:44.711" v="4767" actId="165"/>
          <ac:cxnSpMkLst>
            <pc:docMk/>
            <pc:sldMk cId="1783604824" sldId="2147483593"/>
            <ac:cxnSpMk id="181" creationId="{7D71D76C-3433-F404-53FD-95A4D8C13B00}"/>
          </ac:cxnSpMkLst>
        </pc:cxnChg>
        <pc:cxnChg chg="mod">
          <ac:chgData name="Hänninen, Lauri" userId="b62831d1-2046-40aa-b4b7-d67e2d73afe1" providerId="ADAL" clId="{F907ACC7-C8F7-470E-B883-D49732EB787C}" dt="2024-02-20T15:04:44.711" v="4767" actId="165"/>
          <ac:cxnSpMkLst>
            <pc:docMk/>
            <pc:sldMk cId="1783604824" sldId="2147483593"/>
            <ac:cxnSpMk id="184" creationId="{DA3E9F2A-5B97-B399-D5FA-D8AFC938CBB5}"/>
          </ac:cxnSpMkLst>
        </pc:cxnChg>
        <pc:cxnChg chg="mod">
          <ac:chgData name="Hänninen, Lauri" userId="b62831d1-2046-40aa-b4b7-d67e2d73afe1" providerId="ADAL" clId="{F907ACC7-C8F7-470E-B883-D49732EB787C}" dt="2024-02-20T15:04:44.711" v="4767" actId="165"/>
          <ac:cxnSpMkLst>
            <pc:docMk/>
            <pc:sldMk cId="1783604824" sldId="2147483593"/>
            <ac:cxnSpMk id="188" creationId="{5BF4A304-EA8C-2C9D-5D1D-153EC6D8C8C5}"/>
          </ac:cxnSpMkLst>
        </pc:cxnChg>
        <pc:cxnChg chg="mod">
          <ac:chgData name="Hänninen, Lauri" userId="b62831d1-2046-40aa-b4b7-d67e2d73afe1" providerId="ADAL" clId="{F907ACC7-C8F7-470E-B883-D49732EB787C}" dt="2024-02-20T15:04:44.711" v="4767" actId="165"/>
          <ac:cxnSpMkLst>
            <pc:docMk/>
            <pc:sldMk cId="1783604824" sldId="2147483593"/>
            <ac:cxnSpMk id="191" creationId="{CC5835AC-98DA-B253-6637-93AA25825F8B}"/>
          </ac:cxnSpMkLst>
        </pc:cxnChg>
        <pc:cxnChg chg="mod">
          <ac:chgData name="Hänninen, Lauri" userId="b62831d1-2046-40aa-b4b7-d67e2d73afe1" providerId="ADAL" clId="{F907ACC7-C8F7-470E-B883-D49732EB787C}" dt="2024-02-20T15:04:44.711" v="4767" actId="165"/>
          <ac:cxnSpMkLst>
            <pc:docMk/>
            <pc:sldMk cId="1783604824" sldId="2147483593"/>
            <ac:cxnSpMk id="195" creationId="{A50E85A0-A8B8-A482-7015-9C11B0E5A269}"/>
          </ac:cxnSpMkLst>
        </pc:cxnChg>
        <pc:cxnChg chg="mod">
          <ac:chgData name="Hänninen, Lauri" userId="b62831d1-2046-40aa-b4b7-d67e2d73afe1" providerId="ADAL" clId="{F907ACC7-C8F7-470E-B883-D49732EB787C}" dt="2024-02-20T15:04:44.711" v="4767" actId="165"/>
          <ac:cxnSpMkLst>
            <pc:docMk/>
            <pc:sldMk cId="1783604824" sldId="2147483593"/>
            <ac:cxnSpMk id="207" creationId="{7655668A-EC68-29DF-95C2-CE858867C8CE}"/>
          </ac:cxnSpMkLst>
        </pc:cxnChg>
        <pc:cxnChg chg="mod">
          <ac:chgData name="Hänninen, Lauri" userId="b62831d1-2046-40aa-b4b7-d67e2d73afe1" providerId="ADAL" clId="{F907ACC7-C8F7-470E-B883-D49732EB787C}" dt="2024-02-20T15:04:44.711" v="4767" actId="165"/>
          <ac:cxnSpMkLst>
            <pc:docMk/>
            <pc:sldMk cId="1783604824" sldId="2147483593"/>
            <ac:cxnSpMk id="211" creationId="{696D9D54-2738-8390-8C9E-E2C1D65EA1A7}"/>
          </ac:cxnSpMkLst>
        </pc:cxnChg>
        <pc:cxnChg chg="mod">
          <ac:chgData name="Hänninen, Lauri" userId="b62831d1-2046-40aa-b4b7-d67e2d73afe1" providerId="ADAL" clId="{F907ACC7-C8F7-470E-B883-D49732EB787C}" dt="2024-02-21T12:05:52.845" v="18479"/>
          <ac:cxnSpMkLst>
            <pc:docMk/>
            <pc:sldMk cId="1783604824" sldId="2147483593"/>
            <ac:cxnSpMk id="213" creationId="{4CADFFE7-8FE0-3833-6A3D-FC917BD0EE8F}"/>
          </ac:cxnSpMkLst>
        </pc:cxnChg>
        <pc:cxnChg chg="mod">
          <ac:chgData name="Hänninen, Lauri" userId="b62831d1-2046-40aa-b4b7-d67e2d73afe1" providerId="ADAL" clId="{F907ACC7-C8F7-470E-B883-D49732EB787C}" dt="2024-02-21T12:05:52.845" v="18479"/>
          <ac:cxnSpMkLst>
            <pc:docMk/>
            <pc:sldMk cId="1783604824" sldId="2147483593"/>
            <ac:cxnSpMk id="214" creationId="{7AA91BD8-0467-A809-796A-D25387217E3A}"/>
          </ac:cxnSpMkLst>
        </pc:cxnChg>
        <pc:cxnChg chg="mod">
          <ac:chgData name="Hänninen, Lauri" userId="b62831d1-2046-40aa-b4b7-d67e2d73afe1" providerId="ADAL" clId="{F907ACC7-C8F7-470E-B883-D49732EB787C}" dt="2024-02-21T12:05:52.845" v="18479"/>
          <ac:cxnSpMkLst>
            <pc:docMk/>
            <pc:sldMk cId="1783604824" sldId="2147483593"/>
            <ac:cxnSpMk id="215" creationId="{0F948D50-B9A0-BB25-EA6C-BB50F3A46508}"/>
          </ac:cxnSpMkLst>
        </pc:cxnChg>
        <pc:cxnChg chg="mod">
          <ac:chgData name="Hänninen, Lauri" userId="b62831d1-2046-40aa-b4b7-d67e2d73afe1" providerId="ADAL" clId="{F907ACC7-C8F7-470E-B883-D49732EB787C}" dt="2024-02-21T12:05:52.845" v="18479"/>
          <ac:cxnSpMkLst>
            <pc:docMk/>
            <pc:sldMk cId="1783604824" sldId="2147483593"/>
            <ac:cxnSpMk id="216" creationId="{ACFA85FA-8A8C-8FBC-C84B-1564193C0BF8}"/>
          </ac:cxnSpMkLst>
        </pc:cxnChg>
        <pc:cxnChg chg="mod">
          <ac:chgData name="Hänninen, Lauri" userId="b62831d1-2046-40aa-b4b7-d67e2d73afe1" providerId="ADAL" clId="{F907ACC7-C8F7-470E-B883-D49732EB787C}" dt="2024-02-21T12:05:52.849" v="18485"/>
          <ac:cxnSpMkLst>
            <pc:docMk/>
            <pc:sldMk cId="1783604824" sldId="2147483593"/>
            <ac:cxnSpMk id="218" creationId="{4967ACDC-5C26-A6A2-9820-E561616AE962}"/>
          </ac:cxnSpMkLst>
        </pc:cxnChg>
        <pc:cxnChg chg="mod">
          <ac:chgData name="Hänninen, Lauri" userId="b62831d1-2046-40aa-b4b7-d67e2d73afe1" providerId="ADAL" clId="{F907ACC7-C8F7-470E-B883-D49732EB787C}" dt="2024-02-21T12:05:52.849" v="18485"/>
          <ac:cxnSpMkLst>
            <pc:docMk/>
            <pc:sldMk cId="1783604824" sldId="2147483593"/>
            <ac:cxnSpMk id="219" creationId="{D1EC6E05-8B9C-5D1A-0E4E-BFDB0F973920}"/>
          </ac:cxnSpMkLst>
        </pc:cxnChg>
        <pc:cxnChg chg="mod">
          <ac:chgData name="Hänninen, Lauri" userId="b62831d1-2046-40aa-b4b7-d67e2d73afe1" providerId="ADAL" clId="{F907ACC7-C8F7-470E-B883-D49732EB787C}" dt="2024-02-21T12:05:52.849" v="18485"/>
          <ac:cxnSpMkLst>
            <pc:docMk/>
            <pc:sldMk cId="1783604824" sldId="2147483593"/>
            <ac:cxnSpMk id="220" creationId="{5A8D01C3-1CD3-268F-4A5F-0E65AA313E7F}"/>
          </ac:cxnSpMkLst>
        </pc:cxnChg>
        <pc:cxnChg chg="mod">
          <ac:chgData name="Hänninen, Lauri" userId="b62831d1-2046-40aa-b4b7-d67e2d73afe1" providerId="ADAL" clId="{F907ACC7-C8F7-470E-B883-D49732EB787C}" dt="2024-02-21T12:05:52.849" v="18485"/>
          <ac:cxnSpMkLst>
            <pc:docMk/>
            <pc:sldMk cId="1783604824" sldId="2147483593"/>
            <ac:cxnSpMk id="221" creationId="{01251257-59D0-19D8-EADE-453F1C43A1B6}"/>
          </ac:cxnSpMkLst>
        </pc:cxnChg>
        <pc:cxnChg chg="mod">
          <ac:chgData name="Hänninen, Lauri" userId="b62831d1-2046-40aa-b4b7-d67e2d73afe1" providerId="ADAL" clId="{F907ACC7-C8F7-470E-B883-D49732EB787C}" dt="2024-02-21T12:05:52.847" v="18481"/>
          <ac:cxnSpMkLst>
            <pc:docMk/>
            <pc:sldMk cId="1783604824" sldId="2147483593"/>
            <ac:cxnSpMk id="223" creationId="{048A4D82-B2B8-3746-837C-536B4076CCCD}"/>
          </ac:cxnSpMkLst>
        </pc:cxnChg>
        <pc:cxnChg chg="mod">
          <ac:chgData name="Hänninen, Lauri" userId="b62831d1-2046-40aa-b4b7-d67e2d73afe1" providerId="ADAL" clId="{F907ACC7-C8F7-470E-B883-D49732EB787C}" dt="2024-02-21T12:05:52.847" v="18481"/>
          <ac:cxnSpMkLst>
            <pc:docMk/>
            <pc:sldMk cId="1783604824" sldId="2147483593"/>
            <ac:cxnSpMk id="224" creationId="{1E403370-58D5-2D25-8545-384FD225308B}"/>
          </ac:cxnSpMkLst>
        </pc:cxnChg>
        <pc:cxnChg chg="mod">
          <ac:chgData name="Hänninen, Lauri" userId="b62831d1-2046-40aa-b4b7-d67e2d73afe1" providerId="ADAL" clId="{F907ACC7-C8F7-470E-B883-D49732EB787C}" dt="2024-02-21T12:05:52.847" v="18481"/>
          <ac:cxnSpMkLst>
            <pc:docMk/>
            <pc:sldMk cId="1783604824" sldId="2147483593"/>
            <ac:cxnSpMk id="225" creationId="{5FB53F29-F4F2-6561-5D78-F8544A9C9774}"/>
          </ac:cxnSpMkLst>
        </pc:cxnChg>
        <pc:cxnChg chg="mod">
          <ac:chgData name="Hänninen, Lauri" userId="b62831d1-2046-40aa-b4b7-d67e2d73afe1" providerId="ADAL" clId="{F907ACC7-C8F7-470E-B883-D49732EB787C}" dt="2024-02-21T12:05:52.847" v="18481"/>
          <ac:cxnSpMkLst>
            <pc:docMk/>
            <pc:sldMk cId="1783604824" sldId="2147483593"/>
            <ac:cxnSpMk id="226" creationId="{FBAE2DFF-BE20-8A4C-2902-3DF623C36D1B}"/>
          </ac:cxnSpMkLst>
        </pc:cxnChg>
        <pc:cxnChg chg="mod">
          <ac:chgData name="Hänninen, Lauri" userId="b62831d1-2046-40aa-b4b7-d67e2d73afe1" providerId="ADAL" clId="{F907ACC7-C8F7-470E-B883-D49732EB787C}" dt="2024-02-21T12:05:52.848" v="18483"/>
          <ac:cxnSpMkLst>
            <pc:docMk/>
            <pc:sldMk cId="1783604824" sldId="2147483593"/>
            <ac:cxnSpMk id="228" creationId="{33319277-D37B-855B-3916-33CFB749E9C2}"/>
          </ac:cxnSpMkLst>
        </pc:cxnChg>
        <pc:cxnChg chg="mod">
          <ac:chgData name="Hänninen, Lauri" userId="b62831d1-2046-40aa-b4b7-d67e2d73afe1" providerId="ADAL" clId="{F907ACC7-C8F7-470E-B883-D49732EB787C}" dt="2024-02-21T12:05:52.848" v="18483"/>
          <ac:cxnSpMkLst>
            <pc:docMk/>
            <pc:sldMk cId="1783604824" sldId="2147483593"/>
            <ac:cxnSpMk id="229" creationId="{246C5BBE-F391-989F-07A9-777C11A04096}"/>
          </ac:cxnSpMkLst>
        </pc:cxnChg>
        <pc:cxnChg chg="mod">
          <ac:chgData name="Hänninen, Lauri" userId="b62831d1-2046-40aa-b4b7-d67e2d73afe1" providerId="ADAL" clId="{F907ACC7-C8F7-470E-B883-D49732EB787C}" dt="2024-02-21T12:05:52.848" v="18483"/>
          <ac:cxnSpMkLst>
            <pc:docMk/>
            <pc:sldMk cId="1783604824" sldId="2147483593"/>
            <ac:cxnSpMk id="230" creationId="{5705038E-1DCA-8299-8F8C-F69DE817ECE2}"/>
          </ac:cxnSpMkLst>
        </pc:cxnChg>
        <pc:cxnChg chg="mod">
          <ac:chgData name="Hänninen, Lauri" userId="b62831d1-2046-40aa-b4b7-d67e2d73afe1" providerId="ADAL" clId="{F907ACC7-C8F7-470E-B883-D49732EB787C}" dt="2024-02-21T12:05:52.848" v="18483"/>
          <ac:cxnSpMkLst>
            <pc:docMk/>
            <pc:sldMk cId="1783604824" sldId="2147483593"/>
            <ac:cxnSpMk id="231" creationId="{9DD44974-DC6E-32BA-DB3E-B56819D202CB}"/>
          </ac:cxnSpMkLst>
        </pc:cxnChg>
        <pc:cxnChg chg="mod">
          <ac:chgData name="Hänninen, Lauri" userId="b62831d1-2046-40aa-b4b7-d67e2d73afe1" providerId="ADAL" clId="{F907ACC7-C8F7-470E-B883-D49732EB787C}" dt="2024-02-21T12:05:52.849" v="18487"/>
          <ac:cxnSpMkLst>
            <pc:docMk/>
            <pc:sldMk cId="1783604824" sldId="2147483593"/>
            <ac:cxnSpMk id="233" creationId="{0173ECED-A785-ED28-FEA1-154CAB598B7A}"/>
          </ac:cxnSpMkLst>
        </pc:cxnChg>
        <pc:cxnChg chg="mod">
          <ac:chgData name="Hänninen, Lauri" userId="b62831d1-2046-40aa-b4b7-d67e2d73afe1" providerId="ADAL" clId="{F907ACC7-C8F7-470E-B883-D49732EB787C}" dt="2024-02-21T12:05:52.849" v="18487"/>
          <ac:cxnSpMkLst>
            <pc:docMk/>
            <pc:sldMk cId="1783604824" sldId="2147483593"/>
            <ac:cxnSpMk id="234" creationId="{B143DA04-7CFB-73C2-D89C-1F593070BEE7}"/>
          </ac:cxnSpMkLst>
        </pc:cxnChg>
        <pc:cxnChg chg="mod">
          <ac:chgData name="Hänninen, Lauri" userId="b62831d1-2046-40aa-b4b7-d67e2d73afe1" providerId="ADAL" clId="{F907ACC7-C8F7-470E-B883-D49732EB787C}" dt="2024-02-21T12:05:52.849" v="18487"/>
          <ac:cxnSpMkLst>
            <pc:docMk/>
            <pc:sldMk cId="1783604824" sldId="2147483593"/>
            <ac:cxnSpMk id="235" creationId="{7DC27CBF-A088-EA8F-C802-9F522FAA3C95}"/>
          </ac:cxnSpMkLst>
        </pc:cxnChg>
        <pc:cxnChg chg="mod">
          <ac:chgData name="Hänninen, Lauri" userId="b62831d1-2046-40aa-b4b7-d67e2d73afe1" providerId="ADAL" clId="{F907ACC7-C8F7-470E-B883-D49732EB787C}" dt="2024-02-21T12:05:52.849" v="18487"/>
          <ac:cxnSpMkLst>
            <pc:docMk/>
            <pc:sldMk cId="1783604824" sldId="2147483593"/>
            <ac:cxnSpMk id="236" creationId="{03D7C574-7E09-1265-4DC1-AA8685F8BAE6}"/>
          </ac:cxnSpMkLst>
        </pc:cxnChg>
        <pc:cxnChg chg="mod">
          <ac:chgData name="Hänninen, Lauri" userId="b62831d1-2046-40aa-b4b7-d67e2d73afe1" providerId="ADAL" clId="{F907ACC7-C8F7-470E-B883-D49732EB787C}" dt="2024-02-21T12:10:04.779" v="18693" actId="34135"/>
          <ac:cxnSpMkLst>
            <pc:docMk/>
            <pc:sldMk cId="1783604824" sldId="2147483593"/>
            <ac:cxnSpMk id="238" creationId="{541AAFD5-C436-C6D0-4223-DA93406C2880}"/>
          </ac:cxnSpMkLst>
        </pc:cxnChg>
        <pc:cxnChg chg="mod">
          <ac:chgData name="Hänninen, Lauri" userId="b62831d1-2046-40aa-b4b7-d67e2d73afe1" providerId="ADAL" clId="{F907ACC7-C8F7-470E-B883-D49732EB787C}" dt="2024-02-21T12:10:04.779" v="18693" actId="34135"/>
          <ac:cxnSpMkLst>
            <pc:docMk/>
            <pc:sldMk cId="1783604824" sldId="2147483593"/>
            <ac:cxnSpMk id="239" creationId="{70105971-CA8F-C502-DEAF-C62192E4A181}"/>
          </ac:cxnSpMkLst>
        </pc:cxnChg>
        <pc:cxnChg chg="mod">
          <ac:chgData name="Hänninen, Lauri" userId="b62831d1-2046-40aa-b4b7-d67e2d73afe1" providerId="ADAL" clId="{F907ACC7-C8F7-470E-B883-D49732EB787C}" dt="2024-02-21T12:10:04.779" v="18693" actId="34135"/>
          <ac:cxnSpMkLst>
            <pc:docMk/>
            <pc:sldMk cId="1783604824" sldId="2147483593"/>
            <ac:cxnSpMk id="240" creationId="{9DD45235-21AE-46A3-5B6A-C6CF2D24CECD}"/>
          </ac:cxnSpMkLst>
        </pc:cxnChg>
        <pc:cxnChg chg="mod">
          <ac:chgData name="Hänninen, Lauri" userId="b62831d1-2046-40aa-b4b7-d67e2d73afe1" providerId="ADAL" clId="{F907ACC7-C8F7-470E-B883-D49732EB787C}" dt="2024-02-21T12:10:04.779" v="18693" actId="34135"/>
          <ac:cxnSpMkLst>
            <pc:docMk/>
            <pc:sldMk cId="1783604824" sldId="2147483593"/>
            <ac:cxnSpMk id="241" creationId="{41ED7FE8-9D6F-C459-4F2E-A4573CB3A9A2}"/>
          </ac:cxnSpMkLst>
        </pc:cxnChg>
      </pc:sldChg>
      <pc:sldChg chg="new del">
        <pc:chgData name="Hänninen, Lauri" userId="b62831d1-2046-40aa-b4b7-d67e2d73afe1" providerId="ADAL" clId="{F907ACC7-C8F7-470E-B883-D49732EB787C}" dt="2024-02-20T15:18:22.366" v="4829" actId="47"/>
        <pc:sldMkLst>
          <pc:docMk/>
          <pc:sldMk cId="1311026204" sldId="2147483594"/>
        </pc:sldMkLst>
      </pc:sldChg>
      <pc:sldChg chg="del">
        <pc:chgData name="Hänninen, Lauri" userId="b62831d1-2046-40aa-b4b7-d67e2d73afe1" providerId="ADAL" clId="{F907ACC7-C8F7-470E-B883-D49732EB787C}" dt="2024-02-20T19:14:35.328" v="6063" actId="2696"/>
        <pc:sldMkLst>
          <pc:docMk/>
          <pc:sldMk cId="1676421662" sldId="2147483594"/>
        </pc:sldMkLst>
      </pc:sldChg>
      <pc:sldChg chg="add mod modShow">
        <pc:chgData name="Hänninen, Lauri" userId="b62831d1-2046-40aa-b4b7-d67e2d73afe1" providerId="ADAL" clId="{F907ACC7-C8F7-470E-B883-D49732EB787C}" dt="2024-02-20T19:47:17.604" v="7825" actId="729"/>
        <pc:sldMkLst>
          <pc:docMk/>
          <pc:sldMk cId="3260611131" sldId="2147483594"/>
        </pc:sldMkLst>
      </pc:sldChg>
      <pc:sldChg chg="del">
        <pc:chgData name="Hänninen, Lauri" userId="b62831d1-2046-40aa-b4b7-d67e2d73afe1" providerId="ADAL" clId="{F907ACC7-C8F7-470E-B883-D49732EB787C}" dt="2024-02-20T20:03:44.213" v="8189" actId="2696"/>
        <pc:sldMkLst>
          <pc:docMk/>
          <pc:sldMk cId="248202828" sldId="2147483596"/>
        </pc:sldMkLst>
      </pc:sldChg>
      <pc:sldChg chg="add">
        <pc:chgData name="Hänninen, Lauri" userId="b62831d1-2046-40aa-b4b7-d67e2d73afe1" providerId="ADAL" clId="{F907ACC7-C8F7-470E-B883-D49732EB787C}" dt="2024-02-20T20:03:46.640" v="8190"/>
        <pc:sldMkLst>
          <pc:docMk/>
          <pc:sldMk cId="2438272984" sldId="2147483596"/>
        </pc:sldMkLst>
      </pc:sldChg>
      <pc:sldChg chg="addSp delSp modSp add mod">
        <pc:chgData name="Hänninen, Lauri" userId="b62831d1-2046-40aa-b4b7-d67e2d73afe1" providerId="ADAL" clId="{F907ACC7-C8F7-470E-B883-D49732EB787C}" dt="2024-02-23T10:58:40.936" v="42461" actId="478"/>
        <pc:sldMkLst>
          <pc:docMk/>
          <pc:sldMk cId="3293034707" sldId="2147483597"/>
        </pc:sldMkLst>
        <pc:spChg chg="mod ord">
          <ac:chgData name="Hänninen, Lauri" userId="b62831d1-2046-40aa-b4b7-d67e2d73afe1" providerId="ADAL" clId="{F907ACC7-C8F7-470E-B883-D49732EB787C}" dt="2024-02-20T19:43:36.743" v="7703"/>
          <ac:spMkLst>
            <pc:docMk/>
            <pc:sldMk cId="3293034707" sldId="2147483597"/>
            <ac:spMk id="2" creationId="{6A1A04A5-28CC-6345-D822-13070F454792}"/>
          </ac:spMkLst>
        </pc:spChg>
        <pc:spChg chg="mod ord">
          <ac:chgData name="Hänninen, Lauri" userId="b62831d1-2046-40aa-b4b7-d67e2d73afe1" providerId="ADAL" clId="{F907ACC7-C8F7-470E-B883-D49732EB787C}" dt="2024-02-20T19:43:36.743" v="7705"/>
          <ac:spMkLst>
            <pc:docMk/>
            <pc:sldMk cId="3293034707" sldId="2147483597"/>
            <ac:spMk id="3" creationId="{8028E2A8-50AF-D68E-EA0B-C07F42BB2700}"/>
          </ac:spMkLst>
        </pc:spChg>
        <pc:spChg chg="mod ord">
          <ac:chgData name="Hänninen, Lauri" userId="b62831d1-2046-40aa-b4b7-d67e2d73afe1" providerId="ADAL" clId="{F907ACC7-C8F7-470E-B883-D49732EB787C}" dt="2024-02-20T19:43:36.743" v="7707"/>
          <ac:spMkLst>
            <pc:docMk/>
            <pc:sldMk cId="3293034707" sldId="2147483597"/>
            <ac:spMk id="4" creationId="{0EA2068B-7A5B-3528-CDE4-F3EA57DB2D14}"/>
          </ac:spMkLst>
        </pc:spChg>
        <pc:spChg chg="mod ord">
          <ac:chgData name="Hänninen, Lauri" userId="b62831d1-2046-40aa-b4b7-d67e2d73afe1" providerId="ADAL" clId="{F907ACC7-C8F7-470E-B883-D49732EB787C}" dt="2024-02-23T10:58:36.063" v="42434"/>
          <ac:spMkLst>
            <pc:docMk/>
            <pc:sldMk cId="3293034707" sldId="2147483597"/>
            <ac:spMk id="5" creationId="{B58EE5ED-7569-E30B-AB77-400D5AB394D8}"/>
          </ac:spMkLst>
        </pc:spChg>
        <pc:spChg chg="add mod ord">
          <ac:chgData name="Hänninen, Lauri" userId="b62831d1-2046-40aa-b4b7-d67e2d73afe1" providerId="ADAL" clId="{F907ACC7-C8F7-470E-B883-D49732EB787C}" dt="2024-02-23T10:58:38.942" v="42450"/>
          <ac:spMkLst>
            <pc:docMk/>
            <pc:sldMk cId="3293034707" sldId="2147483597"/>
            <ac:spMk id="6" creationId="{02945BB6-CE38-6059-3335-9651C1C9987E}"/>
          </ac:spMkLst>
        </pc:spChg>
        <pc:spChg chg="del">
          <ac:chgData name="Hänninen, Lauri" userId="b62831d1-2046-40aa-b4b7-d67e2d73afe1" providerId="ADAL" clId="{F907ACC7-C8F7-470E-B883-D49732EB787C}" dt="2024-02-20T18:51:46.314" v="4938" actId="478"/>
          <ac:spMkLst>
            <pc:docMk/>
            <pc:sldMk cId="3293034707" sldId="2147483597"/>
            <ac:spMk id="6" creationId="{11898E05-18E4-1FD3-B1BA-6F33B7A0A40E}"/>
          </ac:spMkLst>
        </pc:spChg>
        <pc:spChg chg="del">
          <ac:chgData name="Hänninen, Lauri" userId="b62831d1-2046-40aa-b4b7-d67e2d73afe1" providerId="ADAL" clId="{F907ACC7-C8F7-470E-B883-D49732EB787C}" dt="2024-02-20T18:51:46.314" v="4938" actId="478"/>
          <ac:spMkLst>
            <pc:docMk/>
            <pc:sldMk cId="3293034707" sldId="2147483597"/>
            <ac:spMk id="7" creationId="{39247654-D1FF-C016-477D-A3BDC09C087B}"/>
          </ac:spMkLst>
        </pc:spChg>
        <pc:spChg chg="mod ord">
          <ac:chgData name="Hänninen, Lauri" userId="b62831d1-2046-40aa-b4b7-d67e2d73afe1" providerId="ADAL" clId="{F907ACC7-C8F7-470E-B883-D49732EB787C}" dt="2024-02-20T19:43:36.743" v="7709"/>
          <ac:spMkLst>
            <pc:docMk/>
            <pc:sldMk cId="3293034707" sldId="2147483597"/>
            <ac:spMk id="8" creationId="{C492EEE9-F935-A5B1-50F4-3A309582F685}"/>
          </ac:spMkLst>
        </pc:spChg>
        <pc:spChg chg="mod ord">
          <ac:chgData name="Hänninen, Lauri" userId="b62831d1-2046-40aa-b4b7-d67e2d73afe1" providerId="ADAL" clId="{F907ACC7-C8F7-470E-B883-D49732EB787C}" dt="2024-02-23T10:58:31.405" v="42417"/>
          <ac:spMkLst>
            <pc:docMk/>
            <pc:sldMk cId="3293034707" sldId="2147483597"/>
            <ac:spMk id="9" creationId="{3440410A-426A-CB7C-FD55-34A4DFA4671D}"/>
          </ac:spMkLst>
        </pc:spChg>
        <pc:spChg chg="mod ord">
          <ac:chgData name="Hänninen, Lauri" userId="b62831d1-2046-40aa-b4b7-d67e2d73afe1" providerId="ADAL" clId="{F907ACC7-C8F7-470E-B883-D49732EB787C}" dt="2024-02-20T19:43:36.743" v="7713"/>
          <ac:spMkLst>
            <pc:docMk/>
            <pc:sldMk cId="3293034707" sldId="2147483597"/>
            <ac:spMk id="12" creationId="{09396687-ED15-7D64-D26E-C3FEDCF49B18}"/>
          </ac:spMkLst>
        </pc:spChg>
        <pc:spChg chg="mod ord">
          <ac:chgData name="Hänninen, Lauri" userId="b62831d1-2046-40aa-b4b7-d67e2d73afe1" providerId="ADAL" clId="{F907ACC7-C8F7-470E-B883-D49732EB787C}" dt="2024-02-20T19:43:58.575" v="7774"/>
          <ac:spMkLst>
            <pc:docMk/>
            <pc:sldMk cId="3293034707" sldId="2147483597"/>
            <ac:spMk id="13" creationId="{58744A61-4D2E-AE35-2ADD-F4A4B677EA8A}"/>
          </ac:spMkLst>
        </pc:spChg>
        <pc:spChg chg="del mod ord">
          <ac:chgData name="Hänninen, Lauri" userId="b62831d1-2046-40aa-b4b7-d67e2d73afe1" providerId="ADAL" clId="{F907ACC7-C8F7-470E-B883-D49732EB787C}" dt="2024-02-20T19:43:50.773" v="7756" actId="478"/>
          <ac:spMkLst>
            <pc:docMk/>
            <pc:sldMk cId="3293034707" sldId="2147483597"/>
            <ac:spMk id="14" creationId="{6685142D-967D-4D72-F306-C8E8205B542B}"/>
          </ac:spMkLst>
        </pc:spChg>
        <pc:spChg chg="add mod ord">
          <ac:chgData name="Hänninen, Lauri" userId="b62831d1-2046-40aa-b4b7-d67e2d73afe1" providerId="ADAL" clId="{F907ACC7-C8F7-470E-B883-D49732EB787C}" dt="2024-02-23T10:58:33.479" v="42427"/>
          <ac:spMkLst>
            <pc:docMk/>
            <pc:sldMk cId="3293034707" sldId="2147483597"/>
            <ac:spMk id="15" creationId="{91BFDBD1-E17B-1FC9-6384-8D6D2A7C493F}"/>
          </ac:spMkLst>
        </pc:spChg>
        <pc:spChg chg="mod ord">
          <ac:chgData name="Hänninen, Lauri" userId="b62831d1-2046-40aa-b4b7-d67e2d73afe1" providerId="ADAL" clId="{F907ACC7-C8F7-470E-B883-D49732EB787C}" dt="2024-02-21T12:50:14.343" v="28527" actId="14100"/>
          <ac:spMkLst>
            <pc:docMk/>
            <pc:sldMk cId="3293034707" sldId="2147483597"/>
            <ac:spMk id="16" creationId="{7A1F41C2-AF77-9DAB-007C-5188641E86CC}"/>
          </ac:spMkLst>
        </pc:spChg>
        <pc:spChg chg="add del mod ord">
          <ac:chgData name="Hänninen, Lauri" userId="b62831d1-2046-40aa-b4b7-d67e2d73afe1" providerId="ADAL" clId="{F907ACC7-C8F7-470E-B883-D49732EB787C}" dt="2024-02-23T10:58:40.936" v="42461" actId="478"/>
          <ac:spMkLst>
            <pc:docMk/>
            <pc:sldMk cId="3293034707" sldId="2147483597"/>
            <ac:spMk id="17" creationId="{14196A0C-BC4A-D00B-8E2B-AF63A214D4E8}"/>
          </ac:spMkLst>
        </pc:spChg>
        <pc:spChg chg="del mod ord">
          <ac:chgData name="Hänninen, Lauri" userId="b62831d1-2046-40aa-b4b7-d67e2d73afe1" providerId="ADAL" clId="{F907ACC7-C8F7-470E-B883-D49732EB787C}" dt="2024-02-21T12:50:29.482" v="28530" actId="478"/>
          <ac:spMkLst>
            <pc:docMk/>
            <pc:sldMk cId="3293034707" sldId="2147483597"/>
            <ac:spMk id="18" creationId="{EFE167F6-3879-8160-F8DF-A1A08970A49C}"/>
          </ac:spMkLst>
        </pc:spChg>
        <pc:spChg chg="del">
          <ac:chgData name="Hänninen, Lauri" userId="b62831d1-2046-40aa-b4b7-d67e2d73afe1" providerId="ADAL" clId="{F907ACC7-C8F7-470E-B883-D49732EB787C}" dt="2024-02-20T18:51:52.730" v="4939" actId="478"/>
          <ac:spMkLst>
            <pc:docMk/>
            <pc:sldMk cId="3293034707" sldId="2147483597"/>
            <ac:spMk id="19" creationId="{EA7F93A3-E9C1-B0BE-E9C3-8666C05AE366}"/>
          </ac:spMkLst>
        </pc:spChg>
        <pc:spChg chg="mod ord">
          <ac:chgData name="Hänninen, Lauri" userId="b62831d1-2046-40aa-b4b7-d67e2d73afe1" providerId="ADAL" clId="{F907ACC7-C8F7-470E-B883-D49732EB787C}" dt="2024-02-20T19:43:58.575" v="7780"/>
          <ac:spMkLst>
            <pc:docMk/>
            <pc:sldMk cId="3293034707" sldId="2147483597"/>
            <ac:spMk id="20" creationId="{F10BFCE2-CDED-3BF5-B858-465D751DE71E}"/>
          </ac:spMkLst>
        </pc:spChg>
        <pc:spChg chg="del">
          <ac:chgData name="Hänninen, Lauri" userId="b62831d1-2046-40aa-b4b7-d67e2d73afe1" providerId="ADAL" clId="{F907ACC7-C8F7-470E-B883-D49732EB787C}" dt="2024-02-20T18:51:52.730" v="4939" actId="478"/>
          <ac:spMkLst>
            <pc:docMk/>
            <pc:sldMk cId="3293034707" sldId="2147483597"/>
            <ac:spMk id="21" creationId="{575450BD-260D-7D06-F2A2-29898CE184FE}"/>
          </ac:spMkLst>
        </pc:spChg>
        <pc:spChg chg="del">
          <ac:chgData name="Hänninen, Lauri" userId="b62831d1-2046-40aa-b4b7-d67e2d73afe1" providerId="ADAL" clId="{F907ACC7-C8F7-470E-B883-D49732EB787C}" dt="2024-02-20T18:51:55.899" v="4940" actId="478"/>
          <ac:spMkLst>
            <pc:docMk/>
            <pc:sldMk cId="3293034707" sldId="2147483597"/>
            <ac:spMk id="22" creationId="{10AF3427-A5FF-7CDC-1BE3-E94379D861E6}"/>
          </ac:spMkLst>
        </pc:spChg>
        <pc:spChg chg="del mod ord">
          <ac:chgData name="Hänninen, Lauri" userId="b62831d1-2046-40aa-b4b7-d67e2d73afe1" providerId="ADAL" clId="{F907ACC7-C8F7-470E-B883-D49732EB787C}" dt="2024-02-20T19:44:21.509" v="7786" actId="478"/>
          <ac:spMkLst>
            <pc:docMk/>
            <pc:sldMk cId="3293034707" sldId="2147483597"/>
            <ac:spMk id="23" creationId="{35E1907E-55E6-ABDF-8CFA-3294012BE5E7}"/>
          </ac:spMkLst>
        </pc:spChg>
        <pc:spChg chg="del">
          <ac:chgData name="Hänninen, Lauri" userId="b62831d1-2046-40aa-b4b7-d67e2d73afe1" providerId="ADAL" clId="{F907ACC7-C8F7-470E-B883-D49732EB787C}" dt="2024-02-20T18:52:01.890" v="4941" actId="478"/>
          <ac:spMkLst>
            <pc:docMk/>
            <pc:sldMk cId="3293034707" sldId="2147483597"/>
            <ac:spMk id="24" creationId="{347FF0B4-EF0C-1D60-1136-24673218CB79}"/>
          </ac:spMkLst>
        </pc:spChg>
        <pc:spChg chg="del mod ord">
          <ac:chgData name="Hänninen, Lauri" userId="b62831d1-2046-40aa-b4b7-d67e2d73afe1" providerId="ADAL" clId="{F907ACC7-C8F7-470E-B883-D49732EB787C}" dt="2024-02-20T19:44:21.509" v="7786" actId="478"/>
          <ac:spMkLst>
            <pc:docMk/>
            <pc:sldMk cId="3293034707" sldId="2147483597"/>
            <ac:spMk id="25" creationId="{1F0B7929-CC54-715F-93FA-74ACF8A3A75E}"/>
          </ac:spMkLst>
        </pc:spChg>
        <pc:spChg chg="del">
          <ac:chgData name="Hänninen, Lauri" userId="b62831d1-2046-40aa-b4b7-d67e2d73afe1" providerId="ADAL" clId="{F907ACC7-C8F7-470E-B883-D49732EB787C}" dt="2024-02-20T18:52:01.890" v="4941" actId="478"/>
          <ac:spMkLst>
            <pc:docMk/>
            <pc:sldMk cId="3293034707" sldId="2147483597"/>
            <ac:spMk id="26" creationId="{9AEAB4F8-7EA3-0E60-E5B1-1FB36F91268D}"/>
          </ac:spMkLst>
        </pc:spChg>
        <pc:spChg chg="del">
          <ac:chgData name="Hänninen, Lauri" userId="b62831d1-2046-40aa-b4b7-d67e2d73afe1" providerId="ADAL" clId="{F907ACC7-C8F7-470E-B883-D49732EB787C}" dt="2024-02-20T18:51:55.899" v="4940" actId="478"/>
          <ac:spMkLst>
            <pc:docMk/>
            <pc:sldMk cId="3293034707" sldId="2147483597"/>
            <ac:spMk id="27" creationId="{81091CDF-B3A5-A327-79BD-58C867D1327B}"/>
          </ac:spMkLst>
        </pc:spChg>
        <pc:spChg chg="mod ord">
          <ac:chgData name="Hänninen, Lauri" userId="b62831d1-2046-40aa-b4b7-d67e2d73afe1" providerId="ADAL" clId="{F907ACC7-C8F7-470E-B883-D49732EB787C}" dt="2024-02-20T19:43:36.766" v="7747"/>
          <ac:spMkLst>
            <pc:docMk/>
            <pc:sldMk cId="3293034707" sldId="2147483597"/>
            <ac:spMk id="28" creationId="{7A79ADC1-CA41-B18B-881F-E4C80C1C2255}"/>
          </ac:spMkLst>
        </pc:spChg>
        <pc:spChg chg="add mod ord">
          <ac:chgData name="Hänninen, Lauri" userId="b62831d1-2046-40aa-b4b7-d67e2d73afe1" providerId="ADAL" clId="{F907ACC7-C8F7-470E-B883-D49732EB787C}" dt="2024-02-20T19:43:36.759" v="7741"/>
          <ac:spMkLst>
            <pc:docMk/>
            <pc:sldMk cId="3293034707" sldId="2147483597"/>
            <ac:spMk id="29" creationId="{028B2EEE-A569-D91F-A208-86B66303D998}"/>
          </ac:spMkLst>
        </pc:spChg>
        <pc:spChg chg="del mod ord">
          <ac:chgData name="Hänninen, Lauri" userId="b62831d1-2046-40aa-b4b7-d67e2d73afe1" providerId="ADAL" clId="{F907ACC7-C8F7-470E-B883-D49732EB787C}" dt="2024-02-20T19:44:21.509" v="7786" actId="478"/>
          <ac:spMkLst>
            <pc:docMk/>
            <pc:sldMk cId="3293034707" sldId="2147483597"/>
            <ac:spMk id="30" creationId="{3F492A99-AB07-97BA-FBC1-A51D50DDCEAD}"/>
          </ac:spMkLst>
        </pc:spChg>
        <pc:spChg chg="del mod ord">
          <ac:chgData name="Hänninen, Lauri" userId="b62831d1-2046-40aa-b4b7-d67e2d73afe1" providerId="ADAL" clId="{F907ACC7-C8F7-470E-B883-D49732EB787C}" dt="2024-02-20T19:43:50.773" v="7756" actId="478"/>
          <ac:spMkLst>
            <pc:docMk/>
            <pc:sldMk cId="3293034707" sldId="2147483597"/>
            <ac:spMk id="31" creationId="{7297431C-D3EC-B986-678D-05C8CAC22416}"/>
          </ac:spMkLst>
        </pc:spChg>
        <pc:spChg chg="del">
          <ac:chgData name="Hänninen, Lauri" userId="b62831d1-2046-40aa-b4b7-d67e2d73afe1" providerId="ADAL" clId="{F907ACC7-C8F7-470E-B883-D49732EB787C}" dt="2024-02-20T18:51:52.730" v="4939" actId="478"/>
          <ac:spMkLst>
            <pc:docMk/>
            <pc:sldMk cId="3293034707" sldId="2147483597"/>
            <ac:spMk id="32" creationId="{F0CFA48C-5DC4-0FF9-E2D5-116A782A6669}"/>
          </ac:spMkLst>
        </pc:spChg>
        <pc:spChg chg="del">
          <ac:chgData name="Hänninen, Lauri" userId="b62831d1-2046-40aa-b4b7-d67e2d73afe1" providerId="ADAL" clId="{F907ACC7-C8F7-470E-B883-D49732EB787C}" dt="2024-02-20T18:52:01.890" v="4941" actId="478"/>
          <ac:spMkLst>
            <pc:docMk/>
            <pc:sldMk cId="3293034707" sldId="2147483597"/>
            <ac:spMk id="33" creationId="{27819C10-49E2-16A4-C70D-FA349E371711}"/>
          </ac:spMkLst>
        </pc:spChg>
        <pc:spChg chg="del">
          <ac:chgData name="Hänninen, Lauri" userId="b62831d1-2046-40aa-b4b7-d67e2d73afe1" providerId="ADAL" clId="{F907ACC7-C8F7-470E-B883-D49732EB787C}" dt="2024-02-20T18:52:01.890" v="4941" actId="478"/>
          <ac:spMkLst>
            <pc:docMk/>
            <pc:sldMk cId="3293034707" sldId="2147483597"/>
            <ac:spMk id="34" creationId="{A468FA9A-80D8-63D0-1867-96B54D73F199}"/>
          </ac:spMkLst>
        </pc:spChg>
        <pc:spChg chg="add mod ord">
          <ac:chgData name="Hänninen, Lauri" userId="b62831d1-2046-40aa-b4b7-d67e2d73afe1" providerId="ADAL" clId="{F907ACC7-C8F7-470E-B883-D49732EB787C}" dt="2024-02-21T12:50:19.159" v="28529" actId="14100"/>
          <ac:spMkLst>
            <pc:docMk/>
            <pc:sldMk cId="3293034707" sldId="2147483597"/>
            <ac:spMk id="35" creationId="{764753D2-D638-D6DF-F916-A070443981DD}"/>
          </ac:spMkLst>
        </pc:spChg>
        <pc:spChg chg="del">
          <ac:chgData name="Hänninen, Lauri" userId="b62831d1-2046-40aa-b4b7-d67e2d73afe1" providerId="ADAL" clId="{F907ACC7-C8F7-470E-B883-D49732EB787C}" dt="2024-02-20T18:51:46.314" v="4938" actId="478"/>
          <ac:spMkLst>
            <pc:docMk/>
            <pc:sldMk cId="3293034707" sldId="2147483597"/>
            <ac:spMk id="36" creationId="{E68B7A32-C21C-2352-5A48-B597E29B2DDF}"/>
          </ac:spMkLst>
        </pc:spChg>
        <pc:spChg chg="add mod ord">
          <ac:chgData name="Hänninen, Lauri" userId="b62831d1-2046-40aa-b4b7-d67e2d73afe1" providerId="ADAL" clId="{F907ACC7-C8F7-470E-B883-D49732EB787C}" dt="2024-02-20T19:43:36.759" v="7745"/>
          <ac:spMkLst>
            <pc:docMk/>
            <pc:sldMk cId="3293034707" sldId="2147483597"/>
            <ac:spMk id="37" creationId="{3E658E26-87A3-07A6-EE5D-CA2A27CA5BD3}"/>
          </ac:spMkLst>
        </pc:spChg>
        <pc:spChg chg="add mod">
          <ac:chgData name="Hänninen, Lauri" userId="b62831d1-2046-40aa-b4b7-d67e2d73afe1" providerId="ADAL" clId="{F907ACC7-C8F7-470E-B883-D49732EB787C}" dt="2024-02-21T12:49:16.030" v="28504" actId="1035"/>
          <ac:spMkLst>
            <pc:docMk/>
            <pc:sldMk cId="3293034707" sldId="2147483597"/>
            <ac:spMk id="38" creationId="{BA3FBBD2-8B8B-FAD5-B770-FAE891226559}"/>
          </ac:spMkLst>
        </pc:spChg>
        <pc:spChg chg="add mod">
          <ac:chgData name="Hänninen, Lauri" userId="b62831d1-2046-40aa-b4b7-d67e2d73afe1" providerId="ADAL" clId="{F907ACC7-C8F7-470E-B883-D49732EB787C}" dt="2024-02-21T12:49:44.683" v="28523" actId="1036"/>
          <ac:spMkLst>
            <pc:docMk/>
            <pc:sldMk cId="3293034707" sldId="2147483597"/>
            <ac:spMk id="39" creationId="{64F8B8C9-E069-90DB-6C60-91424CF7D2E7}"/>
          </ac:spMkLst>
        </pc:spChg>
        <pc:spChg chg="add mod">
          <ac:chgData name="Hänninen, Lauri" userId="b62831d1-2046-40aa-b4b7-d67e2d73afe1" providerId="ADAL" clId="{F907ACC7-C8F7-470E-B883-D49732EB787C}" dt="2024-02-21T12:49:20.381" v="28505" actId="465"/>
          <ac:spMkLst>
            <pc:docMk/>
            <pc:sldMk cId="3293034707" sldId="2147483597"/>
            <ac:spMk id="40" creationId="{BFB8A02B-4101-9592-8716-77CCEAE695EE}"/>
          </ac:spMkLst>
        </pc:spChg>
        <pc:spChg chg="add mod">
          <ac:chgData name="Hänninen, Lauri" userId="b62831d1-2046-40aa-b4b7-d67e2d73afe1" providerId="ADAL" clId="{F907ACC7-C8F7-470E-B883-D49732EB787C}" dt="2024-02-20T19:43:47.576" v="7755" actId="571"/>
          <ac:spMkLst>
            <pc:docMk/>
            <pc:sldMk cId="3293034707" sldId="2147483597"/>
            <ac:spMk id="41" creationId="{C0DCEC1F-6D68-40E1-B6CD-646C94BB98FD}"/>
          </ac:spMkLst>
        </pc:spChg>
        <pc:spChg chg="add mod">
          <ac:chgData name="Hänninen, Lauri" userId="b62831d1-2046-40aa-b4b7-d67e2d73afe1" providerId="ADAL" clId="{F907ACC7-C8F7-470E-B883-D49732EB787C}" dt="2024-02-21T14:06:33.880" v="28897"/>
          <ac:spMkLst>
            <pc:docMk/>
            <pc:sldMk cId="3293034707" sldId="2147483597"/>
            <ac:spMk id="42" creationId="{CB2767BB-AAB8-8832-102A-4F7E7D3B8977}"/>
          </ac:spMkLst>
        </pc:spChg>
        <pc:spChg chg="add mod">
          <ac:chgData name="Hänninen, Lauri" userId="b62831d1-2046-40aa-b4b7-d67e2d73afe1" providerId="ADAL" clId="{F907ACC7-C8F7-470E-B883-D49732EB787C}" dt="2024-02-21T14:06:33.882" v="28899"/>
          <ac:spMkLst>
            <pc:docMk/>
            <pc:sldMk cId="3293034707" sldId="2147483597"/>
            <ac:spMk id="43" creationId="{5D749F37-E71A-29E6-4E0F-C958483C3613}"/>
          </ac:spMkLst>
        </pc:spChg>
        <pc:spChg chg="add mod">
          <ac:chgData name="Hänninen, Lauri" userId="b62831d1-2046-40aa-b4b7-d67e2d73afe1" providerId="ADAL" clId="{F907ACC7-C8F7-470E-B883-D49732EB787C}" dt="2024-02-21T14:06:33.883" v="28901"/>
          <ac:spMkLst>
            <pc:docMk/>
            <pc:sldMk cId="3293034707" sldId="2147483597"/>
            <ac:spMk id="44" creationId="{550BBFA6-0C99-6DF2-71FE-C1C564BF915B}"/>
          </ac:spMkLst>
        </pc:spChg>
        <pc:spChg chg="add mod">
          <ac:chgData name="Hänninen, Lauri" userId="b62831d1-2046-40aa-b4b7-d67e2d73afe1" providerId="ADAL" clId="{F907ACC7-C8F7-470E-B883-D49732EB787C}" dt="2024-02-20T19:44:14.471" v="7784" actId="571"/>
          <ac:spMkLst>
            <pc:docMk/>
            <pc:sldMk cId="3293034707" sldId="2147483597"/>
            <ac:spMk id="45" creationId="{FC2A1050-4B9F-7D14-498C-B20BA2E8F291}"/>
          </ac:spMkLst>
        </pc:spChg>
        <pc:spChg chg="add mod">
          <ac:chgData name="Hänninen, Lauri" userId="b62831d1-2046-40aa-b4b7-d67e2d73afe1" providerId="ADAL" clId="{F907ACC7-C8F7-470E-B883-D49732EB787C}" dt="2024-02-20T19:44:17.179" v="7785" actId="571"/>
          <ac:spMkLst>
            <pc:docMk/>
            <pc:sldMk cId="3293034707" sldId="2147483597"/>
            <ac:spMk id="46" creationId="{3F7115DC-2A0A-695B-25BB-8A9135D5B1BF}"/>
          </ac:spMkLst>
        </pc:spChg>
        <pc:graphicFrameChg chg="mod">
          <ac:chgData name="Hänninen, Lauri" userId="b62831d1-2046-40aa-b4b7-d67e2d73afe1" providerId="ADAL" clId="{F907ACC7-C8F7-470E-B883-D49732EB787C}" dt="2024-02-20T19:43:36.774" v="7751"/>
          <ac:graphicFrameMkLst>
            <pc:docMk/>
            <pc:sldMk cId="3293034707" sldId="2147483597"/>
            <ac:graphicFrameMk id="10" creationId="{D62F1385-FBE5-90F4-8BCA-AB46233EB297}"/>
          </ac:graphicFrameMkLst>
        </pc:graphicFrameChg>
        <pc:picChg chg="mod ord">
          <ac:chgData name="Hänninen, Lauri" userId="b62831d1-2046-40aa-b4b7-d67e2d73afe1" providerId="ADAL" clId="{F907ACC7-C8F7-470E-B883-D49732EB787C}" dt="2024-02-20T19:43:36.743" v="7711"/>
          <ac:picMkLst>
            <pc:docMk/>
            <pc:sldMk cId="3293034707" sldId="2147483597"/>
            <ac:picMk id="11" creationId="{974337F8-536A-0CF9-CBB5-E3A346CB1B06}"/>
          </ac:picMkLst>
        </pc:picChg>
      </pc:sldChg>
      <pc:sldChg chg="modSp add mod">
        <pc:chgData name="Hänninen, Lauri" userId="b62831d1-2046-40aa-b4b7-d67e2d73afe1" providerId="ADAL" clId="{F907ACC7-C8F7-470E-B883-D49732EB787C}" dt="2024-02-21T19:02:08.645" v="31727" actId="20577"/>
        <pc:sldMkLst>
          <pc:docMk/>
          <pc:sldMk cId="41052664" sldId="2147483598"/>
        </pc:sldMkLst>
        <pc:spChg chg="mod">
          <ac:chgData name="Hänninen, Lauri" userId="b62831d1-2046-40aa-b4b7-d67e2d73afe1" providerId="ADAL" clId="{F907ACC7-C8F7-470E-B883-D49732EB787C}" dt="2024-02-21T19:02:08.645" v="31727" actId="20577"/>
          <ac:spMkLst>
            <pc:docMk/>
            <pc:sldMk cId="41052664" sldId="2147483598"/>
            <ac:spMk id="8" creationId="{527DAFC8-E43F-B664-298B-52B12FD413D3}"/>
          </ac:spMkLst>
        </pc:spChg>
      </pc:sldChg>
      <pc:sldChg chg="addSp delSp modSp new del mod modClrScheme chgLayout">
        <pc:chgData name="Hänninen, Lauri" userId="b62831d1-2046-40aa-b4b7-d67e2d73afe1" providerId="ADAL" clId="{F907ACC7-C8F7-470E-B883-D49732EB787C}" dt="2024-02-21T14:35:00.061" v="29171" actId="2696"/>
        <pc:sldMkLst>
          <pc:docMk/>
          <pc:sldMk cId="3643905286" sldId="2147483598"/>
        </pc:sldMkLst>
        <pc:spChg chg="mod ord">
          <ac:chgData name="Hänninen, Lauri" userId="b62831d1-2046-40aa-b4b7-d67e2d73afe1" providerId="ADAL" clId="{F907ACC7-C8F7-470E-B883-D49732EB787C}" dt="2024-02-20T18:52:13.264" v="4943" actId="700"/>
          <ac:spMkLst>
            <pc:docMk/>
            <pc:sldMk cId="3643905286" sldId="2147483598"/>
            <ac:spMk id="2" creationId="{71BBAD17-DC65-091A-7D06-4F91B719CB49}"/>
          </ac:spMkLst>
        </pc:spChg>
        <pc:spChg chg="mod ord">
          <ac:chgData name="Hänninen, Lauri" userId="b62831d1-2046-40aa-b4b7-d67e2d73afe1" providerId="ADAL" clId="{F907ACC7-C8F7-470E-B883-D49732EB787C}" dt="2024-02-20T18:52:13.264" v="4943" actId="700"/>
          <ac:spMkLst>
            <pc:docMk/>
            <pc:sldMk cId="3643905286" sldId="2147483598"/>
            <ac:spMk id="3" creationId="{F462CA51-9EAF-985A-38ED-2C060F44855E}"/>
          </ac:spMkLst>
        </pc:spChg>
        <pc:spChg chg="mod ord">
          <ac:chgData name="Hänninen, Lauri" userId="b62831d1-2046-40aa-b4b7-d67e2d73afe1" providerId="ADAL" clId="{F907ACC7-C8F7-470E-B883-D49732EB787C}" dt="2024-02-20T18:52:13.264" v="4943" actId="700"/>
          <ac:spMkLst>
            <pc:docMk/>
            <pc:sldMk cId="3643905286" sldId="2147483598"/>
            <ac:spMk id="4" creationId="{F9400000-C18F-D4D7-8C99-C8F6546F8E1F}"/>
          </ac:spMkLst>
        </pc:spChg>
        <pc:spChg chg="del mod ord">
          <ac:chgData name="Hänninen, Lauri" userId="b62831d1-2046-40aa-b4b7-d67e2d73afe1" providerId="ADAL" clId="{F907ACC7-C8F7-470E-B883-D49732EB787C}" dt="2024-02-20T18:52:13.264" v="4943" actId="700"/>
          <ac:spMkLst>
            <pc:docMk/>
            <pc:sldMk cId="3643905286" sldId="2147483598"/>
            <ac:spMk id="5" creationId="{36BC8387-09B8-1D65-E398-984A7DDFD9DA}"/>
          </ac:spMkLst>
        </pc:spChg>
        <pc:spChg chg="del">
          <ac:chgData name="Hänninen, Lauri" userId="b62831d1-2046-40aa-b4b7-d67e2d73afe1" providerId="ADAL" clId="{F907ACC7-C8F7-470E-B883-D49732EB787C}" dt="2024-02-20T18:52:13.264" v="4943" actId="700"/>
          <ac:spMkLst>
            <pc:docMk/>
            <pc:sldMk cId="3643905286" sldId="2147483598"/>
            <ac:spMk id="6" creationId="{3AF7959A-3905-219C-FF28-3B78E8229717}"/>
          </ac:spMkLst>
        </pc:spChg>
        <pc:spChg chg="del">
          <ac:chgData name="Hänninen, Lauri" userId="b62831d1-2046-40aa-b4b7-d67e2d73afe1" providerId="ADAL" clId="{F907ACC7-C8F7-470E-B883-D49732EB787C}" dt="2024-02-20T18:52:13.264" v="4943" actId="700"/>
          <ac:spMkLst>
            <pc:docMk/>
            <pc:sldMk cId="3643905286" sldId="2147483598"/>
            <ac:spMk id="7" creationId="{78FB695C-BC0D-CC5B-182C-4B45FB7D3D6D}"/>
          </ac:spMkLst>
        </pc:spChg>
        <pc:spChg chg="add mod ord">
          <ac:chgData name="Hänninen, Lauri" userId="b62831d1-2046-40aa-b4b7-d67e2d73afe1" providerId="ADAL" clId="{F907ACC7-C8F7-470E-B883-D49732EB787C}" dt="2024-02-20T18:54:11.183" v="5017"/>
          <ac:spMkLst>
            <pc:docMk/>
            <pc:sldMk cId="3643905286" sldId="2147483598"/>
            <ac:spMk id="8" creationId="{527DAFC8-E43F-B664-298B-52B12FD413D3}"/>
          </ac:spMkLst>
        </pc:spChg>
      </pc:sldChg>
      <pc:sldChg chg="modSp add del mod">
        <pc:chgData name="Hänninen, Lauri" userId="b62831d1-2046-40aa-b4b7-d67e2d73afe1" providerId="ADAL" clId="{F907ACC7-C8F7-470E-B883-D49732EB787C}" dt="2024-02-21T14:34:50.608" v="29169" actId="2696"/>
        <pc:sldMkLst>
          <pc:docMk/>
          <pc:sldMk cId="438959084" sldId="2147483599"/>
        </pc:sldMkLst>
        <pc:spChg chg="mod">
          <ac:chgData name="Hänninen, Lauri" userId="b62831d1-2046-40aa-b4b7-d67e2d73afe1" providerId="ADAL" clId="{F907ACC7-C8F7-470E-B883-D49732EB787C}" dt="2024-02-20T18:53:20.226" v="5010"/>
          <ac:spMkLst>
            <pc:docMk/>
            <pc:sldMk cId="438959084" sldId="2147483599"/>
            <ac:spMk id="8" creationId="{527DAFC8-E43F-B664-298B-52B12FD413D3}"/>
          </ac:spMkLst>
        </pc:spChg>
      </pc:sldChg>
      <pc:sldChg chg="modSp add mod">
        <pc:chgData name="Hänninen, Lauri" userId="b62831d1-2046-40aa-b4b7-d67e2d73afe1" providerId="ADAL" clId="{F907ACC7-C8F7-470E-B883-D49732EB787C}" dt="2024-02-21T19:01:50.104" v="31708" actId="20577"/>
        <pc:sldMkLst>
          <pc:docMk/>
          <pc:sldMk cId="647525745" sldId="2147483599"/>
        </pc:sldMkLst>
        <pc:spChg chg="mod">
          <ac:chgData name="Hänninen, Lauri" userId="b62831d1-2046-40aa-b4b7-d67e2d73afe1" providerId="ADAL" clId="{F907ACC7-C8F7-470E-B883-D49732EB787C}" dt="2024-02-21T19:01:50.104" v="31708" actId="20577"/>
          <ac:spMkLst>
            <pc:docMk/>
            <pc:sldMk cId="647525745" sldId="2147483599"/>
            <ac:spMk id="8" creationId="{527DAFC8-E43F-B664-298B-52B12FD413D3}"/>
          </ac:spMkLst>
        </pc:spChg>
      </pc:sldChg>
      <pc:sldChg chg="addSp delSp modSp new mod modClrScheme chgLayout">
        <pc:chgData name="Hänninen, Lauri" userId="b62831d1-2046-40aa-b4b7-d67e2d73afe1" providerId="ADAL" clId="{F907ACC7-C8F7-470E-B883-D49732EB787C}" dt="2024-02-20T20:02:15.253" v="8186"/>
        <pc:sldMkLst>
          <pc:docMk/>
          <pc:sldMk cId="2426597286" sldId="2147483600"/>
        </pc:sldMkLst>
        <pc:spChg chg="add del mod">
          <ac:chgData name="Hänninen, Lauri" userId="b62831d1-2046-40aa-b4b7-d67e2d73afe1" providerId="ADAL" clId="{F907ACC7-C8F7-470E-B883-D49732EB787C}" dt="2024-02-20T20:02:11.122" v="8177" actId="478"/>
          <ac:spMkLst>
            <pc:docMk/>
            <pc:sldMk cId="2426597286" sldId="2147483600"/>
            <ac:spMk id="2" creationId="{2E7D3E15-7F21-F18D-FCBA-0C437643F56A}"/>
          </ac:spMkLst>
        </pc:spChg>
        <pc:spChg chg="add del mod modVis">
          <ac:chgData name="Hänninen, Lauri" userId="b62831d1-2046-40aa-b4b7-d67e2d73afe1" providerId="ADAL" clId="{F907ACC7-C8F7-470E-B883-D49732EB787C}" dt="2024-02-20T18:58:09.043" v="5125"/>
          <ac:spMkLst>
            <pc:docMk/>
            <pc:sldMk cId="2426597286" sldId="2147483600"/>
            <ac:spMk id="4" creationId="{95AA2688-D61D-6842-9E61-7BCB9BF7E7AD}"/>
          </ac:spMkLst>
        </pc:spChg>
        <pc:spChg chg="add del mod modVis">
          <ac:chgData name="Hänninen, Lauri" userId="b62831d1-2046-40aa-b4b7-d67e2d73afe1" providerId="ADAL" clId="{F907ACC7-C8F7-470E-B883-D49732EB787C}" dt="2024-02-20T19:03:33.508" v="5175"/>
          <ac:spMkLst>
            <pc:docMk/>
            <pc:sldMk cId="2426597286" sldId="2147483600"/>
            <ac:spMk id="5" creationId="{C6D67C14-A018-2A32-F811-0EBDA35F2EC6}"/>
          </ac:spMkLst>
        </pc:spChg>
        <pc:spChg chg="add del mod modVis">
          <ac:chgData name="Hänninen, Lauri" userId="b62831d1-2046-40aa-b4b7-d67e2d73afe1" providerId="ADAL" clId="{F907ACC7-C8F7-470E-B883-D49732EB787C}" dt="2024-02-20T19:03:38.038" v="5212"/>
          <ac:spMkLst>
            <pc:docMk/>
            <pc:sldMk cId="2426597286" sldId="2147483600"/>
            <ac:spMk id="6" creationId="{AB9DF088-67AC-706E-1023-86A36C8F9D64}"/>
          </ac:spMkLst>
        </pc:spChg>
        <pc:spChg chg="add del mod modVis">
          <ac:chgData name="Hänninen, Lauri" userId="b62831d1-2046-40aa-b4b7-d67e2d73afe1" providerId="ADAL" clId="{F907ACC7-C8F7-470E-B883-D49732EB787C}" dt="2024-02-20T19:03:40.846" v="5254"/>
          <ac:spMkLst>
            <pc:docMk/>
            <pc:sldMk cId="2426597286" sldId="2147483600"/>
            <ac:spMk id="7" creationId="{D25821D4-23AF-6A08-3528-B69AAD3105B6}"/>
          </ac:spMkLst>
        </pc:spChg>
        <pc:spChg chg="add del mod modVis">
          <ac:chgData name="Hänninen, Lauri" userId="b62831d1-2046-40aa-b4b7-d67e2d73afe1" providerId="ADAL" clId="{F907ACC7-C8F7-470E-B883-D49732EB787C}" dt="2024-02-20T19:03:41.670" v="5285"/>
          <ac:spMkLst>
            <pc:docMk/>
            <pc:sldMk cId="2426597286" sldId="2147483600"/>
            <ac:spMk id="8" creationId="{57B96189-0F24-D331-7C9B-9A84B90213AA}"/>
          </ac:spMkLst>
        </pc:spChg>
        <pc:spChg chg="add del mod modVis">
          <ac:chgData name="Hänninen, Lauri" userId="b62831d1-2046-40aa-b4b7-d67e2d73afe1" providerId="ADAL" clId="{F907ACC7-C8F7-470E-B883-D49732EB787C}" dt="2024-02-20T19:03:45.729" v="5333"/>
          <ac:spMkLst>
            <pc:docMk/>
            <pc:sldMk cId="2426597286" sldId="2147483600"/>
            <ac:spMk id="9" creationId="{953B8A63-A4A1-7E47-F48F-C3A17EAC8314}"/>
          </ac:spMkLst>
        </pc:spChg>
        <pc:spChg chg="add del mod modVis">
          <ac:chgData name="Hänninen, Lauri" userId="b62831d1-2046-40aa-b4b7-d67e2d73afe1" providerId="ADAL" clId="{F907ACC7-C8F7-470E-B883-D49732EB787C}" dt="2024-02-20T19:03:47.402" v="5362"/>
          <ac:spMkLst>
            <pc:docMk/>
            <pc:sldMk cId="2426597286" sldId="2147483600"/>
            <ac:spMk id="10" creationId="{7DABDBF7-9BA9-8EE0-FEC6-73D5236D5E1F}"/>
          </ac:spMkLst>
        </pc:spChg>
        <pc:spChg chg="add del mod modVis">
          <ac:chgData name="Hänninen, Lauri" userId="b62831d1-2046-40aa-b4b7-d67e2d73afe1" providerId="ADAL" clId="{F907ACC7-C8F7-470E-B883-D49732EB787C}" dt="2024-02-20T19:03:49.617" v="5391"/>
          <ac:spMkLst>
            <pc:docMk/>
            <pc:sldMk cId="2426597286" sldId="2147483600"/>
            <ac:spMk id="11" creationId="{3E1D4624-2235-59CE-6990-B14A07312D0F}"/>
          </ac:spMkLst>
        </pc:spChg>
        <pc:spChg chg="add del mod modVis">
          <ac:chgData name="Hänninen, Lauri" userId="b62831d1-2046-40aa-b4b7-d67e2d73afe1" providerId="ADAL" clId="{F907ACC7-C8F7-470E-B883-D49732EB787C}" dt="2024-02-20T19:03:50.426" v="5420"/>
          <ac:spMkLst>
            <pc:docMk/>
            <pc:sldMk cId="2426597286" sldId="2147483600"/>
            <ac:spMk id="12" creationId="{3E4DA7E6-D1D1-0E93-B7F6-EEE6814A2B11}"/>
          </ac:spMkLst>
        </pc:spChg>
        <pc:spChg chg="add del mod modVis">
          <ac:chgData name="Hänninen, Lauri" userId="b62831d1-2046-40aa-b4b7-d67e2d73afe1" providerId="ADAL" clId="{F907ACC7-C8F7-470E-B883-D49732EB787C}" dt="2024-02-20T19:03:51.070" v="5449"/>
          <ac:spMkLst>
            <pc:docMk/>
            <pc:sldMk cId="2426597286" sldId="2147483600"/>
            <ac:spMk id="13" creationId="{6C2D23EE-25F0-4B19-BA61-234C8EE37485}"/>
          </ac:spMkLst>
        </pc:spChg>
        <pc:spChg chg="add del mod modVis">
          <ac:chgData name="Hänninen, Lauri" userId="b62831d1-2046-40aa-b4b7-d67e2d73afe1" providerId="ADAL" clId="{F907ACC7-C8F7-470E-B883-D49732EB787C}" dt="2024-02-20T19:03:56.286" v="5487"/>
          <ac:spMkLst>
            <pc:docMk/>
            <pc:sldMk cId="2426597286" sldId="2147483600"/>
            <ac:spMk id="14" creationId="{EA87640E-58A4-6B05-B0BA-562E993DDA2A}"/>
          </ac:spMkLst>
        </pc:spChg>
        <pc:spChg chg="add del mod modVis">
          <ac:chgData name="Hänninen, Lauri" userId="b62831d1-2046-40aa-b4b7-d67e2d73afe1" providerId="ADAL" clId="{F907ACC7-C8F7-470E-B883-D49732EB787C}" dt="2024-02-20T19:03:58.481" v="5521"/>
          <ac:spMkLst>
            <pc:docMk/>
            <pc:sldMk cId="2426597286" sldId="2147483600"/>
            <ac:spMk id="15" creationId="{C410E591-7E05-F6A8-1B2B-42CC5CBDBEF2}"/>
          </ac:spMkLst>
        </pc:spChg>
        <pc:spChg chg="add del mod modVis">
          <ac:chgData name="Hänninen, Lauri" userId="b62831d1-2046-40aa-b4b7-d67e2d73afe1" providerId="ADAL" clId="{F907ACC7-C8F7-470E-B883-D49732EB787C}" dt="2024-02-20T19:04:01.976" v="5564"/>
          <ac:spMkLst>
            <pc:docMk/>
            <pc:sldMk cId="2426597286" sldId="2147483600"/>
            <ac:spMk id="16" creationId="{43EE3CC0-3DD6-32B2-058C-6FC29DA5A51C}"/>
          </ac:spMkLst>
        </pc:spChg>
        <pc:spChg chg="add del mod modVis">
          <ac:chgData name="Hänninen, Lauri" userId="b62831d1-2046-40aa-b4b7-d67e2d73afe1" providerId="ADAL" clId="{F907ACC7-C8F7-470E-B883-D49732EB787C}" dt="2024-02-20T19:04:04.439" v="5593"/>
          <ac:spMkLst>
            <pc:docMk/>
            <pc:sldMk cId="2426597286" sldId="2147483600"/>
            <ac:spMk id="17" creationId="{94CCD7C8-1628-D957-0F97-4078909A90F5}"/>
          </ac:spMkLst>
        </pc:spChg>
        <pc:spChg chg="add del mod modVis">
          <ac:chgData name="Hänninen, Lauri" userId="b62831d1-2046-40aa-b4b7-d67e2d73afe1" providerId="ADAL" clId="{F907ACC7-C8F7-470E-B883-D49732EB787C}" dt="2024-02-20T19:04:05.949" v="5622"/>
          <ac:spMkLst>
            <pc:docMk/>
            <pc:sldMk cId="2426597286" sldId="2147483600"/>
            <ac:spMk id="18" creationId="{F89E9653-7D44-1C5E-5A50-525943F21E92}"/>
          </ac:spMkLst>
        </pc:spChg>
        <pc:spChg chg="add del mod modVis">
          <ac:chgData name="Hänninen, Lauri" userId="b62831d1-2046-40aa-b4b7-d67e2d73afe1" providerId="ADAL" clId="{F907ACC7-C8F7-470E-B883-D49732EB787C}" dt="2024-02-20T19:04:09.763" v="5663"/>
          <ac:spMkLst>
            <pc:docMk/>
            <pc:sldMk cId="2426597286" sldId="2147483600"/>
            <ac:spMk id="19" creationId="{C5963AC8-6928-8B52-B5FB-5580F0CD41F3}"/>
          </ac:spMkLst>
        </pc:spChg>
        <pc:spChg chg="add del mod modVis">
          <ac:chgData name="Hänninen, Lauri" userId="b62831d1-2046-40aa-b4b7-d67e2d73afe1" providerId="ADAL" clId="{F907ACC7-C8F7-470E-B883-D49732EB787C}" dt="2024-02-20T19:04:10.507" v="5692"/>
          <ac:spMkLst>
            <pc:docMk/>
            <pc:sldMk cId="2426597286" sldId="2147483600"/>
            <ac:spMk id="20" creationId="{2FE0A190-F1CA-678A-4C6F-47F257F17A84}"/>
          </ac:spMkLst>
        </pc:spChg>
        <pc:spChg chg="add del mod modVis">
          <ac:chgData name="Hänninen, Lauri" userId="b62831d1-2046-40aa-b4b7-d67e2d73afe1" providerId="ADAL" clId="{F907ACC7-C8F7-470E-B883-D49732EB787C}" dt="2024-02-20T19:04:13.850" v="5721"/>
          <ac:spMkLst>
            <pc:docMk/>
            <pc:sldMk cId="2426597286" sldId="2147483600"/>
            <ac:spMk id="21" creationId="{3837E60E-D2C3-14F2-3365-A0F3AFB76A92}"/>
          </ac:spMkLst>
        </pc:spChg>
        <pc:spChg chg="add del mod modVis">
          <ac:chgData name="Hänninen, Lauri" userId="b62831d1-2046-40aa-b4b7-d67e2d73afe1" providerId="ADAL" clId="{F907ACC7-C8F7-470E-B883-D49732EB787C}" dt="2024-02-20T19:04:21.431" v="5761"/>
          <ac:spMkLst>
            <pc:docMk/>
            <pc:sldMk cId="2426597286" sldId="2147483600"/>
            <ac:spMk id="22" creationId="{CE5C0358-7621-9EA1-E57D-BCD0FCE059B7}"/>
          </ac:spMkLst>
        </pc:spChg>
        <pc:spChg chg="add del mod modVis">
          <ac:chgData name="Hänninen, Lauri" userId="b62831d1-2046-40aa-b4b7-d67e2d73afe1" providerId="ADAL" clId="{F907ACC7-C8F7-470E-B883-D49732EB787C}" dt="2024-02-20T19:04:22.745" v="5799"/>
          <ac:spMkLst>
            <pc:docMk/>
            <pc:sldMk cId="2426597286" sldId="2147483600"/>
            <ac:spMk id="23" creationId="{CAE63FD7-E480-3C2D-E874-2CF27EEEC9D0}"/>
          </ac:spMkLst>
        </pc:spChg>
        <pc:spChg chg="add del mod modVis">
          <ac:chgData name="Hänninen, Lauri" userId="b62831d1-2046-40aa-b4b7-d67e2d73afe1" providerId="ADAL" clId="{F907ACC7-C8F7-470E-B883-D49732EB787C}" dt="2024-02-20T19:04:25.404" v="5835"/>
          <ac:spMkLst>
            <pc:docMk/>
            <pc:sldMk cId="2426597286" sldId="2147483600"/>
            <ac:spMk id="24" creationId="{8E8829AF-0FF7-F62D-3D53-B97D1379F352}"/>
          </ac:spMkLst>
        </pc:spChg>
        <pc:spChg chg="add del mod modVis">
          <ac:chgData name="Hänninen, Lauri" userId="b62831d1-2046-40aa-b4b7-d67e2d73afe1" providerId="ADAL" clId="{F907ACC7-C8F7-470E-B883-D49732EB787C}" dt="2024-02-20T19:04:26.756" v="5865"/>
          <ac:spMkLst>
            <pc:docMk/>
            <pc:sldMk cId="2426597286" sldId="2147483600"/>
            <ac:spMk id="25" creationId="{56A12219-B9CE-8DB6-29E8-0131D8EAA765}"/>
          </ac:spMkLst>
        </pc:spChg>
        <pc:spChg chg="add del mod modVis">
          <ac:chgData name="Hänninen, Lauri" userId="b62831d1-2046-40aa-b4b7-d67e2d73afe1" providerId="ADAL" clId="{F907ACC7-C8F7-470E-B883-D49732EB787C}" dt="2024-02-20T19:04:35.517" v="5894"/>
          <ac:spMkLst>
            <pc:docMk/>
            <pc:sldMk cId="2426597286" sldId="2147483600"/>
            <ac:spMk id="26" creationId="{1F9AEAB5-550A-0818-D94E-42457CB096E3}"/>
          </ac:spMkLst>
        </pc:spChg>
        <pc:spChg chg="add del mod modVis">
          <ac:chgData name="Hänninen, Lauri" userId="b62831d1-2046-40aa-b4b7-d67e2d73afe1" providerId="ADAL" clId="{F907ACC7-C8F7-470E-B883-D49732EB787C}" dt="2024-02-20T19:04:36.221" v="5924"/>
          <ac:spMkLst>
            <pc:docMk/>
            <pc:sldMk cId="2426597286" sldId="2147483600"/>
            <ac:spMk id="27" creationId="{44A2DF0D-677F-773A-ACFA-45904CAA7FC3}"/>
          </ac:spMkLst>
        </pc:spChg>
        <pc:spChg chg="add del mod modVis">
          <ac:chgData name="Hänninen, Lauri" userId="b62831d1-2046-40aa-b4b7-d67e2d73afe1" providerId="ADAL" clId="{F907ACC7-C8F7-470E-B883-D49732EB787C}" dt="2024-02-20T19:06:35.239" v="5993"/>
          <ac:spMkLst>
            <pc:docMk/>
            <pc:sldMk cId="2426597286" sldId="2147483600"/>
            <ac:spMk id="28" creationId="{3107158A-A457-983E-4D0A-B9EAF9AB97B7}"/>
          </ac:spMkLst>
        </pc:spChg>
        <pc:spChg chg="add del mod modVis">
          <ac:chgData name="Hänninen, Lauri" userId="b62831d1-2046-40aa-b4b7-d67e2d73afe1" providerId="ADAL" clId="{F907ACC7-C8F7-470E-B883-D49732EB787C}" dt="2024-02-20T19:06:37.537" v="6024"/>
          <ac:spMkLst>
            <pc:docMk/>
            <pc:sldMk cId="2426597286" sldId="2147483600"/>
            <ac:spMk id="29" creationId="{D78A854A-2BE1-3F08-504D-944C0E98B58A}"/>
          </ac:spMkLst>
        </pc:spChg>
        <pc:spChg chg="add mod">
          <ac:chgData name="Hänninen, Lauri" userId="b62831d1-2046-40aa-b4b7-d67e2d73afe1" providerId="ADAL" clId="{F907ACC7-C8F7-470E-B883-D49732EB787C}" dt="2024-02-20T19:36:39.964" v="7554"/>
          <ac:spMkLst>
            <pc:docMk/>
            <pc:sldMk cId="2426597286" sldId="2147483600"/>
            <ac:spMk id="30" creationId="{46AE7763-FDD8-F724-7D3A-451486D85177}"/>
          </ac:spMkLst>
        </pc:spChg>
        <pc:spChg chg="add mod">
          <ac:chgData name="Hänninen, Lauri" userId="b62831d1-2046-40aa-b4b7-d67e2d73afe1" providerId="ADAL" clId="{F907ACC7-C8F7-470E-B883-D49732EB787C}" dt="2024-02-20T19:36:39.964" v="7554"/>
          <ac:spMkLst>
            <pc:docMk/>
            <pc:sldMk cId="2426597286" sldId="2147483600"/>
            <ac:spMk id="31" creationId="{EA792194-A2E1-C7CE-5769-3FDDE7FAC180}"/>
          </ac:spMkLst>
        </pc:spChg>
        <pc:spChg chg="add mod">
          <ac:chgData name="Hänninen, Lauri" userId="b62831d1-2046-40aa-b4b7-d67e2d73afe1" providerId="ADAL" clId="{F907ACC7-C8F7-470E-B883-D49732EB787C}" dt="2024-02-20T19:36:39.964" v="7554"/>
          <ac:spMkLst>
            <pc:docMk/>
            <pc:sldMk cId="2426597286" sldId="2147483600"/>
            <ac:spMk id="32" creationId="{3D80C78B-C36B-B6F3-DAB6-B246695988F7}"/>
          </ac:spMkLst>
        </pc:spChg>
        <pc:spChg chg="add mod">
          <ac:chgData name="Hänninen, Lauri" userId="b62831d1-2046-40aa-b4b7-d67e2d73afe1" providerId="ADAL" clId="{F907ACC7-C8F7-470E-B883-D49732EB787C}" dt="2024-02-20T19:36:39.964" v="7554"/>
          <ac:spMkLst>
            <pc:docMk/>
            <pc:sldMk cId="2426597286" sldId="2147483600"/>
            <ac:spMk id="33" creationId="{41BB3F0C-F6BF-C46F-D735-76B535428440}"/>
          </ac:spMkLst>
        </pc:spChg>
        <pc:spChg chg="add mod">
          <ac:chgData name="Hänninen, Lauri" userId="b62831d1-2046-40aa-b4b7-d67e2d73afe1" providerId="ADAL" clId="{F907ACC7-C8F7-470E-B883-D49732EB787C}" dt="2024-02-20T19:36:39.964" v="7554"/>
          <ac:spMkLst>
            <pc:docMk/>
            <pc:sldMk cId="2426597286" sldId="2147483600"/>
            <ac:spMk id="34" creationId="{FD6D485F-E772-FAF7-09FD-ACE19656E9D7}"/>
          </ac:spMkLst>
        </pc:spChg>
        <pc:spChg chg="add mod">
          <ac:chgData name="Hänninen, Lauri" userId="b62831d1-2046-40aa-b4b7-d67e2d73afe1" providerId="ADAL" clId="{F907ACC7-C8F7-470E-B883-D49732EB787C}" dt="2024-02-20T19:36:39.964" v="7554"/>
          <ac:spMkLst>
            <pc:docMk/>
            <pc:sldMk cId="2426597286" sldId="2147483600"/>
            <ac:spMk id="38" creationId="{17626B5F-1F6B-90EA-490A-F19BBBF9057C}"/>
          </ac:spMkLst>
        </pc:spChg>
        <pc:spChg chg="add mod">
          <ac:chgData name="Hänninen, Lauri" userId="b62831d1-2046-40aa-b4b7-d67e2d73afe1" providerId="ADAL" clId="{F907ACC7-C8F7-470E-B883-D49732EB787C}" dt="2024-02-20T19:36:39.964" v="7554"/>
          <ac:spMkLst>
            <pc:docMk/>
            <pc:sldMk cId="2426597286" sldId="2147483600"/>
            <ac:spMk id="42" creationId="{9453CE2C-EF7F-6738-5358-7905570F08F4}"/>
          </ac:spMkLst>
        </pc:spChg>
        <pc:spChg chg="add mod">
          <ac:chgData name="Hänninen, Lauri" userId="b62831d1-2046-40aa-b4b7-d67e2d73afe1" providerId="ADAL" clId="{F907ACC7-C8F7-470E-B883-D49732EB787C}" dt="2024-02-20T19:36:39.964" v="7554"/>
          <ac:spMkLst>
            <pc:docMk/>
            <pc:sldMk cId="2426597286" sldId="2147483600"/>
            <ac:spMk id="47" creationId="{17FE95C5-608A-FB87-ABC8-2CBBC791E498}"/>
          </ac:spMkLst>
        </pc:spChg>
        <pc:spChg chg="add mod">
          <ac:chgData name="Hänninen, Lauri" userId="b62831d1-2046-40aa-b4b7-d67e2d73afe1" providerId="ADAL" clId="{F907ACC7-C8F7-470E-B883-D49732EB787C}" dt="2024-02-20T19:36:39.964" v="7554"/>
          <ac:spMkLst>
            <pc:docMk/>
            <pc:sldMk cId="2426597286" sldId="2147483600"/>
            <ac:spMk id="52" creationId="{F7E336FA-D192-DE4D-67A7-B7DD0629D0B2}"/>
          </ac:spMkLst>
        </pc:spChg>
        <pc:spChg chg="add mod">
          <ac:chgData name="Hänninen, Lauri" userId="b62831d1-2046-40aa-b4b7-d67e2d73afe1" providerId="ADAL" clId="{F907ACC7-C8F7-470E-B883-D49732EB787C}" dt="2024-02-20T19:36:39.964" v="7554"/>
          <ac:spMkLst>
            <pc:docMk/>
            <pc:sldMk cId="2426597286" sldId="2147483600"/>
            <ac:spMk id="57" creationId="{18ED3A90-883C-1E87-6519-A722E977C3ED}"/>
          </ac:spMkLst>
        </pc:spChg>
        <pc:spChg chg="add mod">
          <ac:chgData name="Hänninen, Lauri" userId="b62831d1-2046-40aa-b4b7-d67e2d73afe1" providerId="ADAL" clId="{F907ACC7-C8F7-470E-B883-D49732EB787C}" dt="2024-02-20T19:36:39.964" v="7554"/>
          <ac:spMkLst>
            <pc:docMk/>
            <pc:sldMk cId="2426597286" sldId="2147483600"/>
            <ac:spMk id="63" creationId="{1E3EC0DD-3116-FFA9-AB46-25AE41B92555}"/>
          </ac:spMkLst>
        </pc:spChg>
        <pc:spChg chg="add mod">
          <ac:chgData name="Hänninen, Lauri" userId="b62831d1-2046-40aa-b4b7-d67e2d73afe1" providerId="ADAL" clId="{F907ACC7-C8F7-470E-B883-D49732EB787C}" dt="2024-02-20T19:36:39.964" v="7554"/>
          <ac:spMkLst>
            <pc:docMk/>
            <pc:sldMk cId="2426597286" sldId="2147483600"/>
            <ac:spMk id="68" creationId="{D699C75F-1C71-636D-8770-6B76A3D0AD31}"/>
          </ac:spMkLst>
        </pc:spChg>
        <pc:spChg chg="add mod">
          <ac:chgData name="Hänninen, Lauri" userId="b62831d1-2046-40aa-b4b7-d67e2d73afe1" providerId="ADAL" clId="{F907ACC7-C8F7-470E-B883-D49732EB787C}" dt="2024-02-20T19:36:39.964" v="7554"/>
          <ac:spMkLst>
            <pc:docMk/>
            <pc:sldMk cId="2426597286" sldId="2147483600"/>
            <ac:spMk id="69" creationId="{19999F36-5095-4B94-AC39-6B9F509E5285}"/>
          </ac:spMkLst>
        </pc:spChg>
        <pc:spChg chg="add mod">
          <ac:chgData name="Hänninen, Lauri" userId="b62831d1-2046-40aa-b4b7-d67e2d73afe1" providerId="ADAL" clId="{F907ACC7-C8F7-470E-B883-D49732EB787C}" dt="2024-02-20T19:36:39.964" v="7554"/>
          <ac:spMkLst>
            <pc:docMk/>
            <pc:sldMk cId="2426597286" sldId="2147483600"/>
            <ac:spMk id="70" creationId="{CDADE754-2FB6-BCBA-2738-9F4076C79ADB}"/>
          </ac:spMkLst>
        </pc:spChg>
        <pc:spChg chg="add mod">
          <ac:chgData name="Hänninen, Lauri" userId="b62831d1-2046-40aa-b4b7-d67e2d73afe1" providerId="ADAL" clId="{F907ACC7-C8F7-470E-B883-D49732EB787C}" dt="2024-02-20T19:36:39.964" v="7554"/>
          <ac:spMkLst>
            <pc:docMk/>
            <pc:sldMk cId="2426597286" sldId="2147483600"/>
            <ac:spMk id="73" creationId="{CF77391E-C7C4-E5D9-FE10-73AC2BB03795}"/>
          </ac:spMkLst>
        </pc:spChg>
        <pc:spChg chg="add mod">
          <ac:chgData name="Hänninen, Lauri" userId="b62831d1-2046-40aa-b4b7-d67e2d73afe1" providerId="ADAL" clId="{F907ACC7-C8F7-470E-B883-D49732EB787C}" dt="2024-02-20T19:36:39.964" v="7554"/>
          <ac:spMkLst>
            <pc:docMk/>
            <pc:sldMk cId="2426597286" sldId="2147483600"/>
            <ac:spMk id="77" creationId="{89D3A9B3-8DE3-A4A9-089E-EEE0FBD3DD97}"/>
          </ac:spMkLst>
        </pc:spChg>
        <pc:spChg chg="add mod">
          <ac:chgData name="Hänninen, Lauri" userId="b62831d1-2046-40aa-b4b7-d67e2d73afe1" providerId="ADAL" clId="{F907ACC7-C8F7-470E-B883-D49732EB787C}" dt="2024-02-20T19:36:39.964" v="7554"/>
          <ac:spMkLst>
            <pc:docMk/>
            <pc:sldMk cId="2426597286" sldId="2147483600"/>
            <ac:spMk id="80" creationId="{46B8F458-819B-5313-8A47-F4A1F73A6118}"/>
          </ac:spMkLst>
        </pc:spChg>
        <pc:spChg chg="add mod">
          <ac:chgData name="Hänninen, Lauri" userId="b62831d1-2046-40aa-b4b7-d67e2d73afe1" providerId="ADAL" clId="{F907ACC7-C8F7-470E-B883-D49732EB787C}" dt="2024-02-20T19:36:39.964" v="7554"/>
          <ac:spMkLst>
            <pc:docMk/>
            <pc:sldMk cId="2426597286" sldId="2147483600"/>
            <ac:spMk id="87" creationId="{95F1A457-B792-A971-3E7B-2E85A08031DC}"/>
          </ac:spMkLst>
        </pc:spChg>
        <pc:spChg chg="add mod">
          <ac:chgData name="Hänninen, Lauri" userId="b62831d1-2046-40aa-b4b7-d67e2d73afe1" providerId="ADAL" clId="{F907ACC7-C8F7-470E-B883-D49732EB787C}" dt="2024-02-20T19:36:39.964" v="7554"/>
          <ac:spMkLst>
            <pc:docMk/>
            <pc:sldMk cId="2426597286" sldId="2147483600"/>
            <ac:spMk id="88" creationId="{58E4D5D6-DAD2-6ADD-4ABC-39E51507D5A0}"/>
          </ac:spMkLst>
        </pc:spChg>
        <pc:spChg chg="add mod">
          <ac:chgData name="Hänninen, Lauri" userId="b62831d1-2046-40aa-b4b7-d67e2d73afe1" providerId="ADAL" clId="{F907ACC7-C8F7-470E-B883-D49732EB787C}" dt="2024-02-20T20:01:49.836" v="8145" actId="1076"/>
          <ac:spMkLst>
            <pc:docMk/>
            <pc:sldMk cId="2426597286" sldId="2147483600"/>
            <ac:spMk id="90" creationId="{140B9F99-D481-525F-54F3-073FA92BA2BF}"/>
          </ac:spMkLst>
        </pc:spChg>
        <pc:spChg chg="add mod">
          <ac:chgData name="Hänninen, Lauri" userId="b62831d1-2046-40aa-b4b7-d67e2d73afe1" providerId="ADAL" clId="{F907ACC7-C8F7-470E-B883-D49732EB787C}" dt="2024-02-20T19:45:22.973" v="7813" actId="571"/>
          <ac:spMkLst>
            <pc:docMk/>
            <pc:sldMk cId="2426597286" sldId="2147483600"/>
            <ac:spMk id="91" creationId="{D9F6ADB5-A943-04B0-E302-FB94546C1EE0}"/>
          </ac:spMkLst>
        </pc:spChg>
        <pc:spChg chg="add mod">
          <ac:chgData name="Hänninen, Lauri" userId="b62831d1-2046-40aa-b4b7-d67e2d73afe1" providerId="ADAL" clId="{F907ACC7-C8F7-470E-B883-D49732EB787C}" dt="2024-02-20T20:02:00.060" v="8176" actId="27636"/>
          <ac:spMkLst>
            <pc:docMk/>
            <pc:sldMk cId="2426597286" sldId="2147483600"/>
            <ac:spMk id="92" creationId="{040F3200-4C47-BC00-969C-EFB58ACF87FB}"/>
          </ac:spMkLst>
        </pc:spChg>
        <pc:spChg chg="add del mod modVis">
          <ac:chgData name="Hänninen, Lauri" userId="b62831d1-2046-40aa-b4b7-d67e2d73afe1" providerId="ADAL" clId="{F907ACC7-C8F7-470E-B883-D49732EB787C}" dt="2024-02-20T20:01:52.812" v="8172"/>
          <ac:spMkLst>
            <pc:docMk/>
            <pc:sldMk cId="2426597286" sldId="2147483600"/>
            <ac:spMk id="93" creationId="{4651BA13-0CC3-CE9B-1367-B26AC0508A84}"/>
          </ac:spMkLst>
        </pc:spChg>
        <pc:spChg chg="add del mod">
          <ac:chgData name="Hänninen, Lauri" userId="b62831d1-2046-40aa-b4b7-d67e2d73afe1" providerId="ADAL" clId="{F907ACC7-C8F7-470E-B883-D49732EB787C}" dt="2024-02-20T20:02:14.730" v="8182" actId="478"/>
          <ac:spMkLst>
            <pc:docMk/>
            <pc:sldMk cId="2426597286" sldId="2147483600"/>
            <ac:spMk id="95" creationId="{12D68929-D422-B4A0-CD53-F7472A266B21}"/>
          </ac:spMkLst>
        </pc:spChg>
        <pc:graphicFrameChg chg="add mod ord modVis replST">
          <ac:chgData name="Hänninen, Lauri" userId="b62831d1-2046-40aa-b4b7-d67e2d73afe1" providerId="ADAL" clId="{F907ACC7-C8F7-470E-B883-D49732EB787C}" dt="2024-02-20T20:02:15.253" v="8186"/>
          <ac:graphicFrameMkLst>
            <pc:docMk/>
            <pc:sldMk cId="2426597286" sldId="2147483600"/>
            <ac:graphicFrameMk id="3" creationId="{AD6081FB-9436-D5D8-CFEE-C7D9BA9B609E}"/>
          </ac:graphicFrameMkLst>
        </pc:graphicFrameChg>
        <pc:picChg chg="add mod">
          <ac:chgData name="Hänninen, Lauri" userId="b62831d1-2046-40aa-b4b7-d67e2d73afe1" providerId="ADAL" clId="{F907ACC7-C8F7-470E-B883-D49732EB787C}" dt="2024-02-20T19:36:39.964" v="7554"/>
          <ac:picMkLst>
            <pc:docMk/>
            <pc:sldMk cId="2426597286" sldId="2147483600"/>
            <ac:picMk id="39" creationId="{5D4A5EB2-EB1A-40B0-7B1E-5C5B9EC75D2A}"/>
          </ac:picMkLst>
        </pc:picChg>
        <pc:picChg chg="add mod">
          <ac:chgData name="Hänninen, Lauri" userId="b62831d1-2046-40aa-b4b7-d67e2d73afe1" providerId="ADAL" clId="{F907ACC7-C8F7-470E-B883-D49732EB787C}" dt="2024-02-20T19:36:39.964" v="7554"/>
          <ac:picMkLst>
            <pc:docMk/>
            <pc:sldMk cId="2426597286" sldId="2147483600"/>
            <ac:picMk id="40" creationId="{EEA4DA73-6965-81DE-30E6-37835E8FBF69}"/>
          </ac:picMkLst>
        </pc:picChg>
        <pc:picChg chg="add mod">
          <ac:chgData name="Hänninen, Lauri" userId="b62831d1-2046-40aa-b4b7-d67e2d73afe1" providerId="ADAL" clId="{F907ACC7-C8F7-470E-B883-D49732EB787C}" dt="2024-02-20T19:36:39.964" v="7554"/>
          <ac:picMkLst>
            <pc:docMk/>
            <pc:sldMk cId="2426597286" sldId="2147483600"/>
            <ac:picMk id="41" creationId="{C8D74F5B-8408-E687-9F3B-255483CD13C9}"/>
          </ac:picMkLst>
        </pc:picChg>
        <pc:picChg chg="add mod">
          <ac:chgData name="Hänninen, Lauri" userId="b62831d1-2046-40aa-b4b7-d67e2d73afe1" providerId="ADAL" clId="{F907ACC7-C8F7-470E-B883-D49732EB787C}" dt="2024-02-20T19:36:39.964" v="7554"/>
          <ac:picMkLst>
            <pc:docMk/>
            <pc:sldMk cId="2426597286" sldId="2147483600"/>
            <ac:picMk id="43" creationId="{85D9F034-4794-6C39-5646-E07CAA885845}"/>
          </ac:picMkLst>
        </pc:picChg>
        <pc:picChg chg="add mod">
          <ac:chgData name="Hänninen, Lauri" userId="b62831d1-2046-40aa-b4b7-d67e2d73afe1" providerId="ADAL" clId="{F907ACC7-C8F7-470E-B883-D49732EB787C}" dt="2024-02-20T19:36:39.964" v="7554"/>
          <ac:picMkLst>
            <pc:docMk/>
            <pc:sldMk cId="2426597286" sldId="2147483600"/>
            <ac:picMk id="44" creationId="{8E2AEDDB-D3AC-E214-D41B-AC2E79ED0531}"/>
          </ac:picMkLst>
        </pc:picChg>
        <pc:picChg chg="add mod">
          <ac:chgData name="Hänninen, Lauri" userId="b62831d1-2046-40aa-b4b7-d67e2d73afe1" providerId="ADAL" clId="{F907ACC7-C8F7-470E-B883-D49732EB787C}" dt="2024-02-20T19:36:39.964" v="7554"/>
          <ac:picMkLst>
            <pc:docMk/>
            <pc:sldMk cId="2426597286" sldId="2147483600"/>
            <ac:picMk id="45" creationId="{38A8BC38-7EB6-80FD-2963-F5450BA41689}"/>
          </ac:picMkLst>
        </pc:picChg>
        <pc:picChg chg="add mod">
          <ac:chgData name="Hänninen, Lauri" userId="b62831d1-2046-40aa-b4b7-d67e2d73afe1" providerId="ADAL" clId="{F907ACC7-C8F7-470E-B883-D49732EB787C}" dt="2024-02-20T19:36:39.964" v="7554"/>
          <ac:picMkLst>
            <pc:docMk/>
            <pc:sldMk cId="2426597286" sldId="2147483600"/>
            <ac:picMk id="46" creationId="{726D7406-2F83-7AA7-426E-B1799EC2F93C}"/>
          </ac:picMkLst>
        </pc:picChg>
        <pc:picChg chg="add mod">
          <ac:chgData name="Hänninen, Lauri" userId="b62831d1-2046-40aa-b4b7-d67e2d73afe1" providerId="ADAL" clId="{F907ACC7-C8F7-470E-B883-D49732EB787C}" dt="2024-02-20T19:36:39.964" v="7554"/>
          <ac:picMkLst>
            <pc:docMk/>
            <pc:sldMk cId="2426597286" sldId="2147483600"/>
            <ac:picMk id="48" creationId="{4E1027DF-D673-E7F4-C255-71640169779C}"/>
          </ac:picMkLst>
        </pc:picChg>
        <pc:picChg chg="add mod">
          <ac:chgData name="Hänninen, Lauri" userId="b62831d1-2046-40aa-b4b7-d67e2d73afe1" providerId="ADAL" clId="{F907ACC7-C8F7-470E-B883-D49732EB787C}" dt="2024-02-20T19:36:39.964" v="7554"/>
          <ac:picMkLst>
            <pc:docMk/>
            <pc:sldMk cId="2426597286" sldId="2147483600"/>
            <ac:picMk id="49" creationId="{BD5EC02A-9341-7DEE-480A-6EA913A5580B}"/>
          </ac:picMkLst>
        </pc:picChg>
        <pc:picChg chg="add mod">
          <ac:chgData name="Hänninen, Lauri" userId="b62831d1-2046-40aa-b4b7-d67e2d73afe1" providerId="ADAL" clId="{F907ACC7-C8F7-470E-B883-D49732EB787C}" dt="2024-02-20T19:36:39.964" v="7554"/>
          <ac:picMkLst>
            <pc:docMk/>
            <pc:sldMk cId="2426597286" sldId="2147483600"/>
            <ac:picMk id="50" creationId="{4A15E88C-B561-2D71-1BFB-64A7DC807611}"/>
          </ac:picMkLst>
        </pc:picChg>
        <pc:picChg chg="add mod">
          <ac:chgData name="Hänninen, Lauri" userId="b62831d1-2046-40aa-b4b7-d67e2d73afe1" providerId="ADAL" clId="{F907ACC7-C8F7-470E-B883-D49732EB787C}" dt="2024-02-20T19:36:39.964" v="7554"/>
          <ac:picMkLst>
            <pc:docMk/>
            <pc:sldMk cId="2426597286" sldId="2147483600"/>
            <ac:picMk id="51" creationId="{AB29240D-3597-AE2E-14E6-65E933FFA1CD}"/>
          </ac:picMkLst>
        </pc:picChg>
        <pc:picChg chg="add mod">
          <ac:chgData name="Hänninen, Lauri" userId="b62831d1-2046-40aa-b4b7-d67e2d73afe1" providerId="ADAL" clId="{F907ACC7-C8F7-470E-B883-D49732EB787C}" dt="2024-02-20T19:36:39.964" v="7554"/>
          <ac:picMkLst>
            <pc:docMk/>
            <pc:sldMk cId="2426597286" sldId="2147483600"/>
            <ac:picMk id="53" creationId="{03D726D8-78EA-69C4-FFC0-2DC8715A42E9}"/>
          </ac:picMkLst>
        </pc:picChg>
        <pc:picChg chg="add mod">
          <ac:chgData name="Hänninen, Lauri" userId="b62831d1-2046-40aa-b4b7-d67e2d73afe1" providerId="ADAL" clId="{F907ACC7-C8F7-470E-B883-D49732EB787C}" dt="2024-02-20T19:36:39.964" v="7554"/>
          <ac:picMkLst>
            <pc:docMk/>
            <pc:sldMk cId="2426597286" sldId="2147483600"/>
            <ac:picMk id="54" creationId="{DE919450-2CBF-E80E-7AA4-A80CE471D80A}"/>
          </ac:picMkLst>
        </pc:picChg>
        <pc:picChg chg="add mod">
          <ac:chgData name="Hänninen, Lauri" userId="b62831d1-2046-40aa-b4b7-d67e2d73afe1" providerId="ADAL" clId="{F907ACC7-C8F7-470E-B883-D49732EB787C}" dt="2024-02-20T19:36:39.964" v="7554"/>
          <ac:picMkLst>
            <pc:docMk/>
            <pc:sldMk cId="2426597286" sldId="2147483600"/>
            <ac:picMk id="55" creationId="{E6A599AF-C34F-4355-0B35-4848293F2FFA}"/>
          </ac:picMkLst>
        </pc:picChg>
        <pc:picChg chg="add mod">
          <ac:chgData name="Hänninen, Lauri" userId="b62831d1-2046-40aa-b4b7-d67e2d73afe1" providerId="ADAL" clId="{F907ACC7-C8F7-470E-B883-D49732EB787C}" dt="2024-02-20T19:36:39.964" v="7554"/>
          <ac:picMkLst>
            <pc:docMk/>
            <pc:sldMk cId="2426597286" sldId="2147483600"/>
            <ac:picMk id="56" creationId="{E32F7C7B-2E83-5D05-8E99-823F4A7A7FE2}"/>
          </ac:picMkLst>
        </pc:picChg>
        <pc:picChg chg="add mod">
          <ac:chgData name="Hänninen, Lauri" userId="b62831d1-2046-40aa-b4b7-d67e2d73afe1" providerId="ADAL" clId="{F907ACC7-C8F7-470E-B883-D49732EB787C}" dt="2024-02-20T19:36:39.964" v="7554"/>
          <ac:picMkLst>
            <pc:docMk/>
            <pc:sldMk cId="2426597286" sldId="2147483600"/>
            <ac:picMk id="58" creationId="{99B86542-B60D-BB0B-D178-1A9BBB8462CA}"/>
          </ac:picMkLst>
        </pc:picChg>
        <pc:picChg chg="add mod">
          <ac:chgData name="Hänninen, Lauri" userId="b62831d1-2046-40aa-b4b7-d67e2d73afe1" providerId="ADAL" clId="{F907ACC7-C8F7-470E-B883-D49732EB787C}" dt="2024-02-20T19:36:39.964" v="7554"/>
          <ac:picMkLst>
            <pc:docMk/>
            <pc:sldMk cId="2426597286" sldId="2147483600"/>
            <ac:picMk id="59" creationId="{6763FD39-DE97-C434-B9F1-7F9BA0C6CB30}"/>
          </ac:picMkLst>
        </pc:picChg>
        <pc:picChg chg="add mod">
          <ac:chgData name="Hänninen, Lauri" userId="b62831d1-2046-40aa-b4b7-d67e2d73afe1" providerId="ADAL" clId="{F907ACC7-C8F7-470E-B883-D49732EB787C}" dt="2024-02-20T19:36:39.964" v="7554"/>
          <ac:picMkLst>
            <pc:docMk/>
            <pc:sldMk cId="2426597286" sldId="2147483600"/>
            <ac:picMk id="60" creationId="{CAB0F587-D7E2-AA63-6691-91D993419E2B}"/>
          </ac:picMkLst>
        </pc:picChg>
        <pc:picChg chg="add mod">
          <ac:chgData name="Hänninen, Lauri" userId="b62831d1-2046-40aa-b4b7-d67e2d73afe1" providerId="ADAL" clId="{F907ACC7-C8F7-470E-B883-D49732EB787C}" dt="2024-02-20T19:36:39.964" v="7554"/>
          <ac:picMkLst>
            <pc:docMk/>
            <pc:sldMk cId="2426597286" sldId="2147483600"/>
            <ac:picMk id="61" creationId="{29BDA610-6BDD-29AF-97D0-BADE4EE55ECC}"/>
          </ac:picMkLst>
        </pc:picChg>
        <pc:picChg chg="add mod">
          <ac:chgData name="Hänninen, Lauri" userId="b62831d1-2046-40aa-b4b7-d67e2d73afe1" providerId="ADAL" clId="{F907ACC7-C8F7-470E-B883-D49732EB787C}" dt="2024-02-20T19:36:39.964" v="7554"/>
          <ac:picMkLst>
            <pc:docMk/>
            <pc:sldMk cId="2426597286" sldId="2147483600"/>
            <ac:picMk id="62" creationId="{C9D94FDC-07A9-3C70-B0DC-F8CC8EE32AC1}"/>
          </ac:picMkLst>
        </pc:picChg>
        <pc:picChg chg="add mod">
          <ac:chgData name="Hänninen, Lauri" userId="b62831d1-2046-40aa-b4b7-d67e2d73afe1" providerId="ADAL" clId="{F907ACC7-C8F7-470E-B883-D49732EB787C}" dt="2024-02-20T19:36:39.964" v="7554"/>
          <ac:picMkLst>
            <pc:docMk/>
            <pc:sldMk cId="2426597286" sldId="2147483600"/>
            <ac:picMk id="64" creationId="{B1BF1EF8-7071-6FC4-80B1-2D035A61EFA3}"/>
          </ac:picMkLst>
        </pc:picChg>
        <pc:picChg chg="add mod">
          <ac:chgData name="Hänninen, Lauri" userId="b62831d1-2046-40aa-b4b7-d67e2d73afe1" providerId="ADAL" clId="{F907ACC7-C8F7-470E-B883-D49732EB787C}" dt="2024-02-20T19:36:39.964" v="7554"/>
          <ac:picMkLst>
            <pc:docMk/>
            <pc:sldMk cId="2426597286" sldId="2147483600"/>
            <ac:picMk id="65" creationId="{3A8EB3E8-2D33-E174-3967-E96C02C4CC5A}"/>
          </ac:picMkLst>
        </pc:picChg>
        <pc:picChg chg="add mod">
          <ac:chgData name="Hänninen, Lauri" userId="b62831d1-2046-40aa-b4b7-d67e2d73afe1" providerId="ADAL" clId="{F907ACC7-C8F7-470E-B883-D49732EB787C}" dt="2024-02-20T19:36:39.964" v="7554"/>
          <ac:picMkLst>
            <pc:docMk/>
            <pc:sldMk cId="2426597286" sldId="2147483600"/>
            <ac:picMk id="66" creationId="{6226D58D-4A09-D4FA-0A95-B3A379318EF3}"/>
          </ac:picMkLst>
        </pc:picChg>
        <pc:picChg chg="add mod">
          <ac:chgData name="Hänninen, Lauri" userId="b62831d1-2046-40aa-b4b7-d67e2d73afe1" providerId="ADAL" clId="{F907ACC7-C8F7-470E-B883-D49732EB787C}" dt="2024-02-20T19:36:39.964" v="7554"/>
          <ac:picMkLst>
            <pc:docMk/>
            <pc:sldMk cId="2426597286" sldId="2147483600"/>
            <ac:picMk id="67" creationId="{C81E532A-1A94-1AA7-B4B4-72DC2DB24CCE}"/>
          </ac:picMkLst>
        </pc:picChg>
        <pc:picChg chg="add mod">
          <ac:chgData name="Hänninen, Lauri" userId="b62831d1-2046-40aa-b4b7-d67e2d73afe1" providerId="ADAL" clId="{F907ACC7-C8F7-470E-B883-D49732EB787C}" dt="2024-02-20T19:36:39.964" v="7554"/>
          <ac:picMkLst>
            <pc:docMk/>
            <pc:sldMk cId="2426597286" sldId="2147483600"/>
            <ac:picMk id="71" creationId="{6E2CEE32-AC36-585E-B141-8F15FA3179B0}"/>
          </ac:picMkLst>
        </pc:picChg>
        <pc:picChg chg="add mod">
          <ac:chgData name="Hänninen, Lauri" userId="b62831d1-2046-40aa-b4b7-d67e2d73afe1" providerId="ADAL" clId="{F907ACC7-C8F7-470E-B883-D49732EB787C}" dt="2024-02-20T19:36:39.964" v="7554"/>
          <ac:picMkLst>
            <pc:docMk/>
            <pc:sldMk cId="2426597286" sldId="2147483600"/>
            <ac:picMk id="72" creationId="{61106378-5994-02C9-CFC0-F0827E845318}"/>
          </ac:picMkLst>
        </pc:picChg>
        <pc:picChg chg="add mod">
          <ac:chgData name="Hänninen, Lauri" userId="b62831d1-2046-40aa-b4b7-d67e2d73afe1" providerId="ADAL" clId="{F907ACC7-C8F7-470E-B883-D49732EB787C}" dt="2024-02-20T19:36:39.964" v="7554"/>
          <ac:picMkLst>
            <pc:docMk/>
            <pc:sldMk cId="2426597286" sldId="2147483600"/>
            <ac:picMk id="74" creationId="{293F6E0E-76F5-11AC-78B6-FF9C61F70003}"/>
          </ac:picMkLst>
        </pc:picChg>
        <pc:picChg chg="add mod">
          <ac:chgData name="Hänninen, Lauri" userId="b62831d1-2046-40aa-b4b7-d67e2d73afe1" providerId="ADAL" clId="{F907ACC7-C8F7-470E-B883-D49732EB787C}" dt="2024-02-20T19:36:39.964" v="7554"/>
          <ac:picMkLst>
            <pc:docMk/>
            <pc:sldMk cId="2426597286" sldId="2147483600"/>
            <ac:picMk id="75" creationId="{B8B501FC-04C6-03FF-2881-E7A9463DEE34}"/>
          </ac:picMkLst>
        </pc:picChg>
        <pc:picChg chg="add mod">
          <ac:chgData name="Hänninen, Lauri" userId="b62831d1-2046-40aa-b4b7-d67e2d73afe1" providerId="ADAL" clId="{F907ACC7-C8F7-470E-B883-D49732EB787C}" dt="2024-02-20T19:36:39.964" v="7554"/>
          <ac:picMkLst>
            <pc:docMk/>
            <pc:sldMk cId="2426597286" sldId="2147483600"/>
            <ac:picMk id="76" creationId="{A528172E-D8B0-4ECD-A65A-F28C352058C0}"/>
          </ac:picMkLst>
        </pc:picChg>
        <pc:picChg chg="add mod">
          <ac:chgData name="Hänninen, Lauri" userId="b62831d1-2046-40aa-b4b7-d67e2d73afe1" providerId="ADAL" clId="{F907ACC7-C8F7-470E-B883-D49732EB787C}" dt="2024-02-20T19:36:39.964" v="7554"/>
          <ac:picMkLst>
            <pc:docMk/>
            <pc:sldMk cId="2426597286" sldId="2147483600"/>
            <ac:picMk id="78" creationId="{C06B4A71-6078-6944-048B-AE0D9913446F}"/>
          </ac:picMkLst>
        </pc:picChg>
        <pc:picChg chg="add mod">
          <ac:chgData name="Hänninen, Lauri" userId="b62831d1-2046-40aa-b4b7-d67e2d73afe1" providerId="ADAL" clId="{F907ACC7-C8F7-470E-B883-D49732EB787C}" dt="2024-02-20T19:36:39.964" v="7554"/>
          <ac:picMkLst>
            <pc:docMk/>
            <pc:sldMk cId="2426597286" sldId="2147483600"/>
            <ac:picMk id="79" creationId="{B4E5958C-B2B0-935E-3730-9B0578D78EC8}"/>
          </ac:picMkLst>
        </pc:picChg>
        <pc:picChg chg="add mod">
          <ac:chgData name="Hänninen, Lauri" userId="b62831d1-2046-40aa-b4b7-d67e2d73afe1" providerId="ADAL" clId="{F907ACC7-C8F7-470E-B883-D49732EB787C}" dt="2024-02-20T19:36:39.964" v="7554"/>
          <ac:picMkLst>
            <pc:docMk/>
            <pc:sldMk cId="2426597286" sldId="2147483600"/>
            <ac:picMk id="81" creationId="{77F6C41D-47C2-947A-FA75-49E573A5E5FF}"/>
          </ac:picMkLst>
        </pc:picChg>
        <pc:picChg chg="add mod">
          <ac:chgData name="Hänninen, Lauri" userId="b62831d1-2046-40aa-b4b7-d67e2d73afe1" providerId="ADAL" clId="{F907ACC7-C8F7-470E-B883-D49732EB787C}" dt="2024-02-20T19:36:39.964" v="7554"/>
          <ac:picMkLst>
            <pc:docMk/>
            <pc:sldMk cId="2426597286" sldId="2147483600"/>
            <ac:picMk id="82" creationId="{A595D242-D4DA-C8CA-B6CC-01668612D56B}"/>
          </ac:picMkLst>
        </pc:picChg>
        <pc:picChg chg="add mod">
          <ac:chgData name="Hänninen, Lauri" userId="b62831d1-2046-40aa-b4b7-d67e2d73afe1" providerId="ADAL" clId="{F907ACC7-C8F7-470E-B883-D49732EB787C}" dt="2024-02-20T19:36:39.964" v="7554"/>
          <ac:picMkLst>
            <pc:docMk/>
            <pc:sldMk cId="2426597286" sldId="2147483600"/>
            <ac:picMk id="83" creationId="{2105F6C4-3E8F-64CC-7973-21E855A168E1}"/>
          </ac:picMkLst>
        </pc:picChg>
        <pc:picChg chg="add mod">
          <ac:chgData name="Hänninen, Lauri" userId="b62831d1-2046-40aa-b4b7-d67e2d73afe1" providerId="ADAL" clId="{F907ACC7-C8F7-470E-B883-D49732EB787C}" dt="2024-02-20T19:36:39.964" v="7554"/>
          <ac:picMkLst>
            <pc:docMk/>
            <pc:sldMk cId="2426597286" sldId="2147483600"/>
            <ac:picMk id="84" creationId="{0A139068-1C57-E50E-69B7-F851E4C24A11}"/>
          </ac:picMkLst>
        </pc:picChg>
        <pc:picChg chg="add mod">
          <ac:chgData name="Hänninen, Lauri" userId="b62831d1-2046-40aa-b4b7-d67e2d73afe1" providerId="ADAL" clId="{F907ACC7-C8F7-470E-B883-D49732EB787C}" dt="2024-02-20T19:36:39.964" v="7554"/>
          <ac:picMkLst>
            <pc:docMk/>
            <pc:sldMk cId="2426597286" sldId="2147483600"/>
            <ac:picMk id="85" creationId="{B7D7F8CB-07A1-D64A-26AD-8FD1B298D946}"/>
          </ac:picMkLst>
        </pc:picChg>
        <pc:cxnChg chg="add mod">
          <ac:chgData name="Hänninen, Lauri" userId="b62831d1-2046-40aa-b4b7-d67e2d73afe1" providerId="ADAL" clId="{F907ACC7-C8F7-470E-B883-D49732EB787C}" dt="2024-02-20T19:36:39.964" v="7554"/>
          <ac:cxnSpMkLst>
            <pc:docMk/>
            <pc:sldMk cId="2426597286" sldId="2147483600"/>
            <ac:cxnSpMk id="35" creationId="{DFB16D3E-7CA9-5667-6DFB-41E49EFEEBD8}"/>
          </ac:cxnSpMkLst>
        </pc:cxnChg>
        <pc:cxnChg chg="add mod">
          <ac:chgData name="Hänninen, Lauri" userId="b62831d1-2046-40aa-b4b7-d67e2d73afe1" providerId="ADAL" clId="{F907ACC7-C8F7-470E-B883-D49732EB787C}" dt="2024-02-20T19:36:39.964" v="7554"/>
          <ac:cxnSpMkLst>
            <pc:docMk/>
            <pc:sldMk cId="2426597286" sldId="2147483600"/>
            <ac:cxnSpMk id="36" creationId="{85A11148-F63C-F35D-311E-F14B7DBEFA4D}"/>
          </ac:cxnSpMkLst>
        </pc:cxnChg>
        <pc:cxnChg chg="add mod">
          <ac:chgData name="Hänninen, Lauri" userId="b62831d1-2046-40aa-b4b7-d67e2d73afe1" providerId="ADAL" clId="{F907ACC7-C8F7-470E-B883-D49732EB787C}" dt="2024-02-20T19:36:39.964" v="7554"/>
          <ac:cxnSpMkLst>
            <pc:docMk/>
            <pc:sldMk cId="2426597286" sldId="2147483600"/>
            <ac:cxnSpMk id="37" creationId="{75974621-F633-8965-DE41-06CE99FF7DE3}"/>
          </ac:cxnSpMkLst>
        </pc:cxnChg>
        <pc:cxnChg chg="add mod">
          <ac:chgData name="Hänninen, Lauri" userId="b62831d1-2046-40aa-b4b7-d67e2d73afe1" providerId="ADAL" clId="{F907ACC7-C8F7-470E-B883-D49732EB787C}" dt="2024-02-20T19:36:39.964" v="7554"/>
          <ac:cxnSpMkLst>
            <pc:docMk/>
            <pc:sldMk cId="2426597286" sldId="2147483600"/>
            <ac:cxnSpMk id="86" creationId="{2862437A-5AEA-533C-8901-D5CD4463AB57}"/>
          </ac:cxnSpMkLst>
        </pc:cxnChg>
        <pc:cxnChg chg="add mod">
          <ac:chgData name="Hänninen, Lauri" userId="b62831d1-2046-40aa-b4b7-d67e2d73afe1" providerId="ADAL" clId="{F907ACC7-C8F7-470E-B883-D49732EB787C}" dt="2024-02-20T19:36:39.964" v="7554"/>
          <ac:cxnSpMkLst>
            <pc:docMk/>
            <pc:sldMk cId="2426597286" sldId="2147483600"/>
            <ac:cxnSpMk id="89" creationId="{3D1D08B6-4F37-675F-F286-2E034EC93956}"/>
          </ac:cxnSpMkLst>
        </pc:cxnChg>
      </pc:sldChg>
      <pc:sldChg chg="modSp add mod modShow">
        <pc:chgData name="Hänninen, Lauri" userId="b62831d1-2046-40aa-b4b7-d67e2d73afe1" providerId="ADAL" clId="{F907ACC7-C8F7-470E-B883-D49732EB787C}" dt="2024-02-20T19:47:13.743" v="7824" actId="729"/>
        <pc:sldMkLst>
          <pc:docMk/>
          <pc:sldMk cId="2594962716" sldId="2147483601"/>
        </pc:sldMkLst>
        <pc:spChg chg="mod">
          <ac:chgData name="Hänninen, Lauri" userId="b62831d1-2046-40aa-b4b7-d67e2d73afe1" providerId="ADAL" clId="{F907ACC7-C8F7-470E-B883-D49732EB787C}" dt="2024-02-20T19:47:08.482" v="7822" actId="20577"/>
          <ac:spMkLst>
            <pc:docMk/>
            <pc:sldMk cId="2594962716" sldId="2147483601"/>
            <ac:spMk id="8" creationId="{E73C6532-3274-AA7E-65C7-D9FDA88CC3D4}"/>
          </ac:spMkLst>
        </pc:spChg>
      </pc:sldChg>
      <pc:sldChg chg="add mod modShow">
        <pc:chgData name="Hänninen, Lauri" userId="b62831d1-2046-40aa-b4b7-d67e2d73afe1" providerId="ADAL" clId="{F907ACC7-C8F7-470E-B883-D49732EB787C}" dt="2024-02-20T19:47:17.604" v="7825" actId="729"/>
        <pc:sldMkLst>
          <pc:docMk/>
          <pc:sldMk cId="839864784" sldId="2147483602"/>
        </pc:sldMkLst>
      </pc:sldChg>
      <pc:sldChg chg="addSp delSp modSp add del mod modClrScheme chgLayout">
        <pc:chgData name="Hänninen, Lauri" userId="b62831d1-2046-40aa-b4b7-d67e2d73afe1" providerId="ADAL" clId="{F907ACC7-C8F7-470E-B883-D49732EB787C}" dt="2024-02-20T19:37:46.797" v="7594" actId="2696"/>
        <pc:sldMkLst>
          <pc:docMk/>
          <pc:sldMk cId="2348689112" sldId="2147483602"/>
        </pc:sldMkLst>
        <pc:spChg chg="del">
          <ac:chgData name="Hänninen, Lauri" userId="b62831d1-2046-40aa-b4b7-d67e2d73afe1" providerId="ADAL" clId="{F907ACC7-C8F7-470E-B883-D49732EB787C}" dt="2024-02-20T19:11:31.118" v="6035" actId="478"/>
          <ac:spMkLst>
            <pc:docMk/>
            <pc:sldMk cId="2348689112" sldId="2147483602"/>
            <ac:spMk id="2" creationId="{150176E8-36EF-8299-14CB-D5868CA5FF09}"/>
          </ac:spMkLst>
        </pc:spChg>
        <pc:spChg chg="add mod">
          <ac:chgData name="Hänninen, Lauri" userId="b62831d1-2046-40aa-b4b7-d67e2d73afe1" providerId="ADAL" clId="{F907ACC7-C8F7-470E-B883-D49732EB787C}" dt="2024-02-20T19:12:58.180" v="6051" actId="2711"/>
          <ac:spMkLst>
            <pc:docMk/>
            <pc:sldMk cId="2348689112" sldId="2147483602"/>
            <ac:spMk id="3" creationId="{AD1F2EF7-0D39-C47B-7E72-4F4D35FA39D4}"/>
          </ac:spMkLst>
        </pc:spChg>
        <pc:spChg chg="add del mod ord">
          <ac:chgData name="Hänninen, Lauri" userId="b62831d1-2046-40aa-b4b7-d67e2d73afe1" providerId="ADAL" clId="{F907ACC7-C8F7-470E-B883-D49732EB787C}" dt="2024-02-20T19:11:42.727" v="6038" actId="700"/>
          <ac:spMkLst>
            <pc:docMk/>
            <pc:sldMk cId="2348689112" sldId="2147483602"/>
            <ac:spMk id="4" creationId="{3DCC96E3-958B-D4E2-8F2F-A3E26162FBC7}"/>
          </ac:spMkLst>
        </pc:spChg>
        <pc:spChg chg="add del mod ord">
          <ac:chgData name="Hänninen, Lauri" userId="b62831d1-2046-40aa-b4b7-d67e2d73afe1" providerId="ADAL" clId="{F907ACC7-C8F7-470E-B883-D49732EB787C}" dt="2024-02-20T19:11:47.206" v="6039" actId="478"/>
          <ac:spMkLst>
            <pc:docMk/>
            <pc:sldMk cId="2348689112" sldId="2147483602"/>
            <ac:spMk id="5" creationId="{D9C4F95B-E58C-8CB9-25BF-C13C607FDC31}"/>
          </ac:spMkLst>
        </pc:spChg>
        <pc:spChg chg="add del mod ord">
          <ac:chgData name="Hänninen, Lauri" userId="b62831d1-2046-40aa-b4b7-d67e2d73afe1" providerId="ADAL" clId="{F907ACC7-C8F7-470E-B883-D49732EB787C}" dt="2024-02-20T19:11:50.376" v="6040" actId="478"/>
          <ac:spMkLst>
            <pc:docMk/>
            <pc:sldMk cId="2348689112" sldId="2147483602"/>
            <ac:spMk id="6" creationId="{9900ED2F-4B01-A166-3A78-7FDC6CBD5D53}"/>
          </ac:spMkLst>
        </pc:spChg>
        <pc:spChg chg="mod">
          <ac:chgData name="Hänninen, Lauri" userId="b62831d1-2046-40aa-b4b7-d67e2d73afe1" providerId="ADAL" clId="{F907ACC7-C8F7-470E-B883-D49732EB787C}" dt="2024-02-20T19:12:58.180" v="6051" actId="2711"/>
          <ac:spMkLst>
            <pc:docMk/>
            <pc:sldMk cId="2348689112" sldId="2147483602"/>
            <ac:spMk id="7" creationId="{FAFCDD3B-849A-2C8B-073F-A035BBED4C9D}"/>
          </ac:spMkLst>
        </pc:spChg>
        <pc:spChg chg="mod">
          <ac:chgData name="Hänninen, Lauri" userId="b62831d1-2046-40aa-b4b7-d67e2d73afe1" providerId="ADAL" clId="{F907ACC7-C8F7-470E-B883-D49732EB787C}" dt="2024-02-20T19:12:58.180" v="6051" actId="2711"/>
          <ac:spMkLst>
            <pc:docMk/>
            <pc:sldMk cId="2348689112" sldId="2147483602"/>
            <ac:spMk id="8" creationId="{0AA5F5CF-A36A-DAB9-2F14-40C5A44A4F00}"/>
          </ac:spMkLst>
        </pc:spChg>
        <pc:spChg chg="mod">
          <ac:chgData name="Hänninen, Lauri" userId="b62831d1-2046-40aa-b4b7-d67e2d73afe1" providerId="ADAL" clId="{F907ACC7-C8F7-470E-B883-D49732EB787C}" dt="2024-02-20T19:12:58.180" v="6051" actId="2711"/>
          <ac:spMkLst>
            <pc:docMk/>
            <pc:sldMk cId="2348689112" sldId="2147483602"/>
            <ac:spMk id="9" creationId="{A210D8AC-878F-BB87-9F97-E4CD4EB66160}"/>
          </ac:spMkLst>
        </pc:spChg>
        <pc:spChg chg="mod">
          <ac:chgData name="Hänninen, Lauri" userId="b62831d1-2046-40aa-b4b7-d67e2d73afe1" providerId="ADAL" clId="{F907ACC7-C8F7-470E-B883-D49732EB787C}" dt="2024-02-20T19:12:58.180" v="6051" actId="2711"/>
          <ac:spMkLst>
            <pc:docMk/>
            <pc:sldMk cId="2348689112" sldId="2147483602"/>
            <ac:spMk id="10" creationId="{B12A2133-F594-D250-8C00-157BE629A41B}"/>
          </ac:spMkLst>
        </pc:spChg>
        <pc:spChg chg="mod">
          <ac:chgData name="Hänninen, Lauri" userId="b62831d1-2046-40aa-b4b7-d67e2d73afe1" providerId="ADAL" clId="{F907ACC7-C8F7-470E-B883-D49732EB787C}" dt="2024-02-20T19:13:40.657" v="6057" actId="208"/>
          <ac:spMkLst>
            <pc:docMk/>
            <pc:sldMk cId="2348689112" sldId="2147483602"/>
            <ac:spMk id="11" creationId="{179B3804-D616-2B9F-E0A0-CF18BE930B1F}"/>
          </ac:spMkLst>
        </pc:spChg>
        <pc:spChg chg="mod">
          <ac:chgData name="Hänninen, Lauri" userId="b62831d1-2046-40aa-b4b7-d67e2d73afe1" providerId="ADAL" clId="{F907ACC7-C8F7-470E-B883-D49732EB787C}" dt="2024-02-20T19:13:40.657" v="6057" actId="208"/>
          <ac:spMkLst>
            <pc:docMk/>
            <pc:sldMk cId="2348689112" sldId="2147483602"/>
            <ac:spMk id="12" creationId="{099AE6A2-A85C-EC77-23D9-F23C4CF2C806}"/>
          </ac:spMkLst>
        </pc:spChg>
        <pc:spChg chg="mod">
          <ac:chgData name="Hänninen, Lauri" userId="b62831d1-2046-40aa-b4b7-d67e2d73afe1" providerId="ADAL" clId="{F907ACC7-C8F7-470E-B883-D49732EB787C}" dt="2024-02-20T19:12:58.180" v="6051" actId="2711"/>
          <ac:spMkLst>
            <pc:docMk/>
            <pc:sldMk cId="2348689112" sldId="2147483602"/>
            <ac:spMk id="14" creationId="{BA3FDA4D-9236-4A0B-F078-C147FB53E08C}"/>
          </ac:spMkLst>
        </pc:spChg>
        <pc:spChg chg="add del mod ord">
          <ac:chgData name="Hänninen, Lauri" userId="b62831d1-2046-40aa-b4b7-d67e2d73afe1" providerId="ADAL" clId="{F907ACC7-C8F7-470E-B883-D49732EB787C}" dt="2024-02-20T19:11:47.206" v="6039" actId="478"/>
          <ac:spMkLst>
            <pc:docMk/>
            <pc:sldMk cId="2348689112" sldId="2147483602"/>
            <ac:spMk id="15" creationId="{9438BBAB-C56E-002A-3142-D6566F18AD50}"/>
          </ac:spMkLst>
        </pc:spChg>
        <pc:spChg chg="add del mod">
          <ac:chgData name="Hänninen, Lauri" userId="b62831d1-2046-40aa-b4b7-d67e2d73afe1" providerId="ADAL" clId="{F907ACC7-C8F7-470E-B883-D49732EB787C}" dt="2024-02-20T19:12:36.298" v="6047" actId="478"/>
          <ac:spMkLst>
            <pc:docMk/>
            <pc:sldMk cId="2348689112" sldId="2147483602"/>
            <ac:spMk id="17" creationId="{99B7EDDB-E1AC-13F4-0B89-27C89D1D7402}"/>
          </ac:spMkLst>
        </pc:spChg>
        <pc:spChg chg="mod">
          <ac:chgData name="Hänninen, Lauri" userId="b62831d1-2046-40aa-b4b7-d67e2d73afe1" providerId="ADAL" clId="{F907ACC7-C8F7-470E-B883-D49732EB787C}" dt="2024-02-20T19:12:58.180" v="6051" actId="2711"/>
          <ac:spMkLst>
            <pc:docMk/>
            <pc:sldMk cId="2348689112" sldId="2147483602"/>
            <ac:spMk id="91" creationId="{51CD05B8-7412-0239-DFD0-900FCEB2DED5}"/>
          </ac:spMkLst>
        </pc:spChg>
        <pc:spChg chg="mod">
          <ac:chgData name="Hänninen, Lauri" userId="b62831d1-2046-40aa-b4b7-d67e2d73afe1" providerId="ADAL" clId="{F907ACC7-C8F7-470E-B883-D49732EB787C}" dt="2024-02-20T19:12:58.180" v="6051" actId="2711"/>
          <ac:spMkLst>
            <pc:docMk/>
            <pc:sldMk cId="2348689112" sldId="2147483602"/>
            <ac:spMk id="96" creationId="{E32C37C8-D070-496E-B1E5-0E17389ACE21}"/>
          </ac:spMkLst>
        </pc:spChg>
        <pc:spChg chg="mod">
          <ac:chgData name="Hänninen, Lauri" userId="b62831d1-2046-40aa-b4b7-d67e2d73afe1" providerId="ADAL" clId="{F907ACC7-C8F7-470E-B883-D49732EB787C}" dt="2024-02-20T19:12:58.180" v="6051" actId="2711"/>
          <ac:spMkLst>
            <pc:docMk/>
            <pc:sldMk cId="2348689112" sldId="2147483602"/>
            <ac:spMk id="102" creationId="{FBEBCB73-8EEA-37FC-16F5-C61C2862A03B}"/>
          </ac:spMkLst>
        </pc:spChg>
        <pc:spChg chg="mod">
          <ac:chgData name="Hänninen, Lauri" userId="b62831d1-2046-40aa-b4b7-d67e2d73afe1" providerId="ADAL" clId="{F907ACC7-C8F7-470E-B883-D49732EB787C}" dt="2024-02-20T19:12:58.180" v="6051" actId="2711"/>
          <ac:spMkLst>
            <pc:docMk/>
            <pc:sldMk cId="2348689112" sldId="2147483602"/>
            <ac:spMk id="108" creationId="{13C98479-2F1B-A015-AFE1-570FFB849C71}"/>
          </ac:spMkLst>
        </pc:spChg>
        <pc:spChg chg="mod">
          <ac:chgData name="Hänninen, Lauri" userId="b62831d1-2046-40aa-b4b7-d67e2d73afe1" providerId="ADAL" clId="{F907ACC7-C8F7-470E-B883-D49732EB787C}" dt="2024-02-20T19:12:58.180" v="6051" actId="2711"/>
          <ac:spMkLst>
            <pc:docMk/>
            <pc:sldMk cId="2348689112" sldId="2147483602"/>
            <ac:spMk id="115" creationId="{2CAE815B-5BF1-9122-EFFE-9BB9E45BA52A}"/>
          </ac:spMkLst>
        </pc:spChg>
        <pc:spChg chg="mod">
          <ac:chgData name="Hänninen, Lauri" userId="b62831d1-2046-40aa-b4b7-d67e2d73afe1" providerId="ADAL" clId="{F907ACC7-C8F7-470E-B883-D49732EB787C}" dt="2024-02-20T19:12:58.180" v="6051" actId="2711"/>
          <ac:spMkLst>
            <pc:docMk/>
            <pc:sldMk cId="2348689112" sldId="2147483602"/>
            <ac:spMk id="121" creationId="{EF5084ED-3A9C-F260-CCB2-96BE2A75B567}"/>
          </ac:spMkLst>
        </pc:spChg>
        <pc:spChg chg="mod">
          <ac:chgData name="Hänninen, Lauri" userId="b62831d1-2046-40aa-b4b7-d67e2d73afe1" providerId="ADAL" clId="{F907ACC7-C8F7-470E-B883-D49732EB787C}" dt="2024-02-20T19:13:21.742" v="6054" actId="14100"/>
          <ac:spMkLst>
            <pc:docMk/>
            <pc:sldMk cId="2348689112" sldId="2147483602"/>
            <ac:spMk id="126" creationId="{39DF3B38-1D59-F0C8-D624-C0E262ED33F3}"/>
          </ac:spMkLst>
        </pc:spChg>
        <pc:spChg chg="mod">
          <ac:chgData name="Hänninen, Lauri" userId="b62831d1-2046-40aa-b4b7-d67e2d73afe1" providerId="ADAL" clId="{F907ACC7-C8F7-470E-B883-D49732EB787C}" dt="2024-02-20T19:12:58.180" v="6051" actId="2711"/>
          <ac:spMkLst>
            <pc:docMk/>
            <pc:sldMk cId="2348689112" sldId="2147483602"/>
            <ac:spMk id="127" creationId="{5E1D94B0-B000-ABF6-4A67-353DDA679802}"/>
          </ac:spMkLst>
        </pc:spChg>
        <pc:spChg chg="mod">
          <ac:chgData name="Hänninen, Lauri" userId="b62831d1-2046-40aa-b4b7-d67e2d73afe1" providerId="ADAL" clId="{F907ACC7-C8F7-470E-B883-D49732EB787C}" dt="2024-02-20T19:12:58.180" v="6051" actId="2711"/>
          <ac:spMkLst>
            <pc:docMk/>
            <pc:sldMk cId="2348689112" sldId="2147483602"/>
            <ac:spMk id="128" creationId="{8541ED54-0A18-4FF2-D4C8-E8DEB0DED49E}"/>
          </ac:spMkLst>
        </pc:spChg>
        <pc:spChg chg="mod">
          <ac:chgData name="Hänninen, Lauri" userId="b62831d1-2046-40aa-b4b7-d67e2d73afe1" providerId="ADAL" clId="{F907ACC7-C8F7-470E-B883-D49732EB787C}" dt="2024-02-20T19:12:58.180" v="6051" actId="2711"/>
          <ac:spMkLst>
            <pc:docMk/>
            <pc:sldMk cId="2348689112" sldId="2147483602"/>
            <ac:spMk id="132" creationId="{3D32E403-2530-438F-49FF-D6304A67B747}"/>
          </ac:spMkLst>
        </pc:spChg>
        <pc:spChg chg="mod">
          <ac:chgData name="Hänninen, Lauri" userId="b62831d1-2046-40aa-b4b7-d67e2d73afe1" providerId="ADAL" clId="{F907ACC7-C8F7-470E-B883-D49732EB787C}" dt="2024-02-20T19:12:58.180" v="6051" actId="2711"/>
          <ac:spMkLst>
            <pc:docMk/>
            <pc:sldMk cId="2348689112" sldId="2147483602"/>
            <ac:spMk id="136" creationId="{17CCCCAA-7A3C-17CE-5358-AB917D524323}"/>
          </ac:spMkLst>
        </pc:spChg>
        <pc:spChg chg="mod">
          <ac:chgData name="Hänninen, Lauri" userId="b62831d1-2046-40aa-b4b7-d67e2d73afe1" providerId="ADAL" clId="{F907ACC7-C8F7-470E-B883-D49732EB787C}" dt="2024-02-20T19:12:58.180" v="6051" actId="2711"/>
          <ac:spMkLst>
            <pc:docMk/>
            <pc:sldMk cId="2348689112" sldId="2147483602"/>
            <ac:spMk id="139" creationId="{6B482937-0603-6FCD-EA7F-2063C4F9F81D}"/>
          </ac:spMkLst>
        </pc:spChg>
        <pc:spChg chg="mod">
          <ac:chgData name="Hänninen, Lauri" userId="b62831d1-2046-40aa-b4b7-d67e2d73afe1" providerId="ADAL" clId="{F907ACC7-C8F7-470E-B883-D49732EB787C}" dt="2024-02-20T19:13:28.455" v="6056" actId="14100"/>
          <ac:spMkLst>
            <pc:docMk/>
            <pc:sldMk cId="2348689112" sldId="2147483602"/>
            <ac:spMk id="175" creationId="{8485A1F6-B5F5-0ABA-7F4F-C6ED75975F06}"/>
          </ac:spMkLst>
        </pc:spChg>
        <pc:picChg chg="mod">
          <ac:chgData name="Hänninen, Lauri" userId="b62831d1-2046-40aa-b4b7-d67e2d73afe1" providerId="ADAL" clId="{F907ACC7-C8F7-470E-B883-D49732EB787C}" dt="2024-02-20T19:12:58.180" v="6051" actId="2711"/>
          <ac:picMkLst>
            <pc:docMk/>
            <pc:sldMk cId="2348689112" sldId="2147483602"/>
            <ac:picMk id="92" creationId="{AB03D828-7FFD-E60D-0D8F-E7F3EDEFA92E}"/>
          </ac:picMkLst>
        </pc:picChg>
        <pc:picChg chg="mod">
          <ac:chgData name="Hänninen, Lauri" userId="b62831d1-2046-40aa-b4b7-d67e2d73afe1" providerId="ADAL" clId="{F907ACC7-C8F7-470E-B883-D49732EB787C}" dt="2024-02-20T19:12:58.180" v="6051" actId="2711"/>
          <ac:picMkLst>
            <pc:docMk/>
            <pc:sldMk cId="2348689112" sldId="2147483602"/>
            <ac:picMk id="93" creationId="{8BF6233F-283C-C667-3AE8-FE087190061D}"/>
          </ac:picMkLst>
        </pc:picChg>
        <pc:picChg chg="mod">
          <ac:chgData name="Hänninen, Lauri" userId="b62831d1-2046-40aa-b4b7-d67e2d73afe1" providerId="ADAL" clId="{F907ACC7-C8F7-470E-B883-D49732EB787C}" dt="2024-02-20T19:12:58.180" v="6051" actId="2711"/>
          <ac:picMkLst>
            <pc:docMk/>
            <pc:sldMk cId="2348689112" sldId="2147483602"/>
            <ac:picMk id="94" creationId="{9AAD6EEA-CF44-5497-F295-C6BC7F24D423}"/>
          </ac:picMkLst>
        </pc:picChg>
        <pc:picChg chg="mod">
          <ac:chgData name="Hänninen, Lauri" userId="b62831d1-2046-40aa-b4b7-d67e2d73afe1" providerId="ADAL" clId="{F907ACC7-C8F7-470E-B883-D49732EB787C}" dt="2024-02-20T19:12:58.180" v="6051" actId="2711"/>
          <ac:picMkLst>
            <pc:docMk/>
            <pc:sldMk cId="2348689112" sldId="2147483602"/>
            <ac:picMk id="97" creationId="{BDB995BD-374A-F359-C78F-499E61670A59}"/>
          </ac:picMkLst>
        </pc:picChg>
        <pc:picChg chg="mod">
          <ac:chgData name="Hänninen, Lauri" userId="b62831d1-2046-40aa-b4b7-d67e2d73afe1" providerId="ADAL" clId="{F907ACC7-C8F7-470E-B883-D49732EB787C}" dt="2024-02-20T19:12:58.180" v="6051" actId="2711"/>
          <ac:picMkLst>
            <pc:docMk/>
            <pc:sldMk cId="2348689112" sldId="2147483602"/>
            <ac:picMk id="98" creationId="{E3414731-C7F2-F70C-4902-791FABD0D4BA}"/>
          </ac:picMkLst>
        </pc:picChg>
        <pc:picChg chg="mod">
          <ac:chgData name="Hänninen, Lauri" userId="b62831d1-2046-40aa-b4b7-d67e2d73afe1" providerId="ADAL" clId="{F907ACC7-C8F7-470E-B883-D49732EB787C}" dt="2024-02-20T19:12:58.180" v="6051" actId="2711"/>
          <ac:picMkLst>
            <pc:docMk/>
            <pc:sldMk cId="2348689112" sldId="2147483602"/>
            <ac:picMk id="99" creationId="{CD779D0C-E891-0919-7260-C89544EE1BF2}"/>
          </ac:picMkLst>
        </pc:picChg>
        <pc:picChg chg="mod">
          <ac:chgData name="Hänninen, Lauri" userId="b62831d1-2046-40aa-b4b7-d67e2d73afe1" providerId="ADAL" clId="{F907ACC7-C8F7-470E-B883-D49732EB787C}" dt="2024-02-20T19:12:58.180" v="6051" actId="2711"/>
          <ac:picMkLst>
            <pc:docMk/>
            <pc:sldMk cId="2348689112" sldId="2147483602"/>
            <ac:picMk id="100" creationId="{9957675E-60D8-5C72-BBB6-B95967629271}"/>
          </ac:picMkLst>
        </pc:picChg>
        <pc:picChg chg="mod">
          <ac:chgData name="Hänninen, Lauri" userId="b62831d1-2046-40aa-b4b7-d67e2d73afe1" providerId="ADAL" clId="{F907ACC7-C8F7-470E-B883-D49732EB787C}" dt="2024-02-20T19:12:58.180" v="6051" actId="2711"/>
          <ac:picMkLst>
            <pc:docMk/>
            <pc:sldMk cId="2348689112" sldId="2147483602"/>
            <ac:picMk id="103" creationId="{C5199B64-936E-E146-D7C5-3B256E6B2F0B}"/>
          </ac:picMkLst>
        </pc:picChg>
        <pc:picChg chg="mod">
          <ac:chgData name="Hänninen, Lauri" userId="b62831d1-2046-40aa-b4b7-d67e2d73afe1" providerId="ADAL" clId="{F907ACC7-C8F7-470E-B883-D49732EB787C}" dt="2024-02-20T19:12:58.180" v="6051" actId="2711"/>
          <ac:picMkLst>
            <pc:docMk/>
            <pc:sldMk cId="2348689112" sldId="2147483602"/>
            <ac:picMk id="104" creationId="{396335B3-9687-0198-A6FA-E14B20CCF5E8}"/>
          </ac:picMkLst>
        </pc:picChg>
        <pc:picChg chg="mod">
          <ac:chgData name="Hänninen, Lauri" userId="b62831d1-2046-40aa-b4b7-d67e2d73afe1" providerId="ADAL" clId="{F907ACC7-C8F7-470E-B883-D49732EB787C}" dt="2024-02-20T19:12:58.180" v="6051" actId="2711"/>
          <ac:picMkLst>
            <pc:docMk/>
            <pc:sldMk cId="2348689112" sldId="2147483602"/>
            <ac:picMk id="105" creationId="{9C9E82DB-B6C4-36A1-AD92-873D9B249024}"/>
          </ac:picMkLst>
        </pc:picChg>
        <pc:picChg chg="mod">
          <ac:chgData name="Hänninen, Lauri" userId="b62831d1-2046-40aa-b4b7-d67e2d73afe1" providerId="ADAL" clId="{F907ACC7-C8F7-470E-B883-D49732EB787C}" dt="2024-02-20T19:12:58.180" v="6051" actId="2711"/>
          <ac:picMkLst>
            <pc:docMk/>
            <pc:sldMk cId="2348689112" sldId="2147483602"/>
            <ac:picMk id="106" creationId="{DC83870F-9394-D619-F5AB-F2A054BCFF4F}"/>
          </ac:picMkLst>
        </pc:picChg>
        <pc:picChg chg="mod">
          <ac:chgData name="Hänninen, Lauri" userId="b62831d1-2046-40aa-b4b7-d67e2d73afe1" providerId="ADAL" clId="{F907ACC7-C8F7-470E-B883-D49732EB787C}" dt="2024-02-20T19:12:58.180" v="6051" actId="2711"/>
          <ac:picMkLst>
            <pc:docMk/>
            <pc:sldMk cId="2348689112" sldId="2147483602"/>
            <ac:picMk id="109" creationId="{7477E120-9222-3A5D-E819-05A6F8350466}"/>
          </ac:picMkLst>
        </pc:picChg>
        <pc:picChg chg="mod">
          <ac:chgData name="Hänninen, Lauri" userId="b62831d1-2046-40aa-b4b7-d67e2d73afe1" providerId="ADAL" clId="{F907ACC7-C8F7-470E-B883-D49732EB787C}" dt="2024-02-20T19:12:58.180" v="6051" actId="2711"/>
          <ac:picMkLst>
            <pc:docMk/>
            <pc:sldMk cId="2348689112" sldId="2147483602"/>
            <ac:picMk id="110" creationId="{7A836F5D-2611-0E8F-A9DA-07AABCAFF89D}"/>
          </ac:picMkLst>
        </pc:picChg>
        <pc:picChg chg="mod">
          <ac:chgData name="Hänninen, Lauri" userId="b62831d1-2046-40aa-b4b7-d67e2d73afe1" providerId="ADAL" clId="{F907ACC7-C8F7-470E-B883-D49732EB787C}" dt="2024-02-20T19:12:58.180" v="6051" actId="2711"/>
          <ac:picMkLst>
            <pc:docMk/>
            <pc:sldMk cId="2348689112" sldId="2147483602"/>
            <ac:picMk id="111" creationId="{21A73C64-9975-27E5-D506-7B30C0FE22C9}"/>
          </ac:picMkLst>
        </pc:picChg>
        <pc:picChg chg="mod">
          <ac:chgData name="Hänninen, Lauri" userId="b62831d1-2046-40aa-b4b7-d67e2d73afe1" providerId="ADAL" clId="{F907ACC7-C8F7-470E-B883-D49732EB787C}" dt="2024-02-20T19:12:58.180" v="6051" actId="2711"/>
          <ac:picMkLst>
            <pc:docMk/>
            <pc:sldMk cId="2348689112" sldId="2147483602"/>
            <ac:picMk id="112" creationId="{C21964B0-9907-1ADC-6A9E-5B328217A725}"/>
          </ac:picMkLst>
        </pc:picChg>
        <pc:picChg chg="mod">
          <ac:chgData name="Hänninen, Lauri" userId="b62831d1-2046-40aa-b4b7-d67e2d73afe1" providerId="ADAL" clId="{F907ACC7-C8F7-470E-B883-D49732EB787C}" dt="2024-02-20T19:12:58.180" v="6051" actId="2711"/>
          <ac:picMkLst>
            <pc:docMk/>
            <pc:sldMk cId="2348689112" sldId="2147483602"/>
            <ac:picMk id="116" creationId="{1A77F061-C044-AFFE-4F37-7003F8F9A696}"/>
          </ac:picMkLst>
        </pc:picChg>
        <pc:picChg chg="mod">
          <ac:chgData name="Hänninen, Lauri" userId="b62831d1-2046-40aa-b4b7-d67e2d73afe1" providerId="ADAL" clId="{F907ACC7-C8F7-470E-B883-D49732EB787C}" dt="2024-02-20T19:12:58.180" v="6051" actId="2711"/>
          <ac:picMkLst>
            <pc:docMk/>
            <pc:sldMk cId="2348689112" sldId="2147483602"/>
            <ac:picMk id="117" creationId="{0BD0DE15-EDA3-5838-75DB-09AA0B4E1C13}"/>
          </ac:picMkLst>
        </pc:picChg>
        <pc:picChg chg="mod">
          <ac:chgData name="Hänninen, Lauri" userId="b62831d1-2046-40aa-b4b7-d67e2d73afe1" providerId="ADAL" clId="{F907ACC7-C8F7-470E-B883-D49732EB787C}" dt="2024-02-20T19:12:58.180" v="6051" actId="2711"/>
          <ac:picMkLst>
            <pc:docMk/>
            <pc:sldMk cId="2348689112" sldId="2147483602"/>
            <ac:picMk id="118" creationId="{5F7771A4-0946-CE8C-53D8-84693A9A6FE0}"/>
          </ac:picMkLst>
        </pc:picChg>
        <pc:picChg chg="mod">
          <ac:chgData name="Hänninen, Lauri" userId="b62831d1-2046-40aa-b4b7-d67e2d73afe1" providerId="ADAL" clId="{F907ACC7-C8F7-470E-B883-D49732EB787C}" dt="2024-02-20T19:12:58.180" v="6051" actId="2711"/>
          <ac:picMkLst>
            <pc:docMk/>
            <pc:sldMk cId="2348689112" sldId="2147483602"/>
            <ac:picMk id="119" creationId="{D1EFC4FF-22AC-A6DD-F5FF-F5D4EC963DC6}"/>
          </ac:picMkLst>
        </pc:picChg>
        <pc:picChg chg="mod">
          <ac:chgData name="Hänninen, Lauri" userId="b62831d1-2046-40aa-b4b7-d67e2d73afe1" providerId="ADAL" clId="{F907ACC7-C8F7-470E-B883-D49732EB787C}" dt="2024-02-20T19:12:58.180" v="6051" actId="2711"/>
          <ac:picMkLst>
            <pc:docMk/>
            <pc:sldMk cId="2348689112" sldId="2147483602"/>
            <ac:picMk id="120" creationId="{152A9A3C-F5A8-9077-E48A-92D2A5451CAB}"/>
          </ac:picMkLst>
        </pc:picChg>
        <pc:picChg chg="mod">
          <ac:chgData name="Hänninen, Lauri" userId="b62831d1-2046-40aa-b4b7-d67e2d73afe1" providerId="ADAL" clId="{F907ACC7-C8F7-470E-B883-D49732EB787C}" dt="2024-02-20T19:12:58.180" v="6051" actId="2711"/>
          <ac:picMkLst>
            <pc:docMk/>
            <pc:sldMk cId="2348689112" sldId="2147483602"/>
            <ac:picMk id="122" creationId="{6CE42C20-1F88-C526-A764-9075362231CD}"/>
          </ac:picMkLst>
        </pc:picChg>
        <pc:picChg chg="mod">
          <ac:chgData name="Hänninen, Lauri" userId="b62831d1-2046-40aa-b4b7-d67e2d73afe1" providerId="ADAL" clId="{F907ACC7-C8F7-470E-B883-D49732EB787C}" dt="2024-02-20T19:12:58.180" v="6051" actId="2711"/>
          <ac:picMkLst>
            <pc:docMk/>
            <pc:sldMk cId="2348689112" sldId="2147483602"/>
            <ac:picMk id="123" creationId="{F2884D86-11C5-EE64-0D26-B7B1F74A8C3E}"/>
          </ac:picMkLst>
        </pc:picChg>
        <pc:picChg chg="mod">
          <ac:chgData name="Hänninen, Lauri" userId="b62831d1-2046-40aa-b4b7-d67e2d73afe1" providerId="ADAL" clId="{F907ACC7-C8F7-470E-B883-D49732EB787C}" dt="2024-02-20T19:12:58.180" v="6051" actId="2711"/>
          <ac:picMkLst>
            <pc:docMk/>
            <pc:sldMk cId="2348689112" sldId="2147483602"/>
            <ac:picMk id="124" creationId="{F34E79D2-2244-E377-26EC-F9C17587AAAD}"/>
          </ac:picMkLst>
        </pc:picChg>
        <pc:picChg chg="mod">
          <ac:chgData name="Hänninen, Lauri" userId="b62831d1-2046-40aa-b4b7-d67e2d73afe1" providerId="ADAL" clId="{F907ACC7-C8F7-470E-B883-D49732EB787C}" dt="2024-02-20T19:12:58.180" v="6051" actId="2711"/>
          <ac:picMkLst>
            <pc:docMk/>
            <pc:sldMk cId="2348689112" sldId="2147483602"/>
            <ac:picMk id="125" creationId="{4802B36D-DFBD-F1F1-CCAC-A045C0A4B6A7}"/>
          </ac:picMkLst>
        </pc:picChg>
        <pc:picChg chg="mod">
          <ac:chgData name="Hänninen, Lauri" userId="b62831d1-2046-40aa-b4b7-d67e2d73afe1" providerId="ADAL" clId="{F907ACC7-C8F7-470E-B883-D49732EB787C}" dt="2024-02-20T19:12:58.180" v="6051" actId="2711"/>
          <ac:picMkLst>
            <pc:docMk/>
            <pc:sldMk cId="2348689112" sldId="2147483602"/>
            <ac:picMk id="129" creationId="{BB20C94D-3EBF-152B-A198-2D0FBA8FA475}"/>
          </ac:picMkLst>
        </pc:picChg>
        <pc:picChg chg="mod">
          <ac:chgData name="Hänninen, Lauri" userId="b62831d1-2046-40aa-b4b7-d67e2d73afe1" providerId="ADAL" clId="{F907ACC7-C8F7-470E-B883-D49732EB787C}" dt="2024-02-20T19:12:58.180" v="6051" actId="2711"/>
          <ac:picMkLst>
            <pc:docMk/>
            <pc:sldMk cId="2348689112" sldId="2147483602"/>
            <ac:picMk id="130" creationId="{332ECBDF-116E-CD27-7EA7-7414A2ABAEBC}"/>
          </ac:picMkLst>
        </pc:picChg>
        <pc:picChg chg="mod">
          <ac:chgData name="Hänninen, Lauri" userId="b62831d1-2046-40aa-b4b7-d67e2d73afe1" providerId="ADAL" clId="{F907ACC7-C8F7-470E-B883-D49732EB787C}" dt="2024-02-20T19:12:58.180" v="6051" actId="2711"/>
          <ac:picMkLst>
            <pc:docMk/>
            <pc:sldMk cId="2348689112" sldId="2147483602"/>
            <ac:picMk id="133" creationId="{78DACA17-2CC9-B624-70EE-9D3C0F4961A1}"/>
          </ac:picMkLst>
        </pc:picChg>
        <pc:picChg chg="mod">
          <ac:chgData name="Hänninen, Lauri" userId="b62831d1-2046-40aa-b4b7-d67e2d73afe1" providerId="ADAL" clId="{F907ACC7-C8F7-470E-B883-D49732EB787C}" dt="2024-02-20T19:12:58.180" v="6051" actId="2711"/>
          <ac:picMkLst>
            <pc:docMk/>
            <pc:sldMk cId="2348689112" sldId="2147483602"/>
            <ac:picMk id="134" creationId="{4276D648-1140-5D2A-E004-F5BADE56325F}"/>
          </ac:picMkLst>
        </pc:picChg>
        <pc:picChg chg="mod">
          <ac:chgData name="Hänninen, Lauri" userId="b62831d1-2046-40aa-b4b7-d67e2d73afe1" providerId="ADAL" clId="{F907ACC7-C8F7-470E-B883-D49732EB787C}" dt="2024-02-20T19:12:58.180" v="6051" actId="2711"/>
          <ac:picMkLst>
            <pc:docMk/>
            <pc:sldMk cId="2348689112" sldId="2147483602"/>
            <ac:picMk id="135" creationId="{FA2EF5FD-2BB8-439C-7E08-A0DF2A388633}"/>
          </ac:picMkLst>
        </pc:picChg>
        <pc:picChg chg="mod">
          <ac:chgData name="Hänninen, Lauri" userId="b62831d1-2046-40aa-b4b7-d67e2d73afe1" providerId="ADAL" clId="{F907ACC7-C8F7-470E-B883-D49732EB787C}" dt="2024-02-20T19:12:58.180" v="6051" actId="2711"/>
          <ac:picMkLst>
            <pc:docMk/>
            <pc:sldMk cId="2348689112" sldId="2147483602"/>
            <ac:picMk id="137" creationId="{BF655581-1345-42A2-8680-8BD80F35FFB3}"/>
          </ac:picMkLst>
        </pc:picChg>
        <pc:picChg chg="mod">
          <ac:chgData name="Hänninen, Lauri" userId="b62831d1-2046-40aa-b4b7-d67e2d73afe1" providerId="ADAL" clId="{F907ACC7-C8F7-470E-B883-D49732EB787C}" dt="2024-02-20T19:12:58.180" v="6051" actId="2711"/>
          <ac:picMkLst>
            <pc:docMk/>
            <pc:sldMk cId="2348689112" sldId="2147483602"/>
            <ac:picMk id="138" creationId="{D774C121-2351-EF65-870B-B1E848B9D483}"/>
          </ac:picMkLst>
        </pc:picChg>
        <pc:picChg chg="mod">
          <ac:chgData name="Hänninen, Lauri" userId="b62831d1-2046-40aa-b4b7-d67e2d73afe1" providerId="ADAL" clId="{F907ACC7-C8F7-470E-B883-D49732EB787C}" dt="2024-02-20T19:12:58.180" v="6051" actId="2711"/>
          <ac:picMkLst>
            <pc:docMk/>
            <pc:sldMk cId="2348689112" sldId="2147483602"/>
            <ac:picMk id="140" creationId="{87DB5148-1EB1-8AAB-B826-4E4A31D2546C}"/>
          </ac:picMkLst>
        </pc:picChg>
        <pc:picChg chg="mod">
          <ac:chgData name="Hänninen, Lauri" userId="b62831d1-2046-40aa-b4b7-d67e2d73afe1" providerId="ADAL" clId="{F907ACC7-C8F7-470E-B883-D49732EB787C}" dt="2024-02-20T19:12:58.180" v="6051" actId="2711"/>
          <ac:picMkLst>
            <pc:docMk/>
            <pc:sldMk cId="2348689112" sldId="2147483602"/>
            <ac:picMk id="141" creationId="{098E42D1-9F3A-644B-B5C2-C98B593C00CE}"/>
          </ac:picMkLst>
        </pc:picChg>
        <pc:picChg chg="mod">
          <ac:chgData name="Hänninen, Lauri" userId="b62831d1-2046-40aa-b4b7-d67e2d73afe1" providerId="ADAL" clId="{F907ACC7-C8F7-470E-B883-D49732EB787C}" dt="2024-02-20T19:12:58.180" v="6051" actId="2711"/>
          <ac:picMkLst>
            <pc:docMk/>
            <pc:sldMk cId="2348689112" sldId="2147483602"/>
            <ac:picMk id="142" creationId="{EA26A606-A039-4362-EDA3-D7A5586A8B06}"/>
          </ac:picMkLst>
        </pc:picChg>
        <pc:picChg chg="mod">
          <ac:chgData name="Hänninen, Lauri" userId="b62831d1-2046-40aa-b4b7-d67e2d73afe1" providerId="ADAL" clId="{F907ACC7-C8F7-470E-B883-D49732EB787C}" dt="2024-02-20T19:12:58.180" v="6051" actId="2711"/>
          <ac:picMkLst>
            <pc:docMk/>
            <pc:sldMk cId="2348689112" sldId="2147483602"/>
            <ac:picMk id="143" creationId="{349CAF53-C6EC-8E01-4E06-C7CE7647E693}"/>
          </ac:picMkLst>
        </pc:picChg>
        <pc:picChg chg="mod">
          <ac:chgData name="Hänninen, Lauri" userId="b62831d1-2046-40aa-b4b7-d67e2d73afe1" providerId="ADAL" clId="{F907ACC7-C8F7-470E-B883-D49732EB787C}" dt="2024-02-20T19:12:58.180" v="6051" actId="2711"/>
          <ac:picMkLst>
            <pc:docMk/>
            <pc:sldMk cId="2348689112" sldId="2147483602"/>
            <ac:picMk id="144" creationId="{ACC664B4-568E-C1A2-FEFA-FDA1591C5DEB}"/>
          </ac:picMkLst>
        </pc:picChg>
        <pc:cxnChg chg="mod">
          <ac:chgData name="Hänninen, Lauri" userId="b62831d1-2046-40aa-b4b7-d67e2d73afe1" providerId="ADAL" clId="{F907ACC7-C8F7-470E-B883-D49732EB787C}" dt="2024-02-20T19:12:58.180" v="6051" actId="2711"/>
          <ac:cxnSpMkLst>
            <pc:docMk/>
            <pc:sldMk cId="2348689112" sldId="2147483602"/>
            <ac:cxnSpMk id="16" creationId="{0D07427C-4B77-9360-B957-AD2108E3D47B}"/>
          </ac:cxnSpMkLst>
        </pc:cxnChg>
        <pc:cxnChg chg="mod">
          <ac:chgData name="Hänninen, Lauri" userId="b62831d1-2046-40aa-b4b7-d67e2d73afe1" providerId="ADAL" clId="{F907ACC7-C8F7-470E-B883-D49732EB787C}" dt="2024-02-20T19:13:52.581" v="6058" actId="208"/>
          <ac:cxnSpMkLst>
            <pc:docMk/>
            <pc:sldMk cId="2348689112" sldId="2147483602"/>
            <ac:cxnSpMk id="83" creationId="{AEB09DD1-E9C9-EE28-BCE7-6FFA5EC4DEE9}"/>
          </ac:cxnSpMkLst>
        </pc:cxnChg>
        <pc:cxnChg chg="mod">
          <ac:chgData name="Hänninen, Lauri" userId="b62831d1-2046-40aa-b4b7-d67e2d73afe1" providerId="ADAL" clId="{F907ACC7-C8F7-470E-B883-D49732EB787C}" dt="2024-02-20T19:13:52.581" v="6058" actId="208"/>
          <ac:cxnSpMkLst>
            <pc:docMk/>
            <pc:sldMk cId="2348689112" sldId="2147483602"/>
            <ac:cxnSpMk id="84" creationId="{5331415C-798E-794C-E5E0-84E020A8185D}"/>
          </ac:cxnSpMkLst>
        </pc:cxnChg>
        <pc:cxnChg chg="mod">
          <ac:chgData name="Hänninen, Lauri" userId="b62831d1-2046-40aa-b4b7-d67e2d73afe1" providerId="ADAL" clId="{F907ACC7-C8F7-470E-B883-D49732EB787C}" dt="2024-02-20T19:13:52.581" v="6058" actId="208"/>
          <ac:cxnSpMkLst>
            <pc:docMk/>
            <pc:sldMk cId="2348689112" sldId="2147483602"/>
            <ac:cxnSpMk id="85" creationId="{6F7EBA6F-D8A3-553A-B284-DBCA3C91BF6F}"/>
          </ac:cxnSpMkLst>
        </pc:cxnChg>
        <pc:cxnChg chg="mod">
          <ac:chgData name="Hänninen, Lauri" userId="b62831d1-2046-40aa-b4b7-d67e2d73afe1" providerId="ADAL" clId="{F907ACC7-C8F7-470E-B883-D49732EB787C}" dt="2024-02-20T19:12:58.180" v="6051" actId="2711"/>
          <ac:cxnSpMkLst>
            <pc:docMk/>
            <pc:sldMk cId="2348689112" sldId="2147483602"/>
            <ac:cxnSpMk id="171" creationId="{EDA14F7F-4C1A-E441-20B9-C9D7020AD819}"/>
          </ac:cxnSpMkLst>
        </pc:cxnChg>
      </pc:sldChg>
      <pc:sldChg chg="addSp delSp modSp add del mod">
        <pc:chgData name="Hänninen, Lauri" userId="b62831d1-2046-40aa-b4b7-d67e2d73afe1" providerId="ADAL" clId="{F907ACC7-C8F7-470E-B883-D49732EB787C}" dt="2024-02-20T19:19:41.571" v="7230" actId="47"/>
        <pc:sldMkLst>
          <pc:docMk/>
          <pc:sldMk cId="1863706530" sldId="2147483603"/>
        </pc:sldMkLst>
        <pc:spChg chg="mod ord">
          <ac:chgData name="Hänninen, Lauri" userId="b62831d1-2046-40aa-b4b7-d67e2d73afe1" providerId="ADAL" clId="{F907ACC7-C8F7-470E-B883-D49732EB787C}" dt="2024-02-20T19:16:23.078" v="7191" actId="2711"/>
          <ac:spMkLst>
            <pc:docMk/>
            <pc:sldMk cId="1863706530" sldId="2147483603"/>
            <ac:spMk id="19" creationId="{F40D474C-89A8-8816-5074-94D3F7E079B5}"/>
          </ac:spMkLst>
        </pc:spChg>
        <pc:spChg chg="mod">
          <ac:chgData name="Hänninen, Lauri" userId="b62831d1-2046-40aa-b4b7-d67e2d73afe1" providerId="ADAL" clId="{F907ACC7-C8F7-470E-B883-D49732EB787C}" dt="2024-02-20T19:16:23.078" v="7191" actId="2711"/>
          <ac:spMkLst>
            <pc:docMk/>
            <pc:sldMk cId="1863706530" sldId="2147483603"/>
            <ac:spMk id="21" creationId="{40F919DE-A8B3-C187-769F-F71CC2837DA5}"/>
          </ac:spMkLst>
        </pc:spChg>
        <pc:spChg chg="mod ord">
          <ac:chgData name="Hänninen, Lauri" userId="b62831d1-2046-40aa-b4b7-d67e2d73afe1" providerId="ADAL" clId="{F907ACC7-C8F7-470E-B883-D49732EB787C}" dt="2024-02-20T19:16:23.078" v="7191" actId="2711"/>
          <ac:spMkLst>
            <pc:docMk/>
            <pc:sldMk cId="1863706530" sldId="2147483603"/>
            <ac:spMk id="36" creationId="{F56F7274-FCCA-D28B-4891-A17691D2FBF7}"/>
          </ac:spMkLst>
        </pc:spChg>
        <pc:spChg chg="mod ord">
          <ac:chgData name="Hänninen, Lauri" userId="b62831d1-2046-40aa-b4b7-d67e2d73afe1" providerId="ADAL" clId="{F907ACC7-C8F7-470E-B883-D49732EB787C}" dt="2024-02-20T19:16:23.078" v="7191" actId="2711"/>
          <ac:spMkLst>
            <pc:docMk/>
            <pc:sldMk cId="1863706530" sldId="2147483603"/>
            <ac:spMk id="39" creationId="{2D1006B1-898B-7D62-9A53-1122B3FECDA3}"/>
          </ac:spMkLst>
        </pc:spChg>
        <pc:spChg chg="mod ord">
          <ac:chgData name="Hänninen, Lauri" userId="b62831d1-2046-40aa-b4b7-d67e2d73afe1" providerId="ADAL" clId="{F907ACC7-C8F7-470E-B883-D49732EB787C}" dt="2024-02-20T19:16:32.311" v="7207"/>
          <ac:spMkLst>
            <pc:docMk/>
            <pc:sldMk cId="1863706530" sldId="2147483603"/>
            <ac:spMk id="59" creationId="{24A3ECBE-0778-BF19-B6FA-F0E21224625B}"/>
          </ac:spMkLst>
        </pc:spChg>
        <pc:spChg chg="mod">
          <ac:chgData name="Hänninen, Lauri" userId="b62831d1-2046-40aa-b4b7-d67e2d73afe1" providerId="ADAL" clId="{F907ACC7-C8F7-470E-B883-D49732EB787C}" dt="2024-02-20T19:16:23.078" v="7191" actId="2711"/>
          <ac:spMkLst>
            <pc:docMk/>
            <pc:sldMk cId="1863706530" sldId="2147483603"/>
            <ac:spMk id="69" creationId="{1BF2ECA7-661E-8130-74A2-EB430249591E}"/>
          </ac:spMkLst>
        </pc:spChg>
        <pc:spChg chg="mod">
          <ac:chgData name="Hänninen, Lauri" userId="b62831d1-2046-40aa-b4b7-d67e2d73afe1" providerId="ADAL" clId="{F907ACC7-C8F7-470E-B883-D49732EB787C}" dt="2024-02-20T19:16:23.078" v="7191" actId="2711"/>
          <ac:spMkLst>
            <pc:docMk/>
            <pc:sldMk cId="1863706530" sldId="2147483603"/>
            <ac:spMk id="99" creationId="{90197333-6DA8-1D7D-12D1-87C7ECFAF0A0}"/>
          </ac:spMkLst>
        </pc:spChg>
        <pc:spChg chg="mod">
          <ac:chgData name="Hänninen, Lauri" userId="b62831d1-2046-40aa-b4b7-d67e2d73afe1" providerId="ADAL" clId="{F907ACC7-C8F7-470E-B883-D49732EB787C}" dt="2024-02-20T19:16:23.078" v="7191" actId="2711"/>
          <ac:spMkLst>
            <pc:docMk/>
            <pc:sldMk cId="1863706530" sldId="2147483603"/>
            <ac:spMk id="100" creationId="{D3246515-9407-3A0D-BDB6-344454B8FFB3}"/>
          </ac:spMkLst>
        </pc:spChg>
        <pc:spChg chg="mod">
          <ac:chgData name="Hänninen, Lauri" userId="b62831d1-2046-40aa-b4b7-d67e2d73afe1" providerId="ADAL" clId="{F907ACC7-C8F7-470E-B883-D49732EB787C}" dt="2024-02-20T19:16:23.078" v="7191" actId="2711"/>
          <ac:spMkLst>
            <pc:docMk/>
            <pc:sldMk cId="1863706530" sldId="2147483603"/>
            <ac:spMk id="101" creationId="{DC26303B-A477-DA3D-E137-B56920E348A2}"/>
          </ac:spMkLst>
        </pc:spChg>
        <pc:spChg chg="mod">
          <ac:chgData name="Hänninen, Lauri" userId="b62831d1-2046-40aa-b4b7-d67e2d73afe1" providerId="ADAL" clId="{F907ACC7-C8F7-470E-B883-D49732EB787C}" dt="2024-02-20T19:16:23.078" v="7191" actId="2711"/>
          <ac:spMkLst>
            <pc:docMk/>
            <pc:sldMk cId="1863706530" sldId="2147483603"/>
            <ac:spMk id="102" creationId="{978F306A-7ACC-D98E-C1EE-54AB3D3D6C73}"/>
          </ac:spMkLst>
        </pc:spChg>
        <pc:spChg chg="mod">
          <ac:chgData name="Hänninen, Lauri" userId="b62831d1-2046-40aa-b4b7-d67e2d73afe1" providerId="ADAL" clId="{F907ACC7-C8F7-470E-B883-D49732EB787C}" dt="2024-02-20T19:16:23.078" v="7191" actId="2711"/>
          <ac:spMkLst>
            <pc:docMk/>
            <pc:sldMk cId="1863706530" sldId="2147483603"/>
            <ac:spMk id="103" creationId="{C97C4963-E123-86E1-91C2-8CD78ACA48FA}"/>
          </ac:spMkLst>
        </pc:spChg>
        <pc:spChg chg="mod">
          <ac:chgData name="Hänninen, Lauri" userId="b62831d1-2046-40aa-b4b7-d67e2d73afe1" providerId="ADAL" clId="{F907ACC7-C8F7-470E-B883-D49732EB787C}" dt="2024-02-20T19:16:23.078" v="7191" actId="2711"/>
          <ac:spMkLst>
            <pc:docMk/>
            <pc:sldMk cId="1863706530" sldId="2147483603"/>
            <ac:spMk id="104" creationId="{A3658E37-51AA-72EC-F5B7-6917D4EF02F8}"/>
          </ac:spMkLst>
        </pc:spChg>
        <pc:spChg chg="mod">
          <ac:chgData name="Hänninen, Lauri" userId="b62831d1-2046-40aa-b4b7-d67e2d73afe1" providerId="ADAL" clId="{F907ACC7-C8F7-470E-B883-D49732EB787C}" dt="2024-02-20T19:16:23.078" v="7191" actId="2711"/>
          <ac:spMkLst>
            <pc:docMk/>
            <pc:sldMk cId="1863706530" sldId="2147483603"/>
            <ac:spMk id="105" creationId="{1F72EFE6-E7CF-FD29-527A-197163BF8394}"/>
          </ac:spMkLst>
        </pc:spChg>
        <pc:spChg chg="mod">
          <ac:chgData name="Hänninen, Lauri" userId="b62831d1-2046-40aa-b4b7-d67e2d73afe1" providerId="ADAL" clId="{F907ACC7-C8F7-470E-B883-D49732EB787C}" dt="2024-02-20T19:16:23.078" v="7191" actId="2711"/>
          <ac:spMkLst>
            <pc:docMk/>
            <pc:sldMk cId="1863706530" sldId="2147483603"/>
            <ac:spMk id="106" creationId="{1118D8B6-CD47-DE62-4E7C-F02EA517CEBE}"/>
          </ac:spMkLst>
        </pc:spChg>
        <pc:spChg chg="mod ord">
          <ac:chgData name="Hänninen, Lauri" userId="b62831d1-2046-40aa-b4b7-d67e2d73afe1" providerId="ADAL" clId="{F907ACC7-C8F7-470E-B883-D49732EB787C}" dt="2024-02-20T19:17:06.516" v="7216" actId="1035"/>
          <ac:spMkLst>
            <pc:docMk/>
            <pc:sldMk cId="1863706530" sldId="2147483603"/>
            <ac:spMk id="108" creationId="{E40B30A0-2A4D-EB7B-8F27-2ABCD6544724}"/>
          </ac:spMkLst>
        </pc:spChg>
        <pc:spChg chg="mod ord">
          <ac:chgData name="Hänninen, Lauri" userId="b62831d1-2046-40aa-b4b7-d67e2d73afe1" providerId="ADAL" clId="{F907ACC7-C8F7-470E-B883-D49732EB787C}" dt="2024-02-20T19:16:23.078" v="7191" actId="2711"/>
          <ac:spMkLst>
            <pc:docMk/>
            <pc:sldMk cId="1863706530" sldId="2147483603"/>
            <ac:spMk id="109" creationId="{4E6C057A-2E69-F38F-1BA8-23A9D6CDE4A7}"/>
          </ac:spMkLst>
        </pc:spChg>
        <pc:spChg chg="mod ord">
          <ac:chgData name="Hänninen, Lauri" userId="b62831d1-2046-40aa-b4b7-d67e2d73afe1" providerId="ADAL" clId="{F907ACC7-C8F7-470E-B883-D49732EB787C}" dt="2024-02-20T19:16:23.078" v="7191" actId="2711"/>
          <ac:spMkLst>
            <pc:docMk/>
            <pc:sldMk cId="1863706530" sldId="2147483603"/>
            <ac:spMk id="110" creationId="{EF2E54DF-A722-5E17-F649-FA81B2F64A28}"/>
          </ac:spMkLst>
        </pc:spChg>
        <pc:spChg chg="mod ord">
          <ac:chgData name="Hänninen, Lauri" userId="b62831d1-2046-40aa-b4b7-d67e2d73afe1" providerId="ADAL" clId="{F907ACC7-C8F7-470E-B883-D49732EB787C}" dt="2024-02-20T19:17:18.259" v="7225" actId="1035"/>
          <ac:spMkLst>
            <pc:docMk/>
            <pc:sldMk cId="1863706530" sldId="2147483603"/>
            <ac:spMk id="111" creationId="{F9F42158-141B-9582-B3E2-A8BD55EFDCAA}"/>
          </ac:spMkLst>
        </pc:spChg>
        <pc:spChg chg="mod ord">
          <ac:chgData name="Hänninen, Lauri" userId="b62831d1-2046-40aa-b4b7-d67e2d73afe1" providerId="ADAL" clId="{F907ACC7-C8F7-470E-B883-D49732EB787C}" dt="2024-02-20T19:17:06.516" v="7216" actId="1035"/>
          <ac:spMkLst>
            <pc:docMk/>
            <pc:sldMk cId="1863706530" sldId="2147483603"/>
            <ac:spMk id="112" creationId="{A117D9F3-ACFB-C803-9B55-ACEF5F0F7DFA}"/>
          </ac:spMkLst>
        </pc:spChg>
        <pc:spChg chg="mod ord">
          <ac:chgData name="Hänninen, Lauri" userId="b62831d1-2046-40aa-b4b7-d67e2d73afe1" providerId="ADAL" clId="{F907ACC7-C8F7-470E-B883-D49732EB787C}" dt="2024-02-20T19:16:23.078" v="7191" actId="2711"/>
          <ac:spMkLst>
            <pc:docMk/>
            <pc:sldMk cId="1863706530" sldId="2147483603"/>
            <ac:spMk id="113" creationId="{5A98E033-15C8-2E60-E83D-E2ABD3E970DB}"/>
          </ac:spMkLst>
        </pc:spChg>
        <pc:spChg chg="mod ord">
          <ac:chgData name="Hänninen, Lauri" userId="b62831d1-2046-40aa-b4b7-d67e2d73afe1" providerId="ADAL" clId="{F907ACC7-C8F7-470E-B883-D49732EB787C}" dt="2024-02-20T19:16:23.078" v="7191" actId="2711"/>
          <ac:spMkLst>
            <pc:docMk/>
            <pc:sldMk cId="1863706530" sldId="2147483603"/>
            <ac:spMk id="114" creationId="{D061000F-DA61-E228-0A54-55BD079664A6}"/>
          </ac:spMkLst>
        </pc:spChg>
        <pc:spChg chg="mod ord">
          <ac:chgData name="Hänninen, Lauri" userId="b62831d1-2046-40aa-b4b7-d67e2d73afe1" providerId="ADAL" clId="{F907ACC7-C8F7-470E-B883-D49732EB787C}" dt="2024-02-20T19:17:18.259" v="7225" actId="1035"/>
          <ac:spMkLst>
            <pc:docMk/>
            <pc:sldMk cId="1863706530" sldId="2147483603"/>
            <ac:spMk id="115" creationId="{4AA6FDD4-56B0-9DDC-87EA-8C316FA12FF5}"/>
          </ac:spMkLst>
        </pc:spChg>
        <pc:spChg chg="mod ord">
          <ac:chgData name="Hänninen, Lauri" userId="b62831d1-2046-40aa-b4b7-d67e2d73afe1" providerId="ADAL" clId="{F907ACC7-C8F7-470E-B883-D49732EB787C}" dt="2024-02-20T19:16:32.311" v="7209"/>
          <ac:spMkLst>
            <pc:docMk/>
            <pc:sldMk cId="1863706530" sldId="2147483603"/>
            <ac:spMk id="116" creationId="{8C6ECAE2-6374-F609-4290-2DECD1F85708}"/>
          </ac:spMkLst>
        </pc:spChg>
        <pc:spChg chg="mod">
          <ac:chgData name="Hänninen, Lauri" userId="b62831d1-2046-40aa-b4b7-d67e2d73afe1" providerId="ADAL" clId="{F907ACC7-C8F7-470E-B883-D49732EB787C}" dt="2024-02-20T19:16:23.078" v="7191" actId="2711"/>
          <ac:spMkLst>
            <pc:docMk/>
            <pc:sldMk cId="1863706530" sldId="2147483603"/>
            <ac:spMk id="119" creationId="{97875BA4-3D2B-04B0-B21B-C26EC1C83D5D}"/>
          </ac:spMkLst>
        </pc:spChg>
        <pc:spChg chg="mod ord">
          <ac:chgData name="Hänninen, Lauri" userId="b62831d1-2046-40aa-b4b7-d67e2d73afe1" providerId="ADAL" clId="{F907ACC7-C8F7-470E-B883-D49732EB787C}" dt="2024-02-20T19:16:23.078" v="7191" actId="2711"/>
          <ac:spMkLst>
            <pc:docMk/>
            <pc:sldMk cId="1863706530" sldId="2147483603"/>
            <ac:spMk id="120" creationId="{1CE90A1C-CACC-F874-0963-6B2E22EB1E9E}"/>
          </ac:spMkLst>
        </pc:spChg>
        <pc:spChg chg="mod">
          <ac:chgData name="Hänninen, Lauri" userId="b62831d1-2046-40aa-b4b7-d67e2d73afe1" providerId="ADAL" clId="{F907ACC7-C8F7-470E-B883-D49732EB787C}" dt="2024-02-20T19:16:23.078" v="7191" actId="2711"/>
          <ac:spMkLst>
            <pc:docMk/>
            <pc:sldMk cId="1863706530" sldId="2147483603"/>
            <ac:spMk id="121" creationId="{C2154570-CAFA-5133-2FD0-F5211F2890C0}"/>
          </ac:spMkLst>
        </pc:spChg>
        <pc:spChg chg="mod ord">
          <ac:chgData name="Hänninen, Lauri" userId="b62831d1-2046-40aa-b4b7-d67e2d73afe1" providerId="ADAL" clId="{F907ACC7-C8F7-470E-B883-D49732EB787C}" dt="2024-02-20T19:16:23.078" v="7191" actId="2711"/>
          <ac:spMkLst>
            <pc:docMk/>
            <pc:sldMk cId="1863706530" sldId="2147483603"/>
            <ac:spMk id="122" creationId="{E37DB653-4B20-1783-24EE-5693024A1012}"/>
          </ac:spMkLst>
        </pc:spChg>
        <pc:spChg chg="mod">
          <ac:chgData name="Hänninen, Lauri" userId="b62831d1-2046-40aa-b4b7-d67e2d73afe1" providerId="ADAL" clId="{F907ACC7-C8F7-470E-B883-D49732EB787C}" dt="2024-02-20T19:16:23.078" v="7191" actId="2711"/>
          <ac:spMkLst>
            <pc:docMk/>
            <pc:sldMk cId="1863706530" sldId="2147483603"/>
            <ac:spMk id="123" creationId="{FC91C974-926B-A299-DDC8-C9295CCC91BC}"/>
          </ac:spMkLst>
        </pc:spChg>
        <pc:spChg chg="mod">
          <ac:chgData name="Hänninen, Lauri" userId="b62831d1-2046-40aa-b4b7-d67e2d73afe1" providerId="ADAL" clId="{F907ACC7-C8F7-470E-B883-D49732EB787C}" dt="2024-02-20T19:16:23.078" v="7191" actId="2711"/>
          <ac:spMkLst>
            <pc:docMk/>
            <pc:sldMk cId="1863706530" sldId="2147483603"/>
            <ac:spMk id="124" creationId="{A0C27FA3-34CE-A062-3D99-9E164DA17D68}"/>
          </ac:spMkLst>
        </pc:spChg>
        <pc:spChg chg="mod ord">
          <ac:chgData name="Hänninen, Lauri" userId="b62831d1-2046-40aa-b4b7-d67e2d73afe1" providerId="ADAL" clId="{F907ACC7-C8F7-470E-B883-D49732EB787C}" dt="2024-02-20T19:16:23.078" v="7191" actId="2711"/>
          <ac:spMkLst>
            <pc:docMk/>
            <pc:sldMk cId="1863706530" sldId="2147483603"/>
            <ac:spMk id="125" creationId="{1037E031-D56F-253D-D296-F4F4639B9C8C}"/>
          </ac:spMkLst>
        </pc:spChg>
        <pc:spChg chg="mod">
          <ac:chgData name="Hänninen, Lauri" userId="b62831d1-2046-40aa-b4b7-d67e2d73afe1" providerId="ADAL" clId="{F907ACC7-C8F7-470E-B883-D49732EB787C}" dt="2024-02-20T19:16:23.078" v="7191" actId="2711"/>
          <ac:spMkLst>
            <pc:docMk/>
            <pc:sldMk cId="1863706530" sldId="2147483603"/>
            <ac:spMk id="126" creationId="{6C9CE506-72A0-9628-B982-4A1F67B80777}"/>
          </ac:spMkLst>
        </pc:spChg>
        <pc:spChg chg="mod ord">
          <ac:chgData name="Hänninen, Lauri" userId="b62831d1-2046-40aa-b4b7-d67e2d73afe1" providerId="ADAL" clId="{F907ACC7-C8F7-470E-B883-D49732EB787C}" dt="2024-02-20T19:17:06.516" v="7216" actId="1035"/>
          <ac:spMkLst>
            <pc:docMk/>
            <pc:sldMk cId="1863706530" sldId="2147483603"/>
            <ac:spMk id="127" creationId="{88B4B46A-0F96-E60E-75D5-30270CE5E9BB}"/>
          </ac:spMkLst>
        </pc:spChg>
        <pc:spChg chg="mod ord">
          <ac:chgData name="Hänninen, Lauri" userId="b62831d1-2046-40aa-b4b7-d67e2d73afe1" providerId="ADAL" clId="{F907ACC7-C8F7-470E-B883-D49732EB787C}" dt="2024-02-20T19:16:23.078" v="7191" actId="2711"/>
          <ac:spMkLst>
            <pc:docMk/>
            <pc:sldMk cId="1863706530" sldId="2147483603"/>
            <ac:spMk id="128" creationId="{7F2031BB-6D40-1FBF-8A83-3F9049C55DA4}"/>
          </ac:spMkLst>
        </pc:spChg>
        <pc:spChg chg="mod ord">
          <ac:chgData name="Hänninen, Lauri" userId="b62831d1-2046-40aa-b4b7-d67e2d73afe1" providerId="ADAL" clId="{F907ACC7-C8F7-470E-B883-D49732EB787C}" dt="2024-02-20T19:16:23.078" v="7191" actId="2711"/>
          <ac:spMkLst>
            <pc:docMk/>
            <pc:sldMk cId="1863706530" sldId="2147483603"/>
            <ac:spMk id="129" creationId="{060E0663-395C-5D71-86B1-E7D77FD503AA}"/>
          </ac:spMkLst>
        </pc:spChg>
        <pc:spChg chg="mod ord">
          <ac:chgData name="Hänninen, Lauri" userId="b62831d1-2046-40aa-b4b7-d67e2d73afe1" providerId="ADAL" clId="{F907ACC7-C8F7-470E-B883-D49732EB787C}" dt="2024-02-20T19:17:18.259" v="7225" actId="1035"/>
          <ac:spMkLst>
            <pc:docMk/>
            <pc:sldMk cId="1863706530" sldId="2147483603"/>
            <ac:spMk id="130" creationId="{F6923AB5-8C60-3ABC-0D06-0BD85F2A3CD5}"/>
          </ac:spMkLst>
        </pc:spChg>
        <pc:spChg chg="mod ord">
          <ac:chgData name="Hänninen, Lauri" userId="b62831d1-2046-40aa-b4b7-d67e2d73afe1" providerId="ADAL" clId="{F907ACC7-C8F7-470E-B883-D49732EB787C}" dt="2024-02-20T19:16:30.059" v="7205" actId="1035"/>
          <ac:spMkLst>
            <pc:docMk/>
            <pc:sldMk cId="1863706530" sldId="2147483603"/>
            <ac:spMk id="131" creationId="{788975D6-05CD-89C0-5102-B2D94F7920D5}"/>
          </ac:spMkLst>
        </pc:spChg>
        <pc:spChg chg="mod ord">
          <ac:chgData name="Hänninen, Lauri" userId="b62831d1-2046-40aa-b4b7-d67e2d73afe1" providerId="ADAL" clId="{F907ACC7-C8F7-470E-B883-D49732EB787C}" dt="2024-02-20T19:16:23.078" v="7191" actId="2711"/>
          <ac:spMkLst>
            <pc:docMk/>
            <pc:sldMk cId="1863706530" sldId="2147483603"/>
            <ac:spMk id="132" creationId="{FD66EB41-54B0-C983-4C3D-F9846A119FB3}"/>
          </ac:spMkLst>
        </pc:spChg>
        <pc:spChg chg="mod ord">
          <ac:chgData name="Hänninen, Lauri" userId="b62831d1-2046-40aa-b4b7-d67e2d73afe1" providerId="ADAL" clId="{F907ACC7-C8F7-470E-B883-D49732EB787C}" dt="2024-02-20T19:16:23.078" v="7191" actId="2711"/>
          <ac:spMkLst>
            <pc:docMk/>
            <pc:sldMk cId="1863706530" sldId="2147483603"/>
            <ac:spMk id="138" creationId="{F4556DC1-58D7-00F3-1CC6-DAD32889F5B1}"/>
          </ac:spMkLst>
        </pc:spChg>
        <pc:spChg chg="mod ord">
          <ac:chgData name="Hänninen, Lauri" userId="b62831d1-2046-40aa-b4b7-d67e2d73afe1" providerId="ADAL" clId="{F907ACC7-C8F7-470E-B883-D49732EB787C}" dt="2024-02-20T19:16:23.078" v="7191" actId="2711"/>
          <ac:spMkLst>
            <pc:docMk/>
            <pc:sldMk cId="1863706530" sldId="2147483603"/>
            <ac:spMk id="139" creationId="{C5E00945-F663-D318-BE64-7F6C2DC7870E}"/>
          </ac:spMkLst>
        </pc:spChg>
        <pc:spChg chg="mod ord">
          <ac:chgData name="Hänninen, Lauri" userId="b62831d1-2046-40aa-b4b7-d67e2d73afe1" providerId="ADAL" clId="{F907ACC7-C8F7-470E-B883-D49732EB787C}" dt="2024-02-20T19:16:23.078" v="7191" actId="2711"/>
          <ac:spMkLst>
            <pc:docMk/>
            <pc:sldMk cId="1863706530" sldId="2147483603"/>
            <ac:spMk id="140" creationId="{D06001BF-0049-5F77-C03E-A35363ECD257}"/>
          </ac:spMkLst>
        </pc:spChg>
        <pc:spChg chg="mod ord">
          <ac:chgData name="Hänninen, Lauri" userId="b62831d1-2046-40aa-b4b7-d67e2d73afe1" providerId="ADAL" clId="{F907ACC7-C8F7-470E-B883-D49732EB787C}" dt="2024-02-20T19:16:23.078" v="7191" actId="2711"/>
          <ac:spMkLst>
            <pc:docMk/>
            <pc:sldMk cId="1863706530" sldId="2147483603"/>
            <ac:spMk id="141" creationId="{94135BD0-1BF1-9C8D-515F-35C466314C5A}"/>
          </ac:spMkLst>
        </pc:spChg>
        <pc:spChg chg="mod ord">
          <ac:chgData name="Hänninen, Lauri" userId="b62831d1-2046-40aa-b4b7-d67e2d73afe1" providerId="ADAL" clId="{F907ACC7-C8F7-470E-B883-D49732EB787C}" dt="2024-02-20T19:16:23.078" v="7191" actId="2711"/>
          <ac:spMkLst>
            <pc:docMk/>
            <pc:sldMk cId="1863706530" sldId="2147483603"/>
            <ac:spMk id="142" creationId="{5450BC10-0C3F-6187-24D3-AFD54288BA7B}"/>
          </ac:spMkLst>
        </pc:spChg>
        <pc:spChg chg="mod ord">
          <ac:chgData name="Hänninen, Lauri" userId="b62831d1-2046-40aa-b4b7-d67e2d73afe1" providerId="ADAL" clId="{F907ACC7-C8F7-470E-B883-D49732EB787C}" dt="2024-02-20T19:16:23.078" v="7191" actId="2711"/>
          <ac:spMkLst>
            <pc:docMk/>
            <pc:sldMk cId="1863706530" sldId="2147483603"/>
            <ac:spMk id="143" creationId="{A48868C2-713E-A307-9DC9-E7632D167F69}"/>
          </ac:spMkLst>
        </pc:spChg>
        <pc:spChg chg="mod ord">
          <ac:chgData name="Hänninen, Lauri" userId="b62831d1-2046-40aa-b4b7-d67e2d73afe1" providerId="ADAL" clId="{F907ACC7-C8F7-470E-B883-D49732EB787C}" dt="2024-02-20T19:16:23.078" v="7191" actId="2711"/>
          <ac:spMkLst>
            <pc:docMk/>
            <pc:sldMk cId="1863706530" sldId="2147483603"/>
            <ac:spMk id="144" creationId="{7C4B8ED1-9734-1352-C830-48F496CD17B6}"/>
          </ac:spMkLst>
        </pc:spChg>
        <pc:spChg chg="mod ord">
          <ac:chgData name="Hänninen, Lauri" userId="b62831d1-2046-40aa-b4b7-d67e2d73afe1" providerId="ADAL" clId="{F907ACC7-C8F7-470E-B883-D49732EB787C}" dt="2024-02-20T19:16:23.078" v="7191" actId="2711"/>
          <ac:spMkLst>
            <pc:docMk/>
            <pc:sldMk cId="1863706530" sldId="2147483603"/>
            <ac:spMk id="145" creationId="{697450C7-831C-C0B5-0546-6DE84B737B08}"/>
          </ac:spMkLst>
        </pc:spChg>
        <pc:spChg chg="mod ord">
          <ac:chgData name="Hänninen, Lauri" userId="b62831d1-2046-40aa-b4b7-d67e2d73afe1" providerId="ADAL" clId="{F907ACC7-C8F7-470E-B883-D49732EB787C}" dt="2024-02-20T19:16:23.078" v="7191" actId="2711"/>
          <ac:spMkLst>
            <pc:docMk/>
            <pc:sldMk cId="1863706530" sldId="2147483603"/>
            <ac:spMk id="146" creationId="{F94C4AE3-F040-FF47-718F-31E4741DCDBF}"/>
          </ac:spMkLst>
        </pc:spChg>
        <pc:spChg chg="mod ord">
          <ac:chgData name="Hänninen, Lauri" userId="b62831d1-2046-40aa-b4b7-d67e2d73afe1" providerId="ADAL" clId="{F907ACC7-C8F7-470E-B883-D49732EB787C}" dt="2024-02-20T19:16:23.078" v="7191" actId="2711"/>
          <ac:spMkLst>
            <pc:docMk/>
            <pc:sldMk cId="1863706530" sldId="2147483603"/>
            <ac:spMk id="147" creationId="{A29A0C86-FEAB-147F-8FD6-9A484FEB7ED9}"/>
          </ac:spMkLst>
        </pc:spChg>
        <pc:spChg chg="mod ord">
          <ac:chgData name="Hänninen, Lauri" userId="b62831d1-2046-40aa-b4b7-d67e2d73afe1" providerId="ADAL" clId="{F907ACC7-C8F7-470E-B883-D49732EB787C}" dt="2024-02-20T19:16:23.078" v="7191" actId="2711"/>
          <ac:spMkLst>
            <pc:docMk/>
            <pc:sldMk cId="1863706530" sldId="2147483603"/>
            <ac:spMk id="148" creationId="{939ACCD7-4B9D-9CF2-2D36-B67BA3FD65B5}"/>
          </ac:spMkLst>
        </pc:spChg>
        <pc:spChg chg="mod ord">
          <ac:chgData name="Hänninen, Lauri" userId="b62831d1-2046-40aa-b4b7-d67e2d73afe1" providerId="ADAL" clId="{F907ACC7-C8F7-470E-B883-D49732EB787C}" dt="2024-02-20T19:16:23.078" v="7191" actId="2711"/>
          <ac:spMkLst>
            <pc:docMk/>
            <pc:sldMk cId="1863706530" sldId="2147483603"/>
            <ac:spMk id="149" creationId="{B33FE652-814C-50E4-700E-F1F444BE4145}"/>
          </ac:spMkLst>
        </pc:spChg>
        <pc:spChg chg="mod ord">
          <ac:chgData name="Hänninen, Lauri" userId="b62831d1-2046-40aa-b4b7-d67e2d73afe1" providerId="ADAL" clId="{F907ACC7-C8F7-470E-B883-D49732EB787C}" dt="2024-02-20T19:16:23.078" v="7191" actId="2711"/>
          <ac:spMkLst>
            <pc:docMk/>
            <pc:sldMk cId="1863706530" sldId="2147483603"/>
            <ac:spMk id="150" creationId="{C6908206-5590-3495-8FC6-7A4CA616931D}"/>
          </ac:spMkLst>
        </pc:spChg>
        <pc:spChg chg="mod ord">
          <ac:chgData name="Hänninen, Lauri" userId="b62831d1-2046-40aa-b4b7-d67e2d73afe1" providerId="ADAL" clId="{F907ACC7-C8F7-470E-B883-D49732EB787C}" dt="2024-02-20T19:16:23.078" v="7191" actId="2711"/>
          <ac:spMkLst>
            <pc:docMk/>
            <pc:sldMk cId="1863706530" sldId="2147483603"/>
            <ac:spMk id="151" creationId="{915A31FE-B912-DA41-7CF9-68A456CA86AE}"/>
          </ac:spMkLst>
        </pc:spChg>
        <pc:spChg chg="mod">
          <ac:chgData name="Hänninen, Lauri" userId="b62831d1-2046-40aa-b4b7-d67e2d73afe1" providerId="ADAL" clId="{F907ACC7-C8F7-470E-B883-D49732EB787C}" dt="2024-02-20T19:16:23.078" v="7191" actId="2711"/>
          <ac:spMkLst>
            <pc:docMk/>
            <pc:sldMk cId="1863706530" sldId="2147483603"/>
            <ac:spMk id="154" creationId="{DD72A9A2-A0CF-74CF-8FEF-1023FA8E1648}"/>
          </ac:spMkLst>
        </pc:spChg>
        <pc:spChg chg="mod">
          <ac:chgData name="Hänninen, Lauri" userId="b62831d1-2046-40aa-b4b7-d67e2d73afe1" providerId="ADAL" clId="{F907ACC7-C8F7-470E-B883-D49732EB787C}" dt="2024-02-20T19:16:23.078" v="7191" actId="2711"/>
          <ac:spMkLst>
            <pc:docMk/>
            <pc:sldMk cId="1863706530" sldId="2147483603"/>
            <ac:spMk id="155" creationId="{16165DA9-B0A9-1FBA-4804-1C5F8F013B54}"/>
          </ac:spMkLst>
        </pc:spChg>
        <pc:spChg chg="mod">
          <ac:chgData name="Hänninen, Lauri" userId="b62831d1-2046-40aa-b4b7-d67e2d73afe1" providerId="ADAL" clId="{F907ACC7-C8F7-470E-B883-D49732EB787C}" dt="2024-02-20T19:16:23.078" v="7191" actId="2711"/>
          <ac:spMkLst>
            <pc:docMk/>
            <pc:sldMk cId="1863706530" sldId="2147483603"/>
            <ac:spMk id="156" creationId="{82C1065E-938F-369A-4145-8B610B38C4C1}"/>
          </ac:spMkLst>
        </pc:spChg>
        <pc:grpChg chg="mod">
          <ac:chgData name="Hänninen, Lauri" userId="b62831d1-2046-40aa-b4b7-d67e2d73afe1" providerId="ADAL" clId="{F907ACC7-C8F7-470E-B883-D49732EB787C}" dt="2024-02-20T19:16:49.670" v="7211" actId="404"/>
          <ac:grpSpMkLst>
            <pc:docMk/>
            <pc:sldMk cId="1863706530" sldId="2147483603"/>
            <ac:grpSpMk id="66" creationId="{EAFD7208-8A37-3C59-0A65-646B59F45C65}"/>
          </ac:grpSpMkLst>
        </pc:grpChg>
        <pc:grpChg chg="mod">
          <ac:chgData name="Hänninen, Lauri" userId="b62831d1-2046-40aa-b4b7-d67e2d73afe1" providerId="ADAL" clId="{F907ACC7-C8F7-470E-B883-D49732EB787C}" dt="2024-02-20T19:16:49.670" v="7211" actId="404"/>
          <ac:grpSpMkLst>
            <pc:docMk/>
            <pc:sldMk cId="1863706530" sldId="2147483603"/>
            <ac:grpSpMk id="70" creationId="{C298259A-D1C1-95A4-B1D0-F62573B79A15}"/>
          </ac:grpSpMkLst>
        </pc:grpChg>
        <pc:grpChg chg="mod">
          <ac:chgData name="Hänninen, Lauri" userId="b62831d1-2046-40aa-b4b7-d67e2d73afe1" providerId="ADAL" clId="{F907ACC7-C8F7-470E-B883-D49732EB787C}" dt="2024-02-20T19:16:49.670" v="7211" actId="404"/>
          <ac:grpSpMkLst>
            <pc:docMk/>
            <pc:sldMk cId="1863706530" sldId="2147483603"/>
            <ac:grpSpMk id="73" creationId="{E0F372C0-CDB9-ABD5-4F7C-A1181415B3D5}"/>
          </ac:grpSpMkLst>
        </pc:grpChg>
        <pc:grpChg chg="mod">
          <ac:chgData name="Hänninen, Lauri" userId="b62831d1-2046-40aa-b4b7-d67e2d73afe1" providerId="ADAL" clId="{F907ACC7-C8F7-470E-B883-D49732EB787C}" dt="2024-02-20T19:16:49.670" v="7211" actId="404"/>
          <ac:grpSpMkLst>
            <pc:docMk/>
            <pc:sldMk cId="1863706530" sldId="2147483603"/>
            <ac:grpSpMk id="76" creationId="{05BF9C4E-1AAC-AB26-41FE-DA5BB26B0C6A}"/>
          </ac:grpSpMkLst>
        </pc:grpChg>
        <pc:grpChg chg="mod">
          <ac:chgData name="Hänninen, Lauri" userId="b62831d1-2046-40aa-b4b7-d67e2d73afe1" providerId="ADAL" clId="{F907ACC7-C8F7-470E-B883-D49732EB787C}" dt="2024-02-20T19:16:49.670" v="7211" actId="404"/>
          <ac:grpSpMkLst>
            <pc:docMk/>
            <pc:sldMk cId="1863706530" sldId="2147483603"/>
            <ac:grpSpMk id="79" creationId="{BED62B43-63B7-DE07-16B0-856A18801E5A}"/>
          </ac:grpSpMkLst>
        </pc:grpChg>
        <pc:grpChg chg="mod">
          <ac:chgData name="Hänninen, Lauri" userId="b62831d1-2046-40aa-b4b7-d67e2d73afe1" providerId="ADAL" clId="{F907ACC7-C8F7-470E-B883-D49732EB787C}" dt="2024-02-20T19:16:49.670" v="7211" actId="404"/>
          <ac:grpSpMkLst>
            <pc:docMk/>
            <pc:sldMk cId="1863706530" sldId="2147483603"/>
            <ac:grpSpMk id="82" creationId="{8C32F201-92EC-C348-814F-26E6C71E43E6}"/>
          </ac:grpSpMkLst>
        </pc:grpChg>
        <pc:grpChg chg="mod">
          <ac:chgData name="Hänninen, Lauri" userId="b62831d1-2046-40aa-b4b7-d67e2d73afe1" providerId="ADAL" clId="{F907ACC7-C8F7-470E-B883-D49732EB787C}" dt="2024-02-20T19:16:49.670" v="7211" actId="404"/>
          <ac:grpSpMkLst>
            <pc:docMk/>
            <pc:sldMk cId="1863706530" sldId="2147483603"/>
            <ac:grpSpMk id="85" creationId="{AA0E48E8-E70A-5A4A-47F1-52B2668B5DD4}"/>
          </ac:grpSpMkLst>
        </pc:grpChg>
        <pc:grpChg chg="mod">
          <ac:chgData name="Hänninen, Lauri" userId="b62831d1-2046-40aa-b4b7-d67e2d73afe1" providerId="ADAL" clId="{F907ACC7-C8F7-470E-B883-D49732EB787C}" dt="2024-02-20T19:16:49.670" v="7211" actId="404"/>
          <ac:grpSpMkLst>
            <pc:docMk/>
            <pc:sldMk cId="1863706530" sldId="2147483603"/>
            <ac:grpSpMk id="88" creationId="{19706DAB-C1C9-82BF-4E07-6A15FA8C4344}"/>
          </ac:grpSpMkLst>
        </pc:grpChg>
        <pc:grpChg chg="mod ord">
          <ac:chgData name="Hänninen, Lauri" userId="b62831d1-2046-40aa-b4b7-d67e2d73afe1" providerId="ADAL" clId="{F907ACC7-C8F7-470E-B883-D49732EB787C}" dt="2024-02-20T19:16:23.078" v="7191" actId="2711"/>
          <ac:grpSpMkLst>
            <pc:docMk/>
            <pc:sldMk cId="1863706530" sldId="2147483603"/>
            <ac:grpSpMk id="91" creationId="{CEAD866C-0AE5-C0DF-B97C-F644EFE7FAE0}"/>
          </ac:grpSpMkLst>
        </pc:grpChg>
        <pc:graphicFrameChg chg="del">
          <ac:chgData name="Hänninen, Lauri" userId="b62831d1-2046-40aa-b4b7-d67e2d73afe1" providerId="ADAL" clId="{F907ACC7-C8F7-470E-B883-D49732EB787C}" dt="2024-02-20T19:16:22.938" v="7073"/>
          <ac:graphicFrameMkLst>
            <pc:docMk/>
            <pc:sldMk cId="1863706530" sldId="2147483603"/>
            <ac:graphicFrameMk id="2" creationId="{2ED03C86-718C-469D-0B7C-A1639BF0DDE5}"/>
          </ac:graphicFrameMkLst>
        </pc:graphicFrameChg>
        <pc:graphicFrameChg chg="add mod replST">
          <ac:chgData name="Hänninen, Lauri" userId="b62831d1-2046-40aa-b4b7-d67e2d73afe1" providerId="ADAL" clId="{F907ACC7-C8F7-470E-B883-D49732EB787C}" dt="2024-02-20T19:16:22.984" v="7092"/>
          <ac:graphicFrameMkLst>
            <pc:docMk/>
            <pc:sldMk cId="1863706530" sldId="2147483603"/>
            <ac:graphicFrameMk id="3" creationId="{706360A0-315B-B6DD-613E-049FF07C3422}"/>
          </ac:graphicFrameMkLst>
        </pc:graphicFrameChg>
        <pc:graphicFrameChg chg="mod ord modGraphic">
          <ac:chgData name="Hänninen, Lauri" userId="b62831d1-2046-40aa-b4b7-d67e2d73afe1" providerId="ADAL" clId="{F907ACC7-C8F7-470E-B883-D49732EB787C}" dt="2024-02-20T19:18:06.027" v="7227" actId="2711"/>
          <ac:graphicFrameMkLst>
            <pc:docMk/>
            <pc:sldMk cId="1863706530" sldId="2147483603"/>
            <ac:graphicFrameMk id="6" creationId="{CB4BEEFC-C3F5-94B5-DBB8-EC3315D13178}"/>
          </ac:graphicFrameMkLst>
        </pc:graphicFrameChg>
        <pc:graphicFrameChg chg="mod">
          <ac:chgData name="Hänninen, Lauri" userId="b62831d1-2046-40aa-b4b7-d67e2d73afe1" providerId="ADAL" clId="{F907ACC7-C8F7-470E-B883-D49732EB787C}" dt="2024-02-20T19:16:23.042" v="7190"/>
          <ac:graphicFrameMkLst>
            <pc:docMk/>
            <pc:sldMk cId="1863706530" sldId="2147483603"/>
            <ac:graphicFrameMk id="20" creationId="{437572E1-602E-4976-FD0B-6774FEAACF7E}"/>
          </ac:graphicFrameMkLst>
        </pc:graphicFrameChg>
        <pc:picChg chg="add mod">
          <ac:chgData name="Hänninen, Lauri" userId="b62831d1-2046-40aa-b4b7-d67e2d73afe1" providerId="ADAL" clId="{F907ACC7-C8F7-470E-B883-D49732EB787C}" dt="2024-02-20T19:19:18.085" v="7229" actId="1076"/>
          <ac:picMkLst>
            <pc:docMk/>
            <pc:sldMk cId="1863706530" sldId="2147483603"/>
            <ac:picMk id="4" creationId="{0DE8DB5E-969D-A6DC-8040-851E54B8E970}"/>
          </ac:picMkLst>
        </pc:picChg>
        <pc:cxnChg chg="mod ord">
          <ac:chgData name="Hänninen, Lauri" userId="b62831d1-2046-40aa-b4b7-d67e2d73afe1" providerId="ADAL" clId="{F907ACC7-C8F7-470E-B883-D49732EB787C}" dt="2024-02-20T19:16:23.078" v="7191" actId="2711"/>
          <ac:cxnSpMkLst>
            <pc:docMk/>
            <pc:sldMk cId="1863706530" sldId="2147483603"/>
            <ac:cxnSpMk id="37" creationId="{C0C038B1-8689-F752-FD2C-B25F2C448F78}"/>
          </ac:cxnSpMkLst>
        </pc:cxnChg>
        <pc:cxnChg chg="mod ord">
          <ac:chgData name="Hänninen, Lauri" userId="b62831d1-2046-40aa-b4b7-d67e2d73afe1" providerId="ADAL" clId="{F907ACC7-C8F7-470E-B883-D49732EB787C}" dt="2024-02-20T19:16:23.078" v="7191" actId="2711"/>
          <ac:cxnSpMkLst>
            <pc:docMk/>
            <pc:sldMk cId="1863706530" sldId="2147483603"/>
            <ac:cxnSpMk id="40" creationId="{494DEB55-F1DB-7F4D-DD25-AD6E7C226EC5}"/>
          </ac:cxnSpMkLst>
        </pc:cxnChg>
      </pc:sldChg>
      <pc:sldChg chg="addSp delSp modSp add mod ord modShow">
        <pc:chgData name="Hänninen, Lauri" userId="b62831d1-2046-40aa-b4b7-d67e2d73afe1" providerId="ADAL" clId="{F907ACC7-C8F7-470E-B883-D49732EB787C}" dt="2024-02-22T11:06:45.146" v="37885" actId="729"/>
        <pc:sldMkLst>
          <pc:docMk/>
          <pc:sldMk cId="2775471582" sldId="2147483603"/>
        </pc:sldMkLst>
        <pc:spChg chg="mod">
          <ac:chgData name="Hänninen, Lauri" userId="b62831d1-2046-40aa-b4b7-d67e2d73afe1" providerId="ADAL" clId="{F907ACC7-C8F7-470E-B883-D49732EB787C}" dt="2024-02-22T10:34:16.604" v="37078" actId="14100"/>
          <ac:spMkLst>
            <pc:docMk/>
            <pc:sldMk cId="2775471582" sldId="2147483603"/>
            <ac:spMk id="7" creationId="{655C5497-1A69-8645-BD38-1845C93346B4}"/>
          </ac:spMkLst>
        </pc:spChg>
        <pc:spChg chg="mod">
          <ac:chgData name="Hänninen, Lauri" userId="b62831d1-2046-40aa-b4b7-d67e2d73afe1" providerId="ADAL" clId="{F907ACC7-C8F7-470E-B883-D49732EB787C}" dt="2024-02-22T10:47:34.015" v="37601" actId="20577"/>
          <ac:spMkLst>
            <pc:docMk/>
            <pc:sldMk cId="2775471582" sldId="2147483603"/>
            <ac:spMk id="8" creationId="{2C5DD0C3-EAB4-6AB1-C877-EE4374DC8597}"/>
          </ac:spMkLst>
        </pc:spChg>
        <pc:spChg chg="mod ord">
          <ac:chgData name="Hänninen, Lauri" userId="b62831d1-2046-40aa-b4b7-d67e2d73afe1" providerId="ADAL" clId="{F907ACC7-C8F7-470E-B883-D49732EB787C}" dt="2024-02-22T10:40:46.118" v="37303" actId="1076"/>
          <ac:spMkLst>
            <pc:docMk/>
            <pc:sldMk cId="2775471582" sldId="2147483603"/>
            <ac:spMk id="10" creationId="{AB4E8471-842C-1D9C-5487-AAD641F188A4}"/>
          </ac:spMkLst>
        </pc:spChg>
        <pc:spChg chg="mod">
          <ac:chgData name="Hänninen, Lauri" userId="b62831d1-2046-40aa-b4b7-d67e2d73afe1" providerId="ADAL" clId="{F907ACC7-C8F7-470E-B883-D49732EB787C}" dt="2024-02-22T10:46:47.348" v="37549" actId="20577"/>
          <ac:spMkLst>
            <pc:docMk/>
            <pc:sldMk cId="2775471582" sldId="2147483603"/>
            <ac:spMk id="13" creationId="{B669ABF5-2E03-AFF2-9EF2-38FD86E8142B}"/>
          </ac:spMkLst>
        </pc:spChg>
        <pc:spChg chg="mod">
          <ac:chgData name="Hänninen, Lauri" userId="b62831d1-2046-40aa-b4b7-d67e2d73afe1" providerId="ADAL" clId="{F907ACC7-C8F7-470E-B883-D49732EB787C}" dt="2024-02-22T10:56:09.409" v="37856"/>
          <ac:spMkLst>
            <pc:docMk/>
            <pc:sldMk cId="2775471582" sldId="2147483603"/>
            <ac:spMk id="14" creationId="{5746B9E5-8388-0D46-BFC5-CD79468030EF}"/>
          </ac:spMkLst>
        </pc:spChg>
        <pc:spChg chg="mod">
          <ac:chgData name="Hänninen, Lauri" userId="b62831d1-2046-40aa-b4b7-d67e2d73afe1" providerId="ADAL" clId="{F907ACC7-C8F7-470E-B883-D49732EB787C}" dt="2024-02-22T10:56:44.037" v="37882" actId="465"/>
          <ac:spMkLst>
            <pc:docMk/>
            <pc:sldMk cId="2775471582" sldId="2147483603"/>
            <ac:spMk id="15" creationId="{F9B32BF4-515B-05CA-1ABD-50B1CD8032AC}"/>
          </ac:spMkLst>
        </pc:spChg>
        <pc:spChg chg="mod">
          <ac:chgData name="Hänninen, Lauri" userId="b62831d1-2046-40aa-b4b7-d67e2d73afe1" providerId="ADAL" clId="{F907ACC7-C8F7-470E-B883-D49732EB787C}" dt="2024-02-22T10:56:44.037" v="37882" actId="465"/>
          <ac:spMkLst>
            <pc:docMk/>
            <pc:sldMk cId="2775471582" sldId="2147483603"/>
            <ac:spMk id="16" creationId="{380AB583-8504-4251-6496-27B6E047AB18}"/>
          </ac:spMkLst>
        </pc:spChg>
        <pc:spChg chg="mod">
          <ac:chgData name="Hänninen, Lauri" userId="b62831d1-2046-40aa-b4b7-d67e2d73afe1" providerId="ADAL" clId="{F907ACC7-C8F7-470E-B883-D49732EB787C}" dt="2024-02-22T10:56:44.037" v="37882" actId="465"/>
          <ac:spMkLst>
            <pc:docMk/>
            <pc:sldMk cId="2775471582" sldId="2147483603"/>
            <ac:spMk id="17" creationId="{B9FB0FC6-51B2-ED8C-D2C4-EECE197181E9}"/>
          </ac:spMkLst>
        </pc:spChg>
        <pc:spChg chg="mod">
          <ac:chgData name="Hänninen, Lauri" userId="b62831d1-2046-40aa-b4b7-d67e2d73afe1" providerId="ADAL" clId="{F907ACC7-C8F7-470E-B883-D49732EB787C}" dt="2024-02-22T10:56:44.037" v="37882" actId="465"/>
          <ac:spMkLst>
            <pc:docMk/>
            <pc:sldMk cId="2775471582" sldId="2147483603"/>
            <ac:spMk id="18" creationId="{B3029324-9053-82B6-D2CE-C6100EEFDDBB}"/>
          </ac:spMkLst>
        </pc:spChg>
        <pc:spChg chg="mod">
          <ac:chgData name="Hänninen, Lauri" userId="b62831d1-2046-40aa-b4b7-d67e2d73afe1" providerId="ADAL" clId="{F907ACC7-C8F7-470E-B883-D49732EB787C}" dt="2024-02-22T10:56:32.902" v="37880" actId="1036"/>
          <ac:spMkLst>
            <pc:docMk/>
            <pc:sldMk cId="2775471582" sldId="2147483603"/>
            <ac:spMk id="19" creationId="{B358BF5B-B6FE-DA9D-757B-6DF76BAD81B4}"/>
          </ac:spMkLst>
        </pc:spChg>
        <pc:spChg chg="mod ord">
          <ac:chgData name="Hänninen, Lauri" userId="b62831d1-2046-40aa-b4b7-d67e2d73afe1" providerId="ADAL" clId="{F907ACC7-C8F7-470E-B883-D49732EB787C}" dt="2024-02-22T10:44:56.673" v="37430" actId="408"/>
          <ac:spMkLst>
            <pc:docMk/>
            <pc:sldMk cId="2775471582" sldId="2147483603"/>
            <ac:spMk id="20" creationId="{B1A811DF-A039-2EF0-5B70-C4471134AED9}"/>
          </ac:spMkLst>
        </pc:spChg>
        <pc:spChg chg="mod">
          <ac:chgData name="Hänninen, Lauri" userId="b62831d1-2046-40aa-b4b7-d67e2d73afe1" providerId="ADAL" clId="{F907ACC7-C8F7-470E-B883-D49732EB787C}" dt="2024-02-22T10:45:36.399" v="37460" actId="14100"/>
          <ac:spMkLst>
            <pc:docMk/>
            <pc:sldMk cId="2775471582" sldId="2147483603"/>
            <ac:spMk id="21" creationId="{14313FD6-0E00-9CC9-8B28-7DEE7E412910}"/>
          </ac:spMkLst>
        </pc:spChg>
        <pc:spChg chg="mod ord">
          <ac:chgData name="Hänninen, Lauri" userId="b62831d1-2046-40aa-b4b7-d67e2d73afe1" providerId="ADAL" clId="{F907ACC7-C8F7-470E-B883-D49732EB787C}" dt="2024-02-22T10:43:36.087" v="37358" actId="1035"/>
          <ac:spMkLst>
            <pc:docMk/>
            <pc:sldMk cId="2775471582" sldId="2147483603"/>
            <ac:spMk id="22" creationId="{8FDF5BBF-1E98-2952-42F2-CC3A457D8267}"/>
          </ac:spMkLst>
        </pc:spChg>
        <pc:spChg chg="mod">
          <ac:chgData name="Hänninen, Lauri" userId="b62831d1-2046-40aa-b4b7-d67e2d73afe1" providerId="ADAL" clId="{F907ACC7-C8F7-470E-B883-D49732EB787C}" dt="2024-02-22T10:39:10.401" v="37232"/>
          <ac:spMkLst>
            <pc:docMk/>
            <pc:sldMk cId="2775471582" sldId="2147483603"/>
            <ac:spMk id="25" creationId="{2BBEC806-6EBE-98C1-7BDA-E21D3BA49C79}"/>
          </ac:spMkLst>
        </pc:spChg>
        <pc:spChg chg="mod">
          <ac:chgData name="Hänninen, Lauri" userId="b62831d1-2046-40aa-b4b7-d67e2d73afe1" providerId="ADAL" clId="{F907ACC7-C8F7-470E-B883-D49732EB787C}" dt="2024-02-22T10:39:10.401" v="37232"/>
          <ac:spMkLst>
            <pc:docMk/>
            <pc:sldMk cId="2775471582" sldId="2147483603"/>
            <ac:spMk id="26" creationId="{3681BD86-BB71-CAA7-88A8-D87983B95C2B}"/>
          </ac:spMkLst>
        </pc:spChg>
        <pc:spChg chg="del">
          <ac:chgData name="Hänninen, Lauri" userId="b62831d1-2046-40aa-b4b7-d67e2d73afe1" providerId="ADAL" clId="{F907ACC7-C8F7-470E-B883-D49732EB787C}" dt="2024-02-22T10:33:00.898" v="37040" actId="478"/>
          <ac:spMkLst>
            <pc:docMk/>
            <pc:sldMk cId="2775471582" sldId="2147483603"/>
            <ac:spMk id="27" creationId="{EEAE8573-E416-D39E-27DC-58C8E02F8241}"/>
          </ac:spMkLst>
        </pc:spChg>
        <pc:spChg chg="mod">
          <ac:chgData name="Hänninen, Lauri" userId="b62831d1-2046-40aa-b4b7-d67e2d73afe1" providerId="ADAL" clId="{F907ACC7-C8F7-470E-B883-D49732EB787C}" dt="2024-02-22T10:44:38.931" v="37423"/>
          <ac:spMkLst>
            <pc:docMk/>
            <pc:sldMk cId="2775471582" sldId="2147483603"/>
            <ac:spMk id="28" creationId="{DACC5B8A-8C7E-14CC-F38F-E2286B39E7AB}"/>
          </ac:spMkLst>
        </pc:spChg>
        <pc:grpChg chg="add mod">
          <ac:chgData name="Hänninen, Lauri" userId="b62831d1-2046-40aa-b4b7-d67e2d73afe1" providerId="ADAL" clId="{F907ACC7-C8F7-470E-B883-D49732EB787C}" dt="2024-02-22T10:44:57.133" v="37431" actId="465"/>
          <ac:grpSpMkLst>
            <pc:docMk/>
            <pc:sldMk cId="2775471582" sldId="2147483603"/>
            <ac:grpSpMk id="5" creationId="{8E1D5B56-2F02-C1C9-1BB9-ED4A227BF5C8}"/>
          </ac:grpSpMkLst>
        </pc:grpChg>
        <pc:grpChg chg="mod">
          <ac:chgData name="Hänninen, Lauri" userId="b62831d1-2046-40aa-b4b7-d67e2d73afe1" providerId="ADAL" clId="{F907ACC7-C8F7-470E-B883-D49732EB787C}" dt="2024-02-22T10:44:53.023" v="37428" actId="164"/>
          <ac:grpSpMkLst>
            <pc:docMk/>
            <pc:sldMk cId="2775471582" sldId="2147483603"/>
            <ac:grpSpMk id="24" creationId="{B9AF1CDA-BA99-2764-9C1F-EA83619B97D0}"/>
          </ac:grpSpMkLst>
        </pc:grpChg>
        <pc:picChg chg="mod">
          <ac:chgData name="Hänninen, Lauri" userId="b62831d1-2046-40aa-b4b7-d67e2d73afe1" providerId="ADAL" clId="{F907ACC7-C8F7-470E-B883-D49732EB787C}" dt="2024-02-22T10:56:39.165" v="37881" actId="465"/>
          <ac:picMkLst>
            <pc:docMk/>
            <pc:sldMk cId="2775471582" sldId="2147483603"/>
            <ac:picMk id="29" creationId="{5EBDD630-CC79-898E-3958-F7EB06A927EA}"/>
          </ac:picMkLst>
        </pc:picChg>
        <pc:picChg chg="mod">
          <ac:chgData name="Hänninen, Lauri" userId="b62831d1-2046-40aa-b4b7-d67e2d73afe1" providerId="ADAL" clId="{F907ACC7-C8F7-470E-B883-D49732EB787C}" dt="2024-02-22T10:56:39.165" v="37881" actId="465"/>
          <ac:picMkLst>
            <pc:docMk/>
            <pc:sldMk cId="2775471582" sldId="2147483603"/>
            <ac:picMk id="30" creationId="{48B55BCB-BFBF-022C-83CE-CCFCE6344DA5}"/>
          </ac:picMkLst>
        </pc:picChg>
        <pc:picChg chg="mod">
          <ac:chgData name="Hänninen, Lauri" userId="b62831d1-2046-40aa-b4b7-d67e2d73afe1" providerId="ADAL" clId="{F907ACC7-C8F7-470E-B883-D49732EB787C}" dt="2024-02-22T10:56:39.165" v="37881" actId="465"/>
          <ac:picMkLst>
            <pc:docMk/>
            <pc:sldMk cId="2775471582" sldId="2147483603"/>
            <ac:picMk id="31" creationId="{85E36B1D-3226-2949-7702-238129BF80F7}"/>
          </ac:picMkLst>
        </pc:picChg>
        <pc:picChg chg="mod">
          <ac:chgData name="Hänninen, Lauri" userId="b62831d1-2046-40aa-b4b7-d67e2d73afe1" providerId="ADAL" clId="{F907ACC7-C8F7-470E-B883-D49732EB787C}" dt="2024-02-22T10:56:39.165" v="37881" actId="465"/>
          <ac:picMkLst>
            <pc:docMk/>
            <pc:sldMk cId="2775471582" sldId="2147483603"/>
            <ac:picMk id="32" creationId="{D1D96AE3-997E-ED90-5B94-3935D19D4A43}"/>
          </ac:picMkLst>
        </pc:picChg>
        <pc:picChg chg="mod">
          <ac:chgData name="Hänninen, Lauri" userId="b62831d1-2046-40aa-b4b7-d67e2d73afe1" providerId="ADAL" clId="{F907ACC7-C8F7-470E-B883-D49732EB787C}" dt="2024-02-22T10:56:39.165" v="37881" actId="465"/>
          <ac:picMkLst>
            <pc:docMk/>
            <pc:sldMk cId="2775471582" sldId="2147483603"/>
            <ac:picMk id="33" creationId="{00E1F7C1-1B80-403E-7B40-9A392D018A70}"/>
          </ac:picMkLst>
        </pc:picChg>
        <pc:picChg chg="mod">
          <ac:chgData name="Hänninen, Lauri" userId="b62831d1-2046-40aa-b4b7-d67e2d73afe1" providerId="ADAL" clId="{F907ACC7-C8F7-470E-B883-D49732EB787C}" dt="2024-02-22T10:56:39.165" v="37881" actId="465"/>
          <ac:picMkLst>
            <pc:docMk/>
            <pc:sldMk cId="2775471582" sldId="2147483603"/>
            <ac:picMk id="34" creationId="{393ACD1A-C0BC-B29C-A5CB-E36D0BC47F10}"/>
          </ac:picMkLst>
        </pc:picChg>
        <pc:cxnChg chg="mod">
          <ac:chgData name="Hänninen, Lauri" userId="b62831d1-2046-40aa-b4b7-d67e2d73afe1" providerId="ADAL" clId="{F907ACC7-C8F7-470E-B883-D49732EB787C}" dt="2024-02-22T10:44:53.023" v="37428" actId="164"/>
          <ac:cxnSpMkLst>
            <pc:docMk/>
            <pc:sldMk cId="2775471582" sldId="2147483603"/>
            <ac:cxnSpMk id="23" creationId="{CB324BBA-8772-6E4A-6357-B87F67575718}"/>
          </ac:cxnSpMkLst>
        </pc:cxnChg>
      </pc:sldChg>
      <pc:sldChg chg="new del">
        <pc:chgData name="Hänninen, Lauri" userId="b62831d1-2046-40aa-b4b7-d67e2d73afe1" providerId="ADAL" clId="{F907ACC7-C8F7-470E-B883-D49732EB787C}" dt="2024-02-20T19:32:03.112" v="7421" actId="47"/>
        <pc:sldMkLst>
          <pc:docMk/>
          <pc:sldMk cId="3976675333" sldId="2147483603"/>
        </pc:sldMkLst>
      </pc:sldChg>
      <pc:sldChg chg="addSp delSp modSp new del mod ord">
        <pc:chgData name="Hänninen, Lauri" userId="b62831d1-2046-40aa-b4b7-d67e2d73afe1" providerId="ADAL" clId="{F907ACC7-C8F7-470E-B883-D49732EB787C}" dt="2024-02-23T08:09:17.051" v="42347" actId="47"/>
        <pc:sldMkLst>
          <pc:docMk/>
          <pc:sldMk cId="2002013840" sldId="2147483604"/>
        </pc:sldMkLst>
        <pc:spChg chg="del">
          <ac:chgData name="Hänninen, Lauri" userId="b62831d1-2046-40aa-b4b7-d67e2d73afe1" providerId="ADAL" clId="{F907ACC7-C8F7-470E-B883-D49732EB787C}" dt="2024-02-20T19:45:05.525" v="7793" actId="478"/>
          <ac:spMkLst>
            <pc:docMk/>
            <pc:sldMk cId="2002013840" sldId="2147483604"/>
            <ac:spMk id="5" creationId="{5EA4F2D9-E74F-37E1-5A8A-41093A507108}"/>
          </ac:spMkLst>
        </pc:spChg>
        <pc:spChg chg="del">
          <ac:chgData name="Hänninen, Lauri" userId="b62831d1-2046-40aa-b4b7-d67e2d73afe1" providerId="ADAL" clId="{F907ACC7-C8F7-470E-B883-D49732EB787C}" dt="2024-02-20T19:45:03.621" v="7792" actId="478"/>
          <ac:spMkLst>
            <pc:docMk/>
            <pc:sldMk cId="2002013840" sldId="2147483604"/>
            <ac:spMk id="6" creationId="{814293B4-EC0D-F544-AC98-4C911E911312}"/>
          </ac:spMkLst>
        </pc:spChg>
        <pc:spChg chg="del">
          <ac:chgData name="Hänninen, Lauri" userId="b62831d1-2046-40aa-b4b7-d67e2d73afe1" providerId="ADAL" clId="{F907ACC7-C8F7-470E-B883-D49732EB787C}" dt="2024-02-20T19:45:03.621" v="7792" actId="478"/>
          <ac:spMkLst>
            <pc:docMk/>
            <pc:sldMk cId="2002013840" sldId="2147483604"/>
            <ac:spMk id="7" creationId="{C4225CAE-A4AB-2AAC-C837-CF47ABFC1192}"/>
          </ac:spMkLst>
        </pc:spChg>
        <pc:spChg chg="add mod">
          <ac:chgData name="Hänninen, Lauri" userId="b62831d1-2046-40aa-b4b7-d67e2d73afe1" providerId="ADAL" clId="{F907ACC7-C8F7-470E-B883-D49732EB787C}" dt="2024-02-20T19:45:14.938" v="7811" actId="20577"/>
          <ac:spMkLst>
            <pc:docMk/>
            <pc:sldMk cId="2002013840" sldId="2147483604"/>
            <ac:spMk id="8" creationId="{4112DF09-7584-A6A9-1794-00B2526A6B1C}"/>
          </ac:spMkLst>
        </pc:spChg>
        <pc:spChg chg="add mod">
          <ac:chgData name="Hänninen, Lauri" userId="b62831d1-2046-40aa-b4b7-d67e2d73afe1" providerId="ADAL" clId="{F907ACC7-C8F7-470E-B883-D49732EB787C}" dt="2024-02-20T19:45:43.085" v="7820" actId="14100"/>
          <ac:spMkLst>
            <pc:docMk/>
            <pc:sldMk cId="2002013840" sldId="2147483604"/>
            <ac:spMk id="9" creationId="{85426057-1EE7-B618-E829-EEAFD18BA412}"/>
          </ac:spMkLst>
        </pc:spChg>
      </pc:sldChg>
      <pc:sldChg chg="delSp modSp add del mod">
        <pc:chgData name="Hänninen, Lauri" userId="b62831d1-2046-40aa-b4b7-d67e2d73afe1" providerId="ADAL" clId="{F907ACC7-C8F7-470E-B883-D49732EB787C}" dt="2024-02-20T19:37:57.160" v="7596" actId="47"/>
        <pc:sldMkLst>
          <pc:docMk/>
          <pc:sldMk cId="4167430410" sldId="2147483604"/>
        </pc:sldMkLst>
        <pc:spChg chg="mod">
          <ac:chgData name="Hänninen, Lauri" userId="b62831d1-2046-40aa-b4b7-d67e2d73afe1" providerId="ADAL" clId="{F907ACC7-C8F7-470E-B883-D49732EB787C}" dt="2024-02-20T19:32:37.031" v="7495" actId="20577"/>
          <ac:spMkLst>
            <pc:docMk/>
            <pc:sldMk cId="4167430410" sldId="2147483604"/>
            <ac:spMk id="3" creationId="{AD1F2EF7-0D39-C47B-7E72-4F4D35FA39D4}"/>
          </ac:spMkLst>
        </pc:spChg>
        <pc:spChg chg="del">
          <ac:chgData name="Hänninen, Lauri" userId="b62831d1-2046-40aa-b4b7-d67e2d73afe1" providerId="ADAL" clId="{F907ACC7-C8F7-470E-B883-D49732EB787C}" dt="2024-02-20T19:32:07.371" v="7422" actId="478"/>
          <ac:spMkLst>
            <pc:docMk/>
            <pc:sldMk cId="4167430410" sldId="2147483604"/>
            <ac:spMk id="5" creationId="{2E33EC18-B148-8578-CCFC-1431A60CC8DA}"/>
          </ac:spMkLst>
        </pc:spChg>
        <pc:spChg chg="del">
          <ac:chgData name="Hänninen, Lauri" userId="b62831d1-2046-40aa-b4b7-d67e2d73afe1" providerId="ADAL" clId="{F907ACC7-C8F7-470E-B883-D49732EB787C}" dt="2024-02-20T19:32:07.371" v="7422" actId="478"/>
          <ac:spMkLst>
            <pc:docMk/>
            <pc:sldMk cId="4167430410" sldId="2147483604"/>
            <ac:spMk id="8" creationId="{0AA5F5CF-A36A-DAB9-2F14-40C5A44A4F00}"/>
          </ac:spMkLst>
        </pc:spChg>
        <pc:spChg chg="del">
          <ac:chgData name="Hänninen, Lauri" userId="b62831d1-2046-40aa-b4b7-d67e2d73afe1" providerId="ADAL" clId="{F907ACC7-C8F7-470E-B883-D49732EB787C}" dt="2024-02-20T19:32:07.371" v="7422" actId="478"/>
          <ac:spMkLst>
            <pc:docMk/>
            <pc:sldMk cId="4167430410" sldId="2147483604"/>
            <ac:spMk id="9" creationId="{A210D8AC-878F-BB87-9F97-E4CD4EB66160}"/>
          </ac:spMkLst>
        </pc:spChg>
        <pc:spChg chg="del">
          <ac:chgData name="Hänninen, Lauri" userId="b62831d1-2046-40aa-b4b7-d67e2d73afe1" providerId="ADAL" clId="{F907ACC7-C8F7-470E-B883-D49732EB787C}" dt="2024-02-20T19:32:07.371" v="7422" actId="478"/>
          <ac:spMkLst>
            <pc:docMk/>
            <pc:sldMk cId="4167430410" sldId="2147483604"/>
            <ac:spMk id="10" creationId="{B12A2133-F594-D250-8C00-157BE629A41B}"/>
          </ac:spMkLst>
        </pc:spChg>
        <pc:spChg chg="del">
          <ac:chgData name="Hänninen, Lauri" userId="b62831d1-2046-40aa-b4b7-d67e2d73afe1" providerId="ADAL" clId="{F907ACC7-C8F7-470E-B883-D49732EB787C}" dt="2024-02-20T19:32:07.371" v="7422" actId="478"/>
          <ac:spMkLst>
            <pc:docMk/>
            <pc:sldMk cId="4167430410" sldId="2147483604"/>
            <ac:spMk id="11" creationId="{179B3804-D616-2B9F-E0A0-CF18BE930B1F}"/>
          </ac:spMkLst>
        </pc:spChg>
        <pc:spChg chg="del">
          <ac:chgData name="Hänninen, Lauri" userId="b62831d1-2046-40aa-b4b7-d67e2d73afe1" providerId="ADAL" clId="{F907ACC7-C8F7-470E-B883-D49732EB787C}" dt="2024-02-20T19:32:07.371" v="7422" actId="478"/>
          <ac:spMkLst>
            <pc:docMk/>
            <pc:sldMk cId="4167430410" sldId="2147483604"/>
            <ac:spMk id="12" creationId="{099AE6A2-A85C-EC77-23D9-F23C4CF2C806}"/>
          </ac:spMkLst>
        </pc:spChg>
        <pc:spChg chg="del">
          <ac:chgData name="Hänninen, Lauri" userId="b62831d1-2046-40aa-b4b7-d67e2d73afe1" providerId="ADAL" clId="{F907ACC7-C8F7-470E-B883-D49732EB787C}" dt="2024-02-20T19:32:07.371" v="7422" actId="478"/>
          <ac:spMkLst>
            <pc:docMk/>
            <pc:sldMk cId="4167430410" sldId="2147483604"/>
            <ac:spMk id="14" creationId="{BA3FDA4D-9236-4A0B-F078-C147FB53E08C}"/>
          </ac:spMkLst>
        </pc:spChg>
        <pc:spChg chg="del">
          <ac:chgData name="Hänninen, Lauri" userId="b62831d1-2046-40aa-b4b7-d67e2d73afe1" providerId="ADAL" clId="{F907ACC7-C8F7-470E-B883-D49732EB787C}" dt="2024-02-20T19:32:07.371" v="7422" actId="478"/>
          <ac:spMkLst>
            <pc:docMk/>
            <pc:sldMk cId="4167430410" sldId="2147483604"/>
            <ac:spMk id="91" creationId="{51CD05B8-7412-0239-DFD0-900FCEB2DED5}"/>
          </ac:spMkLst>
        </pc:spChg>
        <pc:spChg chg="del">
          <ac:chgData name="Hänninen, Lauri" userId="b62831d1-2046-40aa-b4b7-d67e2d73afe1" providerId="ADAL" clId="{F907ACC7-C8F7-470E-B883-D49732EB787C}" dt="2024-02-20T19:32:07.371" v="7422" actId="478"/>
          <ac:spMkLst>
            <pc:docMk/>
            <pc:sldMk cId="4167430410" sldId="2147483604"/>
            <ac:spMk id="96" creationId="{E32C37C8-D070-496E-B1E5-0E17389ACE21}"/>
          </ac:spMkLst>
        </pc:spChg>
        <pc:spChg chg="del">
          <ac:chgData name="Hänninen, Lauri" userId="b62831d1-2046-40aa-b4b7-d67e2d73afe1" providerId="ADAL" clId="{F907ACC7-C8F7-470E-B883-D49732EB787C}" dt="2024-02-20T19:32:07.371" v="7422" actId="478"/>
          <ac:spMkLst>
            <pc:docMk/>
            <pc:sldMk cId="4167430410" sldId="2147483604"/>
            <ac:spMk id="102" creationId="{FBEBCB73-8EEA-37FC-16F5-C61C2862A03B}"/>
          </ac:spMkLst>
        </pc:spChg>
        <pc:spChg chg="del">
          <ac:chgData name="Hänninen, Lauri" userId="b62831d1-2046-40aa-b4b7-d67e2d73afe1" providerId="ADAL" clId="{F907ACC7-C8F7-470E-B883-D49732EB787C}" dt="2024-02-20T19:32:07.371" v="7422" actId="478"/>
          <ac:spMkLst>
            <pc:docMk/>
            <pc:sldMk cId="4167430410" sldId="2147483604"/>
            <ac:spMk id="108" creationId="{13C98479-2F1B-A015-AFE1-570FFB849C71}"/>
          </ac:spMkLst>
        </pc:spChg>
        <pc:spChg chg="del">
          <ac:chgData name="Hänninen, Lauri" userId="b62831d1-2046-40aa-b4b7-d67e2d73afe1" providerId="ADAL" clId="{F907ACC7-C8F7-470E-B883-D49732EB787C}" dt="2024-02-20T19:32:07.371" v="7422" actId="478"/>
          <ac:spMkLst>
            <pc:docMk/>
            <pc:sldMk cId="4167430410" sldId="2147483604"/>
            <ac:spMk id="115" creationId="{2CAE815B-5BF1-9122-EFFE-9BB9E45BA52A}"/>
          </ac:spMkLst>
        </pc:spChg>
        <pc:spChg chg="del">
          <ac:chgData name="Hänninen, Lauri" userId="b62831d1-2046-40aa-b4b7-d67e2d73afe1" providerId="ADAL" clId="{F907ACC7-C8F7-470E-B883-D49732EB787C}" dt="2024-02-20T19:32:07.371" v="7422" actId="478"/>
          <ac:spMkLst>
            <pc:docMk/>
            <pc:sldMk cId="4167430410" sldId="2147483604"/>
            <ac:spMk id="121" creationId="{EF5084ED-3A9C-F260-CCB2-96BE2A75B567}"/>
          </ac:spMkLst>
        </pc:spChg>
        <pc:spChg chg="del">
          <ac:chgData name="Hänninen, Lauri" userId="b62831d1-2046-40aa-b4b7-d67e2d73afe1" providerId="ADAL" clId="{F907ACC7-C8F7-470E-B883-D49732EB787C}" dt="2024-02-20T19:32:07.371" v="7422" actId="478"/>
          <ac:spMkLst>
            <pc:docMk/>
            <pc:sldMk cId="4167430410" sldId="2147483604"/>
            <ac:spMk id="126" creationId="{39DF3B38-1D59-F0C8-D624-C0E262ED33F3}"/>
          </ac:spMkLst>
        </pc:spChg>
        <pc:spChg chg="del">
          <ac:chgData name="Hänninen, Lauri" userId="b62831d1-2046-40aa-b4b7-d67e2d73afe1" providerId="ADAL" clId="{F907ACC7-C8F7-470E-B883-D49732EB787C}" dt="2024-02-20T19:32:07.371" v="7422" actId="478"/>
          <ac:spMkLst>
            <pc:docMk/>
            <pc:sldMk cId="4167430410" sldId="2147483604"/>
            <ac:spMk id="127" creationId="{5E1D94B0-B000-ABF6-4A67-353DDA679802}"/>
          </ac:spMkLst>
        </pc:spChg>
        <pc:spChg chg="del">
          <ac:chgData name="Hänninen, Lauri" userId="b62831d1-2046-40aa-b4b7-d67e2d73afe1" providerId="ADAL" clId="{F907ACC7-C8F7-470E-B883-D49732EB787C}" dt="2024-02-20T19:32:07.371" v="7422" actId="478"/>
          <ac:spMkLst>
            <pc:docMk/>
            <pc:sldMk cId="4167430410" sldId="2147483604"/>
            <ac:spMk id="128" creationId="{8541ED54-0A18-4FF2-D4C8-E8DEB0DED49E}"/>
          </ac:spMkLst>
        </pc:spChg>
        <pc:spChg chg="del">
          <ac:chgData name="Hänninen, Lauri" userId="b62831d1-2046-40aa-b4b7-d67e2d73afe1" providerId="ADAL" clId="{F907ACC7-C8F7-470E-B883-D49732EB787C}" dt="2024-02-20T19:32:07.371" v="7422" actId="478"/>
          <ac:spMkLst>
            <pc:docMk/>
            <pc:sldMk cId="4167430410" sldId="2147483604"/>
            <ac:spMk id="132" creationId="{3D32E403-2530-438F-49FF-D6304A67B747}"/>
          </ac:spMkLst>
        </pc:spChg>
        <pc:spChg chg="del">
          <ac:chgData name="Hänninen, Lauri" userId="b62831d1-2046-40aa-b4b7-d67e2d73afe1" providerId="ADAL" clId="{F907ACC7-C8F7-470E-B883-D49732EB787C}" dt="2024-02-20T19:32:07.371" v="7422" actId="478"/>
          <ac:spMkLst>
            <pc:docMk/>
            <pc:sldMk cId="4167430410" sldId="2147483604"/>
            <ac:spMk id="136" creationId="{17CCCCAA-7A3C-17CE-5358-AB917D524323}"/>
          </ac:spMkLst>
        </pc:spChg>
        <pc:spChg chg="del">
          <ac:chgData name="Hänninen, Lauri" userId="b62831d1-2046-40aa-b4b7-d67e2d73afe1" providerId="ADAL" clId="{F907ACC7-C8F7-470E-B883-D49732EB787C}" dt="2024-02-20T19:32:07.371" v="7422" actId="478"/>
          <ac:spMkLst>
            <pc:docMk/>
            <pc:sldMk cId="4167430410" sldId="2147483604"/>
            <ac:spMk id="139" creationId="{6B482937-0603-6FCD-EA7F-2063C4F9F81D}"/>
          </ac:spMkLst>
        </pc:spChg>
        <pc:spChg chg="del">
          <ac:chgData name="Hänninen, Lauri" userId="b62831d1-2046-40aa-b4b7-d67e2d73afe1" providerId="ADAL" clId="{F907ACC7-C8F7-470E-B883-D49732EB787C}" dt="2024-02-20T19:32:07.371" v="7422" actId="478"/>
          <ac:spMkLst>
            <pc:docMk/>
            <pc:sldMk cId="4167430410" sldId="2147483604"/>
            <ac:spMk id="175" creationId="{8485A1F6-B5F5-0ABA-7F4F-C6ED75975F06}"/>
          </ac:spMkLst>
        </pc:spChg>
        <pc:picChg chg="del">
          <ac:chgData name="Hänninen, Lauri" userId="b62831d1-2046-40aa-b4b7-d67e2d73afe1" providerId="ADAL" clId="{F907ACC7-C8F7-470E-B883-D49732EB787C}" dt="2024-02-20T19:32:07.371" v="7422" actId="478"/>
          <ac:picMkLst>
            <pc:docMk/>
            <pc:sldMk cId="4167430410" sldId="2147483604"/>
            <ac:picMk id="92" creationId="{AB03D828-7FFD-E60D-0D8F-E7F3EDEFA92E}"/>
          </ac:picMkLst>
        </pc:picChg>
        <pc:picChg chg="del">
          <ac:chgData name="Hänninen, Lauri" userId="b62831d1-2046-40aa-b4b7-d67e2d73afe1" providerId="ADAL" clId="{F907ACC7-C8F7-470E-B883-D49732EB787C}" dt="2024-02-20T19:32:07.371" v="7422" actId="478"/>
          <ac:picMkLst>
            <pc:docMk/>
            <pc:sldMk cId="4167430410" sldId="2147483604"/>
            <ac:picMk id="93" creationId="{8BF6233F-283C-C667-3AE8-FE087190061D}"/>
          </ac:picMkLst>
        </pc:picChg>
        <pc:picChg chg="del">
          <ac:chgData name="Hänninen, Lauri" userId="b62831d1-2046-40aa-b4b7-d67e2d73afe1" providerId="ADAL" clId="{F907ACC7-C8F7-470E-B883-D49732EB787C}" dt="2024-02-20T19:32:07.371" v="7422" actId="478"/>
          <ac:picMkLst>
            <pc:docMk/>
            <pc:sldMk cId="4167430410" sldId="2147483604"/>
            <ac:picMk id="94" creationId="{9AAD6EEA-CF44-5497-F295-C6BC7F24D423}"/>
          </ac:picMkLst>
        </pc:picChg>
        <pc:picChg chg="del">
          <ac:chgData name="Hänninen, Lauri" userId="b62831d1-2046-40aa-b4b7-d67e2d73afe1" providerId="ADAL" clId="{F907ACC7-C8F7-470E-B883-D49732EB787C}" dt="2024-02-20T19:32:07.371" v="7422" actId="478"/>
          <ac:picMkLst>
            <pc:docMk/>
            <pc:sldMk cId="4167430410" sldId="2147483604"/>
            <ac:picMk id="97" creationId="{BDB995BD-374A-F359-C78F-499E61670A59}"/>
          </ac:picMkLst>
        </pc:picChg>
        <pc:picChg chg="del">
          <ac:chgData name="Hänninen, Lauri" userId="b62831d1-2046-40aa-b4b7-d67e2d73afe1" providerId="ADAL" clId="{F907ACC7-C8F7-470E-B883-D49732EB787C}" dt="2024-02-20T19:32:07.371" v="7422" actId="478"/>
          <ac:picMkLst>
            <pc:docMk/>
            <pc:sldMk cId="4167430410" sldId="2147483604"/>
            <ac:picMk id="98" creationId="{E3414731-C7F2-F70C-4902-791FABD0D4BA}"/>
          </ac:picMkLst>
        </pc:picChg>
        <pc:picChg chg="del">
          <ac:chgData name="Hänninen, Lauri" userId="b62831d1-2046-40aa-b4b7-d67e2d73afe1" providerId="ADAL" clId="{F907ACC7-C8F7-470E-B883-D49732EB787C}" dt="2024-02-20T19:32:07.371" v="7422" actId="478"/>
          <ac:picMkLst>
            <pc:docMk/>
            <pc:sldMk cId="4167430410" sldId="2147483604"/>
            <ac:picMk id="99" creationId="{CD779D0C-E891-0919-7260-C89544EE1BF2}"/>
          </ac:picMkLst>
        </pc:picChg>
        <pc:picChg chg="del">
          <ac:chgData name="Hänninen, Lauri" userId="b62831d1-2046-40aa-b4b7-d67e2d73afe1" providerId="ADAL" clId="{F907ACC7-C8F7-470E-B883-D49732EB787C}" dt="2024-02-20T19:32:07.371" v="7422" actId="478"/>
          <ac:picMkLst>
            <pc:docMk/>
            <pc:sldMk cId="4167430410" sldId="2147483604"/>
            <ac:picMk id="100" creationId="{9957675E-60D8-5C72-BBB6-B95967629271}"/>
          </ac:picMkLst>
        </pc:picChg>
        <pc:picChg chg="del">
          <ac:chgData name="Hänninen, Lauri" userId="b62831d1-2046-40aa-b4b7-d67e2d73afe1" providerId="ADAL" clId="{F907ACC7-C8F7-470E-B883-D49732EB787C}" dt="2024-02-20T19:32:07.371" v="7422" actId="478"/>
          <ac:picMkLst>
            <pc:docMk/>
            <pc:sldMk cId="4167430410" sldId="2147483604"/>
            <ac:picMk id="103" creationId="{C5199B64-936E-E146-D7C5-3B256E6B2F0B}"/>
          </ac:picMkLst>
        </pc:picChg>
        <pc:picChg chg="del">
          <ac:chgData name="Hänninen, Lauri" userId="b62831d1-2046-40aa-b4b7-d67e2d73afe1" providerId="ADAL" clId="{F907ACC7-C8F7-470E-B883-D49732EB787C}" dt="2024-02-20T19:32:07.371" v="7422" actId="478"/>
          <ac:picMkLst>
            <pc:docMk/>
            <pc:sldMk cId="4167430410" sldId="2147483604"/>
            <ac:picMk id="104" creationId="{396335B3-9687-0198-A6FA-E14B20CCF5E8}"/>
          </ac:picMkLst>
        </pc:picChg>
        <pc:picChg chg="del">
          <ac:chgData name="Hänninen, Lauri" userId="b62831d1-2046-40aa-b4b7-d67e2d73afe1" providerId="ADAL" clId="{F907ACC7-C8F7-470E-B883-D49732EB787C}" dt="2024-02-20T19:32:07.371" v="7422" actId="478"/>
          <ac:picMkLst>
            <pc:docMk/>
            <pc:sldMk cId="4167430410" sldId="2147483604"/>
            <ac:picMk id="105" creationId="{9C9E82DB-B6C4-36A1-AD92-873D9B249024}"/>
          </ac:picMkLst>
        </pc:picChg>
        <pc:picChg chg="del">
          <ac:chgData name="Hänninen, Lauri" userId="b62831d1-2046-40aa-b4b7-d67e2d73afe1" providerId="ADAL" clId="{F907ACC7-C8F7-470E-B883-D49732EB787C}" dt="2024-02-20T19:32:07.371" v="7422" actId="478"/>
          <ac:picMkLst>
            <pc:docMk/>
            <pc:sldMk cId="4167430410" sldId="2147483604"/>
            <ac:picMk id="106" creationId="{DC83870F-9394-D619-F5AB-F2A054BCFF4F}"/>
          </ac:picMkLst>
        </pc:picChg>
        <pc:picChg chg="del">
          <ac:chgData name="Hänninen, Lauri" userId="b62831d1-2046-40aa-b4b7-d67e2d73afe1" providerId="ADAL" clId="{F907ACC7-C8F7-470E-B883-D49732EB787C}" dt="2024-02-20T19:32:07.371" v="7422" actId="478"/>
          <ac:picMkLst>
            <pc:docMk/>
            <pc:sldMk cId="4167430410" sldId="2147483604"/>
            <ac:picMk id="109" creationId="{7477E120-9222-3A5D-E819-05A6F8350466}"/>
          </ac:picMkLst>
        </pc:picChg>
        <pc:picChg chg="del">
          <ac:chgData name="Hänninen, Lauri" userId="b62831d1-2046-40aa-b4b7-d67e2d73afe1" providerId="ADAL" clId="{F907ACC7-C8F7-470E-B883-D49732EB787C}" dt="2024-02-20T19:32:07.371" v="7422" actId="478"/>
          <ac:picMkLst>
            <pc:docMk/>
            <pc:sldMk cId="4167430410" sldId="2147483604"/>
            <ac:picMk id="110" creationId="{7A836F5D-2611-0E8F-A9DA-07AABCAFF89D}"/>
          </ac:picMkLst>
        </pc:picChg>
        <pc:picChg chg="del">
          <ac:chgData name="Hänninen, Lauri" userId="b62831d1-2046-40aa-b4b7-d67e2d73afe1" providerId="ADAL" clId="{F907ACC7-C8F7-470E-B883-D49732EB787C}" dt="2024-02-20T19:32:07.371" v="7422" actId="478"/>
          <ac:picMkLst>
            <pc:docMk/>
            <pc:sldMk cId="4167430410" sldId="2147483604"/>
            <ac:picMk id="111" creationId="{21A73C64-9975-27E5-D506-7B30C0FE22C9}"/>
          </ac:picMkLst>
        </pc:picChg>
        <pc:picChg chg="del">
          <ac:chgData name="Hänninen, Lauri" userId="b62831d1-2046-40aa-b4b7-d67e2d73afe1" providerId="ADAL" clId="{F907ACC7-C8F7-470E-B883-D49732EB787C}" dt="2024-02-20T19:32:07.371" v="7422" actId="478"/>
          <ac:picMkLst>
            <pc:docMk/>
            <pc:sldMk cId="4167430410" sldId="2147483604"/>
            <ac:picMk id="112" creationId="{C21964B0-9907-1ADC-6A9E-5B328217A725}"/>
          </ac:picMkLst>
        </pc:picChg>
        <pc:picChg chg="del">
          <ac:chgData name="Hänninen, Lauri" userId="b62831d1-2046-40aa-b4b7-d67e2d73afe1" providerId="ADAL" clId="{F907ACC7-C8F7-470E-B883-D49732EB787C}" dt="2024-02-20T19:32:07.371" v="7422" actId="478"/>
          <ac:picMkLst>
            <pc:docMk/>
            <pc:sldMk cId="4167430410" sldId="2147483604"/>
            <ac:picMk id="116" creationId="{1A77F061-C044-AFFE-4F37-7003F8F9A696}"/>
          </ac:picMkLst>
        </pc:picChg>
        <pc:picChg chg="del">
          <ac:chgData name="Hänninen, Lauri" userId="b62831d1-2046-40aa-b4b7-d67e2d73afe1" providerId="ADAL" clId="{F907ACC7-C8F7-470E-B883-D49732EB787C}" dt="2024-02-20T19:32:07.371" v="7422" actId="478"/>
          <ac:picMkLst>
            <pc:docMk/>
            <pc:sldMk cId="4167430410" sldId="2147483604"/>
            <ac:picMk id="117" creationId="{0BD0DE15-EDA3-5838-75DB-09AA0B4E1C13}"/>
          </ac:picMkLst>
        </pc:picChg>
        <pc:picChg chg="del">
          <ac:chgData name="Hänninen, Lauri" userId="b62831d1-2046-40aa-b4b7-d67e2d73afe1" providerId="ADAL" clId="{F907ACC7-C8F7-470E-B883-D49732EB787C}" dt="2024-02-20T19:32:07.371" v="7422" actId="478"/>
          <ac:picMkLst>
            <pc:docMk/>
            <pc:sldMk cId="4167430410" sldId="2147483604"/>
            <ac:picMk id="118" creationId="{5F7771A4-0946-CE8C-53D8-84693A9A6FE0}"/>
          </ac:picMkLst>
        </pc:picChg>
        <pc:picChg chg="del">
          <ac:chgData name="Hänninen, Lauri" userId="b62831d1-2046-40aa-b4b7-d67e2d73afe1" providerId="ADAL" clId="{F907ACC7-C8F7-470E-B883-D49732EB787C}" dt="2024-02-20T19:32:07.371" v="7422" actId="478"/>
          <ac:picMkLst>
            <pc:docMk/>
            <pc:sldMk cId="4167430410" sldId="2147483604"/>
            <ac:picMk id="119" creationId="{D1EFC4FF-22AC-A6DD-F5FF-F5D4EC963DC6}"/>
          </ac:picMkLst>
        </pc:picChg>
        <pc:picChg chg="del">
          <ac:chgData name="Hänninen, Lauri" userId="b62831d1-2046-40aa-b4b7-d67e2d73afe1" providerId="ADAL" clId="{F907ACC7-C8F7-470E-B883-D49732EB787C}" dt="2024-02-20T19:32:07.371" v="7422" actId="478"/>
          <ac:picMkLst>
            <pc:docMk/>
            <pc:sldMk cId="4167430410" sldId="2147483604"/>
            <ac:picMk id="120" creationId="{152A9A3C-F5A8-9077-E48A-92D2A5451CAB}"/>
          </ac:picMkLst>
        </pc:picChg>
        <pc:picChg chg="del">
          <ac:chgData name="Hänninen, Lauri" userId="b62831d1-2046-40aa-b4b7-d67e2d73afe1" providerId="ADAL" clId="{F907ACC7-C8F7-470E-B883-D49732EB787C}" dt="2024-02-20T19:32:07.371" v="7422" actId="478"/>
          <ac:picMkLst>
            <pc:docMk/>
            <pc:sldMk cId="4167430410" sldId="2147483604"/>
            <ac:picMk id="122" creationId="{6CE42C20-1F88-C526-A764-9075362231CD}"/>
          </ac:picMkLst>
        </pc:picChg>
        <pc:picChg chg="del">
          <ac:chgData name="Hänninen, Lauri" userId="b62831d1-2046-40aa-b4b7-d67e2d73afe1" providerId="ADAL" clId="{F907ACC7-C8F7-470E-B883-D49732EB787C}" dt="2024-02-20T19:32:07.371" v="7422" actId="478"/>
          <ac:picMkLst>
            <pc:docMk/>
            <pc:sldMk cId="4167430410" sldId="2147483604"/>
            <ac:picMk id="123" creationId="{F2884D86-11C5-EE64-0D26-B7B1F74A8C3E}"/>
          </ac:picMkLst>
        </pc:picChg>
        <pc:picChg chg="del">
          <ac:chgData name="Hänninen, Lauri" userId="b62831d1-2046-40aa-b4b7-d67e2d73afe1" providerId="ADAL" clId="{F907ACC7-C8F7-470E-B883-D49732EB787C}" dt="2024-02-20T19:32:07.371" v="7422" actId="478"/>
          <ac:picMkLst>
            <pc:docMk/>
            <pc:sldMk cId="4167430410" sldId="2147483604"/>
            <ac:picMk id="124" creationId="{F34E79D2-2244-E377-26EC-F9C17587AAAD}"/>
          </ac:picMkLst>
        </pc:picChg>
        <pc:picChg chg="del">
          <ac:chgData name="Hänninen, Lauri" userId="b62831d1-2046-40aa-b4b7-d67e2d73afe1" providerId="ADAL" clId="{F907ACC7-C8F7-470E-B883-D49732EB787C}" dt="2024-02-20T19:32:07.371" v="7422" actId="478"/>
          <ac:picMkLst>
            <pc:docMk/>
            <pc:sldMk cId="4167430410" sldId="2147483604"/>
            <ac:picMk id="125" creationId="{4802B36D-DFBD-F1F1-CCAC-A045C0A4B6A7}"/>
          </ac:picMkLst>
        </pc:picChg>
        <pc:picChg chg="del">
          <ac:chgData name="Hänninen, Lauri" userId="b62831d1-2046-40aa-b4b7-d67e2d73afe1" providerId="ADAL" clId="{F907ACC7-C8F7-470E-B883-D49732EB787C}" dt="2024-02-20T19:32:07.371" v="7422" actId="478"/>
          <ac:picMkLst>
            <pc:docMk/>
            <pc:sldMk cId="4167430410" sldId="2147483604"/>
            <ac:picMk id="129" creationId="{BB20C94D-3EBF-152B-A198-2D0FBA8FA475}"/>
          </ac:picMkLst>
        </pc:picChg>
        <pc:picChg chg="del">
          <ac:chgData name="Hänninen, Lauri" userId="b62831d1-2046-40aa-b4b7-d67e2d73afe1" providerId="ADAL" clId="{F907ACC7-C8F7-470E-B883-D49732EB787C}" dt="2024-02-20T19:32:07.371" v="7422" actId="478"/>
          <ac:picMkLst>
            <pc:docMk/>
            <pc:sldMk cId="4167430410" sldId="2147483604"/>
            <ac:picMk id="130" creationId="{332ECBDF-116E-CD27-7EA7-7414A2ABAEBC}"/>
          </ac:picMkLst>
        </pc:picChg>
        <pc:picChg chg="del">
          <ac:chgData name="Hänninen, Lauri" userId="b62831d1-2046-40aa-b4b7-d67e2d73afe1" providerId="ADAL" clId="{F907ACC7-C8F7-470E-B883-D49732EB787C}" dt="2024-02-20T19:32:07.371" v="7422" actId="478"/>
          <ac:picMkLst>
            <pc:docMk/>
            <pc:sldMk cId="4167430410" sldId="2147483604"/>
            <ac:picMk id="133" creationId="{78DACA17-2CC9-B624-70EE-9D3C0F4961A1}"/>
          </ac:picMkLst>
        </pc:picChg>
        <pc:picChg chg="del">
          <ac:chgData name="Hänninen, Lauri" userId="b62831d1-2046-40aa-b4b7-d67e2d73afe1" providerId="ADAL" clId="{F907ACC7-C8F7-470E-B883-D49732EB787C}" dt="2024-02-20T19:32:07.371" v="7422" actId="478"/>
          <ac:picMkLst>
            <pc:docMk/>
            <pc:sldMk cId="4167430410" sldId="2147483604"/>
            <ac:picMk id="134" creationId="{4276D648-1140-5D2A-E004-F5BADE56325F}"/>
          </ac:picMkLst>
        </pc:picChg>
        <pc:picChg chg="del">
          <ac:chgData name="Hänninen, Lauri" userId="b62831d1-2046-40aa-b4b7-d67e2d73afe1" providerId="ADAL" clId="{F907ACC7-C8F7-470E-B883-D49732EB787C}" dt="2024-02-20T19:32:07.371" v="7422" actId="478"/>
          <ac:picMkLst>
            <pc:docMk/>
            <pc:sldMk cId="4167430410" sldId="2147483604"/>
            <ac:picMk id="135" creationId="{FA2EF5FD-2BB8-439C-7E08-A0DF2A388633}"/>
          </ac:picMkLst>
        </pc:picChg>
        <pc:picChg chg="del">
          <ac:chgData name="Hänninen, Lauri" userId="b62831d1-2046-40aa-b4b7-d67e2d73afe1" providerId="ADAL" clId="{F907ACC7-C8F7-470E-B883-D49732EB787C}" dt="2024-02-20T19:32:07.371" v="7422" actId="478"/>
          <ac:picMkLst>
            <pc:docMk/>
            <pc:sldMk cId="4167430410" sldId="2147483604"/>
            <ac:picMk id="137" creationId="{BF655581-1345-42A2-8680-8BD80F35FFB3}"/>
          </ac:picMkLst>
        </pc:picChg>
        <pc:picChg chg="del">
          <ac:chgData name="Hänninen, Lauri" userId="b62831d1-2046-40aa-b4b7-d67e2d73afe1" providerId="ADAL" clId="{F907ACC7-C8F7-470E-B883-D49732EB787C}" dt="2024-02-20T19:32:07.371" v="7422" actId="478"/>
          <ac:picMkLst>
            <pc:docMk/>
            <pc:sldMk cId="4167430410" sldId="2147483604"/>
            <ac:picMk id="138" creationId="{D774C121-2351-EF65-870B-B1E848B9D483}"/>
          </ac:picMkLst>
        </pc:picChg>
        <pc:picChg chg="del">
          <ac:chgData name="Hänninen, Lauri" userId="b62831d1-2046-40aa-b4b7-d67e2d73afe1" providerId="ADAL" clId="{F907ACC7-C8F7-470E-B883-D49732EB787C}" dt="2024-02-20T19:32:07.371" v="7422" actId="478"/>
          <ac:picMkLst>
            <pc:docMk/>
            <pc:sldMk cId="4167430410" sldId="2147483604"/>
            <ac:picMk id="140" creationId="{87DB5148-1EB1-8AAB-B826-4E4A31D2546C}"/>
          </ac:picMkLst>
        </pc:picChg>
        <pc:picChg chg="del">
          <ac:chgData name="Hänninen, Lauri" userId="b62831d1-2046-40aa-b4b7-d67e2d73afe1" providerId="ADAL" clId="{F907ACC7-C8F7-470E-B883-D49732EB787C}" dt="2024-02-20T19:32:07.371" v="7422" actId="478"/>
          <ac:picMkLst>
            <pc:docMk/>
            <pc:sldMk cId="4167430410" sldId="2147483604"/>
            <ac:picMk id="141" creationId="{098E42D1-9F3A-644B-B5C2-C98B593C00CE}"/>
          </ac:picMkLst>
        </pc:picChg>
        <pc:picChg chg="del">
          <ac:chgData name="Hänninen, Lauri" userId="b62831d1-2046-40aa-b4b7-d67e2d73afe1" providerId="ADAL" clId="{F907ACC7-C8F7-470E-B883-D49732EB787C}" dt="2024-02-20T19:32:07.371" v="7422" actId="478"/>
          <ac:picMkLst>
            <pc:docMk/>
            <pc:sldMk cId="4167430410" sldId="2147483604"/>
            <ac:picMk id="142" creationId="{EA26A606-A039-4362-EDA3-D7A5586A8B06}"/>
          </ac:picMkLst>
        </pc:picChg>
        <pc:picChg chg="del">
          <ac:chgData name="Hänninen, Lauri" userId="b62831d1-2046-40aa-b4b7-d67e2d73afe1" providerId="ADAL" clId="{F907ACC7-C8F7-470E-B883-D49732EB787C}" dt="2024-02-20T19:32:07.371" v="7422" actId="478"/>
          <ac:picMkLst>
            <pc:docMk/>
            <pc:sldMk cId="4167430410" sldId="2147483604"/>
            <ac:picMk id="143" creationId="{349CAF53-C6EC-8E01-4E06-C7CE7647E693}"/>
          </ac:picMkLst>
        </pc:picChg>
        <pc:picChg chg="del">
          <ac:chgData name="Hänninen, Lauri" userId="b62831d1-2046-40aa-b4b7-d67e2d73afe1" providerId="ADAL" clId="{F907ACC7-C8F7-470E-B883-D49732EB787C}" dt="2024-02-20T19:32:07.371" v="7422" actId="478"/>
          <ac:picMkLst>
            <pc:docMk/>
            <pc:sldMk cId="4167430410" sldId="2147483604"/>
            <ac:picMk id="144" creationId="{ACC664B4-568E-C1A2-FEFA-FDA1591C5DEB}"/>
          </ac:picMkLst>
        </pc:picChg>
        <pc:cxnChg chg="del">
          <ac:chgData name="Hänninen, Lauri" userId="b62831d1-2046-40aa-b4b7-d67e2d73afe1" providerId="ADAL" clId="{F907ACC7-C8F7-470E-B883-D49732EB787C}" dt="2024-02-20T19:32:07.371" v="7422" actId="478"/>
          <ac:cxnSpMkLst>
            <pc:docMk/>
            <pc:sldMk cId="4167430410" sldId="2147483604"/>
            <ac:cxnSpMk id="16" creationId="{0D07427C-4B77-9360-B957-AD2108E3D47B}"/>
          </ac:cxnSpMkLst>
        </pc:cxnChg>
        <pc:cxnChg chg="del">
          <ac:chgData name="Hänninen, Lauri" userId="b62831d1-2046-40aa-b4b7-d67e2d73afe1" providerId="ADAL" clId="{F907ACC7-C8F7-470E-B883-D49732EB787C}" dt="2024-02-20T19:32:07.371" v="7422" actId="478"/>
          <ac:cxnSpMkLst>
            <pc:docMk/>
            <pc:sldMk cId="4167430410" sldId="2147483604"/>
            <ac:cxnSpMk id="83" creationId="{AEB09DD1-E9C9-EE28-BCE7-6FFA5EC4DEE9}"/>
          </ac:cxnSpMkLst>
        </pc:cxnChg>
        <pc:cxnChg chg="del">
          <ac:chgData name="Hänninen, Lauri" userId="b62831d1-2046-40aa-b4b7-d67e2d73afe1" providerId="ADAL" clId="{F907ACC7-C8F7-470E-B883-D49732EB787C}" dt="2024-02-20T19:32:07.371" v="7422" actId="478"/>
          <ac:cxnSpMkLst>
            <pc:docMk/>
            <pc:sldMk cId="4167430410" sldId="2147483604"/>
            <ac:cxnSpMk id="84" creationId="{5331415C-798E-794C-E5E0-84E020A8185D}"/>
          </ac:cxnSpMkLst>
        </pc:cxnChg>
        <pc:cxnChg chg="del">
          <ac:chgData name="Hänninen, Lauri" userId="b62831d1-2046-40aa-b4b7-d67e2d73afe1" providerId="ADAL" clId="{F907ACC7-C8F7-470E-B883-D49732EB787C}" dt="2024-02-20T19:32:07.371" v="7422" actId="478"/>
          <ac:cxnSpMkLst>
            <pc:docMk/>
            <pc:sldMk cId="4167430410" sldId="2147483604"/>
            <ac:cxnSpMk id="85" creationId="{6F7EBA6F-D8A3-553A-B284-DBCA3C91BF6F}"/>
          </ac:cxnSpMkLst>
        </pc:cxnChg>
        <pc:cxnChg chg="del">
          <ac:chgData name="Hänninen, Lauri" userId="b62831d1-2046-40aa-b4b7-d67e2d73afe1" providerId="ADAL" clId="{F907ACC7-C8F7-470E-B883-D49732EB787C}" dt="2024-02-20T19:32:07.371" v="7422" actId="478"/>
          <ac:cxnSpMkLst>
            <pc:docMk/>
            <pc:sldMk cId="4167430410" sldId="2147483604"/>
            <ac:cxnSpMk id="171" creationId="{EDA14F7F-4C1A-E441-20B9-C9D7020AD819}"/>
          </ac:cxnSpMkLst>
        </pc:cxnChg>
      </pc:sldChg>
      <pc:sldChg chg="modSp add del mod">
        <pc:chgData name="Hänninen, Lauri" userId="b62831d1-2046-40aa-b4b7-d67e2d73afe1" providerId="ADAL" clId="{F907ACC7-C8F7-470E-B883-D49732EB787C}" dt="2024-02-20T19:37:36.207" v="7593" actId="47"/>
        <pc:sldMkLst>
          <pc:docMk/>
          <pc:sldMk cId="972383491" sldId="2147483605"/>
        </pc:sldMkLst>
        <pc:spChg chg="mod">
          <ac:chgData name="Hänninen, Lauri" userId="b62831d1-2046-40aa-b4b7-d67e2d73afe1" providerId="ADAL" clId="{F907ACC7-C8F7-470E-B883-D49732EB787C}" dt="2024-02-20T19:32:52.847" v="7502" actId="20577"/>
          <ac:spMkLst>
            <pc:docMk/>
            <pc:sldMk cId="972383491" sldId="2147483605"/>
            <ac:spMk id="3" creationId="{AD1F2EF7-0D39-C47B-7E72-4F4D35FA39D4}"/>
          </ac:spMkLst>
        </pc:spChg>
      </pc:sldChg>
      <pc:sldChg chg="addSp delSp modSp new mod ord">
        <pc:chgData name="Hänninen, Lauri" userId="b62831d1-2046-40aa-b4b7-d67e2d73afe1" providerId="ADAL" clId="{F907ACC7-C8F7-470E-B883-D49732EB787C}" dt="2024-02-22T09:29:06.433" v="36607"/>
        <pc:sldMkLst>
          <pc:docMk/>
          <pc:sldMk cId="2791291552" sldId="2147483605"/>
        </pc:sldMkLst>
        <pc:spChg chg="mod ord">
          <ac:chgData name="Hänninen, Lauri" userId="b62831d1-2046-40aa-b4b7-d67e2d73afe1" providerId="ADAL" clId="{F907ACC7-C8F7-470E-B883-D49732EB787C}" dt="2024-02-22T09:04:25.522" v="35967"/>
          <ac:spMkLst>
            <pc:docMk/>
            <pc:sldMk cId="2791291552" sldId="2147483605"/>
            <ac:spMk id="2" creationId="{3D276EDA-45C9-60D6-7BB0-61EE15635B23}"/>
          </ac:spMkLst>
        </pc:spChg>
        <pc:spChg chg="mod ord">
          <ac:chgData name="Hänninen, Lauri" userId="b62831d1-2046-40aa-b4b7-d67e2d73afe1" providerId="ADAL" clId="{F907ACC7-C8F7-470E-B883-D49732EB787C}" dt="2024-02-22T09:04:25.522" v="35969"/>
          <ac:spMkLst>
            <pc:docMk/>
            <pc:sldMk cId="2791291552" sldId="2147483605"/>
            <ac:spMk id="3" creationId="{522AC60D-FE96-2546-F27F-FF49D8F5A326}"/>
          </ac:spMkLst>
        </pc:spChg>
        <pc:spChg chg="mod ord">
          <ac:chgData name="Hänninen, Lauri" userId="b62831d1-2046-40aa-b4b7-d67e2d73afe1" providerId="ADAL" clId="{F907ACC7-C8F7-470E-B883-D49732EB787C}" dt="2024-02-22T09:04:25.523" v="35971"/>
          <ac:spMkLst>
            <pc:docMk/>
            <pc:sldMk cId="2791291552" sldId="2147483605"/>
            <ac:spMk id="4" creationId="{7DAD173B-050D-ADC2-C16D-F8C1AF4A1564}"/>
          </ac:spMkLst>
        </pc:spChg>
        <pc:spChg chg="del">
          <ac:chgData name="Hänninen, Lauri" userId="b62831d1-2046-40aa-b4b7-d67e2d73afe1" providerId="ADAL" clId="{F907ACC7-C8F7-470E-B883-D49732EB787C}" dt="2024-02-20T20:03:59.773" v="8194" actId="478"/>
          <ac:spMkLst>
            <pc:docMk/>
            <pc:sldMk cId="2791291552" sldId="2147483605"/>
            <ac:spMk id="5" creationId="{3FA32165-173B-131F-F3F0-95A6EFFB2E58}"/>
          </ac:spMkLst>
        </pc:spChg>
        <pc:spChg chg="del">
          <ac:chgData name="Hänninen, Lauri" userId="b62831d1-2046-40aa-b4b7-d67e2d73afe1" providerId="ADAL" clId="{F907ACC7-C8F7-470E-B883-D49732EB787C}" dt="2024-02-20T20:03:57.184" v="8193" actId="478"/>
          <ac:spMkLst>
            <pc:docMk/>
            <pc:sldMk cId="2791291552" sldId="2147483605"/>
            <ac:spMk id="6" creationId="{3F5E00A9-D7BB-ED93-0569-D3EFE2791924}"/>
          </ac:spMkLst>
        </pc:spChg>
        <pc:spChg chg="del">
          <ac:chgData name="Hänninen, Lauri" userId="b62831d1-2046-40aa-b4b7-d67e2d73afe1" providerId="ADAL" clId="{F907ACC7-C8F7-470E-B883-D49732EB787C}" dt="2024-02-20T20:03:55.145" v="8192" actId="478"/>
          <ac:spMkLst>
            <pc:docMk/>
            <pc:sldMk cId="2791291552" sldId="2147483605"/>
            <ac:spMk id="7" creationId="{AB4031D2-3473-5D12-8280-2BC158BBEC47}"/>
          </ac:spMkLst>
        </pc:spChg>
        <pc:spChg chg="add mod ord">
          <ac:chgData name="Hänninen, Lauri" userId="b62831d1-2046-40aa-b4b7-d67e2d73afe1" providerId="ADAL" clId="{F907ACC7-C8F7-470E-B883-D49732EB787C}" dt="2024-02-22T09:29:06.433" v="36607"/>
          <ac:spMkLst>
            <pc:docMk/>
            <pc:sldMk cId="2791291552" sldId="2147483605"/>
            <ac:spMk id="8" creationId="{9806F401-BD29-CD8B-DF35-C83F70109977}"/>
          </ac:spMkLst>
        </pc:spChg>
        <pc:spChg chg="add mod ord">
          <ac:chgData name="Hänninen, Lauri" userId="b62831d1-2046-40aa-b4b7-d67e2d73afe1" providerId="ADAL" clId="{F907ACC7-C8F7-470E-B883-D49732EB787C}" dt="2024-02-22T09:05:35.079" v="36137" actId="1035"/>
          <ac:spMkLst>
            <pc:docMk/>
            <pc:sldMk cId="2791291552" sldId="2147483605"/>
            <ac:spMk id="10" creationId="{1F785D3F-109F-A5E1-5CBB-62E16FFAD99C}"/>
          </ac:spMkLst>
        </pc:spChg>
        <pc:spChg chg="add mod ord">
          <ac:chgData name="Hänninen, Lauri" userId="b62831d1-2046-40aa-b4b7-d67e2d73afe1" providerId="ADAL" clId="{F907ACC7-C8F7-470E-B883-D49732EB787C}" dt="2024-02-22T09:19:30.311" v="36367" actId="14100"/>
          <ac:spMkLst>
            <pc:docMk/>
            <pc:sldMk cId="2791291552" sldId="2147483605"/>
            <ac:spMk id="12" creationId="{5DE12A3F-197C-4896-AE32-E7F7F65A4FBF}"/>
          </ac:spMkLst>
        </pc:spChg>
        <pc:spChg chg="add mod">
          <ac:chgData name="Hänninen, Lauri" userId="b62831d1-2046-40aa-b4b7-d67e2d73afe1" providerId="ADAL" clId="{F907ACC7-C8F7-470E-B883-D49732EB787C}" dt="2024-02-22T09:20:28.310" v="36434" actId="113"/>
          <ac:spMkLst>
            <pc:docMk/>
            <pc:sldMk cId="2791291552" sldId="2147483605"/>
            <ac:spMk id="15" creationId="{7401882C-0FC8-C3C9-764A-50F6C6C1CD15}"/>
          </ac:spMkLst>
        </pc:spChg>
        <pc:spChg chg="add mod ord">
          <ac:chgData name="Hänninen, Lauri" userId="b62831d1-2046-40aa-b4b7-d67e2d73afe1" providerId="ADAL" clId="{F907ACC7-C8F7-470E-B883-D49732EB787C}" dt="2024-02-22T09:19:16.044" v="36365" actId="1038"/>
          <ac:spMkLst>
            <pc:docMk/>
            <pc:sldMk cId="2791291552" sldId="2147483605"/>
            <ac:spMk id="16" creationId="{3A1324D6-A7A5-F4E6-42D0-0CF65D3D8624}"/>
          </ac:spMkLst>
        </pc:spChg>
        <pc:spChg chg="add mod">
          <ac:chgData name="Hänninen, Lauri" userId="b62831d1-2046-40aa-b4b7-d67e2d73afe1" providerId="ADAL" clId="{F907ACC7-C8F7-470E-B883-D49732EB787C}" dt="2024-02-22T09:20:25.329" v="36433" actId="465"/>
          <ac:spMkLst>
            <pc:docMk/>
            <pc:sldMk cId="2791291552" sldId="2147483605"/>
            <ac:spMk id="17" creationId="{8E6D5BF3-9530-C112-DF33-12A77A6F1FE9}"/>
          </ac:spMkLst>
        </pc:spChg>
        <pc:spChg chg="add mod ord">
          <ac:chgData name="Hänninen, Lauri" userId="b62831d1-2046-40aa-b4b7-d67e2d73afe1" providerId="ADAL" clId="{F907ACC7-C8F7-470E-B883-D49732EB787C}" dt="2024-02-22T09:19:16.044" v="36365" actId="1038"/>
          <ac:spMkLst>
            <pc:docMk/>
            <pc:sldMk cId="2791291552" sldId="2147483605"/>
            <ac:spMk id="18" creationId="{1E5C105C-7FB0-FFEF-0CF3-B10F28A5C194}"/>
          </ac:spMkLst>
        </pc:spChg>
        <pc:spChg chg="add mod">
          <ac:chgData name="Hänninen, Lauri" userId="b62831d1-2046-40aa-b4b7-d67e2d73afe1" providerId="ADAL" clId="{F907ACC7-C8F7-470E-B883-D49732EB787C}" dt="2024-02-22T09:19:16.044" v="36365" actId="1038"/>
          <ac:spMkLst>
            <pc:docMk/>
            <pc:sldMk cId="2791291552" sldId="2147483605"/>
            <ac:spMk id="19" creationId="{F8DC370C-F68E-0C82-FDE1-01E2F1E46CDF}"/>
          </ac:spMkLst>
        </pc:spChg>
        <pc:spChg chg="add mod">
          <ac:chgData name="Hänninen, Lauri" userId="b62831d1-2046-40aa-b4b7-d67e2d73afe1" providerId="ADAL" clId="{F907ACC7-C8F7-470E-B883-D49732EB787C}" dt="2024-02-22T09:19:16.044" v="36365" actId="1038"/>
          <ac:spMkLst>
            <pc:docMk/>
            <pc:sldMk cId="2791291552" sldId="2147483605"/>
            <ac:spMk id="20" creationId="{CA816FF0-4593-4490-B043-75A97697C067}"/>
          </ac:spMkLst>
        </pc:spChg>
        <pc:spChg chg="add mod ord">
          <ac:chgData name="Hänninen, Lauri" userId="b62831d1-2046-40aa-b4b7-d67e2d73afe1" providerId="ADAL" clId="{F907ACC7-C8F7-470E-B883-D49732EB787C}" dt="2024-02-22T09:19:16.044" v="36365" actId="1038"/>
          <ac:spMkLst>
            <pc:docMk/>
            <pc:sldMk cId="2791291552" sldId="2147483605"/>
            <ac:spMk id="21" creationId="{AF6C42F1-0A0A-654F-B94A-A32ECBEB0AE2}"/>
          </ac:spMkLst>
        </pc:spChg>
        <pc:spChg chg="add mod">
          <ac:chgData name="Hänninen, Lauri" userId="b62831d1-2046-40aa-b4b7-d67e2d73afe1" providerId="ADAL" clId="{F907ACC7-C8F7-470E-B883-D49732EB787C}" dt="2024-02-22T09:20:33.591" v="36435" actId="113"/>
          <ac:spMkLst>
            <pc:docMk/>
            <pc:sldMk cId="2791291552" sldId="2147483605"/>
            <ac:spMk id="22" creationId="{0C68B494-FF7D-74F5-A641-619AF3387052}"/>
          </ac:spMkLst>
        </pc:spChg>
        <pc:spChg chg="add mod ord">
          <ac:chgData name="Hänninen, Lauri" userId="b62831d1-2046-40aa-b4b7-d67e2d73afe1" providerId="ADAL" clId="{F907ACC7-C8F7-470E-B883-D49732EB787C}" dt="2024-02-22T09:04:52.209" v="36086" actId="1036"/>
          <ac:spMkLst>
            <pc:docMk/>
            <pc:sldMk cId="2791291552" sldId="2147483605"/>
            <ac:spMk id="23" creationId="{752977E1-34EF-1C47-EC81-F0BC8BC4993C}"/>
          </ac:spMkLst>
        </pc:spChg>
        <pc:spChg chg="add mod ord">
          <ac:chgData name="Hänninen, Lauri" userId="b62831d1-2046-40aa-b4b7-d67e2d73afe1" providerId="ADAL" clId="{F907ACC7-C8F7-470E-B883-D49732EB787C}" dt="2024-02-22T09:05:15.910" v="36101" actId="465"/>
          <ac:spMkLst>
            <pc:docMk/>
            <pc:sldMk cId="2791291552" sldId="2147483605"/>
            <ac:spMk id="24" creationId="{FD32732E-BA07-A446-1F8B-49A27F0D7E71}"/>
          </ac:spMkLst>
        </pc:spChg>
        <pc:spChg chg="add mod ord">
          <ac:chgData name="Hänninen, Lauri" userId="b62831d1-2046-40aa-b4b7-d67e2d73afe1" providerId="ADAL" clId="{F907ACC7-C8F7-470E-B883-D49732EB787C}" dt="2024-02-22T09:05:15.910" v="36101" actId="465"/>
          <ac:spMkLst>
            <pc:docMk/>
            <pc:sldMk cId="2791291552" sldId="2147483605"/>
            <ac:spMk id="25" creationId="{6E6A7902-B5ED-7879-2904-2F4F7B823878}"/>
          </ac:spMkLst>
        </pc:spChg>
        <pc:spChg chg="add mod ord">
          <ac:chgData name="Hänninen, Lauri" userId="b62831d1-2046-40aa-b4b7-d67e2d73afe1" providerId="ADAL" clId="{F907ACC7-C8F7-470E-B883-D49732EB787C}" dt="2024-02-22T09:05:15.910" v="36101" actId="465"/>
          <ac:spMkLst>
            <pc:docMk/>
            <pc:sldMk cId="2791291552" sldId="2147483605"/>
            <ac:spMk id="26" creationId="{1C423085-878A-BE2C-534A-3E5DE531065F}"/>
          </ac:spMkLst>
        </pc:spChg>
        <pc:spChg chg="add mod ord">
          <ac:chgData name="Hänninen, Lauri" userId="b62831d1-2046-40aa-b4b7-d67e2d73afe1" providerId="ADAL" clId="{F907ACC7-C8F7-470E-B883-D49732EB787C}" dt="2024-02-22T09:05:05.300" v="36097"/>
          <ac:spMkLst>
            <pc:docMk/>
            <pc:sldMk cId="2791291552" sldId="2147483605"/>
            <ac:spMk id="27" creationId="{11F9DEA9-0AE1-B1EC-9C00-B9CE096FF815}"/>
          </ac:spMkLst>
        </pc:spChg>
        <pc:spChg chg="add mod ord">
          <ac:chgData name="Hänninen, Lauri" userId="b62831d1-2046-40aa-b4b7-d67e2d73afe1" providerId="ADAL" clId="{F907ACC7-C8F7-470E-B883-D49732EB787C}" dt="2024-02-22T09:05:12.945" v="36100" actId="465"/>
          <ac:spMkLst>
            <pc:docMk/>
            <pc:sldMk cId="2791291552" sldId="2147483605"/>
            <ac:spMk id="28" creationId="{38E12450-6CCA-A3A6-1CAD-9A2D37F20E34}"/>
          </ac:spMkLst>
        </pc:spChg>
        <pc:spChg chg="add mod ord">
          <ac:chgData name="Hänninen, Lauri" userId="b62831d1-2046-40aa-b4b7-d67e2d73afe1" providerId="ADAL" clId="{F907ACC7-C8F7-470E-B883-D49732EB787C}" dt="2024-02-22T09:05:12.945" v="36100" actId="465"/>
          <ac:spMkLst>
            <pc:docMk/>
            <pc:sldMk cId="2791291552" sldId="2147483605"/>
            <ac:spMk id="29" creationId="{D45E247E-9A6C-3DE7-72EF-1D070D368BDD}"/>
          </ac:spMkLst>
        </pc:spChg>
        <pc:spChg chg="add mod ord">
          <ac:chgData name="Hänninen, Lauri" userId="b62831d1-2046-40aa-b4b7-d67e2d73afe1" providerId="ADAL" clId="{F907ACC7-C8F7-470E-B883-D49732EB787C}" dt="2024-02-22T09:05:12.945" v="36100" actId="465"/>
          <ac:spMkLst>
            <pc:docMk/>
            <pc:sldMk cId="2791291552" sldId="2147483605"/>
            <ac:spMk id="30" creationId="{7BF34145-C6C4-065E-C019-78A220F9EAA2}"/>
          </ac:spMkLst>
        </pc:spChg>
        <pc:spChg chg="add mod ord">
          <ac:chgData name="Hänninen, Lauri" userId="b62831d1-2046-40aa-b4b7-d67e2d73afe1" providerId="ADAL" clId="{F907ACC7-C8F7-470E-B883-D49732EB787C}" dt="2024-02-22T09:05:05.303" v="36099"/>
          <ac:spMkLst>
            <pc:docMk/>
            <pc:sldMk cId="2791291552" sldId="2147483605"/>
            <ac:spMk id="31" creationId="{AACA09E4-06E1-74BF-8C5D-7B8B4C5E34DA}"/>
          </ac:spMkLst>
        </pc:spChg>
        <pc:spChg chg="add mod ord">
          <ac:chgData name="Hänninen, Lauri" userId="b62831d1-2046-40aa-b4b7-d67e2d73afe1" providerId="ADAL" clId="{F907ACC7-C8F7-470E-B883-D49732EB787C}" dt="2024-02-22T09:04:52.209" v="36086" actId="1036"/>
          <ac:spMkLst>
            <pc:docMk/>
            <pc:sldMk cId="2791291552" sldId="2147483605"/>
            <ac:spMk id="32" creationId="{36316487-72CB-EE66-7730-E094E070DF52}"/>
          </ac:spMkLst>
        </pc:spChg>
        <pc:spChg chg="add mod ord">
          <ac:chgData name="Hänninen, Lauri" userId="b62831d1-2046-40aa-b4b7-d67e2d73afe1" providerId="ADAL" clId="{F907ACC7-C8F7-470E-B883-D49732EB787C}" dt="2024-02-22T09:04:59.972" v="36091"/>
          <ac:spMkLst>
            <pc:docMk/>
            <pc:sldMk cId="2791291552" sldId="2147483605"/>
            <ac:spMk id="33" creationId="{27E1480E-F722-C391-9DFF-CAA22A8F59F9}"/>
          </ac:spMkLst>
        </pc:spChg>
        <pc:spChg chg="add mod ord">
          <ac:chgData name="Hänninen, Lauri" userId="b62831d1-2046-40aa-b4b7-d67e2d73afe1" providerId="ADAL" clId="{F907ACC7-C8F7-470E-B883-D49732EB787C}" dt="2024-02-22T09:04:59.972" v="36093"/>
          <ac:spMkLst>
            <pc:docMk/>
            <pc:sldMk cId="2791291552" sldId="2147483605"/>
            <ac:spMk id="34" creationId="{C1E80E5D-16CF-4E90-DC49-CA194E023031}"/>
          </ac:spMkLst>
        </pc:spChg>
        <pc:spChg chg="add mod ord">
          <ac:chgData name="Hänninen, Lauri" userId="b62831d1-2046-40aa-b4b7-d67e2d73afe1" providerId="ADAL" clId="{F907ACC7-C8F7-470E-B883-D49732EB787C}" dt="2024-02-22T09:04:59.973" v="36095"/>
          <ac:spMkLst>
            <pc:docMk/>
            <pc:sldMk cId="2791291552" sldId="2147483605"/>
            <ac:spMk id="35" creationId="{ED1469CC-CEDF-0F51-174A-16056B67A8B2}"/>
          </ac:spMkLst>
        </pc:spChg>
        <pc:spChg chg="add mod ord">
          <ac:chgData name="Hänninen, Lauri" userId="b62831d1-2046-40aa-b4b7-d67e2d73afe1" providerId="ADAL" clId="{F907ACC7-C8F7-470E-B883-D49732EB787C}" dt="2024-02-22T09:04:46.410" v="36075"/>
          <ac:spMkLst>
            <pc:docMk/>
            <pc:sldMk cId="2791291552" sldId="2147483605"/>
            <ac:spMk id="36" creationId="{F95ACB3C-C490-7AC3-F728-F51C6A035A48}"/>
          </ac:spMkLst>
        </pc:spChg>
        <pc:spChg chg="add mod ord">
          <ac:chgData name="Hänninen, Lauri" userId="b62831d1-2046-40aa-b4b7-d67e2d73afe1" providerId="ADAL" clId="{F907ACC7-C8F7-470E-B883-D49732EB787C}" dt="2024-02-22T09:04:59.970" v="36089"/>
          <ac:spMkLst>
            <pc:docMk/>
            <pc:sldMk cId="2791291552" sldId="2147483605"/>
            <ac:spMk id="37" creationId="{728421F0-E587-F7F2-9ADE-C8EA4211A239}"/>
          </ac:spMkLst>
        </pc:spChg>
        <pc:spChg chg="add mod ord topLvl">
          <ac:chgData name="Hänninen, Lauri" userId="b62831d1-2046-40aa-b4b7-d67e2d73afe1" providerId="ADAL" clId="{F907ACC7-C8F7-470E-B883-D49732EB787C}" dt="2024-02-22T09:04:25.538" v="36023"/>
          <ac:spMkLst>
            <pc:docMk/>
            <pc:sldMk cId="2791291552" sldId="2147483605"/>
            <ac:spMk id="38" creationId="{AF4C27CD-192E-813A-48DC-F3E793A828BA}"/>
          </ac:spMkLst>
        </pc:spChg>
        <pc:spChg chg="add mod ord topLvl">
          <ac:chgData name="Hänninen, Lauri" userId="b62831d1-2046-40aa-b4b7-d67e2d73afe1" providerId="ADAL" clId="{F907ACC7-C8F7-470E-B883-D49732EB787C}" dt="2024-02-22T09:04:25.539" v="36025"/>
          <ac:spMkLst>
            <pc:docMk/>
            <pc:sldMk cId="2791291552" sldId="2147483605"/>
            <ac:spMk id="39" creationId="{01032468-CFDE-00B2-11EB-9BF3DC3CDB53}"/>
          </ac:spMkLst>
        </pc:spChg>
        <pc:spChg chg="add mod ord topLvl">
          <ac:chgData name="Hänninen, Lauri" userId="b62831d1-2046-40aa-b4b7-d67e2d73afe1" providerId="ADAL" clId="{F907ACC7-C8F7-470E-B883-D49732EB787C}" dt="2024-02-22T09:04:25.540" v="36027"/>
          <ac:spMkLst>
            <pc:docMk/>
            <pc:sldMk cId="2791291552" sldId="2147483605"/>
            <ac:spMk id="40" creationId="{413E66E8-263C-DDBF-6E0C-4F4ACA7E5255}"/>
          </ac:spMkLst>
        </pc:spChg>
        <pc:spChg chg="add mod ord topLvl">
          <ac:chgData name="Hänninen, Lauri" userId="b62831d1-2046-40aa-b4b7-d67e2d73afe1" providerId="ADAL" clId="{F907ACC7-C8F7-470E-B883-D49732EB787C}" dt="2024-02-22T09:04:25.542" v="36029"/>
          <ac:spMkLst>
            <pc:docMk/>
            <pc:sldMk cId="2791291552" sldId="2147483605"/>
            <ac:spMk id="41" creationId="{8836F41A-9C45-B99F-841D-0F0C00A919BA}"/>
          </ac:spMkLst>
        </pc:spChg>
        <pc:spChg chg="add mod ord topLvl">
          <ac:chgData name="Hänninen, Lauri" userId="b62831d1-2046-40aa-b4b7-d67e2d73afe1" providerId="ADAL" clId="{F907ACC7-C8F7-470E-B883-D49732EB787C}" dt="2024-02-22T09:04:25.542" v="36031"/>
          <ac:spMkLst>
            <pc:docMk/>
            <pc:sldMk cId="2791291552" sldId="2147483605"/>
            <ac:spMk id="42" creationId="{870C4CD2-0373-CF14-C4DA-525816A6211E}"/>
          </ac:spMkLst>
        </pc:spChg>
        <pc:spChg chg="add mod ord topLvl">
          <ac:chgData name="Hänninen, Lauri" userId="b62831d1-2046-40aa-b4b7-d67e2d73afe1" providerId="ADAL" clId="{F907ACC7-C8F7-470E-B883-D49732EB787C}" dt="2024-02-22T09:04:25.543" v="36033"/>
          <ac:spMkLst>
            <pc:docMk/>
            <pc:sldMk cId="2791291552" sldId="2147483605"/>
            <ac:spMk id="43" creationId="{98EB1A6E-A021-7AE6-EA6F-2FBF402E5A36}"/>
          </ac:spMkLst>
        </pc:spChg>
        <pc:spChg chg="add mod ord topLvl">
          <ac:chgData name="Hänninen, Lauri" userId="b62831d1-2046-40aa-b4b7-d67e2d73afe1" providerId="ADAL" clId="{F907ACC7-C8F7-470E-B883-D49732EB787C}" dt="2024-02-22T09:04:25.543" v="36035"/>
          <ac:spMkLst>
            <pc:docMk/>
            <pc:sldMk cId="2791291552" sldId="2147483605"/>
            <ac:spMk id="44" creationId="{86341E98-075E-F6EF-8D70-083638FB5ECD}"/>
          </ac:spMkLst>
        </pc:spChg>
        <pc:spChg chg="add mod ord topLvl">
          <ac:chgData name="Hänninen, Lauri" userId="b62831d1-2046-40aa-b4b7-d67e2d73afe1" providerId="ADAL" clId="{F907ACC7-C8F7-470E-B883-D49732EB787C}" dt="2024-02-22T09:04:25.544" v="36037"/>
          <ac:spMkLst>
            <pc:docMk/>
            <pc:sldMk cId="2791291552" sldId="2147483605"/>
            <ac:spMk id="45" creationId="{47E64E72-2E93-DAEA-680B-850F96E5612F}"/>
          </ac:spMkLst>
        </pc:spChg>
        <pc:spChg chg="add mod ord topLvl">
          <ac:chgData name="Hänninen, Lauri" userId="b62831d1-2046-40aa-b4b7-d67e2d73afe1" providerId="ADAL" clId="{F907ACC7-C8F7-470E-B883-D49732EB787C}" dt="2024-02-22T09:04:25.544" v="36039"/>
          <ac:spMkLst>
            <pc:docMk/>
            <pc:sldMk cId="2791291552" sldId="2147483605"/>
            <ac:spMk id="46" creationId="{E0C8F4D1-BF6A-AE86-B603-A97171603F63}"/>
          </ac:spMkLst>
        </pc:spChg>
        <pc:spChg chg="add mod ord topLvl">
          <ac:chgData name="Hänninen, Lauri" userId="b62831d1-2046-40aa-b4b7-d67e2d73afe1" providerId="ADAL" clId="{F907ACC7-C8F7-470E-B883-D49732EB787C}" dt="2024-02-22T09:04:25.544" v="36041"/>
          <ac:spMkLst>
            <pc:docMk/>
            <pc:sldMk cId="2791291552" sldId="2147483605"/>
            <ac:spMk id="47" creationId="{67C14584-D255-2353-AE8E-B5BE82BE5CD6}"/>
          </ac:spMkLst>
        </pc:spChg>
        <pc:spChg chg="add mod ord topLvl">
          <ac:chgData name="Hänninen, Lauri" userId="b62831d1-2046-40aa-b4b7-d67e2d73afe1" providerId="ADAL" clId="{F907ACC7-C8F7-470E-B883-D49732EB787C}" dt="2024-02-22T09:04:25.545" v="36043"/>
          <ac:spMkLst>
            <pc:docMk/>
            <pc:sldMk cId="2791291552" sldId="2147483605"/>
            <ac:spMk id="48" creationId="{AE71FF3B-A6A3-A358-A012-A70511E4B77B}"/>
          </ac:spMkLst>
        </pc:spChg>
        <pc:spChg chg="add mod ord topLvl">
          <ac:chgData name="Hänninen, Lauri" userId="b62831d1-2046-40aa-b4b7-d67e2d73afe1" providerId="ADAL" clId="{F907ACC7-C8F7-470E-B883-D49732EB787C}" dt="2024-02-22T09:04:25.545" v="36045"/>
          <ac:spMkLst>
            <pc:docMk/>
            <pc:sldMk cId="2791291552" sldId="2147483605"/>
            <ac:spMk id="49" creationId="{A2011173-4073-1364-AB99-9C1F71630D89}"/>
          </ac:spMkLst>
        </pc:spChg>
        <pc:spChg chg="add mod ord topLvl">
          <ac:chgData name="Hänninen, Lauri" userId="b62831d1-2046-40aa-b4b7-d67e2d73afe1" providerId="ADAL" clId="{F907ACC7-C8F7-470E-B883-D49732EB787C}" dt="2024-02-22T09:04:25.546" v="36047"/>
          <ac:spMkLst>
            <pc:docMk/>
            <pc:sldMk cId="2791291552" sldId="2147483605"/>
            <ac:spMk id="50" creationId="{0648BAF4-8FFF-2ABB-24C2-ACDC3CDA9E9B}"/>
          </ac:spMkLst>
        </pc:spChg>
        <pc:spChg chg="add mod ord topLvl">
          <ac:chgData name="Hänninen, Lauri" userId="b62831d1-2046-40aa-b4b7-d67e2d73afe1" providerId="ADAL" clId="{F907ACC7-C8F7-470E-B883-D49732EB787C}" dt="2024-02-22T09:04:25.546" v="36049"/>
          <ac:spMkLst>
            <pc:docMk/>
            <pc:sldMk cId="2791291552" sldId="2147483605"/>
            <ac:spMk id="51" creationId="{91C02490-4429-2FDB-0C02-29CBD6ABFB9A}"/>
          </ac:spMkLst>
        </pc:spChg>
        <pc:spChg chg="add mod ord topLvl">
          <ac:chgData name="Hänninen, Lauri" userId="b62831d1-2046-40aa-b4b7-d67e2d73afe1" providerId="ADAL" clId="{F907ACC7-C8F7-470E-B883-D49732EB787C}" dt="2024-02-22T09:04:25.546" v="36051"/>
          <ac:spMkLst>
            <pc:docMk/>
            <pc:sldMk cId="2791291552" sldId="2147483605"/>
            <ac:spMk id="52" creationId="{8BB4BDC5-CDF1-9FC1-CA83-8BC8F0553DD6}"/>
          </ac:spMkLst>
        </pc:spChg>
        <pc:spChg chg="add mod">
          <ac:chgData name="Hänninen, Lauri" userId="b62831d1-2046-40aa-b4b7-d67e2d73afe1" providerId="ADAL" clId="{F907ACC7-C8F7-470E-B883-D49732EB787C}" dt="2024-02-22T09:05:45.859" v="36163"/>
          <ac:spMkLst>
            <pc:docMk/>
            <pc:sldMk cId="2791291552" sldId="2147483605"/>
            <ac:spMk id="53" creationId="{E52486E8-3A13-5DE8-61E9-9ED900BA5D4E}"/>
          </ac:spMkLst>
        </pc:spChg>
        <pc:spChg chg="add mod">
          <ac:chgData name="Hänninen, Lauri" userId="b62831d1-2046-40aa-b4b7-d67e2d73afe1" providerId="ADAL" clId="{F907ACC7-C8F7-470E-B883-D49732EB787C}" dt="2024-02-22T09:05:42.217" v="36161" actId="1036"/>
          <ac:spMkLst>
            <pc:docMk/>
            <pc:sldMk cId="2791291552" sldId="2147483605"/>
            <ac:spMk id="54" creationId="{488FCF46-7EE0-68A5-7F7A-BB5340A048FD}"/>
          </ac:spMkLst>
        </pc:spChg>
        <pc:spChg chg="add mod">
          <ac:chgData name="Hänninen, Lauri" userId="b62831d1-2046-40aa-b4b7-d67e2d73afe1" providerId="ADAL" clId="{F907ACC7-C8F7-470E-B883-D49732EB787C}" dt="2024-02-22T09:05:45.856" v="36162"/>
          <ac:spMkLst>
            <pc:docMk/>
            <pc:sldMk cId="2791291552" sldId="2147483605"/>
            <ac:spMk id="55" creationId="{D6BF1236-7915-54E0-7C33-929D0379B7DB}"/>
          </ac:spMkLst>
        </pc:spChg>
        <pc:spChg chg="add del mod">
          <ac:chgData name="Hänninen, Lauri" userId="b62831d1-2046-40aa-b4b7-d67e2d73afe1" providerId="ADAL" clId="{F907ACC7-C8F7-470E-B883-D49732EB787C}" dt="2024-02-22T08:50:36.540" v="33321" actId="478"/>
          <ac:spMkLst>
            <pc:docMk/>
            <pc:sldMk cId="2791291552" sldId="2147483605"/>
            <ac:spMk id="60" creationId="{E1B0CAE8-DEC4-5C4E-1599-FE4D3AACC931}"/>
          </ac:spMkLst>
        </pc:spChg>
        <pc:spChg chg="add del mod">
          <ac:chgData name="Hänninen, Lauri" userId="b62831d1-2046-40aa-b4b7-d67e2d73afe1" providerId="ADAL" clId="{F907ACC7-C8F7-470E-B883-D49732EB787C}" dt="2024-02-22T09:21:06.414" v="36441" actId="21"/>
          <ac:spMkLst>
            <pc:docMk/>
            <pc:sldMk cId="2791291552" sldId="2147483605"/>
            <ac:spMk id="88" creationId="{675C0C0F-2412-0EE1-904E-26F79553ECB0}"/>
          </ac:spMkLst>
        </pc:spChg>
        <pc:grpChg chg="add del mod ord">
          <ac:chgData name="Hänninen, Lauri" userId="b62831d1-2046-40aa-b4b7-d67e2d73afe1" providerId="ADAL" clId="{F907ACC7-C8F7-470E-B883-D49732EB787C}" dt="2024-02-22T09:03:47.881" v="35298" actId="165"/>
          <ac:grpSpMkLst>
            <pc:docMk/>
            <pc:sldMk cId="2791291552" sldId="2147483605"/>
            <ac:grpSpMk id="14" creationId="{927AFC28-5047-17D5-ADDC-8F88F2CEC7DB}"/>
          </ac:grpSpMkLst>
        </pc:grpChg>
        <pc:grpChg chg="add del mod ord">
          <ac:chgData name="Hänninen, Lauri" userId="b62831d1-2046-40aa-b4b7-d67e2d73afe1" providerId="ADAL" clId="{F907ACC7-C8F7-470E-B883-D49732EB787C}" dt="2024-02-22T09:03:47.881" v="35298" actId="165"/>
          <ac:grpSpMkLst>
            <pc:docMk/>
            <pc:sldMk cId="2791291552" sldId="2147483605"/>
            <ac:grpSpMk id="56" creationId="{B9770B88-2B29-3351-E2F2-79D47902EC7C}"/>
          </ac:grpSpMkLst>
        </pc:grpChg>
        <pc:grpChg chg="add del mod ord">
          <ac:chgData name="Hänninen, Lauri" userId="b62831d1-2046-40aa-b4b7-d67e2d73afe1" providerId="ADAL" clId="{F907ACC7-C8F7-470E-B883-D49732EB787C}" dt="2024-02-22T09:03:44.703" v="35297" actId="165"/>
          <ac:grpSpMkLst>
            <pc:docMk/>
            <pc:sldMk cId="2791291552" sldId="2147483605"/>
            <ac:grpSpMk id="58" creationId="{30C53949-25BF-9EC7-BAA2-3DCF528308A8}"/>
          </ac:grpSpMkLst>
        </pc:grpChg>
        <pc:graphicFrameChg chg="add del mod replST">
          <ac:chgData name="Hänninen, Lauri" userId="b62831d1-2046-40aa-b4b7-d67e2d73afe1" providerId="ADAL" clId="{F907ACC7-C8F7-470E-B883-D49732EB787C}" dt="2024-02-22T08:52:14.592" v="33454"/>
          <ac:graphicFrameMkLst>
            <pc:docMk/>
            <pc:sldMk cId="2791291552" sldId="2147483605"/>
            <ac:graphicFrameMk id="5" creationId="{4954F9D7-7A61-C3BE-E0CE-CBE1CB902A18}"/>
          </ac:graphicFrameMkLst>
        </pc:graphicFrameChg>
        <pc:graphicFrameChg chg="add del mod replST">
          <ac:chgData name="Hänninen, Lauri" userId="b62831d1-2046-40aa-b4b7-d67e2d73afe1" providerId="ADAL" clId="{F907ACC7-C8F7-470E-B883-D49732EB787C}" dt="2024-02-22T08:56:07.368" v="33726"/>
          <ac:graphicFrameMkLst>
            <pc:docMk/>
            <pc:sldMk cId="2791291552" sldId="2147483605"/>
            <ac:graphicFrameMk id="6" creationId="{60CF390B-6915-9582-BF74-B61B11B86CE0}"/>
          </ac:graphicFrameMkLst>
        </pc:graphicFrameChg>
        <pc:graphicFrameChg chg="add mod ord modGraphic">
          <ac:chgData name="Hänninen, Lauri" userId="b62831d1-2046-40aa-b4b7-d67e2d73afe1" providerId="ADAL" clId="{F907ACC7-C8F7-470E-B883-D49732EB787C}" dt="2024-02-22T09:19:08.346" v="36336"/>
          <ac:graphicFrameMkLst>
            <pc:docMk/>
            <pc:sldMk cId="2791291552" sldId="2147483605"/>
            <ac:graphicFrameMk id="9" creationId="{8DED4956-6027-EA3D-52B0-1344BC7B73FE}"/>
          </ac:graphicFrameMkLst>
        </pc:graphicFrameChg>
        <pc:graphicFrameChg chg="add del mod replST">
          <ac:chgData name="Hänninen, Lauri" userId="b62831d1-2046-40aa-b4b7-d67e2d73afe1" providerId="ADAL" clId="{F907ACC7-C8F7-470E-B883-D49732EB787C}" dt="2024-02-20T20:05:11.962" v="8258"/>
          <ac:graphicFrameMkLst>
            <pc:docMk/>
            <pc:sldMk cId="2791291552" sldId="2147483605"/>
            <ac:graphicFrameMk id="14" creationId="{3530189A-1037-32AB-0D5B-E33BE2801E99}"/>
          </ac:graphicFrameMkLst>
        </pc:graphicFrameChg>
        <pc:graphicFrameChg chg="add del mod replST">
          <ac:chgData name="Hänninen, Lauri" userId="b62831d1-2046-40aa-b4b7-d67e2d73afe1" providerId="ADAL" clId="{F907ACC7-C8F7-470E-B883-D49732EB787C}" dt="2024-02-20T20:05:19.147" v="8417"/>
          <ac:graphicFrameMkLst>
            <pc:docMk/>
            <pc:sldMk cId="2791291552" sldId="2147483605"/>
            <ac:graphicFrameMk id="56" creationId="{D1AF64BC-10C1-973E-BDBE-D041037EF98C}"/>
          </ac:graphicFrameMkLst>
        </pc:graphicFrameChg>
        <pc:graphicFrameChg chg="add mod ord modVis replST">
          <ac:chgData name="Hänninen, Lauri" userId="b62831d1-2046-40aa-b4b7-d67e2d73afe1" providerId="ADAL" clId="{F907ACC7-C8F7-470E-B883-D49732EB787C}" dt="2024-02-22T09:04:25.557" v="36062"/>
          <ac:graphicFrameMkLst>
            <pc:docMk/>
            <pc:sldMk cId="2791291552" sldId="2147483605"/>
            <ac:graphicFrameMk id="57" creationId="{745B1105-B840-B99A-7C1D-6569D6060CCD}"/>
          </ac:graphicFrameMkLst>
        </pc:graphicFrameChg>
        <pc:graphicFrameChg chg="add del mod replST">
          <ac:chgData name="Hänninen, Lauri" userId="b62831d1-2046-40aa-b4b7-d67e2d73afe1" providerId="ADAL" clId="{F907ACC7-C8F7-470E-B883-D49732EB787C}" dt="2024-02-20T20:05:19.874" v="8775"/>
          <ac:graphicFrameMkLst>
            <pc:docMk/>
            <pc:sldMk cId="2791291552" sldId="2147483605"/>
            <ac:graphicFrameMk id="58" creationId="{961FE0B7-4942-AA35-8571-F0365058162D}"/>
          </ac:graphicFrameMkLst>
        </pc:graphicFrameChg>
        <pc:graphicFrameChg chg="add del mod replST">
          <ac:chgData name="Hänninen, Lauri" userId="b62831d1-2046-40aa-b4b7-d67e2d73afe1" providerId="ADAL" clId="{F907ACC7-C8F7-470E-B883-D49732EB787C}" dt="2024-02-22T08:51:37.957" v="33346"/>
          <ac:graphicFrameMkLst>
            <pc:docMk/>
            <pc:sldMk cId="2791291552" sldId="2147483605"/>
            <ac:graphicFrameMk id="59" creationId="{9F9FB9EC-F560-E3F8-82F6-790D4B2D6886}"/>
          </ac:graphicFrameMkLst>
        </pc:graphicFrameChg>
        <pc:graphicFrameChg chg="add del mod replST">
          <ac:chgData name="Hänninen, Lauri" userId="b62831d1-2046-40aa-b4b7-d67e2d73afe1" providerId="ADAL" clId="{F907ACC7-C8F7-470E-B883-D49732EB787C}" dt="2024-02-22T08:56:09.222" v="33807"/>
          <ac:graphicFrameMkLst>
            <pc:docMk/>
            <pc:sldMk cId="2791291552" sldId="2147483605"/>
            <ac:graphicFrameMk id="61" creationId="{5C04AC9F-3EEC-9D60-C845-3ED1280ABF1C}"/>
          </ac:graphicFrameMkLst>
        </pc:graphicFrameChg>
        <pc:graphicFrameChg chg="add del mod replST">
          <ac:chgData name="Hänninen, Lauri" userId="b62831d1-2046-40aa-b4b7-d67e2d73afe1" providerId="ADAL" clId="{F907ACC7-C8F7-470E-B883-D49732EB787C}" dt="2024-02-22T08:56:10.376" v="33888"/>
          <ac:graphicFrameMkLst>
            <pc:docMk/>
            <pc:sldMk cId="2791291552" sldId="2147483605"/>
            <ac:graphicFrameMk id="62" creationId="{FF3B4CD2-C383-CDB7-BE42-907DF34E53DA}"/>
          </ac:graphicFrameMkLst>
        </pc:graphicFrameChg>
        <pc:graphicFrameChg chg="add del mod replST">
          <ac:chgData name="Hänninen, Lauri" userId="b62831d1-2046-40aa-b4b7-d67e2d73afe1" providerId="ADAL" clId="{F907ACC7-C8F7-470E-B883-D49732EB787C}" dt="2024-02-22T08:56:13.827" v="33969"/>
          <ac:graphicFrameMkLst>
            <pc:docMk/>
            <pc:sldMk cId="2791291552" sldId="2147483605"/>
            <ac:graphicFrameMk id="63" creationId="{48F02727-861F-0731-4C11-E4CEB23F7CBB}"/>
          </ac:graphicFrameMkLst>
        </pc:graphicFrameChg>
        <pc:graphicFrameChg chg="add del mod replST">
          <ac:chgData name="Hänninen, Lauri" userId="b62831d1-2046-40aa-b4b7-d67e2d73afe1" providerId="ADAL" clId="{F907ACC7-C8F7-470E-B883-D49732EB787C}" dt="2024-02-22T08:56:15.323" v="34050"/>
          <ac:graphicFrameMkLst>
            <pc:docMk/>
            <pc:sldMk cId="2791291552" sldId="2147483605"/>
            <ac:graphicFrameMk id="64" creationId="{B8C6C398-94B9-3118-0EF7-6A009425C6D7}"/>
          </ac:graphicFrameMkLst>
        </pc:graphicFrameChg>
        <pc:graphicFrameChg chg="add del mod replST">
          <ac:chgData name="Hänninen, Lauri" userId="b62831d1-2046-40aa-b4b7-d67e2d73afe1" providerId="ADAL" clId="{F907ACC7-C8F7-470E-B883-D49732EB787C}" dt="2024-02-22T08:56:16.892" v="34131"/>
          <ac:graphicFrameMkLst>
            <pc:docMk/>
            <pc:sldMk cId="2791291552" sldId="2147483605"/>
            <ac:graphicFrameMk id="65" creationId="{DED0C36F-170F-046F-71BE-35E94AFC1907}"/>
          </ac:graphicFrameMkLst>
        </pc:graphicFrameChg>
        <pc:graphicFrameChg chg="add del mod replST">
          <ac:chgData name="Hänninen, Lauri" userId="b62831d1-2046-40aa-b4b7-d67e2d73afe1" providerId="ADAL" clId="{F907ACC7-C8F7-470E-B883-D49732EB787C}" dt="2024-02-22T08:56:18.366" v="34212"/>
          <ac:graphicFrameMkLst>
            <pc:docMk/>
            <pc:sldMk cId="2791291552" sldId="2147483605"/>
            <ac:graphicFrameMk id="66" creationId="{6570D929-D60B-31D2-DD0D-5CCA3BDCE724}"/>
          </ac:graphicFrameMkLst>
        </pc:graphicFrameChg>
        <pc:graphicFrameChg chg="add del mod replST">
          <ac:chgData name="Hänninen, Lauri" userId="b62831d1-2046-40aa-b4b7-d67e2d73afe1" providerId="ADAL" clId="{F907ACC7-C8F7-470E-B883-D49732EB787C}" dt="2024-02-22T08:56:26.508" v="34293"/>
          <ac:graphicFrameMkLst>
            <pc:docMk/>
            <pc:sldMk cId="2791291552" sldId="2147483605"/>
            <ac:graphicFrameMk id="67" creationId="{6CA74F8E-A107-5645-DB34-C725AEE1EC66}"/>
          </ac:graphicFrameMkLst>
        </pc:graphicFrameChg>
        <pc:graphicFrameChg chg="add del mod replST">
          <ac:chgData name="Hänninen, Lauri" userId="b62831d1-2046-40aa-b4b7-d67e2d73afe1" providerId="ADAL" clId="{F907ACC7-C8F7-470E-B883-D49732EB787C}" dt="2024-02-22T08:56:27.738" v="34374"/>
          <ac:graphicFrameMkLst>
            <pc:docMk/>
            <pc:sldMk cId="2791291552" sldId="2147483605"/>
            <ac:graphicFrameMk id="68" creationId="{B925E8BD-807A-F09E-5B50-8246BFBFB336}"/>
          </ac:graphicFrameMkLst>
        </pc:graphicFrameChg>
        <pc:graphicFrameChg chg="add del mod replST">
          <ac:chgData name="Hänninen, Lauri" userId="b62831d1-2046-40aa-b4b7-d67e2d73afe1" providerId="ADAL" clId="{F907ACC7-C8F7-470E-B883-D49732EB787C}" dt="2024-02-22T08:56:29.569" v="34455"/>
          <ac:graphicFrameMkLst>
            <pc:docMk/>
            <pc:sldMk cId="2791291552" sldId="2147483605"/>
            <ac:graphicFrameMk id="69" creationId="{D9D7A2BA-7D2F-C653-7018-81237E58B323}"/>
          </ac:graphicFrameMkLst>
        </pc:graphicFrameChg>
        <pc:graphicFrameChg chg="add del mod replST">
          <ac:chgData name="Hänninen, Lauri" userId="b62831d1-2046-40aa-b4b7-d67e2d73afe1" providerId="ADAL" clId="{F907ACC7-C8F7-470E-B883-D49732EB787C}" dt="2024-02-22T08:56:35.634" v="34536"/>
          <ac:graphicFrameMkLst>
            <pc:docMk/>
            <pc:sldMk cId="2791291552" sldId="2147483605"/>
            <ac:graphicFrameMk id="70" creationId="{E6396F0F-58DE-C153-1F5A-2D9065BD54DF}"/>
          </ac:graphicFrameMkLst>
        </pc:graphicFrameChg>
        <pc:graphicFrameChg chg="add del mod replST">
          <ac:chgData name="Hänninen, Lauri" userId="b62831d1-2046-40aa-b4b7-d67e2d73afe1" providerId="ADAL" clId="{F907ACC7-C8F7-470E-B883-D49732EB787C}" dt="2024-02-22T09:01:01.331" v="34768"/>
          <ac:graphicFrameMkLst>
            <pc:docMk/>
            <pc:sldMk cId="2791291552" sldId="2147483605"/>
            <ac:graphicFrameMk id="71" creationId="{6FC49BCD-1971-22E9-F66F-073939491FBC}"/>
          </ac:graphicFrameMkLst>
        </pc:graphicFrameChg>
        <pc:graphicFrameChg chg="add del mod replST">
          <ac:chgData name="Hänninen, Lauri" userId="b62831d1-2046-40aa-b4b7-d67e2d73afe1" providerId="ADAL" clId="{F907ACC7-C8F7-470E-B883-D49732EB787C}" dt="2024-02-22T09:01:03.042" v="34849"/>
          <ac:graphicFrameMkLst>
            <pc:docMk/>
            <pc:sldMk cId="2791291552" sldId="2147483605"/>
            <ac:graphicFrameMk id="74" creationId="{ED2A4918-DF82-87CA-E876-C166B4E17E74}"/>
          </ac:graphicFrameMkLst>
        </pc:graphicFrameChg>
        <pc:graphicFrameChg chg="add del mod replST">
          <ac:chgData name="Hänninen, Lauri" userId="b62831d1-2046-40aa-b4b7-d67e2d73afe1" providerId="ADAL" clId="{F907ACC7-C8F7-470E-B883-D49732EB787C}" dt="2024-02-22T09:01:08.855" v="34930"/>
          <ac:graphicFrameMkLst>
            <pc:docMk/>
            <pc:sldMk cId="2791291552" sldId="2147483605"/>
            <ac:graphicFrameMk id="75" creationId="{1BA93728-00DF-7CD8-1560-397B84DC9D20}"/>
          </ac:graphicFrameMkLst>
        </pc:graphicFrameChg>
        <pc:graphicFrameChg chg="add del mod replST">
          <ac:chgData name="Hänninen, Lauri" userId="b62831d1-2046-40aa-b4b7-d67e2d73afe1" providerId="ADAL" clId="{F907ACC7-C8F7-470E-B883-D49732EB787C}" dt="2024-02-22T09:03:37.053" v="35136"/>
          <ac:graphicFrameMkLst>
            <pc:docMk/>
            <pc:sldMk cId="2791291552" sldId="2147483605"/>
            <ac:graphicFrameMk id="76" creationId="{1807F03B-D192-72AE-CE70-5943C0904911}"/>
          </ac:graphicFrameMkLst>
        </pc:graphicFrameChg>
        <pc:graphicFrameChg chg="add del mod replST">
          <ac:chgData name="Hänninen, Lauri" userId="b62831d1-2046-40aa-b4b7-d67e2d73afe1" providerId="ADAL" clId="{F907ACC7-C8F7-470E-B883-D49732EB787C}" dt="2024-02-22T09:03:39.888" v="35217"/>
          <ac:graphicFrameMkLst>
            <pc:docMk/>
            <pc:sldMk cId="2791291552" sldId="2147483605"/>
            <ac:graphicFrameMk id="77" creationId="{6303EF5A-D442-0600-6AD7-694E93230345}"/>
          </ac:graphicFrameMkLst>
        </pc:graphicFrameChg>
        <pc:graphicFrameChg chg="add del mod replST">
          <ac:chgData name="Hänninen, Lauri" userId="b62831d1-2046-40aa-b4b7-d67e2d73afe1" providerId="ADAL" clId="{F907ACC7-C8F7-470E-B883-D49732EB787C}" dt="2024-02-22T09:04:15.799" v="35329"/>
          <ac:graphicFrameMkLst>
            <pc:docMk/>
            <pc:sldMk cId="2791291552" sldId="2147483605"/>
            <ac:graphicFrameMk id="78" creationId="{1FB76870-EAB8-0E59-126B-367EBEC39DFE}"/>
          </ac:graphicFrameMkLst>
        </pc:graphicFrameChg>
        <pc:graphicFrameChg chg="add del mod replST">
          <ac:chgData name="Hänninen, Lauri" userId="b62831d1-2046-40aa-b4b7-d67e2d73afe1" providerId="ADAL" clId="{F907ACC7-C8F7-470E-B883-D49732EB787C}" dt="2024-02-22T09:04:18.294" v="35434"/>
          <ac:graphicFrameMkLst>
            <pc:docMk/>
            <pc:sldMk cId="2791291552" sldId="2147483605"/>
            <ac:graphicFrameMk id="79" creationId="{EF58BFED-581C-3727-74E9-6DFC6301F766}"/>
          </ac:graphicFrameMkLst>
        </pc:graphicFrameChg>
        <pc:graphicFrameChg chg="add del mod replST">
          <ac:chgData name="Hänninen, Lauri" userId="b62831d1-2046-40aa-b4b7-d67e2d73afe1" providerId="ADAL" clId="{F907ACC7-C8F7-470E-B883-D49732EB787C}" dt="2024-02-22T09:04:20.212" v="35539"/>
          <ac:graphicFrameMkLst>
            <pc:docMk/>
            <pc:sldMk cId="2791291552" sldId="2147483605"/>
            <ac:graphicFrameMk id="80" creationId="{68BD6A37-1BFC-7908-CA24-6201699DF444}"/>
          </ac:graphicFrameMkLst>
        </pc:graphicFrameChg>
        <pc:graphicFrameChg chg="add del mod replST">
          <ac:chgData name="Hänninen, Lauri" userId="b62831d1-2046-40aa-b4b7-d67e2d73afe1" providerId="ADAL" clId="{F907ACC7-C8F7-470E-B883-D49732EB787C}" dt="2024-02-22T09:04:20.788" v="35644"/>
          <ac:graphicFrameMkLst>
            <pc:docMk/>
            <pc:sldMk cId="2791291552" sldId="2147483605"/>
            <ac:graphicFrameMk id="81" creationId="{EFF957EB-3E3D-D523-0558-17BD570B9E66}"/>
          </ac:graphicFrameMkLst>
        </pc:graphicFrameChg>
        <pc:graphicFrameChg chg="add del mod replST">
          <ac:chgData name="Hänninen, Lauri" userId="b62831d1-2046-40aa-b4b7-d67e2d73afe1" providerId="ADAL" clId="{F907ACC7-C8F7-470E-B883-D49732EB787C}" dt="2024-02-22T09:04:21.794" v="35749"/>
          <ac:graphicFrameMkLst>
            <pc:docMk/>
            <pc:sldMk cId="2791291552" sldId="2147483605"/>
            <ac:graphicFrameMk id="82" creationId="{F0F4E065-6191-755E-3D96-D6DBEEC1CBE1}"/>
          </ac:graphicFrameMkLst>
        </pc:graphicFrameChg>
        <pc:graphicFrameChg chg="add del mod replST">
          <ac:chgData name="Hänninen, Lauri" userId="b62831d1-2046-40aa-b4b7-d67e2d73afe1" providerId="ADAL" clId="{F907ACC7-C8F7-470E-B883-D49732EB787C}" dt="2024-02-22T09:04:24.106" v="35854"/>
          <ac:graphicFrameMkLst>
            <pc:docMk/>
            <pc:sldMk cId="2791291552" sldId="2147483605"/>
            <ac:graphicFrameMk id="83" creationId="{B401BBDA-E31C-B7A0-FC70-0FF9C43F9F30}"/>
          </ac:graphicFrameMkLst>
        </pc:graphicFrameChg>
        <pc:graphicFrameChg chg="add del mod replST">
          <ac:chgData name="Hänninen, Lauri" userId="b62831d1-2046-40aa-b4b7-d67e2d73afe1" providerId="ADAL" clId="{F907ACC7-C8F7-470E-B883-D49732EB787C}" dt="2024-02-22T09:04:25.496" v="35959"/>
          <ac:graphicFrameMkLst>
            <pc:docMk/>
            <pc:sldMk cId="2791291552" sldId="2147483605"/>
            <ac:graphicFrameMk id="84" creationId="{FB8B527E-77F1-9511-ED4D-1A73260465C8}"/>
          </ac:graphicFrameMkLst>
        </pc:graphicFrameChg>
        <pc:graphicFrameChg chg="add mod replST">
          <ac:chgData name="Hänninen, Lauri" userId="b62831d1-2046-40aa-b4b7-d67e2d73afe1" providerId="ADAL" clId="{F907ACC7-C8F7-470E-B883-D49732EB787C}" dt="2024-02-22T09:04:25.525" v="35980"/>
          <ac:graphicFrameMkLst>
            <pc:docMk/>
            <pc:sldMk cId="2791291552" sldId="2147483605"/>
            <ac:graphicFrameMk id="85" creationId="{EE722E80-DD14-10D8-69F4-B85D374D014A}"/>
          </ac:graphicFrameMkLst>
        </pc:graphicFrameChg>
        <pc:cxnChg chg="add del mod ord">
          <ac:chgData name="Hänninen, Lauri" userId="b62831d1-2046-40aa-b4b7-d67e2d73afe1" providerId="ADAL" clId="{F907ACC7-C8F7-470E-B883-D49732EB787C}" dt="2024-02-22T09:00:46.687" v="34765" actId="21"/>
          <ac:cxnSpMkLst>
            <pc:docMk/>
            <pc:sldMk cId="2791291552" sldId="2147483605"/>
            <ac:cxnSpMk id="11" creationId="{1194051A-5FB9-E3C6-B0BD-A96098D48CEF}"/>
          </ac:cxnSpMkLst>
        </pc:cxnChg>
        <pc:cxnChg chg="add del mod ord">
          <ac:chgData name="Hänninen, Lauri" userId="b62831d1-2046-40aa-b4b7-d67e2d73afe1" providerId="ADAL" clId="{F907ACC7-C8F7-470E-B883-D49732EB787C}" dt="2024-02-22T09:00:46.687" v="34765" actId="21"/>
          <ac:cxnSpMkLst>
            <pc:docMk/>
            <pc:sldMk cId="2791291552" sldId="2147483605"/>
            <ac:cxnSpMk id="13" creationId="{885899E0-700B-BD20-6865-A99FEA4B64F0}"/>
          </ac:cxnSpMkLst>
        </pc:cxnChg>
        <pc:cxnChg chg="add mod ord">
          <ac:chgData name="Hänninen, Lauri" userId="b62831d1-2046-40aa-b4b7-d67e2d73afe1" providerId="ADAL" clId="{F907ACC7-C8F7-470E-B883-D49732EB787C}" dt="2024-02-22T09:05:35.079" v="36137" actId="1035"/>
          <ac:cxnSpMkLst>
            <pc:docMk/>
            <pc:sldMk cId="2791291552" sldId="2147483605"/>
            <ac:cxnSpMk id="72" creationId="{1194051A-5FB9-E3C6-B0BD-A96098D48CEF}"/>
          </ac:cxnSpMkLst>
        </pc:cxnChg>
        <pc:cxnChg chg="add mod ord">
          <ac:chgData name="Hänninen, Lauri" userId="b62831d1-2046-40aa-b4b7-d67e2d73afe1" providerId="ADAL" clId="{F907ACC7-C8F7-470E-B883-D49732EB787C}" dt="2024-02-22T09:19:28.431" v="36366" actId="14100"/>
          <ac:cxnSpMkLst>
            <pc:docMk/>
            <pc:sldMk cId="2791291552" sldId="2147483605"/>
            <ac:cxnSpMk id="73" creationId="{885899E0-700B-BD20-6865-A99FEA4B64F0}"/>
          </ac:cxnSpMkLst>
        </pc:cxnChg>
      </pc:sldChg>
      <pc:sldChg chg="add del">
        <pc:chgData name="Hänninen, Lauri" userId="b62831d1-2046-40aa-b4b7-d67e2d73afe1" providerId="ADAL" clId="{F907ACC7-C8F7-470E-B883-D49732EB787C}" dt="2024-02-20T20:05:49.802" v="9105" actId="47"/>
        <pc:sldMkLst>
          <pc:docMk/>
          <pc:sldMk cId="1453181928" sldId="2147483606"/>
        </pc:sldMkLst>
      </pc:sldChg>
      <pc:sldChg chg="addSp delSp modSp add mod ord modShow">
        <pc:chgData name="Hänninen, Lauri" userId="b62831d1-2046-40aa-b4b7-d67e2d73afe1" providerId="ADAL" clId="{F907ACC7-C8F7-470E-B883-D49732EB787C}" dt="2024-02-23T08:18:22.582" v="42362" actId="14100"/>
        <pc:sldMkLst>
          <pc:docMk/>
          <pc:sldMk cId="3239871205" sldId="2147483606"/>
        </pc:sldMkLst>
        <pc:spChg chg="del mod">
          <ac:chgData name="Hänninen, Lauri" userId="b62831d1-2046-40aa-b4b7-d67e2d73afe1" providerId="ADAL" clId="{F907ACC7-C8F7-470E-B883-D49732EB787C}" dt="2024-02-20T20:09:11.212" v="9152" actId="478"/>
          <ac:spMkLst>
            <pc:docMk/>
            <pc:sldMk cId="3239871205" sldId="2147483606"/>
            <ac:spMk id="2" creationId="{68E9471E-BDF5-ACD4-FC79-C00A5F42ED1A}"/>
          </ac:spMkLst>
        </pc:spChg>
        <pc:spChg chg="add del mod">
          <ac:chgData name="Hänninen, Lauri" userId="b62831d1-2046-40aa-b4b7-d67e2d73afe1" providerId="ADAL" clId="{F907ACC7-C8F7-470E-B883-D49732EB787C}" dt="2024-02-22T09:20:56.260" v="36438" actId="478"/>
          <ac:spMkLst>
            <pc:docMk/>
            <pc:sldMk cId="3239871205" sldId="2147483606"/>
            <ac:spMk id="2" creationId="{790CED19-9AC7-48EB-A236-955E22C31FBB}"/>
          </ac:spMkLst>
        </pc:spChg>
        <pc:spChg chg="mod topLvl">
          <ac:chgData name="Hänninen, Lauri" userId="b62831d1-2046-40aa-b4b7-d67e2d73afe1" providerId="ADAL" clId="{F907ACC7-C8F7-470E-B883-D49732EB787C}" dt="2024-02-22T09:37:21.817" v="36992" actId="1036"/>
          <ac:spMkLst>
            <pc:docMk/>
            <pc:sldMk cId="3239871205" sldId="2147483606"/>
            <ac:spMk id="3" creationId="{F0D37CF9-5EEF-91F5-1BC3-76A8A1D1303C}"/>
          </ac:spMkLst>
        </pc:spChg>
        <pc:spChg chg="mod">
          <ac:chgData name="Hänninen, Lauri" userId="b62831d1-2046-40aa-b4b7-d67e2d73afe1" providerId="ADAL" clId="{F907ACC7-C8F7-470E-B883-D49732EB787C}" dt="2024-02-22T09:37:32.536" v="36996" actId="1035"/>
          <ac:spMkLst>
            <pc:docMk/>
            <pc:sldMk cId="3239871205" sldId="2147483606"/>
            <ac:spMk id="4" creationId="{9D287119-0827-93CB-70FA-5F74758D5107}"/>
          </ac:spMkLst>
        </pc:spChg>
        <pc:spChg chg="mod">
          <ac:chgData name="Hänninen, Lauri" userId="b62831d1-2046-40aa-b4b7-d67e2d73afe1" providerId="ADAL" clId="{F907ACC7-C8F7-470E-B883-D49732EB787C}" dt="2024-02-23T08:18:22.582" v="42362" actId="14100"/>
          <ac:spMkLst>
            <pc:docMk/>
            <pc:sldMk cId="3239871205" sldId="2147483606"/>
            <ac:spMk id="5" creationId="{D9887F4F-E1B1-7623-D3FE-D1FB9CFA9263}"/>
          </ac:spMkLst>
        </pc:spChg>
        <pc:spChg chg="mod topLvl">
          <ac:chgData name="Hänninen, Lauri" userId="b62831d1-2046-40aa-b4b7-d67e2d73afe1" providerId="ADAL" clId="{F907ACC7-C8F7-470E-B883-D49732EB787C}" dt="2024-02-22T09:37:28.585" v="36993"/>
          <ac:spMkLst>
            <pc:docMk/>
            <pc:sldMk cId="3239871205" sldId="2147483606"/>
            <ac:spMk id="6" creationId="{F0DFA630-2BD3-73AD-DBB6-BEBC1B50338D}"/>
          </ac:spMkLst>
        </pc:spChg>
        <pc:spChg chg="mod">
          <ac:chgData name="Hänninen, Lauri" userId="b62831d1-2046-40aa-b4b7-d67e2d73afe1" providerId="ADAL" clId="{F907ACC7-C8F7-470E-B883-D49732EB787C}" dt="2024-02-22T09:21:52.460" v="36456" actId="2711"/>
          <ac:spMkLst>
            <pc:docMk/>
            <pc:sldMk cId="3239871205" sldId="2147483606"/>
            <ac:spMk id="7" creationId="{FAFCDD3B-849A-2C8B-073F-A035BBED4C9D}"/>
          </ac:spMkLst>
        </pc:spChg>
        <pc:spChg chg="mod">
          <ac:chgData name="Hänninen, Lauri" userId="b62831d1-2046-40aa-b4b7-d67e2d73afe1" providerId="ADAL" clId="{F907ACC7-C8F7-470E-B883-D49732EB787C}" dt="2024-02-22T09:38:03.175" v="37008"/>
          <ac:spMkLst>
            <pc:docMk/>
            <pc:sldMk cId="3239871205" sldId="2147483606"/>
            <ac:spMk id="8" creationId="{0AA5F5CF-A36A-DAB9-2F14-40C5A44A4F00}"/>
          </ac:spMkLst>
        </pc:spChg>
        <pc:spChg chg="mod">
          <ac:chgData name="Hänninen, Lauri" userId="b62831d1-2046-40aa-b4b7-d67e2d73afe1" providerId="ADAL" clId="{F907ACC7-C8F7-470E-B883-D49732EB787C}" dt="2024-02-22T09:38:07.935" v="37009" actId="408"/>
          <ac:spMkLst>
            <pc:docMk/>
            <pc:sldMk cId="3239871205" sldId="2147483606"/>
            <ac:spMk id="9" creationId="{A210D8AC-878F-BB87-9F97-E4CD4EB66160}"/>
          </ac:spMkLst>
        </pc:spChg>
        <pc:spChg chg="mod">
          <ac:chgData name="Hänninen, Lauri" userId="b62831d1-2046-40aa-b4b7-d67e2d73afe1" providerId="ADAL" clId="{F907ACC7-C8F7-470E-B883-D49732EB787C}" dt="2024-02-22T09:38:07.935" v="37009" actId="408"/>
          <ac:spMkLst>
            <pc:docMk/>
            <pc:sldMk cId="3239871205" sldId="2147483606"/>
            <ac:spMk id="10" creationId="{B12A2133-F594-D250-8C00-157BE629A41B}"/>
          </ac:spMkLst>
        </pc:spChg>
        <pc:spChg chg="mod">
          <ac:chgData name="Hänninen, Lauri" userId="b62831d1-2046-40aa-b4b7-d67e2d73afe1" providerId="ADAL" clId="{F907ACC7-C8F7-470E-B883-D49732EB787C}" dt="2024-02-22T09:34:47.243" v="36897" actId="1036"/>
          <ac:spMkLst>
            <pc:docMk/>
            <pc:sldMk cId="3239871205" sldId="2147483606"/>
            <ac:spMk id="11" creationId="{179B3804-D616-2B9F-E0A0-CF18BE930B1F}"/>
          </ac:spMkLst>
        </pc:spChg>
        <pc:spChg chg="mod">
          <ac:chgData name="Hänninen, Lauri" userId="b62831d1-2046-40aa-b4b7-d67e2d73afe1" providerId="ADAL" clId="{F907ACC7-C8F7-470E-B883-D49732EB787C}" dt="2024-02-22T09:34:18.950" v="36884" actId="20577"/>
          <ac:spMkLst>
            <pc:docMk/>
            <pc:sldMk cId="3239871205" sldId="2147483606"/>
            <ac:spMk id="14" creationId="{8359BCD2-1510-E786-109C-EED1A5CBD121}"/>
          </ac:spMkLst>
        </pc:spChg>
        <pc:spChg chg="mod topLvl">
          <ac:chgData name="Hänninen, Lauri" userId="b62831d1-2046-40aa-b4b7-d67e2d73afe1" providerId="ADAL" clId="{F907ACC7-C8F7-470E-B883-D49732EB787C}" dt="2024-02-22T09:37:21.817" v="36992" actId="1036"/>
          <ac:spMkLst>
            <pc:docMk/>
            <pc:sldMk cId="3239871205" sldId="2147483606"/>
            <ac:spMk id="15" creationId="{A84C7EC2-D5BB-DCA1-2A19-25F4511CAC97}"/>
          </ac:spMkLst>
        </pc:spChg>
        <pc:spChg chg="mod topLvl">
          <ac:chgData name="Hänninen, Lauri" userId="b62831d1-2046-40aa-b4b7-d67e2d73afe1" providerId="ADAL" clId="{F907ACC7-C8F7-470E-B883-D49732EB787C}" dt="2024-02-22T09:37:21.817" v="36992" actId="1036"/>
          <ac:spMkLst>
            <pc:docMk/>
            <pc:sldMk cId="3239871205" sldId="2147483606"/>
            <ac:spMk id="17" creationId="{C3EA5D2A-5D80-74F7-7B30-4FA94A5500EE}"/>
          </ac:spMkLst>
        </pc:spChg>
        <pc:spChg chg="mod topLvl">
          <ac:chgData name="Hänninen, Lauri" userId="b62831d1-2046-40aa-b4b7-d67e2d73afe1" providerId="ADAL" clId="{F907ACC7-C8F7-470E-B883-D49732EB787C}" dt="2024-02-22T09:37:32.536" v="36996" actId="1035"/>
          <ac:spMkLst>
            <pc:docMk/>
            <pc:sldMk cId="3239871205" sldId="2147483606"/>
            <ac:spMk id="18" creationId="{F0756654-6020-B5E0-F35D-099731A3357B}"/>
          </ac:spMkLst>
        </pc:spChg>
        <pc:spChg chg="mod topLvl">
          <ac:chgData name="Hänninen, Lauri" userId="b62831d1-2046-40aa-b4b7-d67e2d73afe1" providerId="ADAL" clId="{F907ACC7-C8F7-470E-B883-D49732EB787C}" dt="2024-02-22T09:37:21.817" v="36992" actId="1036"/>
          <ac:spMkLst>
            <pc:docMk/>
            <pc:sldMk cId="3239871205" sldId="2147483606"/>
            <ac:spMk id="19" creationId="{D9856F3C-DC25-4DAC-C8E5-DE6C8CBF49E1}"/>
          </ac:spMkLst>
        </pc:spChg>
        <pc:spChg chg="mod">
          <ac:chgData name="Hänninen, Lauri" userId="b62831d1-2046-40aa-b4b7-d67e2d73afe1" providerId="ADAL" clId="{F907ACC7-C8F7-470E-B883-D49732EB787C}" dt="2024-02-22T09:37:32.536" v="36996" actId="1035"/>
          <ac:spMkLst>
            <pc:docMk/>
            <pc:sldMk cId="3239871205" sldId="2147483606"/>
            <ac:spMk id="34" creationId="{1928F3CE-DE64-69BF-5CF2-E4AA13CD759D}"/>
          </ac:spMkLst>
        </pc:spChg>
        <pc:spChg chg="mod topLvl">
          <ac:chgData name="Hänninen, Lauri" userId="b62831d1-2046-40aa-b4b7-d67e2d73afe1" providerId="ADAL" clId="{F907ACC7-C8F7-470E-B883-D49732EB787C}" dt="2024-02-22T09:36:02.218" v="36925" actId="1036"/>
          <ac:spMkLst>
            <pc:docMk/>
            <pc:sldMk cId="3239871205" sldId="2147483606"/>
            <ac:spMk id="39" creationId="{E3B8E8AF-5031-311E-6A35-F23CC1468977}"/>
          </ac:spMkLst>
        </pc:spChg>
        <pc:spChg chg="mod topLvl">
          <ac:chgData name="Hänninen, Lauri" userId="b62831d1-2046-40aa-b4b7-d67e2d73afe1" providerId="ADAL" clId="{F907ACC7-C8F7-470E-B883-D49732EB787C}" dt="2024-02-22T09:37:14.170" v="36978" actId="1036"/>
          <ac:spMkLst>
            <pc:docMk/>
            <pc:sldMk cId="3239871205" sldId="2147483606"/>
            <ac:spMk id="40" creationId="{9BDBDCDA-6CBB-5A31-92E9-8E7CA86343A8}"/>
          </ac:spMkLst>
        </pc:spChg>
        <pc:spChg chg="mod topLvl">
          <ac:chgData name="Hänninen, Lauri" userId="b62831d1-2046-40aa-b4b7-d67e2d73afe1" providerId="ADAL" clId="{F907ACC7-C8F7-470E-B883-D49732EB787C}" dt="2024-02-22T09:37:14.170" v="36978" actId="1036"/>
          <ac:spMkLst>
            <pc:docMk/>
            <pc:sldMk cId="3239871205" sldId="2147483606"/>
            <ac:spMk id="43" creationId="{6DB90930-21C9-221B-0032-FC93062612A2}"/>
          </ac:spMkLst>
        </pc:spChg>
        <pc:spChg chg="mod topLvl">
          <ac:chgData name="Hänninen, Lauri" userId="b62831d1-2046-40aa-b4b7-d67e2d73afe1" providerId="ADAL" clId="{F907ACC7-C8F7-470E-B883-D49732EB787C}" dt="2024-02-22T09:37:14.170" v="36978" actId="1036"/>
          <ac:spMkLst>
            <pc:docMk/>
            <pc:sldMk cId="3239871205" sldId="2147483606"/>
            <ac:spMk id="47" creationId="{7182237F-D58D-D4F2-1CFA-A994400E7CBD}"/>
          </ac:spMkLst>
        </pc:spChg>
        <pc:spChg chg="mod topLvl">
          <ac:chgData name="Hänninen, Lauri" userId="b62831d1-2046-40aa-b4b7-d67e2d73afe1" providerId="ADAL" clId="{F907ACC7-C8F7-470E-B883-D49732EB787C}" dt="2024-02-22T09:37:14.170" v="36978" actId="1036"/>
          <ac:spMkLst>
            <pc:docMk/>
            <pc:sldMk cId="3239871205" sldId="2147483606"/>
            <ac:spMk id="48" creationId="{583FF8C4-B528-EEFB-C6F1-CF95B1CDD01D}"/>
          </ac:spMkLst>
        </pc:spChg>
        <pc:spChg chg="add mod">
          <ac:chgData name="Hänninen, Lauri" userId="b62831d1-2046-40aa-b4b7-d67e2d73afe1" providerId="ADAL" clId="{F907ACC7-C8F7-470E-B883-D49732EB787C}" dt="2024-02-22T09:34:55.085" v="36898" actId="1076"/>
          <ac:spMkLst>
            <pc:docMk/>
            <pc:sldMk cId="3239871205" sldId="2147483606"/>
            <ac:spMk id="88" creationId="{675C0C0F-2412-0EE1-904E-26F79553ECB0}"/>
          </ac:spMkLst>
        </pc:spChg>
        <pc:spChg chg="mod topLvl">
          <ac:chgData name="Hänninen, Lauri" userId="b62831d1-2046-40aa-b4b7-d67e2d73afe1" providerId="ADAL" clId="{F907ACC7-C8F7-470E-B883-D49732EB787C}" dt="2024-02-22T09:38:03.174" v="37006"/>
          <ac:spMkLst>
            <pc:docMk/>
            <pc:sldMk cId="3239871205" sldId="2147483606"/>
            <ac:spMk id="91" creationId="{51CD05B8-7412-0239-DFD0-900FCEB2DED5}"/>
          </ac:spMkLst>
        </pc:spChg>
        <pc:spChg chg="mod topLvl">
          <ac:chgData name="Hänninen, Lauri" userId="b62831d1-2046-40aa-b4b7-d67e2d73afe1" providerId="ADAL" clId="{F907ACC7-C8F7-470E-B883-D49732EB787C}" dt="2024-02-22T09:38:17.094" v="37016"/>
          <ac:spMkLst>
            <pc:docMk/>
            <pc:sldMk cId="3239871205" sldId="2147483606"/>
            <ac:spMk id="96" creationId="{E32C37C8-D070-496E-B1E5-0E17389ACE21}"/>
          </ac:spMkLst>
        </pc:spChg>
        <pc:spChg chg="mod topLvl">
          <ac:chgData name="Hänninen, Lauri" userId="b62831d1-2046-40aa-b4b7-d67e2d73afe1" providerId="ADAL" clId="{F907ACC7-C8F7-470E-B883-D49732EB787C}" dt="2024-02-22T09:38:17.093" v="37014"/>
          <ac:spMkLst>
            <pc:docMk/>
            <pc:sldMk cId="3239871205" sldId="2147483606"/>
            <ac:spMk id="102" creationId="{FBEBCB73-8EEA-37FC-16F5-C61C2862A03B}"/>
          </ac:spMkLst>
        </pc:spChg>
        <pc:spChg chg="mod topLvl">
          <ac:chgData name="Hänninen, Lauri" userId="b62831d1-2046-40aa-b4b7-d67e2d73afe1" providerId="ADAL" clId="{F907ACC7-C8F7-470E-B883-D49732EB787C}" dt="2024-02-22T09:36:53.847" v="36953" actId="465"/>
          <ac:spMkLst>
            <pc:docMk/>
            <pc:sldMk cId="3239871205" sldId="2147483606"/>
            <ac:spMk id="115" creationId="{2CAE815B-5BF1-9122-EFFE-9BB9E45BA52A}"/>
          </ac:spMkLst>
        </pc:spChg>
        <pc:spChg chg="mod topLvl">
          <ac:chgData name="Hänninen, Lauri" userId="b62831d1-2046-40aa-b4b7-d67e2d73afe1" providerId="ADAL" clId="{F907ACC7-C8F7-470E-B883-D49732EB787C}" dt="2024-02-22T09:38:03.171" v="37004"/>
          <ac:spMkLst>
            <pc:docMk/>
            <pc:sldMk cId="3239871205" sldId="2147483606"/>
            <ac:spMk id="121" creationId="{EF5084ED-3A9C-F260-CCB2-96BE2A75B567}"/>
          </ac:spMkLst>
        </pc:spChg>
        <pc:spChg chg="mod">
          <ac:chgData name="Hänninen, Lauri" userId="b62831d1-2046-40aa-b4b7-d67e2d73afe1" providerId="ADAL" clId="{F907ACC7-C8F7-470E-B883-D49732EB787C}" dt="2024-02-22T09:38:30.350" v="37019" actId="14100"/>
          <ac:spMkLst>
            <pc:docMk/>
            <pc:sldMk cId="3239871205" sldId="2147483606"/>
            <ac:spMk id="126" creationId="{39DF3B38-1D59-F0C8-D624-C0E262ED33F3}"/>
          </ac:spMkLst>
        </pc:spChg>
        <pc:spChg chg="mod">
          <ac:chgData name="Hänninen, Lauri" userId="b62831d1-2046-40aa-b4b7-d67e2d73afe1" providerId="ADAL" clId="{F907ACC7-C8F7-470E-B883-D49732EB787C}" dt="2024-02-22T09:36:05.912" v="36929"/>
          <ac:spMkLst>
            <pc:docMk/>
            <pc:sldMk cId="3239871205" sldId="2147483606"/>
            <ac:spMk id="127" creationId="{5E1D94B0-B000-ABF6-4A67-353DDA679802}"/>
          </ac:spMkLst>
        </pc:spChg>
        <pc:spChg chg="mod">
          <ac:chgData name="Hänninen, Lauri" userId="b62831d1-2046-40aa-b4b7-d67e2d73afe1" providerId="ADAL" clId="{F907ACC7-C8F7-470E-B883-D49732EB787C}" dt="2024-02-22T09:36:05.912" v="36930"/>
          <ac:spMkLst>
            <pc:docMk/>
            <pc:sldMk cId="3239871205" sldId="2147483606"/>
            <ac:spMk id="128" creationId="{8541ED54-0A18-4FF2-D4C8-E8DEB0DED49E}"/>
          </ac:spMkLst>
        </pc:spChg>
        <pc:spChg chg="mod topLvl">
          <ac:chgData name="Hänninen, Lauri" userId="b62831d1-2046-40aa-b4b7-d67e2d73afe1" providerId="ADAL" clId="{F907ACC7-C8F7-470E-B883-D49732EB787C}" dt="2024-02-22T09:38:17.090" v="37012"/>
          <ac:spMkLst>
            <pc:docMk/>
            <pc:sldMk cId="3239871205" sldId="2147483606"/>
            <ac:spMk id="132" creationId="{3D32E403-2530-438F-49FF-D6304A67B747}"/>
          </ac:spMkLst>
        </pc:spChg>
        <pc:spChg chg="mod topLvl">
          <ac:chgData name="Hänninen, Lauri" userId="b62831d1-2046-40aa-b4b7-d67e2d73afe1" providerId="ADAL" clId="{F907ACC7-C8F7-470E-B883-D49732EB787C}" dt="2024-02-20T20:13:45.753" v="9225" actId="165"/>
          <ac:spMkLst>
            <pc:docMk/>
            <pc:sldMk cId="3239871205" sldId="2147483606"/>
            <ac:spMk id="136" creationId="{17CCCCAA-7A3C-17CE-5358-AB917D524323}"/>
          </ac:spMkLst>
        </pc:spChg>
        <pc:spChg chg="mod">
          <ac:chgData name="Hänninen, Lauri" userId="b62831d1-2046-40aa-b4b7-d67e2d73afe1" providerId="ADAL" clId="{F907ACC7-C8F7-470E-B883-D49732EB787C}" dt="2024-02-22T09:34:39.230" v="36885" actId="1076"/>
          <ac:spMkLst>
            <pc:docMk/>
            <pc:sldMk cId="3239871205" sldId="2147483606"/>
            <ac:spMk id="139" creationId="{6B482937-0603-6FCD-EA7F-2063C4F9F81D}"/>
          </ac:spMkLst>
        </pc:spChg>
        <pc:spChg chg="mod">
          <ac:chgData name="Hänninen, Lauri" userId="b62831d1-2046-40aa-b4b7-d67e2d73afe1" providerId="ADAL" clId="{F907ACC7-C8F7-470E-B883-D49732EB787C}" dt="2024-02-22T09:37:43.767" v="37001"/>
          <ac:spMkLst>
            <pc:docMk/>
            <pc:sldMk cId="3239871205" sldId="2147483606"/>
            <ac:spMk id="175" creationId="{8485A1F6-B5F5-0ABA-7F4F-C6ED75975F06}"/>
          </ac:spMkLst>
        </pc:spChg>
        <pc:spChg chg="mod topLvl">
          <ac:chgData name="Hänninen, Lauri" userId="b62831d1-2046-40aa-b4b7-d67e2d73afe1" providerId="ADAL" clId="{F907ACC7-C8F7-470E-B883-D49732EB787C}" dt="2024-02-22T09:24:07.973" v="36533"/>
          <ac:spMkLst>
            <pc:docMk/>
            <pc:sldMk cId="3239871205" sldId="2147483606"/>
            <ac:spMk id="191" creationId="{91CBB7DF-B46B-A092-5E6E-451B10F0F577}"/>
          </ac:spMkLst>
        </pc:spChg>
        <pc:grpChg chg="add del mod">
          <ac:chgData name="Hänninen, Lauri" userId="b62831d1-2046-40aa-b4b7-d67e2d73afe1" providerId="ADAL" clId="{F907ACC7-C8F7-470E-B883-D49732EB787C}" dt="2024-02-20T20:09:45.203" v="9170" actId="165"/>
          <ac:grpSpMkLst>
            <pc:docMk/>
            <pc:sldMk cId="3239871205" sldId="2147483606"/>
            <ac:grpSpMk id="30" creationId="{06D6D8FC-4D54-59F3-4166-B66EE1482A18}"/>
          </ac:grpSpMkLst>
        </pc:grpChg>
        <pc:grpChg chg="add del mod">
          <ac:chgData name="Hänninen, Lauri" userId="b62831d1-2046-40aa-b4b7-d67e2d73afe1" providerId="ADAL" clId="{F907ACC7-C8F7-470E-B883-D49732EB787C}" dt="2024-02-20T20:12:03.034" v="9208" actId="165"/>
          <ac:grpSpMkLst>
            <pc:docMk/>
            <pc:sldMk cId="3239871205" sldId="2147483606"/>
            <ac:grpSpMk id="31" creationId="{3881F2F5-21D1-B401-F36E-F203369C6ACB}"/>
          </ac:grpSpMkLst>
        </pc:grpChg>
        <pc:grpChg chg="add del mod">
          <ac:chgData name="Hänninen, Lauri" userId="b62831d1-2046-40aa-b4b7-d67e2d73afe1" providerId="ADAL" clId="{F907ACC7-C8F7-470E-B883-D49732EB787C}" dt="2024-02-20T20:12:04.659" v="9209" actId="165"/>
          <ac:grpSpMkLst>
            <pc:docMk/>
            <pc:sldMk cId="3239871205" sldId="2147483606"/>
            <ac:grpSpMk id="32" creationId="{46B95C6E-F79C-DD07-813D-E3C7D82C1B3A}"/>
          </ac:grpSpMkLst>
        </pc:grpChg>
        <pc:grpChg chg="add del mod">
          <ac:chgData name="Hänninen, Lauri" userId="b62831d1-2046-40aa-b4b7-d67e2d73afe1" providerId="ADAL" clId="{F907ACC7-C8F7-470E-B883-D49732EB787C}" dt="2024-02-20T20:10:37.255" v="9191" actId="165"/>
          <ac:grpSpMkLst>
            <pc:docMk/>
            <pc:sldMk cId="3239871205" sldId="2147483606"/>
            <ac:grpSpMk id="33" creationId="{28E2D0BB-5B95-DB26-3653-FFF8FF300E8E}"/>
          </ac:grpSpMkLst>
        </pc:grpChg>
        <pc:grpChg chg="add del mod">
          <ac:chgData name="Hänninen, Lauri" userId="b62831d1-2046-40aa-b4b7-d67e2d73afe1" providerId="ADAL" clId="{F907ACC7-C8F7-470E-B883-D49732EB787C}" dt="2024-02-20T20:10:57.952" v="9198" actId="165"/>
          <ac:grpSpMkLst>
            <pc:docMk/>
            <pc:sldMk cId="3239871205" sldId="2147483606"/>
            <ac:grpSpMk id="35" creationId="{3ADA5DE0-1CBE-1862-DAE3-B8CA89EEF14A}"/>
          </ac:grpSpMkLst>
        </pc:grpChg>
        <pc:grpChg chg="add del mod">
          <ac:chgData name="Hänninen, Lauri" userId="b62831d1-2046-40aa-b4b7-d67e2d73afe1" providerId="ADAL" clId="{F907ACC7-C8F7-470E-B883-D49732EB787C}" dt="2024-02-20T20:13:45.753" v="9225" actId="165"/>
          <ac:grpSpMkLst>
            <pc:docMk/>
            <pc:sldMk cId="3239871205" sldId="2147483606"/>
            <ac:grpSpMk id="36" creationId="{95C2C7FB-EA8F-DA14-1CBB-F42F93D14491}"/>
          </ac:grpSpMkLst>
        </pc:grpChg>
        <pc:grpChg chg="add del mod">
          <ac:chgData name="Hänninen, Lauri" userId="b62831d1-2046-40aa-b4b7-d67e2d73afe1" providerId="ADAL" clId="{F907ACC7-C8F7-470E-B883-D49732EB787C}" dt="2024-02-20T20:11:46.127" v="9205" actId="165"/>
          <ac:grpSpMkLst>
            <pc:docMk/>
            <pc:sldMk cId="3239871205" sldId="2147483606"/>
            <ac:grpSpMk id="37" creationId="{1FC66EF7-422B-7155-9CD9-9942005772D0}"/>
          </ac:grpSpMkLst>
        </pc:grpChg>
        <pc:grpChg chg="add del mod">
          <ac:chgData name="Hänninen, Lauri" userId="b62831d1-2046-40aa-b4b7-d67e2d73afe1" providerId="ADAL" clId="{F907ACC7-C8F7-470E-B883-D49732EB787C}" dt="2024-02-20T20:13:45.753" v="9225" actId="165"/>
          <ac:grpSpMkLst>
            <pc:docMk/>
            <pc:sldMk cId="3239871205" sldId="2147483606"/>
            <ac:grpSpMk id="41" creationId="{AE33B13D-A957-CD68-8667-4EFB24AE15D7}"/>
          </ac:grpSpMkLst>
        </pc:grpChg>
        <pc:grpChg chg="add del mod">
          <ac:chgData name="Hänninen, Lauri" userId="b62831d1-2046-40aa-b4b7-d67e2d73afe1" providerId="ADAL" clId="{F907ACC7-C8F7-470E-B883-D49732EB787C}" dt="2024-02-20T20:13:45.753" v="9225" actId="165"/>
          <ac:grpSpMkLst>
            <pc:docMk/>
            <pc:sldMk cId="3239871205" sldId="2147483606"/>
            <ac:grpSpMk id="42" creationId="{D59ED93C-0698-02A7-C1E4-967591769826}"/>
          </ac:grpSpMkLst>
        </pc:grpChg>
        <pc:grpChg chg="add del mod">
          <ac:chgData name="Hänninen, Lauri" userId="b62831d1-2046-40aa-b4b7-d67e2d73afe1" providerId="ADAL" clId="{F907ACC7-C8F7-470E-B883-D49732EB787C}" dt="2024-02-20T20:13:45.753" v="9225" actId="165"/>
          <ac:grpSpMkLst>
            <pc:docMk/>
            <pc:sldMk cId="3239871205" sldId="2147483606"/>
            <ac:grpSpMk id="44" creationId="{C7D29F59-7CF6-610D-6127-15BF97C62F6E}"/>
          </ac:grpSpMkLst>
        </pc:grpChg>
        <pc:grpChg chg="add del mod">
          <ac:chgData name="Hänninen, Lauri" userId="b62831d1-2046-40aa-b4b7-d67e2d73afe1" providerId="ADAL" clId="{F907ACC7-C8F7-470E-B883-D49732EB787C}" dt="2024-02-20T20:13:13.523" v="9221" actId="165"/>
          <ac:grpSpMkLst>
            <pc:docMk/>
            <pc:sldMk cId="3239871205" sldId="2147483606"/>
            <ac:grpSpMk id="45" creationId="{A240B049-DC0A-C3BC-5C17-F918D07A429A}"/>
          </ac:grpSpMkLst>
        </pc:grpChg>
        <pc:cxnChg chg="mod">
          <ac:chgData name="Hänninen, Lauri" userId="b62831d1-2046-40aa-b4b7-d67e2d73afe1" providerId="ADAL" clId="{F907ACC7-C8F7-470E-B883-D49732EB787C}" dt="2024-02-22T09:38:30.350" v="37019" actId="14100"/>
          <ac:cxnSpMkLst>
            <pc:docMk/>
            <pc:sldMk cId="3239871205" sldId="2147483606"/>
            <ac:cxnSpMk id="83" creationId="{AEB09DD1-E9C9-EE28-BCE7-6FFA5EC4DEE9}"/>
          </ac:cxnSpMkLst>
        </pc:cxnChg>
        <pc:cxnChg chg="mod">
          <ac:chgData name="Hänninen, Lauri" userId="b62831d1-2046-40aa-b4b7-d67e2d73afe1" providerId="ADAL" clId="{F907ACC7-C8F7-470E-B883-D49732EB787C}" dt="2024-02-22T09:38:30.350" v="37019" actId="14100"/>
          <ac:cxnSpMkLst>
            <pc:docMk/>
            <pc:sldMk cId="3239871205" sldId="2147483606"/>
            <ac:cxnSpMk id="84" creationId="{5331415C-798E-794C-E5E0-84E020A8185D}"/>
          </ac:cxnSpMkLst>
        </pc:cxnChg>
        <pc:cxnChg chg="mod">
          <ac:chgData name="Hänninen, Lauri" userId="b62831d1-2046-40aa-b4b7-d67e2d73afe1" providerId="ADAL" clId="{F907ACC7-C8F7-470E-B883-D49732EB787C}" dt="2024-02-22T09:38:03.174" v="37006"/>
          <ac:cxnSpMkLst>
            <pc:docMk/>
            <pc:sldMk cId="3239871205" sldId="2147483606"/>
            <ac:cxnSpMk id="85" creationId="{6F7EBA6F-D8A3-553A-B284-DBCA3C91BF6F}"/>
          </ac:cxnSpMkLst>
        </pc:cxnChg>
        <pc:cxnChg chg="mod">
          <ac:chgData name="Hänninen, Lauri" userId="b62831d1-2046-40aa-b4b7-d67e2d73afe1" providerId="ADAL" clId="{F907ACC7-C8F7-470E-B883-D49732EB787C}" dt="2024-02-22T09:37:46.603" v="37002" actId="1076"/>
          <ac:cxnSpMkLst>
            <pc:docMk/>
            <pc:sldMk cId="3239871205" sldId="2147483606"/>
            <ac:cxnSpMk id="171" creationId="{EDA14F7F-4C1A-E441-20B9-C9D7020AD819}"/>
          </ac:cxnSpMkLst>
        </pc:cxnChg>
      </pc:sldChg>
      <pc:sldChg chg="addSp delSp modSp mod ord modShow">
        <pc:chgData name="Hänninen, Lauri" userId="b62831d1-2046-40aa-b4b7-d67e2d73afe1" providerId="ADAL" clId="{F907ACC7-C8F7-470E-B883-D49732EB787C}" dt="2024-02-22T08:45:16.581" v="33304"/>
        <pc:sldMkLst>
          <pc:docMk/>
          <pc:sldMk cId="2564153488" sldId="2147483607"/>
        </pc:sldMkLst>
        <pc:spChg chg="mod ord">
          <ac:chgData name="Hänninen, Lauri" userId="b62831d1-2046-40aa-b4b7-d67e2d73afe1" providerId="ADAL" clId="{F907ACC7-C8F7-470E-B883-D49732EB787C}" dt="2024-02-22T08:45:16.551" v="33239"/>
          <ac:spMkLst>
            <pc:docMk/>
            <pc:sldMk cId="2564153488" sldId="2147483607"/>
            <ac:spMk id="2" creationId="{EBC0B914-B399-C0DC-19F9-15CAD22445E2}"/>
          </ac:spMkLst>
        </pc:spChg>
        <pc:spChg chg="mod ord">
          <ac:chgData name="Hänninen, Lauri" userId="b62831d1-2046-40aa-b4b7-d67e2d73afe1" providerId="ADAL" clId="{F907ACC7-C8F7-470E-B883-D49732EB787C}" dt="2024-02-22T08:45:16.552" v="33241"/>
          <ac:spMkLst>
            <pc:docMk/>
            <pc:sldMk cId="2564153488" sldId="2147483607"/>
            <ac:spMk id="3" creationId="{E61F54FD-301D-50D2-049C-775E4F28D645}"/>
          </ac:spMkLst>
        </pc:spChg>
        <pc:spChg chg="mod ord">
          <ac:chgData name="Hänninen, Lauri" userId="b62831d1-2046-40aa-b4b7-d67e2d73afe1" providerId="ADAL" clId="{F907ACC7-C8F7-470E-B883-D49732EB787C}" dt="2024-02-22T08:45:16.552" v="33243"/>
          <ac:spMkLst>
            <pc:docMk/>
            <pc:sldMk cId="2564153488" sldId="2147483607"/>
            <ac:spMk id="4" creationId="{D046A7B9-FBC8-3664-2D5D-651DF683D353}"/>
          </ac:spMkLst>
        </pc:spChg>
        <pc:spChg chg="del">
          <ac:chgData name="Hänninen, Lauri" userId="b62831d1-2046-40aa-b4b7-d67e2d73afe1" providerId="ADAL" clId="{F907ACC7-C8F7-470E-B883-D49732EB787C}" dt="2024-02-21T09:23:02.237" v="10182" actId="478"/>
          <ac:spMkLst>
            <pc:docMk/>
            <pc:sldMk cId="2564153488" sldId="2147483607"/>
            <ac:spMk id="5" creationId="{7A4585FA-F6A3-1319-768E-EAB36FB8499E}"/>
          </ac:spMkLst>
        </pc:spChg>
        <pc:spChg chg="add del mod ord">
          <ac:chgData name="Hänninen, Lauri" userId="b62831d1-2046-40aa-b4b7-d67e2d73afe1" providerId="ADAL" clId="{F907ACC7-C8F7-470E-B883-D49732EB787C}" dt="2024-02-22T08:35:38.969" v="32755" actId="478"/>
          <ac:spMkLst>
            <pc:docMk/>
            <pc:sldMk cId="2564153488" sldId="2147483607"/>
            <ac:spMk id="5" creationId="{87BF1243-8355-55C1-BCC5-3CBFCD88690F}"/>
          </ac:spMkLst>
        </pc:spChg>
        <pc:spChg chg="add del mod modVis">
          <ac:chgData name="Hänninen, Lauri" userId="b62831d1-2046-40aa-b4b7-d67e2d73afe1" providerId="ADAL" clId="{F907ACC7-C8F7-470E-B883-D49732EB787C}" dt="2024-02-21T18:48:45.252" v="31175"/>
          <ac:spMkLst>
            <pc:docMk/>
            <pc:sldMk cId="2564153488" sldId="2147483607"/>
            <ac:spMk id="6" creationId="{79CA8CC0-359A-75E2-A1AA-7512406DC488}"/>
          </ac:spMkLst>
        </pc:spChg>
        <pc:spChg chg="del">
          <ac:chgData name="Hänninen, Lauri" userId="b62831d1-2046-40aa-b4b7-d67e2d73afe1" providerId="ADAL" clId="{F907ACC7-C8F7-470E-B883-D49732EB787C}" dt="2024-02-21T09:23:00.559" v="10181" actId="478"/>
          <ac:spMkLst>
            <pc:docMk/>
            <pc:sldMk cId="2564153488" sldId="2147483607"/>
            <ac:spMk id="6" creationId="{A00A222B-6717-5085-181C-93E44A669641}"/>
          </ac:spMkLst>
        </pc:spChg>
        <pc:spChg chg="add mod ord">
          <ac:chgData name="Hänninen, Lauri" userId="b62831d1-2046-40aa-b4b7-d67e2d73afe1" providerId="ADAL" clId="{F907ACC7-C8F7-470E-B883-D49732EB787C}" dt="2024-02-22T08:45:16.564" v="33298"/>
          <ac:spMkLst>
            <pc:docMk/>
            <pc:sldMk cId="2564153488" sldId="2147483607"/>
            <ac:spMk id="6" creationId="{A0FD8DE8-7502-D220-4EDD-0CD169211AB5}"/>
          </ac:spMkLst>
        </pc:spChg>
        <pc:spChg chg="del">
          <ac:chgData name="Hänninen, Lauri" userId="b62831d1-2046-40aa-b4b7-d67e2d73afe1" providerId="ADAL" clId="{F907ACC7-C8F7-470E-B883-D49732EB787C}" dt="2024-02-21T09:23:00.559" v="10181" actId="478"/>
          <ac:spMkLst>
            <pc:docMk/>
            <pc:sldMk cId="2564153488" sldId="2147483607"/>
            <ac:spMk id="7" creationId="{39BEB2B6-8F3B-B75D-DBA0-1ACFA7503C12}"/>
          </ac:spMkLst>
        </pc:spChg>
        <pc:spChg chg="add del mod">
          <ac:chgData name="Hänninen, Lauri" userId="b62831d1-2046-40aa-b4b7-d67e2d73afe1" providerId="ADAL" clId="{F907ACC7-C8F7-470E-B883-D49732EB787C}" dt="2024-02-21T11:46:34.653" v="17952" actId="478"/>
          <ac:spMkLst>
            <pc:docMk/>
            <pc:sldMk cId="2564153488" sldId="2147483607"/>
            <ac:spMk id="7" creationId="{A9727A2B-5963-42C3-A1CA-086E1964F162}"/>
          </ac:spMkLst>
        </pc:spChg>
        <pc:spChg chg="add del mod modVis">
          <ac:chgData name="Hänninen, Lauri" userId="b62831d1-2046-40aa-b4b7-d67e2d73afe1" providerId="ADAL" clId="{F907ACC7-C8F7-470E-B883-D49732EB787C}" dt="2024-02-21T18:51:38.930" v="31319"/>
          <ac:spMkLst>
            <pc:docMk/>
            <pc:sldMk cId="2564153488" sldId="2147483607"/>
            <ac:spMk id="8" creationId="{287DE32B-0620-A3AF-8266-BC01B173AA25}"/>
          </ac:spMkLst>
        </pc:spChg>
        <pc:spChg chg="add del mod modVis">
          <ac:chgData name="Hänninen, Lauri" userId="b62831d1-2046-40aa-b4b7-d67e2d73afe1" providerId="ADAL" clId="{F907ACC7-C8F7-470E-B883-D49732EB787C}" dt="2024-02-22T08:45:16.565" v="33302"/>
          <ac:spMkLst>
            <pc:docMk/>
            <pc:sldMk cId="2564153488" sldId="2147483607"/>
            <ac:spMk id="8" creationId="{77F48922-2A5B-6DF9-E7E3-833EE640341E}"/>
          </ac:spMkLst>
        </pc:spChg>
        <pc:spChg chg="mod">
          <ac:chgData name="Hänninen, Lauri" userId="b62831d1-2046-40aa-b4b7-d67e2d73afe1" providerId="ADAL" clId="{F907ACC7-C8F7-470E-B883-D49732EB787C}" dt="2024-02-21T08:15:42.081" v="9569"/>
          <ac:spMkLst>
            <pc:docMk/>
            <pc:sldMk cId="2564153488" sldId="2147483607"/>
            <ac:spMk id="9" creationId="{C5E55262-3705-1FB5-6867-E8DD6336B49F}"/>
          </ac:spMkLst>
        </pc:spChg>
        <pc:spChg chg="mod">
          <ac:chgData name="Hänninen, Lauri" userId="b62831d1-2046-40aa-b4b7-d67e2d73afe1" providerId="ADAL" clId="{F907ACC7-C8F7-470E-B883-D49732EB787C}" dt="2024-02-21T08:15:42.081" v="9569"/>
          <ac:spMkLst>
            <pc:docMk/>
            <pc:sldMk cId="2564153488" sldId="2147483607"/>
            <ac:spMk id="10" creationId="{A3422BF3-815F-A7C8-881D-D41BB7F3D396}"/>
          </ac:spMkLst>
        </pc:spChg>
        <pc:spChg chg="add del mod modVis">
          <ac:chgData name="Hänninen, Lauri" userId="b62831d1-2046-40aa-b4b7-d67e2d73afe1" providerId="ADAL" clId="{F907ACC7-C8F7-470E-B883-D49732EB787C}" dt="2024-02-21T18:51:41.260" v="31437"/>
          <ac:spMkLst>
            <pc:docMk/>
            <pc:sldMk cId="2564153488" sldId="2147483607"/>
            <ac:spMk id="10" creationId="{B11FE25D-4BD6-BF5D-1105-7ACB0AFED0D3}"/>
          </ac:spMkLst>
        </pc:spChg>
        <pc:spChg chg="mod">
          <ac:chgData name="Hänninen, Lauri" userId="b62831d1-2046-40aa-b4b7-d67e2d73afe1" providerId="ADAL" clId="{F907ACC7-C8F7-470E-B883-D49732EB787C}" dt="2024-02-21T08:15:42.081" v="9569"/>
          <ac:spMkLst>
            <pc:docMk/>
            <pc:sldMk cId="2564153488" sldId="2147483607"/>
            <ac:spMk id="11" creationId="{A649D14D-00F7-D89A-711C-1D4AE813BE13}"/>
          </ac:spMkLst>
        </pc:spChg>
        <pc:spChg chg="mod">
          <ac:chgData name="Hänninen, Lauri" userId="b62831d1-2046-40aa-b4b7-d67e2d73afe1" providerId="ADAL" clId="{F907ACC7-C8F7-470E-B883-D49732EB787C}" dt="2024-02-21T08:15:42.081" v="9569"/>
          <ac:spMkLst>
            <pc:docMk/>
            <pc:sldMk cId="2564153488" sldId="2147483607"/>
            <ac:spMk id="12" creationId="{CBD44DB5-14D9-AA9D-1693-4BB4D21FABD2}"/>
          </ac:spMkLst>
        </pc:spChg>
        <pc:spChg chg="mod">
          <ac:chgData name="Hänninen, Lauri" userId="b62831d1-2046-40aa-b4b7-d67e2d73afe1" providerId="ADAL" clId="{F907ACC7-C8F7-470E-B883-D49732EB787C}" dt="2024-02-21T08:15:42.081" v="9569"/>
          <ac:spMkLst>
            <pc:docMk/>
            <pc:sldMk cId="2564153488" sldId="2147483607"/>
            <ac:spMk id="13" creationId="{D54E43A3-6B4D-8D2F-6A22-DB99F99A68A3}"/>
          </ac:spMkLst>
        </pc:spChg>
        <pc:spChg chg="mod">
          <ac:chgData name="Hänninen, Lauri" userId="b62831d1-2046-40aa-b4b7-d67e2d73afe1" providerId="ADAL" clId="{F907ACC7-C8F7-470E-B883-D49732EB787C}" dt="2024-02-21T08:16:36.710" v="9578"/>
          <ac:spMkLst>
            <pc:docMk/>
            <pc:sldMk cId="2564153488" sldId="2147483607"/>
            <ac:spMk id="15" creationId="{6254D698-C303-7189-F940-4983CAA39C19}"/>
          </ac:spMkLst>
        </pc:spChg>
        <pc:spChg chg="mod">
          <ac:chgData name="Hänninen, Lauri" userId="b62831d1-2046-40aa-b4b7-d67e2d73afe1" providerId="ADAL" clId="{F907ACC7-C8F7-470E-B883-D49732EB787C}" dt="2024-02-21T08:16:36.710" v="9578"/>
          <ac:spMkLst>
            <pc:docMk/>
            <pc:sldMk cId="2564153488" sldId="2147483607"/>
            <ac:spMk id="16" creationId="{255F39A1-62CC-3A44-1CAF-8B2198CCB0B4}"/>
          </ac:spMkLst>
        </pc:spChg>
        <pc:spChg chg="mod">
          <ac:chgData name="Hänninen, Lauri" userId="b62831d1-2046-40aa-b4b7-d67e2d73afe1" providerId="ADAL" clId="{F907ACC7-C8F7-470E-B883-D49732EB787C}" dt="2024-02-21T08:16:36.710" v="9578"/>
          <ac:spMkLst>
            <pc:docMk/>
            <pc:sldMk cId="2564153488" sldId="2147483607"/>
            <ac:spMk id="17" creationId="{8ABBFABF-7254-089E-D07E-B9CC883C2C4D}"/>
          </ac:spMkLst>
        </pc:spChg>
        <pc:spChg chg="mod">
          <ac:chgData name="Hänninen, Lauri" userId="b62831d1-2046-40aa-b4b7-d67e2d73afe1" providerId="ADAL" clId="{F907ACC7-C8F7-470E-B883-D49732EB787C}" dt="2024-02-21T08:16:36.710" v="9578"/>
          <ac:spMkLst>
            <pc:docMk/>
            <pc:sldMk cId="2564153488" sldId="2147483607"/>
            <ac:spMk id="18" creationId="{95106925-FED1-B13A-18DF-C0C634CBA0F4}"/>
          </ac:spMkLst>
        </pc:spChg>
        <pc:spChg chg="mod">
          <ac:chgData name="Hänninen, Lauri" userId="b62831d1-2046-40aa-b4b7-d67e2d73afe1" providerId="ADAL" clId="{F907ACC7-C8F7-470E-B883-D49732EB787C}" dt="2024-02-21T08:16:36.710" v="9578"/>
          <ac:spMkLst>
            <pc:docMk/>
            <pc:sldMk cId="2564153488" sldId="2147483607"/>
            <ac:spMk id="19" creationId="{8C3D356C-D7CE-23B1-489C-B08F92C99D8B}"/>
          </ac:spMkLst>
        </pc:spChg>
        <pc:spChg chg="add del mod">
          <ac:chgData name="Hänninen, Lauri" userId="b62831d1-2046-40aa-b4b7-d67e2d73afe1" providerId="ADAL" clId="{F907ACC7-C8F7-470E-B883-D49732EB787C}" dt="2024-02-21T09:23:08.703" v="10183" actId="478"/>
          <ac:spMkLst>
            <pc:docMk/>
            <pc:sldMk cId="2564153488" sldId="2147483607"/>
            <ac:spMk id="21" creationId="{ACC2873E-0F2A-402B-7816-3AA86D1788FD}"/>
          </ac:spMkLst>
        </pc:spChg>
        <pc:spChg chg="add del mod ord">
          <ac:chgData name="Hänninen, Lauri" userId="b62831d1-2046-40aa-b4b7-d67e2d73afe1" providerId="ADAL" clId="{F907ACC7-C8F7-470E-B883-D49732EB787C}" dt="2024-02-21T11:46:32.229" v="17951" actId="478"/>
          <ac:spMkLst>
            <pc:docMk/>
            <pc:sldMk cId="2564153488" sldId="2147483607"/>
            <ac:spMk id="22" creationId="{4DF9D658-6245-11CE-2D1B-07A3E39522DE}"/>
          </ac:spMkLst>
        </pc:spChg>
        <pc:spChg chg="add mod replST">
          <ac:chgData name="Hänninen, Lauri" userId="b62831d1-2046-40aa-b4b7-d67e2d73afe1" providerId="ADAL" clId="{F907ACC7-C8F7-470E-B883-D49732EB787C}" dt="2024-02-22T08:45:16.553" v="33251"/>
          <ac:spMkLst>
            <pc:docMk/>
            <pc:sldMk cId="2564153488" sldId="2147483607"/>
            <ac:spMk id="27" creationId="{226D3426-8D8E-B00F-BDAA-61313408FA96}"/>
          </ac:spMkLst>
        </pc:spChg>
        <pc:spChg chg="add mod replST">
          <ac:chgData name="Hänninen, Lauri" userId="b62831d1-2046-40aa-b4b7-d67e2d73afe1" providerId="ADAL" clId="{F907ACC7-C8F7-470E-B883-D49732EB787C}" dt="2024-02-22T08:45:16.554" v="33252"/>
          <ac:spMkLst>
            <pc:docMk/>
            <pc:sldMk cId="2564153488" sldId="2147483607"/>
            <ac:spMk id="28" creationId="{E9ADDDC6-7337-B9A5-3C6D-AF0021AB7D4C}"/>
          </ac:spMkLst>
        </pc:spChg>
        <pc:spChg chg="add mod replST">
          <ac:chgData name="Hänninen, Lauri" userId="b62831d1-2046-40aa-b4b7-d67e2d73afe1" providerId="ADAL" clId="{F907ACC7-C8F7-470E-B883-D49732EB787C}" dt="2024-02-22T08:45:16.554" v="33253"/>
          <ac:spMkLst>
            <pc:docMk/>
            <pc:sldMk cId="2564153488" sldId="2147483607"/>
            <ac:spMk id="29" creationId="{96FA22ED-7AA3-8452-CFC2-8B966B3DFA20}"/>
          </ac:spMkLst>
        </pc:spChg>
        <pc:spChg chg="add mod replST">
          <ac:chgData name="Hänninen, Lauri" userId="b62831d1-2046-40aa-b4b7-d67e2d73afe1" providerId="ADAL" clId="{F907ACC7-C8F7-470E-B883-D49732EB787C}" dt="2024-02-22T08:45:16.554" v="33254"/>
          <ac:spMkLst>
            <pc:docMk/>
            <pc:sldMk cId="2564153488" sldId="2147483607"/>
            <ac:spMk id="30" creationId="{5836E5E8-31EA-E390-E90D-2CD528CFE18A}"/>
          </ac:spMkLst>
        </pc:spChg>
        <pc:spChg chg="add mod replST">
          <ac:chgData name="Hänninen, Lauri" userId="b62831d1-2046-40aa-b4b7-d67e2d73afe1" providerId="ADAL" clId="{F907ACC7-C8F7-470E-B883-D49732EB787C}" dt="2024-02-22T08:45:16.555" v="33255"/>
          <ac:spMkLst>
            <pc:docMk/>
            <pc:sldMk cId="2564153488" sldId="2147483607"/>
            <ac:spMk id="31" creationId="{E7D4E73E-549F-53C2-9068-778132F94CC9}"/>
          </ac:spMkLst>
        </pc:spChg>
        <pc:spChg chg="add mod ord replST">
          <ac:chgData name="Hänninen, Lauri" userId="b62831d1-2046-40aa-b4b7-d67e2d73afe1" providerId="ADAL" clId="{F907ACC7-C8F7-470E-B883-D49732EB787C}" dt="2024-02-22T08:45:16.555" v="33257"/>
          <ac:spMkLst>
            <pc:docMk/>
            <pc:sldMk cId="2564153488" sldId="2147483607"/>
            <ac:spMk id="32" creationId="{1382ECAF-E9B1-5215-D23E-460C5DADF0E7}"/>
          </ac:spMkLst>
        </pc:spChg>
        <pc:spChg chg="add mod ord replST">
          <ac:chgData name="Hänninen, Lauri" userId="b62831d1-2046-40aa-b4b7-d67e2d73afe1" providerId="ADAL" clId="{F907ACC7-C8F7-470E-B883-D49732EB787C}" dt="2024-02-22T08:45:16.555" v="33259"/>
          <ac:spMkLst>
            <pc:docMk/>
            <pc:sldMk cId="2564153488" sldId="2147483607"/>
            <ac:spMk id="33" creationId="{1AA0EBE3-61F3-8A58-5DB7-3E8EA99F3F49}"/>
          </ac:spMkLst>
        </pc:spChg>
        <pc:spChg chg="add mod ord replST">
          <ac:chgData name="Hänninen, Lauri" userId="b62831d1-2046-40aa-b4b7-d67e2d73afe1" providerId="ADAL" clId="{F907ACC7-C8F7-470E-B883-D49732EB787C}" dt="2024-02-22T08:45:16.556" v="33261"/>
          <ac:spMkLst>
            <pc:docMk/>
            <pc:sldMk cId="2564153488" sldId="2147483607"/>
            <ac:spMk id="34" creationId="{7C606394-B636-123B-6E5C-810A470D8D21}"/>
          </ac:spMkLst>
        </pc:spChg>
        <pc:spChg chg="add mod ord replST">
          <ac:chgData name="Hänninen, Lauri" userId="b62831d1-2046-40aa-b4b7-d67e2d73afe1" providerId="ADAL" clId="{F907ACC7-C8F7-470E-B883-D49732EB787C}" dt="2024-02-22T08:45:16.556" v="33263"/>
          <ac:spMkLst>
            <pc:docMk/>
            <pc:sldMk cId="2564153488" sldId="2147483607"/>
            <ac:spMk id="35" creationId="{56AD032C-21FC-3644-1DA7-407F598E87A6}"/>
          </ac:spMkLst>
        </pc:spChg>
        <pc:spChg chg="add mod ord replST">
          <ac:chgData name="Hänninen, Lauri" userId="b62831d1-2046-40aa-b4b7-d67e2d73afe1" providerId="ADAL" clId="{F907ACC7-C8F7-470E-B883-D49732EB787C}" dt="2024-02-22T08:45:16.556" v="33265"/>
          <ac:spMkLst>
            <pc:docMk/>
            <pc:sldMk cId="2564153488" sldId="2147483607"/>
            <ac:spMk id="36" creationId="{611A7901-95CE-5F34-E7C2-68D111B3FD4C}"/>
          </ac:spMkLst>
        </pc:spChg>
        <pc:spChg chg="add mod ord replST">
          <ac:chgData name="Hänninen, Lauri" userId="b62831d1-2046-40aa-b4b7-d67e2d73afe1" providerId="ADAL" clId="{F907ACC7-C8F7-470E-B883-D49732EB787C}" dt="2024-02-22T08:45:16.557" v="33267"/>
          <ac:spMkLst>
            <pc:docMk/>
            <pc:sldMk cId="2564153488" sldId="2147483607"/>
            <ac:spMk id="37" creationId="{4F03420A-CDC5-43F3-8F3F-7639F1B6C4E0}"/>
          </ac:spMkLst>
        </pc:spChg>
        <pc:spChg chg="add mod replST">
          <ac:chgData name="Hänninen, Lauri" userId="b62831d1-2046-40aa-b4b7-d67e2d73afe1" providerId="ADAL" clId="{F907ACC7-C8F7-470E-B883-D49732EB787C}" dt="2024-02-22T08:45:16.558" v="33273"/>
          <ac:spMkLst>
            <pc:docMk/>
            <pc:sldMk cId="2564153488" sldId="2147483607"/>
            <ac:spMk id="38" creationId="{9E1DA3FA-BCF4-C747-DEA3-AF9C10C5A30B}"/>
          </ac:spMkLst>
        </pc:spChg>
        <pc:spChg chg="add mod replST">
          <ac:chgData name="Hänninen, Lauri" userId="b62831d1-2046-40aa-b4b7-d67e2d73afe1" providerId="ADAL" clId="{F907ACC7-C8F7-470E-B883-D49732EB787C}" dt="2024-02-22T08:45:16.557" v="33268"/>
          <ac:spMkLst>
            <pc:docMk/>
            <pc:sldMk cId="2564153488" sldId="2147483607"/>
            <ac:spMk id="39" creationId="{1F531180-F827-488F-7157-F1DA0F62A4A8}"/>
          </ac:spMkLst>
        </pc:spChg>
        <pc:spChg chg="add mod replST">
          <ac:chgData name="Hänninen, Lauri" userId="b62831d1-2046-40aa-b4b7-d67e2d73afe1" providerId="ADAL" clId="{F907ACC7-C8F7-470E-B883-D49732EB787C}" dt="2024-02-22T08:45:16.558" v="33272"/>
          <ac:spMkLst>
            <pc:docMk/>
            <pc:sldMk cId="2564153488" sldId="2147483607"/>
            <ac:spMk id="40" creationId="{EE25C1F2-9258-1BE1-7E7F-C428681EDB34}"/>
          </ac:spMkLst>
        </pc:spChg>
        <pc:spChg chg="add mod replST">
          <ac:chgData name="Hänninen, Lauri" userId="b62831d1-2046-40aa-b4b7-d67e2d73afe1" providerId="ADAL" clId="{F907ACC7-C8F7-470E-B883-D49732EB787C}" dt="2024-02-22T08:45:16.557" v="33269"/>
          <ac:spMkLst>
            <pc:docMk/>
            <pc:sldMk cId="2564153488" sldId="2147483607"/>
            <ac:spMk id="41" creationId="{C5E616B9-1FA0-767A-AB9A-80CF8D024F3D}"/>
          </ac:spMkLst>
        </pc:spChg>
        <pc:spChg chg="add mod replST">
          <ac:chgData name="Hänninen, Lauri" userId="b62831d1-2046-40aa-b4b7-d67e2d73afe1" providerId="ADAL" clId="{F907ACC7-C8F7-470E-B883-D49732EB787C}" dt="2024-02-22T08:45:16.557" v="33270"/>
          <ac:spMkLst>
            <pc:docMk/>
            <pc:sldMk cId="2564153488" sldId="2147483607"/>
            <ac:spMk id="42" creationId="{A1613C35-C1C9-A480-FA5C-D982D9AF45A6}"/>
          </ac:spMkLst>
        </pc:spChg>
        <pc:spChg chg="add mod replST">
          <ac:chgData name="Hänninen, Lauri" userId="b62831d1-2046-40aa-b4b7-d67e2d73afe1" providerId="ADAL" clId="{F907ACC7-C8F7-470E-B883-D49732EB787C}" dt="2024-02-22T08:45:16.558" v="33271"/>
          <ac:spMkLst>
            <pc:docMk/>
            <pc:sldMk cId="2564153488" sldId="2147483607"/>
            <ac:spMk id="43" creationId="{80E3F9D9-8111-C267-D553-2CA0B85FBD61}"/>
          </ac:spMkLst>
        </pc:spChg>
        <pc:spChg chg="add del mod modVis">
          <ac:chgData name="Hänninen, Lauri" userId="b62831d1-2046-40aa-b4b7-d67e2d73afe1" providerId="ADAL" clId="{F907ACC7-C8F7-470E-B883-D49732EB787C}" dt="2024-02-21T09:26:20.544" v="10528"/>
          <ac:spMkLst>
            <pc:docMk/>
            <pc:sldMk cId="2564153488" sldId="2147483607"/>
            <ac:spMk id="44" creationId="{354D652F-ED89-2C0D-0146-BD4E3B744F00}"/>
          </ac:spMkLst>
        </pc:spChg>
        <pc:spChg chg="add del mod">
          <ac:chgData name="Hänninen, Lauri" userId="b62831d1-2046-40aa-b4b7-d67e2d73afe1" providerId="ADAL" clId="{F907ACC7-C8F7-470E-B883-D49732EB787C}" dt="2024-02-21T09:27:14.274" v="10657" actId="478"/>
          <ac:spMkLst>
            <pc:docMk/>
            <pc:sldMk cId="2564153488" sldId="2147483607"/>
            <ac:spMk id="48" creationId="{29704A92-8FF6-64AC-89EA-4262922FAE0A}"/>
          </ac:spMkLst>
        </pc:spChg>
        <pc:spChg chg="add mod">
          <ac:chgData name="Hänninen, Lauri" userId="b62831d1-2046-40aa-b4b7-d67e2d73afe1" providerId="ADAL" clId="{F907ACC7-C8F7-470E-B883-D49732EB787C}" dt="2024-02-22T08:45:16.558" v="33274"/>
          <ac:spMkLst>
            <pc:docMk/>
            <pc:sldMk cId="2564153488" sldId="2147483607"/>
            <ac:spMk id="49" creationId="{B5F23909-0CE2-4378-6026-F81A261AE437}"/>
          </ac:spMkLst>
        </pc:spChg>
        <pc:spChg chg="add mod">
          <ac:chgData name="Hänninen, Lauri" userId="b62831d1-2046-40aa-b4b7-d67e2d73afe1" providerId="ADAL" clId="{F907ACC7-C8F7-470E-B883-D49732EB787C}" dt="2024-02-22T08:45:16.559" v="33275"/>
          <ac:spMkLst>
            <pc:docMk/>
            <pc:sldMk cId="2564153488" sldId="2147483607"/>
            <ac:spMk id="50" creationId="{9C558A6F-2C4A-0AAE-B84A-6A68742524B8}"/>
          </ac:spMkLst>
        </pc:spChg>
        <pc:spChg chg="add del mod replST">
          <ac:chgData name="Hänninen, Lauri" userId="b62831d1-2046-40aa-b4b7-d67e2d73afe1" providerId="ADAL" clId="{F907ACC7-C8F7-470E-B883-D49732EB787C}" dt="2024-02-21T09:27:18.818" v="10924"/>
          <ac:spMkLst>
            <pc:docMk/>
            <pc:sldMk cId="2564153488" sldId="2147483607"/>
            <ac:spMk id="52" creationId="{E380C2E1-71E3-FEB5-282B-23CE6C3C669D}"/>
          </ac:spMkLst>
        </pc:spChg>
        <pc:spChg chg="add del mod modVis">
          <ac:chgData name="Hänninen, Lauri" userId="b62831d1-2046-40aa-b4b7-d67e2d73afe1" providerId="ADAL" clId="{F907ACC7-C8F7-470E-B883-D49732EB787C}" dt="2024-02-21T09:27:17.180" v="10909"/>
          <ac:spMkLst>
            <pc:docMk/>
            <pc:sldMk cId="2564153488" sldId="2147483607"/>
            <ac:spMk id="53" creationId="{992796F0-42A5-C8BC-8BE7-E743478BB8D4}"/>
          </ac:spMkLst>
        </pc:spChg>
        <pc:spChg chg="add del mod modVis">
          <ac:chgData name="Hänninen, Lauri" userId="b62831d1-2046-40aa-b4b7-d67e2d73afe1" providerId="ADAL" clId="{F907ACC7-C8F7-470E-B883-D49732EB787C}" dt="2024-02-21T09:27:23.470" v="11166"/>
          <ac:spMkLst>
            <pc:docMk/>
            <pc:sldMk cId="2564153488" sldId="2147483607"/>
            <ac:spMk id="56" creationId="{EFD7359A-614F-316A-E92D-9FC82E282721}"/>
          </ac:spMkLst>
        </pc:spChg>
        <pc:spChg chg="add del mod modVis">
          <ac:chgData name="Hänninen, Lauri" userId="b62831d1-2046-40aa-b4b7-d67e2d73afe1" providerId="ADAL" clId="{F907ACC7-C8F7-470E-B883-D49732EB787C}" dt="2024-02-21T09:27:40.948" v="11549"/>
          <ac:spMkLst>
            <pc:docMk/>
            <pc:sldMk cId="2564153488" sldId="2147483607"/>
            <ac:spMk id="60" creationId="{B5B9F07A-312C-D9CE-B73E-AB6C276A354F}"/>
          </ac:spMkLst>
        </pc:spChg>
        <pc:spChg chg="add del mod replST">
          <ac:chgData name="Hänninen, Lauri" userId="b62831d1-2046-40aa-b4b7-d67e2d73afe1" providerId="ADAL" clId="{F907ACC7-C8F7-470E-B883-D49732EB787C}" dt="2024-02-21T11:08:13.490" v="12285"/>
          <ac:spMkLst>
            <pc:docMk/>
            <pc:sldMk cId="2564153488" sldId="2147483607"/>
            <ac:spMk id="68" creationId="{467BCC57-0683-3D42-5E87-DC5904A35E6C}"/>
          </ac:spMkLst>
        </pc:spChg>
        <pc:spChg chg="add del mod modVis">
          <ac:chgData name="Hänninen, Lauri" userId="b62831d1-2046-40aa-b4b7-d67e2d73afe1" providerId="ADAL" clId="{F907ACC7-C8F7-470E-B883-D49732EB787C}" dt="2024-02-21T11:08:11.210" v="12270"/>
          <ac:spMkLst>
            <pc:docMk/>
            <pc:sldMk cId="2564153488" sldId="2147483607"/>
            <ac:spMk id="69" creationId="{6C9958BC-2FCE-2ED1-D4A2-90FCE0358976}"/>
          </ac:spMkLst>
        </pc:spChg>
        <pc:spChg chg="add del mod modVis">
          <ac:chgData name="Hänninen, Lauri" userId="b62831d1-2046-40aa-b4b7-d67e2d73afe1" providerId="ADAL" clId="{F907ACC7-C8F7-470E-B883-D49732EB787C}" dt="2024-02-21T11:08:15.190" v="12527"/>
          <ac:spMkLst>
            <pc:docMk/>
            <pc:sldMk cId="2564153488" sldId="2147483607"/>
            <ac:spMk id="72" creationId="{F9EBA7DD-C3A5-16F5-5E40-FF33A4B77E62}"/>
          </ac:spMkLst>
        </pc:spChg>
        <pc:spChg chg="add del mod modVis">
          <ac:chgData name="Hänninen, Lauri" userId="b62831d1-2046-40aa-b4b7-d67e2d73afe1" providerId="ADAL" clId="{F907ACC7-C8F7-470E-B883-D49732EB787C}" dt="2024-02-21T11:08:19.003" v="12669"/>
          <ac:spMkLst>
            <pc:docMk/>
            <pc:sldMk cId="2564153488" sldId="2147483607"/>
            <ac:spMk id="74" creationId="{EDDA6AF0-D96A-AADA-7C72-968327017C67}"/>
          </ac:spMkLst>
        </pc:spChg>
        <pc:spChg chg="add del mod modVis">
          <ac:chgData name="Hänninen, Lauri" userId="b62831d1-2046-40aa-b4b7-d67e2d73afe1" providerId="ADAL" clId="{F907ACC7-C8F7-470E-B883-D49732EB787C}" dt="2024-02-21T11:08:22.475" v="12750"/>
          <ac:spMkLst>
            <pc:docMk/>
            <pc:sldMk cId="2564153488" sldId="2147483607"/>
            <ac:spMk id="75" creationId="{ECDA5ACC-9D71-ABDF-EB09-282A85DEDD13}"/>
          </ac:spMkLst>
        </pc:spChg>
        <pc:spChg chg="add del mod">
          <ac:chgData name="Hänninen, Lauri" userId="b62831d1-2046-40aa-b4b7-d67e2d73afe1" providerId="ADAL" clId="{F907ACC7-C8F7-470E-B883-D49732EB787C}" dt="2024-02-21T11:31:00.880" v="17742" actId="478"/>
          <ac:spMkLst>
            <pc:docMk/>
            <pc:sldMk cId="2564153488" sldId="2147483607"/>
            <ac:spMk id="78" creationId="{FC8B22D7-5D82-8FF4-A52B-411E6CD4A284}"/>
          </ac:spMkLst>
        </pc:spChg>
        <pc:spChg chg="add mod replST">
          <ac:chgData name="Hänninen, Lauri" userId="b62831d1-2046-40aa-b4b7-d67e2d73afe1" providerId="ADAL" clId="{F907ACC7-C8F7-470E-B883-D49732EB787C}" dt="2024-02-22T08:45:16.559" v="33277"/>
          <ac:spMkLst>
            <pc:docMk/>
            <pc:sldMk cId="2564153488" sldId="2147483607"/>
            <ac:spMk id="80" creationId="{09006858-39EA-3372-4480-0F76CAC9BA80}"/>
          </ac:spMkLst>
        </pc:spChg>
        <pc:spChg chg="add mod replST">
          <ac:chgData name="Hänninen, Lauri" userId="b62831d1-2046-40aa-b4b7-d67e2d73afe1" providerId="ADAL" clId="{F907ACC7-C8F7-470E-B883-D49732EB787C}" dt="2024-02-22T08:45:16.559" v="33278"/>
          <ac:spMkLst>
            <pc:docMk/>
            <pc:sldMk cId="2564153488" sldId="2147483607"/>
            <ac:spMk id="81" creationId="{40A42BA0-2F73-96A5-726C-6B985D870710}"/>
          </ac:spMkLst>
        </pc:spChg>
        <pc:spChg chg="add mod replST">
          <ac:chgData name="Hänninen, Lauri" userId="b62831d1-2046-40aa-b4b7-d67e2d73afe1" providerId="ADAL" clId="{F907ACC7-C8F7-470E-B883-D49732EB787C}" dt="2024-02-22T08:45:16.560" v="33279"/>
          <ac:spMkLst>
            <pc:docMk/>
            <pc:sldMk cId="2564153488" sldId="2147483607"/>
            <ac:spMk id="82" creationId="{06C42EFD-06E9-E0A4-51B5-7C2B756498FE}"/>
          </ac:spMkLst>
        </pc:spChg>
        <pc:spChg chg="add mod replST">
          <ac:chgData name="Hänninen, Lauri" userId="b62831d1-2046-40aa-b4b7-d67e2d73afe1" providerId="ADAL" clId="{F907ACC7-C8F7-470E-B883-D49732EB787C}" dt="2024-02-22T08:45:16.560" v="33280"/>
          <ac:spMkLst>
            <pc:docMk/>
            <pc:sldMk cId="2564153488" sldId="2147483607"/>
            <ac:spMk id="83" creationId="{F34E02FF-3CB1-4128-1FE8-78E813E89869}"/>
          </ac:spMkLst>
        </pc:spChg>
        <pc:spChg chg="add mod replST">
          <ac:chgData name="Hänninen, Lauri" userId="b62831d1-2046-40aa-b4b7-d67e2d73afe1" providerId="ADAL" clId="{F907ACC7-C8F7-470E-B883-D49732EB787C}" dt="2024-02-22T08:45:16.560" v="33281"/>
          <ac:spMkLst>
            <pc:docMk/>
            <pc:sldMk cId="2564153488" sldId="2147483607"/>
            <ac:spMk id="84" creationId="{E60DE9FF-AF7B-8A3D-192C-38004CAEDB0A}"/>
          </ac:spMkLst>
        </pc:spChg>
        <pc:spChg chg="add mod replST">
          <ac:chgData name="Hänninen, Lauri" userId="b62831d1-2046-40aa-b4b7-d67e2d73afe1" providerId="ADAL" clId="{F907ACC7-C8F7-470E-B883-D49732EB787C}" dt="2024-02-22T08:45:16.561" v="33282"/>
          <ac:spMkLst>
            <pc:docMk/>
            <pc:sldMk cId="2564153488" sldId="2147483607"/>
            <ac:spMk id="85" creationId="{B346302F-9CB2-95EB-39B9-29DCFA8AB954}"/>
          </ac:spMkLst>
        </pc:spChg>
        <pc:spChg chg="add mod replST">
          <ac:chgData name="Hänninen, Lauri" userId="b62831d1-2046-40aa-b4b7-d67e2d73afe1" providerId="ADAL" clId="{F907ACC7-C8F7-470E-B883-D49732EB787C}" dt="2024-02-22T08:45:16.561" v="33283"/>
          <ac:spMkLst>
            <pc:docMk/>
            <pc:sldMk cId="2564153488" sldId="2147483607"/>
            <ac:spMk id="86" creationId="{5C961B16-EC74-CBBE-4BF3-244A30CD0E5C}"/>
          </ac:spMkLst>
        </pc:spChg>
        <pc:spChg chg="add mod replST">
          <ac:chgData name="Hänninen, Lauri" userId="b62831d1-2046-40aa-b4b7-d67e2d73afe1" providerId="ADAL" clId="{F907ACC7-C8F7-470E-B883-D49732EB787C}" dt="2024-02-22T08:45:16.561" v="33284"/>
          <ac:spMkLst>
            <pc:docMk/>
            <pc:sldMk cId="2564153488" sldId="2147483607"/>
            <ac:spMk id="87" creationId="{D90F0295-BF02-E2B9-9CDD-2DA1F44E8E09}"/>
          </ac:spMkLst>
        </pc:spChg>
        <pc:spChg chg="add mod replST">
          <ac:chgData name="Hänninen, Lauri" userId="b62831d1-2046-40aa-b4b7-d67e2d73afe1" providerId="ADAL" clId="{F907ACC7-C8F7-470E-B883-D49732EB787C}" dt="2024-02-22T08:45:16.561" v="33285"/>
          <ac:spMkLst>
            <pc:docMk/>
            <pc:sldMk cId="2564153488" sldId="2147483607"/>
            <ac:spMk id="88" creationId="{E308485D-5100-7D68-FB72-3C5F4D55A454}"/>
          </ac:spMkLst>
        </pc:spChg>
        <pc:spChg chg="add mod replST">
          <ac:chgData name="Hänninen, Lauri" userId="b62831d1-2046-40aa-b4b7-d67e2d73afe1" providerId="ADAL" clId="{F907ACC7-C8F7-470E-B883-D49732EB787C}" dt="2024-02-22T08:45:16.562" v="33286"/>
          <ac:spMkLst>
            <pc:docMk/>
            <pc:sldMk cId="2564153488" sldId="2147483607"/>
            <ac:spMk id="89" creationId="{A7CFF280-E869-1142-7E4C-75C56C3362D9}"/>
          </ac:spMkLst>
        </pc:spChg>
        <pc:spChg chg="add mod replST">
          <ac:chgData name="Hänninen, Lauri" userId="b62831d1-2046-40aa-b4b7-d67e2d73afe1" providerId="ADAL" clId="{F907ACC7-C8F7-470E-B883-D49732EB787C}" dt="2024-02-22T08:45:16.562" v="33287"/>
          <ac:spMkLst>
            <pc:docMk/>
            <pc:sldMk cId="2564153488" sldId="2147483607"/>
            <ac:spMk id="90" creationId="{6A61F83A-0124-7273-0ECE-821A15FFCB28}"/>
          </ac:spMkLst>
        </pc:spChg>
        <pc:spChg chg="add mod replST">
          <ac:chgData name="Hänninen, Lauri" userId="b62831d1-2046-40aa-b4b7-d67e2d73afe1" providerId="ADAL" clId="{F907ACC7-C8F7-470E-B883-D49732EB787C}" dt="2024-02-22T08:45:16.562" v="33288"/>
          <ac:spMkLst>
            <pc:docMk/>
            <pc:sldMk cId="2564153488" sldId="2147483607"/>
            <ac:spMk id="91" creationId="{C9469661-9B79-C2EB-B155-96F589CC3F79}"/>
          </ac:spMkLst>
        </pc:spChg>
        <pc:spChg chg="add mod replST">
          <ac:chgData name="Hänninen, Lauri" userId="b62831d1-2046-40aa-b4b7-d67e2d73afe1" providerId="ADAL" clId="{F907ACC7-C8F7-470E-B883-D49732EB787C}" dt="2024-02-22T08:45:16.562" v="33289"/>
          <ac:spMkLst>
            <pc:docMk/>
            <pc:sldMk cId="2564153488" sldId="2147483607"/>
            <ac:spMk id="92" creationId="{8D42A4B4-8AF9-98D4-B416-4BE5E44ECF02}"/>
          </ac:spMkLst>
        </pc:spChg>
        <pc:spChg chg="add mod replST">
          <ac:chgData name="Hänninen, Lauri" userId="b62831d1-2046-40aa-b4b7-d67e2d73afe1" providerId="ADAL" clId="{F907ACC7-C8F7-470E-B883-D49732EB787C}" dt="2024-02-22T08:45:16.563" v="33290"/>
          <ac:spMkLst>
            <pc:docMk/>
            <pc:sldMk cId="2564153488" sldId="2147483607"/>
            <ac:spMk id="93" creationId="{0069ECD3-9008-558C-C8C0-43017E1AFD35}"/>
          </ac:spMkLst>
        </pc:spChg>
        <pc:spChg chg="add del mod">
          <ac:chgData name="Hänninen, Lauri" userId="b62831d1-2046-40aa-b4b7-d67e2d73afe1" providerId="ADAL" clId="{F907ACC7-C8F7-470E-B883-D49732EB787C}" dt="2024-02-21T11:24:22.587" v="17052" actId="478"/>
          <ac:spMkLst>
            <pc:docMk/>
            <pc:sldMk cId="2564153488" sldId="2147483607"/>
            <ac:spMk id="94" creationId="{F83F6646-53F0-31A4-F958-1D72C26ECFFE}"/>
          </ac:spMkLst>
        </pc:spChg>
        <pc:spChg chg="add del mod">
          <ac:chgData name="Hänninen, Lauri" userId="b62831d1-2046-40aa-b4b7-d67e2d73afe1" providerId="ADAL" clId="{F907ACC7-C8F7-470E-B883-D49732EB787C}" dt="2024-02-21T11:31:00.880" v="17742" actId="478"/>
          <ac:spMkLst>
            <pc:docMk/>
            <pc:sldMk cId="2564153488" sldId="2147483607"/>
            <ac:spMk id="95" creationId="{7BF9B11C-E629-13A5-BDEE-460E1199BB1A}"/>
          </ac:spMkLst>
        </pc:spChg>
        <pc:spChg chg="add del mod modVis">
          <ac:chgData name="Hänninen, Lauri" userId="b62831d1-2046-40aa-b4b7-d67e2d73afe1" providerId="ADAL" clId="{F907ACC7-C8F7-470E-B883-D49732EB787C}" dt="2024-02-21T11:11:26.769" v="13561"/>
          <ac:spMkLst>
            <pc:docMk/>
            <pc:sldMk cId="2564153488" sldId="2147483607"/>
            <ac:spMk id="96" creationId="{72D0DB43-BD92-89C9-8CD1-A4CEC1D3A055}"/>
          </ac:spMkLst>
        </pc:spChg>
        <pc:spChg chg="add del mod modVis">
          <ac:chgData name="Hänninen, Lauri" userId="b62831d1-2046-40aa-b4b7-d67e2d73afe1" providerId="ADAL" clId="{F907ACC7-C8F7-470E-B883-D49732EB787C}" dt="2024-02-21T11:11:33.718" v="13741"/>
          <ac:spMkLst>
            <pc:docMk/>
            <pc:sldMk cId="2564153488" sldId="2147483607"/>
            <ac:spMk id="98" creationId="{6CA4CC4C-DEE9-82C8-A5B3-FC3E44B815A3}"/>
          </ac:spMkLst>
        </pc:spChg>
        <pc:spChg chg="add del mod modVis">
          <ac:chgData name="Hänninen, Lauri" userId="b62831d1-2046-40aa-b4b7-d67e2d73afe1" providerId="ADAL" clId="{F907ACC7-C8F7-470E-B883-D49732EB787C}" dt="2024-02-21T11:17:30.407" v="14622"/>
          <ac:spMkLst>
            <pc:docMk/>
            <pc:sldMk cId="2564153488" sldId="2147483607"/>
            <ac:spMk id="106" creationId="{B4594893-5270-E678-838A-A0ADD662DB90}"/>
          </ac:spMkLst>
        </pc:spChg>
        <pc:spChg chg="add del mod">
          <ac:chgData name="Hänninen, Lauri" userId="b62831d1-2046-40aa-b4b7-d67e2d73afe1" providerId="ADAL" clId="{F907ACC7-C8F7-470E-B883-D49732EB787C}" dt="2024-02-21T11:18:38.659" v="15083" actId="478"/>
          <ac:spMkLst>
            <pc:docMk/>
            <pc:sldMk cId="2564153488" sldId="2147483607"/>
            <ac:spMk id="111" creationId="{D8D90D15-8E80-9ED6-E8BD-2C78CD967B44}"/>
          </ac:spMkLst>
        </pc:spChg>
        <pc:spChg chg="add mod">
          <ac:chgData name="Hänninen, Lauri" userId="b62831d1-2046-40aa-b4b7-d67e2d73afe1" providerId="ADAL" clId="{F907ACC7-C8F7-470E-B883-D49732EB787C}" dt="2024-02-22T08:45:16.563" v="33292"/>
          <ac:spMkLst>
            <pc:docMk/>
            <pc:sldMk cId="2564153488" sldId="2147483607"/>
            <ac:spMk id="112" creationId="{4445CFC4-7A3A-77CD-55B9-50106524C321}"/>
          </ac:spMkLst>
        </pc:spChg>
        <pc:spChg chg="add mod">
          <ac:chgData name="Hänninen, Lauri" userId="b62831d1-2046-40aa-b4b7-d67e2d73afe1" providerId="ADAL" clId="{F907ACC7-C8F7-470E-B883-D49732EB787C}" dt="2024-02-22T08:45:16.563" v="33291"/>
          <ac:spMkLst>
            <pc:docMk/>
            <pc:sldMk cId="2564153488" sldId="2147483607"/>
            <ac:spMk id="115" creationId="{632629E1-F4F8-FAF1-B86A-057578428D77}"/>
          </ac:spMkLst>
        </pc:spChg>
        <pc:spChg chg="add mod">
          <ac:chgData name="Hänninen, Lauri" userId="b62831d1-2046-40aa-b4b7-d67e2d73afe1" providerId="ADAL" clId="{F907ACC7-C8F7-470E-B883-D49732EB787C}" dt="2024-02-22T08:45:16.564" v="33295"/>
          <ac:spMkLst>
            <pc:docMk/>
            <pc:sldMk cId="2564153488" sldId="2147483607"/>
            <ac:spMk id="129" creationId="{64FB43A5-0B00-C925-639F-2ED12D753BD0}"/>
          </ac:spMkLst>
        </pc:spChg>
        <pc:spChg chg="add del mod modVis">
          <ac:chgData name="Hänninen, Lauri" userId="b62831d1-2046-40aa-b4b7-d67e2d73afe1" providerId="ADAL" clId="{F907ACC7-C8F7-470E-B883-D49732EB787C}" dt="2024-02-21T11:26:58.703" v="17300"/>
          <ac:spMkLst>
            <pc:docMk/>
            <pc:sldMk cId="2564153488" sldId="2147483607"/>
            <ac:spMk id="131" creationId="{D0D3972D-4B33-664D-36D7-EA10AB2650AA}"/>
          </ac:spMkLst>
        </pc:spChg>
        <pc:spChg chg="add mod">
          <ac:chgData name="Hänninen, Lauri" userId="b62831d1-2046-40aa-b4b7-d67e2d73afe1" providerId="ADAL" clId="{F907ACC7-C8F7-470E-B883-D49732EB787C}" dt="2024-02-22T08:45:16.564" v="33296"/>
          <ac:spMkLst>
            <pc:docMk/>
            <pc:sldMk cId="2564153488" sldId="2147483607"/>
            <ac:spMk id="134" creationId="{1C2B6742-FCDE-2122-61D9-014EBDE26E22}"/>
          </ac:spMkLst>
        </pc:spChg>
        <pc:spChg chg="add del mod modVis">
          <ac:chgData name="Hänninen, Lauri" userId="b62831d1-2046-40aa-b4b7-d67e2d73afe1" providerId="ADAL" clId="{F907ACC7-C8F7-470E-B883-D49732EB787C}" dt="2024-02-21T11:27:53.719" v="17582"/>
          <ac:spMkLst>
            <pc:docMk/>
            <pc:sldMk cId="2564153488" sldId="2147483607"/>
            <ac:spMk id="135" creationId="{F78D0DA2-75CF-D48D-F33C-6BC4F7134199}"/>
          </ac:spMkLst>
        </pc:spChg>
        <pc:spChg chg="add del mod modVis">
          <ac:chgData name="Hänninen, Lauri" userId="b62831d1-2046-40aa-b4b7-d67e2d73afe1" providerId="ADAL" clId="{F907ACC7-C8F7-470E-B883-D49732EB787C}" dt="2024-02-21T11:27:54.846" v="17703"/>
          <ac:spMkLst>
            <pc:docMk/>
            <pc:sldMk cId="2564153488" sldId="2147483607"/>
            <ac:spMk id="137" creationId="{DF1B85CE-D8B5-98EC-9FB6-99CE37AC64D8}"/>
          </ac:spMkLst>
        </pc:spChg>
        <pc:grpChg chg="add del mod">
          <ac:chgData name="Hänninen, Lauri" userId="b62831d1-2046-40aa-b4b7-d67e2d73afe1" providerId="ADAL" clId="{F907ACC7-C8F7-470E-B883-D49732EB787C}" dt="2024-02-21T08:16:36.325" v="9577" actId="478"/>
          <ac:grpSpMkLst>
            <pc:docMk/>
            <pc:sldMk cId="2564153488" sldId="2147483607"/>
            <ac:grpSpMk id="8" creationId="{4C18561D-B716-172E-BF65-156AC4566C46}"/>
          </ac:grpSpMkLst>
        </pc:grpChg>
        <pc:grpChg chg="add del mod ord">
          <ac:chgData name="Hänninen, Lauri" userId="b62831d1-2046-40aa-b4b7-d67e2d73afe1" providerId="ADAL" clId="{F907ACC7-C8F7-470E-B883-D49732EB787C}" dt="2024-02-21T18:47:01.305" v="30953" actId="478"/>
          <ac:grpSpMkLst>
            <pc:docMk/>
            <pc:sldMk cId="2564153488" sldId="2147483607"/>
            <ac:grpSpMk id="14" creationId="{EC47BF5C-631C-457A-4EE8-9D4776073BCF}"/>
          </ac:grpSpMkLst>
        </pc:grpChg>
        <pc:graphicFrameChg chg="add del mod replST">
          <ac:chgData name="Hänninen, Lauri" userId="b62831d1-2046-40aa-b4b7-d67e2d73afe1" providerId="ADAL" clId="{F907ACC7-C8F7-470E-B883-D49732EB787C}" dt="2024-02-22T08:45:16.537" v="33231"/>
          <ac:graphicFrameMkLst>
            <pc:docMk/>
            <pc:sldMk cId="2564153488" sldId="2147483607"/>
            <ac:graphicFrameMk id="7" creationId="{C6D9DCC4-539B-83FC-A4B8-65033C1576BF}"/>
          </ac:graphicFrameMkLst>
        </pc:graphicFrameChg>
        <pc:graphicFrameChg chg="add del mod replST">
          <ac:chgData name="Hänninen, Lauri" userId="b62831d1-2046-40aa-b4b7-d67e2d73afe1" providerId="ADAL" clId="{F907ACC7-C8F7-470E-B883-D49732EB787C}" dt="2024-02-21T18:51:41.188" v="31366"/>
          <ac:graphicFrameMkLst>
            <pc:docMk/>
            <pc:sldMk cId="2564153488" sldId="2147483607"/>
            <ac:graphicFrameMk id="9" creationId="{4AF00EF9-9442-2C5A-E86A-511EB9502117}"/>
          </ac:graphicFrameMkLst>
        </pc:graphicFrameChg>
        <pc:graphicFrameChg chg="add mod replST">
          <ac:chgData name="Hänninen, Lauri" userId="b62831d1-2046-40aa-b4b7-d67e2d73afe1" providerId="ADAL" clId="{F907ACC7-C8F7-470E-B883-D49732EB787C}" dt="2024-02-22T08:45:16.553" v="33250"/>
          <ac:graphicFrameMkLst>
            <pc:docMk/>
            <pc:sldMk cId="2564153488" sldId="2147483607"/>
            <ac:graphicFrameMk id="9" creationId="{E6D8474C-A820-DB56-BE02-9B1E9E627CB3}"/>
          </ac:graphicFrameMkLst>
        </pc:graphicFrameChg>
        <pc:graphicFrameChg chg="add mod replST">
          <ac:chgData name="Hänninen, Lauri" userId="b62831d1-2046-40aa-b4b7-d67e2d73afe1" providerId="ADAL" clId="{F907ACC7-C8F7-470E-B883-D49732EB787C}" dt="2024-02-22T08:45:16.559" v="33276"/>
          <ac:graphicFrameMkLst>
            <pc:docMk/>
            <pc:sldMk cId="2564153488" sldId="2147483607"/>
            <ac:graphicFrameMk id="11" creationId="{C5FF768C-4051-C3A3-7C67-7EFFF701881C}"/>
          </ac:graphicFrameMkLst>
        </pc:graphicFrameChg>
        <pc:graphicFrameChg chg="add del mod replST">
          <ac:chgData name="Hänninen, Lauri" userId="b62831d1-2046-40aa-b4b7-d67e2d73afe1" providerId="ADAL" clId="{F907ACC7-C8F7-470E-B883-D49732EB787C}" dt="2024-02-21T09:26:20.483" v="10406"/>
          <ac:graphicFrameMkLst>
            <pc:docMk/>
            <pc:sldMk cId="2564153488" sldId="2147483607"/>
            <ac:graphicFrameMk id="26" creationId="{ED97C437-9CEE-0E11-746F-F35EC12F79EB}"/>
          </ac:graphicFrameMkLst>
        </pc:graphicFrameChg>
        <pc:graphicFrameChg chg="add del mod replST">
          <ac:chgData name="Hänninen, Lauri" userId="b62831d1-2046-40aa-b4b7-d67e2d73afe1" providerId="ADAL" clId="{F907ACC7-C8F7-470E-B883-D49732EB787C}" dt="2024-02-21T09:26:22.319" v="10600"/>
          <ac:graphicFrameMkLst>
            <pc:docMk/>
            <pc:sldMk cId="2564153488" sldId="2147483607"/>
            <ac:graphicFrameMk id="45" creationId="{6BFC81F9-4717-BB07-2FA9-C68380E8AE3B}"/>
          </ac:graphicFrameMkLst>
        </pc:graphicFrameChg>
        <pc:graphicFrameChg chg="add mod ord modVis replST">
          <ac:chgData name="Hänninen, Lauri" userId="b62831d1-2046-40aa-b4b7-d67e2d73afe1" providerId="ADAL" clId="{F907ACC7-C8F7-470E-B883-D49732EB787C}" dt="2024-02-22T08:45:16.581" v="33304"/>
          <ac:graphicFrameMkLst>
            <pc:docMk/>
            <pc:sldMk cId="2564153488" sldId="2147483607"/>
            <ac:graphicFrameMk id="46" creationId="{1146DD91-9E7D-C4AC-92B3-E70103965632}"/>
          </ac:graphicFrameMkLst>
        </pc:graphicFrameChg>
        <pc:graphicFrameChg chg="add del mod replST">
          <ac:chgData name="Hänninen, Lauri" userId="b62831d1-2046-40aa-b4b7-d67e2d73afe1" providerId="ADAL" clId="{F907ACC7-C8F7-470E-B883-D49732EB787C}" dt="2024-02-21T09:27:15.758" v="10714"/>
          <ac:graphicFrameMkLst>
            <pc:docMk/>
            <pc:sldMk cId="2564153488" sldId="2147483607"/>
            <ac:graphicFrameMk id="47" creationId="{6011B37C-09AF-C7C3-AAB4-5651201D3256}"/>
          </ac:graphicFrameMkLst>
        </pc:graphicFrameChg>
        <pc:graphicFrameChg chg="add del mod replST">
          <ac:chgData name="Hänninen, Lauri" userId="b62831d1-2046-40aa-b4b7-d67e2d73afe1" providerId="ADAL" clId="{F907ACC7-C8F7-470E-B883-D49732EB787C}" dt="2024-02-21T09:27:17.148" v="10856"/>
          <ac:graphicFrameMkLst>
            <pc:docMk/>
            <pc:sldMk cId="2564153488" sldId="2147483607"/>
            <ac:graphicFrameMk id="51" creationId="{D6C94DF5-BA4A-596F-FCCA-89D03C33F461}"/>
          </ac:graphicFrameMkLst>
        </pc:graphicFrameChg>
        <pc:graphicFrameChg chg="add del mod replST">
          <ac:chgData name="Hänninen, Lauri" userId="b62831d1-2046-40aa-b4b7-d67e2d73afe1" providerId="ADAL" clId="{F907ACC7-C8F7-470E-B883-D49732EB787C}" dt="2024-02-21T09:27:18.822" v="10926"/>
          <ac:graphicFrameMkLst>
            <pc:docMk/>
            <pc:sldMk cId="2564153488" sldId="2147483607"/>
            <ac:graphicFrameMk id="54" creationId="{880E773B-F866-41D6-918E-C60EFBF32C62}"/>
          </ac:graphicFrameMkLst>
        </pc:graphicFrameChg>
        <pc:graphicFrameChg chg="add del mod replST">
          <ac:chgData name="Hänninen, Lauri" userId="b62831d1-2046-40aa-b4b7-d67e2d73afe1" providerId="ADAL" clId="{F907ACC7-C8F7-470E-B883-D49732EB787C}" dt="2024-02-21T09:27:23.444" v="11114"/>
          <ac:graphicFrameMkLst>
            <pc:docMk/>
            <pc:sldMk cId="2564153488" sldId="2147483607"/>
            <ac:graphicFrameMk id="55" creationId="{77142173-224E-98F0-3216-F717941C7E95}"/>
          </ac:graphicFrameMkLst>
        </pc:graphicFrameChg>
        <pc:graphicFrameChg chg="add del mod replST">
          <ac:chgData name="Hänninen, Lauri" userId="b62831d1-2046-40aa-b4b7-d67e2d73afe1" providerId="ADAL" clId="{F907ACC7-C8F7-470E-B883-D49732EB787C}" dt="2024-02-21T09:27:27.803" v="11203"/>
          <ac:graphicFrameMkLst>
            <pc:docMk/>
            <pc:sldMk cId="2564153488" sldId="2147483607"/>
            <ac:graphicFrameMk id="57" creationId="{CCE760FF-EC64-358E-A86B-68EA4557B0E9}"/>
          </ac:graphicFrameMkLst>
        </pc:graphicFrameChg>
        <pc:graphicFrameChg chg="add del mod replST">
          <ac:chgData name="Hänninen, Lauri" userId="b62831d1-2046-40aa-b4b7-d67e2d73afe1" providerId="ADAL" clId="{F907ACC7-C8F7-470E-B883-D49732EB787C}" dt="2024-02-21T09:27:29.291" v="11282"/>
          <ac:graphicFrameMkLst>
            <pc:docMk/>
            <pc:sldMk cId="2564153488" sldId="2147483607"/>
            <ac:graphicFrameMk id="58" creationId="{59F6B2C9-057F-FD36-EC73-CAF2523BAEC2}"/>
          </ac:graphicFrameMkLst>
        </pc:graphicFrameChg>
        <pc:graphicFrameChg chg="add del mod replST">
          <ac:chgData name="Hänninen, Lauri" userId="b62831d1-2046-40aa-b4b7-d67e2d73afe1" providerId="ADAL" clId="{F907ACC7-C8F7-470E-B883-D49732EB787C}" dt="2024-02-21T09:28:06.692" v="11614"/>
          <ac:graphicFrameMkLst>
            <pc:docMk/>
            <pc:sldMk cId="2564153488" sldId="2147483607"/>
            <ac:graphicFrameMk id="59" creationId="{28765107-D3B0-CE54-A3AC-CA0CD97DE680}"/>
          </ac:graphicFrameMkLst>
        </pc:graphicFrameChg>
        <pc:graphicFrameChg chg="add del mod">
          <ac:chgData name="Hänninen, Lauri" userId="b62831d1-2046-40aa-b4b7-d67e2d73afe1" providerId="ADAL" clId="{F907ACC7-C8F7-470E-B883-D49732EB787C}" dt="2024-02-21T09:27:57.939" v="11555" actId="21"/>
          <ac:graphicFrameMkLst>
            <pc:docMk/>
            <pc:sldMk cId="2564153488" sldId="2147483607"/>
            <ac:graphicFrameMk id="61" creationId="{960943E8-A02A-0EF8-994E-D750A280CFBE}"/>
          </ac:graphicFrameMkLst>
        </pc:graphicFrameChg>
        <pc:graphicFrameChg chg="add del mod">
          <ac:chgData name="Hänninen, Lauri" userId="b62831d1-2046-40aa-b4b7-d67e2d73afe1" providerId="ADAL" clId="{F907ACC7-C8F7-470E-B883-D49732EB787C}" dt="2024-02-21T09:28:03.814" v="11557" actId="478"/>
          <ac:graphicFrameMkLst>
            <pc:docMk/>
            <pc:sldMk cId="2564153488" sldId="2147483607"/>
            <ac:graphicFrameMk id="62" creationId="{960943E8-A02A-0EF8-994E-D750A280CFBE}"/>
          </ac:graphicFrameMkLst>
        </pc:graphicFrameChg>
        <pc:graphicFrameChg chg="add del mod replST">
          <ac:chgData name="Hänninen, Lauri" userId="b62831d1-2046-40aa-b4b7-d67e2d73afe1" providerId="ADAL" clId="{F907ACC7-C8F7-470E-B883-D49732EB787C}" dt="2024-02-21T09:28:12.876" v="11783"/>
          <ac:graphicFrameMkLst>
            <pc:docMk/>
            <pc:sldMk cId="2564153488" sldId="2147483607"/>
            <ac:graphicFrameMk id="63" creationId="{11D91B59-F7CC-3B7C-F25A-315B96E5982A}"/>
          </ac:graphicFrameMkLst>
        </pc:graphicFrameChg>
        <pc:graphicFrameChg chg="add del mod replST">
          <ac:chgData name="Hänninen, Lauri" userId="b62831d1-2046-40aa-b4b7-d67e2d73afe1" providerId="ADAL" clId="{F907ACC7-C8F7-470E-B883-D49732EB787C}" dt="2024-02-21T09:28:20.262" v="11917"/>
          <ac:graphicFrameMkLst>
            <pc:docMk/>
            <pc:sldMk cId="2564153488" sldId="2147483607"/>
            <ac:graphicFrameMk id="64" creationId="{093D09B5-A987-AA4F-9577-1E1B84D40F0C}"/>
          </ac:graphicFrameMkLst>
        </pc:graphicFrameChg>
        <pc:graphicFrameChg chg="add del mod replST">
          <ac:chgData name="Hänninen, Lauri" userId="b62831d1-2046-40aa-b4b7-d67e2d73afe1" providerId="ADAL" clId="{F907ACC7-C8F7-470E-B883-D49732EB787C}" dt="2024-02-21T09:28:22.280" v="11996"/>
          <ac:graphicFrameMkLst>
            <pc:docMk/>
            <pc:sldMk cId="2564153488" sldId="2147483607"/>
            <ac:graphicFrameMk id="65" creationId="{F134A2C7-6851-E0F8-C8A2-6346656513B6}"/>
          </ac:graphicFrameMkLst>
        </pc:graphicFrameChg>
        <pc:graphicFrameChg chg="add del mod replST">
          <ac:chgData name="Hänninen, Lauri" userId="b62831d1-2046-40aa-b4b7-d67e2d73afe1" providerId="ADAL" clId="{F907ACC7-C8F7-470E-B883-D49732EB787C}" dt="2024-02-21T09:28:25.142" v="12075"/>
          <ac:graphicFrameMkLst>
            <pc:docMk/>
            <pc:sldMk cId="2564153488" sldId="2147483607"/>
            <ac:graphicFrameMk id="66" creationId="{A5E2F570-3BDD-09DB-4933-B0F37E47D8EE}"/>
          </ac:graphicFrameMkLst>
        </pc:graphicFrameChg>
        <pc:graphicFrameChg chg="add del mod replST">
          <ac:chgData name="Hänninen, Lauri" userId="b62831d1-2046-40aa-b4b7-d67e2d73afe1" providerId="ADAL" clId="{F907ACC7-C8F7-470E-B883-D49732EB787C}" dt="2024-02-21T11:08:11.188" v="12217"/>
          <ac:graphicFrameMkLst>
            <pc:docMk/>
            <pc:sldMk cId="2564153488" sldId="2147483607"/>
            <ac:graphicFrameMk id="67" creationId="{0E877B6D-2F26-D44D-64F7-10B96219F838}"/>
          </ac:graphicFrameMkLst>
        </pc:graphicFrameChg>
        <pc:graphicFrameChg chg="add del mod replST">
          <ac:chgData name="Hänninen, Lauri" userId="b62831d1-2046-40aa-b4b7-d67e2d73afe1" providerId="ADAL" clId="{F907ACC7-C8F7-470E-B883-D49732EB787C}" dt="2024-02-21T11:08:13.493" v="12287"/>
          <ac:graphicFrameMkLst>
            <pc:docMk/>
            <pc:sldMk cId="2564153488" sldId="2147483607"/>
            <ac:graphicFrameMk id="70" creationId="{4D758179-4B9E-0576-8A49-0FD954300B32}"/>
          </ac:graphicFrameMkLst>
        </pc:graphicFrameChg>
        <pc:graphicFrameChg chg="add del mod replST">
          <ac:chgData name="Hänninen, Lauri" userId="b62831d1-2046-40aa-b4b7-d67e2d73afe1" providerId="ADAL" clId="{F907ACC7-C8F7-470E-B883-D49732EB787C}" dt="2024-02-21T11:08:15.153" v="12475"/>
          <ac:graphicFrameMkLst>
            <pc:docMk/>
            <pc:sldMk cId="2564153488" sldId="2147483607"/>
            <ac:graphicFrameMk id="71" creationId="{326B712F-5D9D-94DA-E4B4-7C68F7420173}"/>
          </ac:graphicFrameMkLst>
        </pc:graphicFrameChg>
        <pc:graphicFrameChg chg="add del mod replST">
          <ac:chgData name="Hänninen, Lauri" userId="b62831d1-2046-40aa-b4b7-d67e2d73afe1" providerId="ADAL" clId="{F907ACC7-C8F7-470E-B883-D49732EB787C}" dt="2024-02-21T11:10:27.651" v="12990"/>
          <ac:graphicFrameMkLst>
            <pc:docMk/>
            <pc:sldMk cId="2564153488" sldId="2147483607"/>
            <ac:graphicFrameMk id="73" creationId="{8A3F2913-463E-42C5-0DD4-3645A0103DAA}"/>
          </ac:graphicFrameMkLst>
        </pc:graphicFrameChg>
        <pc:graphicFrameChg chg="add del mod replST">
          <ac:chgData name="Hänninen, Lauri" userId="b62831d1-2046-40aa-b4b7-d67e2d73afe1" providerId="ADAL" clId="{F907ACC7-C8F7-470E-B883-D49732EB787C}" dt="2024-02-21T11:10:32.596" v="13077"/>
          <ac:graphicFrameMkLst>
            <pc:docMk/>
            <pc:sldMk cId="2564153488" sldId="2147483607"/>
            <ac:graphicFrameMk id="76" creationId="{50A08D0C-5A34-1F45-2AD4-5BC95145EE9F}"/>
          </ac:graphicFrameMkLst>
        </pc:graphicFrameChg>
        <pc:graphicFrameChg chg="add del mod replST">
          <ac:chgData name="Hänninen, Lauri" userId="b62831d1-2046-40aa-b4b7-d67e2d73afe1" providerId="ADAL" clId="{F907ACC7-C8F7-470E-B883-D49732EB787C}" dt="2024-02-21T11:17:05.727" v="14225"/>
          <ac:graphicFrameMkLst>
            <pc:docMk/>
            <pc:sldMk cId="2564153488" sldId="2147483607"/>
            <ac:graphicFrameMk id="77" creationId="{B768C7A8-4E4C-E3E1-060E-20FB587FC858}"/>
          </ac:graphicFrameMkLst>
        </pc:graphicFrameChg>
        <pc:graphicFrameChg chg="add del mod replST">
          <ac:chgData name="Hänninen, Lauri" userId="b62831d1-2046-40aa-b4b7-d67e2d73afe1" providerId="ADAL" clId="{F907ACC7-C8F7-470E-B883-D49732EB787C}" dt="2024-02-21T11:11:26.721" v="13483"/>
          <ac:graphicFrameMkLst>
            <pc:docMk/>
            <pc:sldMk cId="2564153488" sldId="2147483607"/>
            <ac:graphicFrameMk id="79" creationId="{31BA79F7-D571-191D-FC91-64E9714B6B58}"/>
          </ac:graphicFrameMkLst>
        </pc:graphicFrameChg>
        <pc:graphicFrameChg chg="add del mod replST">
          <ac:chgData name="Hänninen, Lauri" userId="b62831d1-2046-40aa-b4b7-d67e2d73afe1" providerId="ADAL" clId="{F907ACC7-C8F7-470E-B883-D49732EB787C}" dt="2024-02-21T11:11:33.677" v="13671"/>
          <ac:graphicFrameMkLst>
            <pc:docMk/>
            <pc:sldMk cId="2564153488" sldId="2147483607"/>
            <ac:graphicFrameMk id="97" creationId="{1C4E9841-61D3-BB5E-60C5-7395DEC763AE}"/>
          </ac:graphicFrameMkLst>
        </pc:graphicFrameChg>
        <pc:graphicFrameChg chg="add del mod replST">
          <ac:chgData name="Hänninen, Lauri" userId="b62831d1-2046-40aa-b4b7-d67e2d73afe1" providerId="ADAL" clId="{F907ACC7-C8F7-470E-B883-D49732EB787C}" dt="2024-02-21T11:11:35.923" v="13793"/>
          <ac:graphicFrameMkLst>
            <pc:docMk/>
            <pc:sldMk cId="2564153488" sldId="2147483607"/>
            <ac:graphicFrameMk id="99" creationId="{1D48E84C-3A05-EF30-DBFD-FD34EE56157A}"/>
          </ac:graphicFrameMkLst>
        </pc:graphicFrameChg>
        <pc:graphicFrameChg chg="add del mod replST">
          <ac:chgData name="Hänninen, Lauri" userId="b62831d1-2046-40aa-b4b7-d67e2d73afe1" providerId="ADAL" clId="{F907ACC7-C8F7-470E-B883-D49732EB787C}" dt="2024-02-21T11:11:37.751" v="13913"/>
          <ac:graphicFrameMkLst>
            <pc:docMk/>
            <pc:sldMk cId="2564153488" sldId="2147483607"/>
            <ac:graphicFrameMk id="100" creationId="{C42D642C-D295-84A1-EFA6-FC6746F20F3C}"/>
          </ac:graphicFrameMkLst>
        </pc:graphicFrameChg>
        <pc:graphicFrameChg chg="add del mod replST">
          <ac:chgData name="Hänninen, Lauri" userId="b62831d1-2046-40aa-b4b7-d67e2d73afe1" providerId="ADAL" clId="{F907ACC7-C8F7-470E-B883-D49732EB787C}" dt="2024-02-21T11:11:39.623" v="14031"/>
          <ac:graphicFrameMkLst>
            <pc:docMk/>
            <pc:sldMk cId="2564153488" sldId="2147483607"/>
            <ac:graphicFrameMk id="101" creationId="{32883E6F-AC6D-370D-D229-9D33709EBDB1}"/>
          </ac:graphicFrameMkLst>
        </pc:graphicFrameChg>
        <pc:graphicFrameChg chg="add del mod replST">
          <ac:chgData name="Hänninen, Lauri" userId="b62831d1-2046-40aa-b4b7-d67e2d73afe1" providerId="ADAL" clId="{F907ACC7-C8F7-470E-B883-D49732EB787C}" dt="2024-02-21T11:11:57.706" v="14125"/>
          <ac:graphicFrameMkLst>
            <pc:docMk/>
            <pc:sldMk cId="2564153488" sldId="2147483607"/>
            <ac:graphicFrameMk id="102" creationId="{94E36DD3-CA09-A988-5DD1-80D54119C2A8}"/>
          </ac:graphicFrameMkLst>
        </pc:graphicFrameChg>
        <pc:graphicFrameChg chg="add del mod replST">
          <ac:chgData name="Hänninen, Lauri" userId="b62831d1-2046-40aa-b4b7-d67e2d73afe1" providerId="ADAL" clId="{F907ACC7-C8F7-470E-B883-D49732EB787C}" dt="2024-02-21T11:17:28.334" v="14319"/>
          <ac:graphicFrameMkLst>
            <pc:docMk/>
            <pc:sldMk cId="2564153488" sldId="2147483607"/>
            <ac:graphicFrameMk id="103" creationId="{41EAF881-F0A5-35FA-95F1-33173B92E4FA}"/>
          </ac:graphicFrameMkLst>
        </pc:graphicFrameChg>
        <pc:graphicFrameChg chg="add del mod replST">
          <ac:chgData name="Hänninen, Lauri" userId="b62831d1-2046-40aa-b4b7-d67e2d73afe1" providerId="ADAL" clId="{F907ACC7-C8F7-470E-B883-D49732EB787C}" dt="2024-02-21T11:18:47.864" v="15113"/>
          <ac:graphicFrameMkLst>
            <pc:docMk/>
            <pc:sldMk cId="2564153488" sldId="2147483607"/>
            <ac:graphicFrameMk id="104" creationId="{FD30EDDC-FC2B-6A55-7BDD-58272899DDBB}"/>
          </ac:graphicFrameMkLst>
        </pc:graphicFrameChg>
        <pc:graphicFrameChg chg="add del mod replST">
          <ac:chgData name="Hänninen, Lauri" userId="b62831d1-2046-40aa-b4b7-d67e2d73afe1" providerId="ADAL" clId="{F907ACC7-C8F7-470E-B883-D49732EB787C}" dt="2024-02-21T11:17:30.355" v="14552"/>
          <ac:graphicFrameMkLst>
            <pc:docMk/>
            <pc:sldMk cId="2564153488" sldId="2147483607"/>
            <ac:graphicFrameMk id="105" creationId="{3AE1C3FC-CFFC-F00A-1340-844F7299C6AF}"/>
          </ac:graphicFrameMkLst>
        </pc:graphicFrameChg>
        <pc:graphicFrameChg chg="add del mod replST">
          <ac:chgData name="Hänninen, Lauri" userId="b62831d1-2046-40aa-b4b7-d67e2d73afe1" providerId="ADAL" clId="{F907ACC7-C8F7-470E-B883-D49732EB787C}" dt="2024-02-21T11:17:33.241" v="14660"/>
          <ac:graphicFrameMkLst>
            <pc:docMk/>
            <pc:sldMk cId="2564153488" sldId="2147483607"/>
            <ac:graphicFrameMk id="107" creationId="{00F4B2D5-EF80-BD21-E36F-96C3A942108D}"/>
          </ac:graphicFrameMkLst>
        </pc:graphicFrameChg>
        <pc:graphicFrameChg chg="add del mod replST">
          <ac:chgData name="Hänninen, Lauri" userId="b62831d1-2046-40aa-b4b7-d67e2d73afe1" providerId="ADAL" clId="{F907ACC7-C8F7-470E-B883-D49732EB787C}" dt="2024-02-21T11:17:34.970" v="14776"/>
          <ac:graphicFrameMkLst>
            <pc:docMk/>
            <pc:sldMk cId="2564153488" sldId="2147483607"/>
            <ac:graphicFrameMk id="108" creationId="{DA5152C3-ABB0-526D-DF67-FEC2CD7041E8}"/>
          </ac:graphicFrameMkLst>
        </pc:graphicFrameChg>
        <pc:graphicFrameChg chg="add del mod replST">
          <ac:chgData name="Hänninen, Lauri" userId="b62831d1-2046-40aa-b4b7-d67e2d73afe1" providerId="ADAL" clId="{F907ACC7-C8F7-470E-B883-D49732EB787C}" dt="2024-02-21T11:17:36.089" v="14892"/>
          <ac:graphicFrameMkLst>
            <pc:docMk/>
            <pc:sldMk cId="2564153488" sldId="2147483607"/>
            <ac:graphicFrameMk id="109" creationId="{70885F98-C151-2D49-6469-273AC049ACD6}"/>
          </ac:graphicFrameMkLst>
        </pc:graphicFrameChg>
        <pc:graphicFrameChg chg="add del mod replST">
          <ac:chgData name="Hänninen, Lauri" userId="b62831d1-2046-40aa-b4b7-d67e2d73afe1" providerId="ADAL" clId="{F907ACC7-C8F7-470E-B883-D49732EB787C}" dt="2024-02-21T11:23:11.291" v="15769"/>
          <ac:graphicFrameMkLst>
            <pc:docMk/>
            <pc:sldMk cId="2564153488" sldId="2147483607"/>
            <ac:graphicFrameMk id="110" creationId="{5A1944D8-7321-8ACB-78FF-24D0C7BA1A49}"/>
          </ac:graphicFrameMkLst>
        </pc:graphicFrameChg>
        <pc:graphicFrameChg chg="add del mod replST">
          <ac:chgData name="Hänninen, Lauri" userId="b62831d1-2046-40aa-b4b7-d67e2d73afe1" providerId="ADAL" clId="{F907ACC7-C8F7-470E-B883-D49732EB787C}" dt="2024-02-21T11:18:50.834" v="15257"/>
          <ac:graphicFrameMkLst>
            <pc:docMk/>
            <pc:sldMk cId="2564153488" sldId="2147483607"/>
            <ac:graphicFrameMk id="113" creationId="{0133E0A9-266D-8FD8-328C-19FF311F950A}"/>
          </ac:graphicFrameMkLst>
        </pc:graphicFrameChg>
        <pc:graphicFrameChg chg="add del mod replST">
          <ac:chgData name="Hänninen, Lauri" userId="b62831d1-2046-40aa-b4b7-d67e2d73afe1" providerId="ADAL" clId="{F907ACC7-C8F7-470E-B883-D49732EB787C}" dt="2024-02-21T11:22:51.206" v="15571"/>
          <ac:graphicFrameMkLst>
            <pc:docMk/>
            <pc:sldMk cId="2564153488" sldId="2147483607"/>
            <ac:graphicFrameMk id="114" creationId="{5420FF82-C0E3-9CCC-BEBC-3E2011B0F72B}"/>
          </ac:graphicFrameMkLst>
        </pc:graphicFrameChg>
        <pc:graphicFrameChg chg="add del mod replST">
          <ac:chgData name="Hänninen, Lauri" userId="b62831d1-2046-40aa-b4b7-d67e2d73afe1" providerId="ADAL" clId="{F907ACC7-C8F7-470E-B883-D49732EB787C}" dt="2024-02-21T11:23:19.614" v="15902"/>
          <ac:graphicFrameMkLst>
            <pc:docMk/>
            <pc:sldMk cId="2564153488" sldId="2147483607"/>
            <ac:graphicFrameMk id="120" creationId="{3AD5AF70-8EE0-05BF-0B22-0CBB33E76162}"/>
          </ac:graphicFrameMkLst>
        </pc:graphicFrameChg>
        <pc:graphicFrameChg chg="add del mod replST">
          <ac:chgData name="Hänninen, Lauri" userId="b62831d1-2046-40aa-b4b7-d67e2d73afe1" providerId="ADAL" clId="{F907ACC7-C8F7-470E-B883-D49732EB787C}" dt="2024-02-21T11:23:24.056" v="16130"/>
          <ac:graphicFrameMkLst>
            <pc:docMk/>
            <pc:sldMk cId="2564153488" sldId="2147483607"/>
            <ac:graphicFrameMk id="121" creationId="{947403F0-E789-A005-60A1-B99F930A5A24}"/>
          </ac:graphicFrameMkLst>
        </pc:graphicFrameChg>
        <pc:graphicFrameChg chg="add del mod replST">
          <ac:chgData name="Hänninen, Lauri" userId="b62831d1-2046-40aa-b4b7-d67e2d73afe1" providerId="ADAL" clId="{F907ACC7-C8F7-470E-B883-D49732EB787C}" dt="2024-02-21T11:27:11.495" v="17337"/>
          <ac:graphicFrameMkLst>
            <pc:docMk/>
            <pc:sldMk cId="2564153488" sldId="2147483607"/>
            <ac:graphicFrameMk id="122" creationId="{7D8225DB-20B1-48C9-08E6-7A23D0A708FE}"/>
          </ac:graphicFrameMkLst>
        </pc:graphicFrameChg>
        <pc:graphicFrameChg chg="add del mod replST">
          <ac:chgData name="Hänninen, Lauri" userId="b62831d1-2046-40aa-b4b7-d67e2d73afe1" providerId="ADAL" clId="{F907ACC7-C8F7-470E-B883-D49732EB787C}" dt="2024-02-21T11:23:25.220" v="16254"/>
          <ac:graphicFrameMkLst>
            <pc:docMk/>
            <pc:sldMk cId="2564153488" sldId="2147483607"/>
            <ac:graphicFrameMk id="123" creationId="{D583C4EF-3688-E627-E9DB-7DA1CD92024A}"/>
          </ac:graphicFrameMkLst>
        </pc:graphicFrameChg>
        <pc:graphicFrameChg chg="add del mod replST">
          <ac:chgData name="Hänninen, Lauri" userId="b62831d1-2046-40aa-b4b7-d67e2d73afe1" providerId="ADAL" clId="{F907ACC7-C8F7-470E-B883-D49732EB787C}" dt="2024-02-21T11:23:26.597" v="16378"/>
          <ac:graphicFrameMkLst>
            <pc:docMk/>
            <pc:sldMk cId="2564153488" sldId="2147483607"/>
            <ac:graphicFrameMk id="124" creationId="{ED05863A-9C19-940D-0379-271CF10AB469}"/>
          </ac:graphicFrameMkLst>
        </pc:graphicFrameChg>
        <pc:graphicFrameChg chg="add del mod replST">
          <ac:chgData name="Hänninen, Lauri" userId="b62831d1-2046-40aa-b4b7-d67e2d73afe1" providerId="ADAL" clId="{F907ACC7-C8F7-470E-B883-D49732EB787C}" dt="2024-02-21T11:23:28.306" v="16488"/>
          <ac:graphicFrameMkLst>
            <pc:docMk/>
            <pc:sldMk cId="2564153488" sldId="2147483607"/>
            <ac:graphicFrameMk id="125" creationId="{71C3CDCF-6DF3-A4FE-0E0F-C5EAEBE54EA8}"/>
          </ac:graphicFrameMkLst>
        </pc:graphicFrameChg>
        <pc:graphicFrameChg chg="add del mod replST">
          <ac:chgData name="Hänninen, Lauri" userId="b62831d1-2046-40aa-b4b7-d67e2d73afe1" providerId="ADAL" clId="{F907ACC7-C8F7-470E-B883-D49732EB787C}" dt="2024-02-21T11:23:29.520" v="16640"/>
          <ac:graphicFrameMkLst>
            <pc:docMk/>
            <pc:sldMk cId="2564153488" sldId="2147483607"/>
            <ac:graphicFrameMk id="126" creationId="{4321E08E-D809-D08E-408A-186887750529}"/>
          </ac:graphicFrameMkLst>
        </pc:graphicFrameChg>
        <pc:graphicFrameChg chg="add del mod replST">
          <ac:chgData name="Hänninen, Lauri" userId="b62831d1-2046-40aa-b4b7-d67e2d73afe1" providerId="ADAL" clId="{F907ACC7-C8F7-470E-B883-D49732EB787C}" dt="2024-02-21T11:23:30.883" v="16792"/>
          <ac:graphicFrameMkLst>
            <pc:docMk/>
            <pc:sldMk cId="2564153488" sldId="2147483607"/>
            <ac:graphicFrameMk id="127" creationId="{B840EA65-F21F-D05E-6242-687DE3023844}"/>
          </ac:graphicFrameMkLst>
        </pc:graphicFrameChg>
        <pc:graphicFrameChg chg="add del mod replST">
          <ac:chgData name="Hänninen, Lauri" userId="b62831d1-2046-40aa-b4b7-d67e2d73afe1" providerId="ADAL" clId="{F907ACC7-C8F7-470E-B883-D49732EB787C}" dt="2024-02-21T11:23:46.827" v="16918"/>
          <ac:graphicFrameMkLst>
            <pc:docMk/>
            <pc:sldMk cId="2564153488" sldId="2147483607"/>
            <ac:graphicFrameMk id="128" creationId="{F743F47F-6210-2373-DBA8-B3E33B132A76}"/>
          </ac:graphicFrameMkLst>
        </pc:graphicFrameChg>
        <pc:graphicFrameChg chg="add del mod replST">
          <ac:chgData name="Hänninen, Lauri" userId="b62831d1-2046-40aa-b4b7-d67e2d73afe1" providerId="ADAL" clId="{F907ACC7-C8F7-470E-B883-D49732EB787C}" dt="2024-02-21T11:26:58.657" v="17226"/>
          <ac:graphicFrameMkLst>
            <pc:docMk/>
            <pc:sldMk cId="2564153488" sldId="2147483607"/>
            <ac:graphicFrameMk id="130" creationId="{16848E71-2A93-EAA0-9DD8-60A4BAD89CD3}"/>
          </ac:graphicFrameMkLst>
        </pc:graphicFrameChg>
        <pc:graphicFrameChg chg="add del mod replST">
          <ac:chgData name="Hänninen, Lauri" userId="b62831d1-2046-40aa-b4b7-d67e2d73afe1" providerId="ADAL" clId="{F907ACC7-C8F7-470E-B883-D49732EB787C}" dt="2024-02-21T11:27:53.675" v="17507"/>
          <ac:graphicFrameMkLst>
            <pc:docMk/>
            <pc:sldMk cId="2564153488" sldId="2147483607"/>
            <ac:graphicFrameMk id="132" creationId="{48E8BE44-8D1A-6EF2-2176-2DB92E5B0F64}"/>
          </ac:graphicFrameMkLst>
        </pc:graphicFrameChg>
        <pc:graphicFrameChg chg="add del mod replST">
          <ac:chgData name="Hänninen, Lauri" userId="b62831d1-2046-40aa-b4b7-d67e2d73afe1" providerId="ADAL" clId="{F907ACC7-C8F7-470E-B883-D49732EB787C}" dt="2024-02-21T11:32:00.059" v="17825"/>
          <ac:graphicFrameMkLst>
            <pc:docMk/>
            <pc:sldMk cId="2564153488" sldId="2147483607"/>
            <ac:graphicFrameMk id="133" creationId="{6C675789-F52A-B3E1-3572-EB11AEF88C5E}"/>
          </ac:graphicFrameMkLst>
        </pc:graphicFrameChg>
        <pc:graphicFrameChg chg="add del mod replST">
          <ac:chgData name="Hänninen, Lauri" userId="b62831d1-2046-40aa-b4b7-d67e2d73afe1" providerId="ADAL" clId="{F907ACC7-C8F7-470E-B883-D49732EB787C}" dt="2024-02-21T11:27:54.721" v="17628"/>
          <ac:graphicFrameMkLst>
            <pc:docMk/>
            <pc:sldMk cId="2564153488" sldId="2147483607"/>
            <ac:graphicFrameMk id="136" creationId="{DAF59C45-6AB4-9BEE-13CA-5F7B32E906F2}"/>
          </ac:graphicFrameMkLst>
        </pc:graphicFrameChg>
        <pc:graphicFrameChg chg="add del mod replST">
          <ac:chgData name="Hänninen, Lauri" userId="b62831d1-2046-40aa-b4b7-d67e2d73afe1" providerId="ADAL" clId="{F907ACC7-C8F7-470E-B883-D49732EB787C}" dt="2024-02-21T18:51:38.857" v="31248"/>
          <ac:graphicFrameMkLst>
            <pc:docMk/>
            <pc:sldMk cId="2564153488" sldId="2147483607"/>
            <ac:graphicFrameMk id="138" creationId="{BFD8D2D5-4C22-1ED0-3AD4-CE7C77511422}"/>
          </ac:graphicFrameMkLst>
        </pc:graphicFrameChg>
        <pc:graphicFrameChg chg="add del mod replST">
          <ac:chgData name="Hänninen, Lauri" userId="b62831d1-2046-40aa-b4b7-d67e2d73afe1" providerId="ADAL" clId="{F907ACC7-C8F7-470E-B883-D49732EB787C}" dt="2024-02-21T18:48:45.188" v="31104"/>
          <ac:graphicFrameMkLst>
            <pc:docMk/>
            <pc:sldMk cId="2564153488" sldId="2147483607"/>
            <ac:graphicFrameMk id="139" creationId="{A36D3A93-8BFE-EBF6-D734-3CC934C80A05}"/>
          </ac:graphicFrameMkLst>
        </pc:graphicFrameChg>
        <pc:cxnChg chg="add mod ord replST">
          <ac:chgData name="Hänninen, Lauri" userId="b62831d1-2046-40aa-b4b7-d67e2d73afe1" providerId="ADAL" clId="{F907ACC7-C8F7-470E-B883-D49732EB787C}" dt="2024-02-22T08:45:16.552" v="33245"/>
          <ac:cxnSpMkLst>
            <pc:docMk/>
            <pc:sldMk cId="2564153488" sldId="2147483607"/>
            <ac:cxnSpMk id="23" creationId="{70B41A9F-7340-FC5D-C40B-FA14321B036B}"/>
          </ac:cxnSpMkLst>
        </pc:cxnChg>
        <pc:cxnChg chg="add mod ord replST">
          <ac:chgData name="Hänninen, Lauri" userId="b62831d1-2046-40aa-b4b7-d67e2d73afe1" providerId="ADAL" clId="{F907ACC7-C8F7-470E-B883-D49732EB787C}" dt="2024-02-22T08:45:16.552" v="33247"/>
          <ac:cxnSpMkLst>
            <pc:docMk/>
            <pc:sldMk cId="2564153488" sldId="2147483607"/>
            <ac:cxnSpMk id="24" creationId="{0C914F45-F97C-8E89-92F7-EE28B26854C7}"/>
          </ac:cxnSpMkLst>
        </pc:cxnChg>
        <pc:cxnChg chg="add mod ord replST">
          <ac:chgData name="Hänninen, Lauri" userId="b62831d1-2046-40aa-b4b7-d67e2d73afe1" providerId="ADAL" clId="{F907ACC7-C8F7-470E-B883-D49732EB787C}" dt="2024-02-22T08:45:16.553" v="33249"/>
          <ac:cxnSpMkLst>
            <pc:docMk/>
            <pc:sldMk cId="2564153488" sldId="2147483607"/>
            <ac:cxnSpMk id="25" creationId="{95181FE9-6C10-2434-7A8E-26C03123F4A2}"/>
          </ac:cxnSpMkLst>
        </pc:cxnChg>
        <pc:cxnChg chg="add mod ord">
          <ac:chgData name="Hänninen, Lauri" userId="b62831d1-2046-40aa-b4b7-d67e2d73afe1" providerId="ADAL" clId="{F907ACC7-C8F7-470E-B883-D49732EB787C}" dt="2024-02-22T08:45:16.564" v="33294"/>
          <ac:cxnSpMkLst>
            <pc:docMk/>
            <pc:sldMk cId="2564153488" sldId="2147483607"/>
            <ac:cxnSpMk id="117" creationId="{7B20A710-EB12-88E8-A5D7-A494D6B2B3E3}"/>
          </ac:cxnSpMkLst>
        </pc:cxnChg>
      </pc:sldChg>
      <pc:sldChg chg="modSp add mod">
        <pc:chgData name="Hänninen, Lauri" userId="b62831d1-2046-40aa-b4b7-d67e2d73afe1" providerId="ADAL" clId="{F907ACC7-C8F7-470E-B883-D49732EB787C}" dt="2024-02-22T11:45:42.574" v="42345" actId="1076"/>
        <pc:sldMkLst>
          <pc:docMk/>
          <pc:sldMk cId="1453192854" sldId="2147483608"/>
        </pc:sldMkLst>
        <pc:spChg chg="mod">
          <ac:chgData name="Hänninen, Lauri" userId="b62831d1-2046-40aa-b4b7-d67e2d73afe1" providerId="ADAL" clId="{F907ACC7-C8F7-470E-B883-D49732EB787C}" dt="2024-02-22T07:50:23.542" v="31875" actId="20577"/>
          <ac:spMkLst>
            <pc:docMk/>
            <pc:sldMk cId="1453192854" sldId="2147483608"/>
            <ac:spMk id="64" creationId="{0C69BA15-8F2C-589C-11E8-70B2E48014EC}"/>
          </ac:spMkLst>
        </pc:spChg>
        <pc:picChg chg="mod">
          <ac:chgData name="Hänninen, Lauri" userId="b62831d1-2046-40aa-b4b7-d67e2d73afe1" providerId="ADAL" clId="{F907ACC7-C8F7-470E-B883-D49732EB787C}" dt="2024-02-22T11:45:42.574" v="42345" actId="1076"/>
          <ac:picMkLst>
            <pc:docMk/>
            <pc:sldMk cId="1453192854" sldId="2147483608"/>
            <ac:picMk id="61" creationId="{29BDA610-6BDD-29AF-97D0-BADE4EE55ECC}"/>
          </ac:picMkLst>
        </pc:picChg>
      </pc:sldChg>
      <pc:sldChg chg="addSp delSp modSp del mod">
        <pc:chgData name="Hänninen, Lauri" userId="b62831d1-2046-40aa-b4b7-d67e2d73afe1" providerId="ADAL" clId="{F907ACC7-C8F7-470E-B883-D49732EB787C}" dt="2024-02-21T14:34:50.608" v="29169" actId="2696"/>
        <pc:sldMkLst>
          <pc:docMk/>
          <pc:sldMk cId="1633419770" sldId="2147483608"/>
        </pc:sldMkLst>
        <pc:spChg chg="mod ord">
          <ac:chgData name="Hänninen, Lauri" userId="b62831d1-2046-40aa-b4b7-d67e2d73afe1" providerId="ADAL" clId="{F907ACC7-C8F7-470E-B883-D49732EB787C}" dt="2024-02-21T12:31:13.937" v="19446" actId="20577"/>
          <ac:spMkLst>
            <pc:docMk/>
            <pc:sldMk cId="1633419770" sldId="2147483608"/>
            <ac:spMk id="2" creationId="{9094C8BF-857F-D4FA-7FAF-9967FF750788}"/>
          </ac:spMkLst>
        </pc:spChg>
        <pc:spChg chg="add del mod">
          <ac:chgData name="Hänninen, Lauri" userId="b62831d1-2046-40aa-b4b7-d67e2d73afe1" providerId="ADAL" clId="{F907ACC7-C8F7-470E-B883-D49732EB787C}" dt="2024-02-21T13:59:41.623" v="28565" actId="478"/>
          <ac:spMkLst>
            <pc:docMk/>
            <pc:sldMk cId="1633419770" sldId="2147483608"/>
            <ac:spMk id="6" creationId="{3886604A-9223-6B1A-C164-7418B72FC57E}"/>
          </ac:spMkLst>
        </pc:spChg>
        <pc:spChg chg="mod ord">
          <ac:chgData name="Hänninen, Lauri" userId="b62831d1-2046-40aa-b4b7-d67e2d73afe1" providerId="ADAL" clId="{F907ACC7-C8F7-470E-B883-D49732EB787C}" dt="2024-02-21T12:23:31.048" v="19146"/>
          <ac:spMkLst>
            <pc:docMk/>
            <pc:sldMk cId="1633419770" sldId="2147483608"/>
            <ac:spMk id="7" creationId="{A59E9125-7BBD-5E41-2E07-326235B97A54}"/>
          </ac:spMkLst>
        </pc:spChg>
        <pc:spChg chg="mod ord">
          <ac:chgData name="Hänninen, Lauri" userId="b62831d1-2046-40aa-b4b7-d67e2d73afe1" providerId="ADAL" clId="{F907ACC7-C8F7-470E-B883-D49732EB787C}" dt="2024-02-21T12:23:31.048" v="19148"/>
          <ac:spMkLst>
            <pc:docMk/>
            <pc:sldMk cId="1633419770" sldId="2147483608"/>
            <ac:spMk id="8" creationId="{72D5D073-2FB8-23E6-6BBB-A2C7B9EA710E}"/>
          </ac:spMkLst>
        </pc:spChg>
        <pc:spChg chg="mod ord">
          <ac:chgData name="Hänninen, Lauri" userId="b62831d1-2046-40aa-b4b7-d67e2d73afe1" providerId="ADAL" clId="{F907ACC7-C8F7-470E-B883-D49732EB787C}" dt="2024-02-21T14:00:58.895" v="28893" actId="1582"/>
          <ac:spMkLst>
            <pc:docMk/>
            <pc:sldMk cId="1633419770" sldId="2147483608"/>
            <ac:spMk id="28" creationId="{2A3CC747-D036-780D-A83D-82D19598FFFF}"/>
          </ac:spMkLst>
        </pc:spChg>
        <pc:spChg chg="mod ord">
          <ac:chgData name="Hänninen, Lauri" userId="b62831d1-2046-40aa-b4b7-d67e2d73afe1" providerId="ADAL" clId="{F907ACC7-C8F7-470E-B883-D49732EB787C}" dt="2024-02-21T14:00:58.893" v="28878" actId="1582"/>
          <ac:spMkLst>
            <pc:docMk/>
            <pc:sldMk cId="1633419770" sldId="2147483608"/>
            <ac:spMk id="30" creationId="{46AE7763-FDD8-F724-7D3A-451486D85177}"/>
          </ac:spMkLst>
        </pc:spChg>
        <pc:spChg chg="mod ord">
          <ac:chgData name="Hänninen, Lauri" userId="b62831d1-2046-40aa-b4b7-d67e2d73afe1" providerId="ADAL" clId="{F907ACC7-C8F7-470E-B883-D49732EB787C}" dt="2024-02-21T14:00:58.892" v="28869" actId="1582"/>
          <ac:spMkLst>
            <pc:docMk/>
            <pc:sldMk cId="1633419770" sldId="2147483608"/>
            <ac:spMk id="31" creationId="{EA792194-A2E1-C7CE-5769-3FDDE7FAC180}"/>
          </ac:spMkLst>
        </pc:spChg>
        <pc:spChg chg="mod ord">
          <ac:chgData name="Hänninen, Lauri" userId="b62831d1-2046-40aa-b4b7-d67e2d73afe1" providerId="ADAL" clId="{F907ACC7-C8F7-470E-B883-D49732EB787C}" dt="2024-02-21T14:00:58.890" v="28858" actId="1582"/>
          <ac:spMkLst>
            <pc:docMk/>
            <pc:sldMk cId="1633419770" sldId="2147483608"/>
            <ac:spMk id="32" creationId="{3D80C78B-C36B-B6F3-DAB6-B246695988F7}"/>
          </ac:spMkLst>
        </pc:spChg>
        <pc:spChg chg="mod ord">
          <ac:chgData name="Hänninen, Lauri" userId="b62831d1-2046-40aa-b4b7-d67e2d73afe1" providerId="ADAL" clId="{F907ACC7-C8F7-470E-B883-D49732EB787C}" dt="2024-02-21T14:00:58.889" v="28849" actId="1582"/>
          <ac:spMkLst>
            <pc:docMk/>
            <pc:sldMk cId="1633419770" sldId="2147483608"/>
            <ac:spMk id="33" creationId="{41BB3F0C-F6BF-C46F-D735-76B535428440}"/>
          </ac:spMkLst>
        </pc:spChg>
        <pc:spChg chg="mod ord">
          <ac:chgData name="Hänninen, Lauri" userId="b62831d1-2046-40aa-b4b7-d67e2d73afe1" providerId="ADAL" clId="{F907ACC7-C8F7-470E-B883-D49732EB787C}" dt="2024-02-21T14:00:58.888" v="28841" actId="1582"/>
          <ac:spMkLst>
            <pc:docMk/>
            <pc:sldMk cId="1633419770" sldId="2147483608"/>
            <ac:spMk id="34" creationId="{FD6D485F-E772-FAF7-09FD-ACE19656E9D7}"/>
          </ac:spMkLst>
        </pc:spChg>
        <pc:spChg chg="mod ord">
          <ac:chgData name="Hänninen, Lauri" userId="b62831d1-2046-40aa-b4b7-d67e2d73afe1" providerId="ADAL" clId="{F907ACC7-C8F7-470E-B883-D49732EB787C}" dt="2024-02-21T14:00:58.886" v="28830" actId="1582"/>
          <ac:spMkLst>
            <pc:docMk/>
            <pc:sldMk cId="1633419770" sldId="2147483608"/>
            <ac:spMk id="38" creationId="{17626B5F-1F6B-90EA-490A-F19BBBF9057C}"/>
          </ac:spMkLst>
        </pc:spChg>
        <pc:spChg chg="mod ord">
          <ac:chgData name="Hänninen, Lauri" userId="b62831d1-2046-40aa-b4b7-d67e2d73afe1" providerId="ADAL" clId="{F907ACC7-C8F7-470E-B883-D49732EB787C}" dt="2024-02-21T14:00:58.885" v="28819" actId="1582"/>
          <ac:spMkLst>
            <pc:docMk/>
            <pc:sldMk cId="1633419770" sldId="2147483608"/>
            <ac:spMk id="42" creationId="{9453CE2C-EF7F-6738-5358-7905570F08F4}"/>
          </ac:spMkLst>
        </pc:spChg>
        <pc:spChg chg="mod ord">
          <ac:chgData name="Hänninen, Lauri" userId="b62831d1-2046-40aa-b4b7-d67e2d73afe1" providerId="ADAL" clId="{F907ACC7-C8F7-470E-B883-D49732EB787C}" dt="2024-02-21T14:00:58.883" v="28811" actId="1582"/>
          <ac:spMkLst>
            <pc:docMk/>
            <pc:sldMk cId="1633419770" sldId="2147483608"/>
            <ac:spMk id="47" creationId="{17FE95C5-608A-FB87-ABC8-2CBBC791E498}"/>
          </ac:spMkLst>
        </pc:spChg>
        <pc:spChg chg="mod ord">
          <ac:chgData name="Hänninen, Lauri" userId="b62831d1-2046-40aa-b4b7-d67e2d73afe1" providerId="ADAL" clId="{F907ACC7-C8F7-470E-B883-D49732EB787C}" dt="2024-02-21T14:00:58.882" v="28802" actId="1582"/>
          <ac:spMkLst>
            <pc:docMk/>
            <pc:sldMk cId="1633419770" sldId="2147483608"/>
            <ac:spMk id="52" creationId="{F7E336FA-D192-DE4D-67A7-B7DD0629D0B2}"/>
          </ac:spMkLst>
        </pc:spChg>
        <pc:spChg chg="mod ord">
          <ac:chgData name="Hänninen, Lauri" userId="b62831d1-2046-40aa-b4b7-d67e2d73afe1" providerId="ADAL" clId="{F907ACC7-C8F7-470E-B883-D49732EB787C}" dt="2024-02-21T14:00:58.881" v="28794" actId="1582"/>
          <ac:spMkLst>
            <pc:docMk/>
            <pc:sldMk cId="1633419770" sldId="2147483608"/>
            <ac:spMk id="57" creationId="{18ED3A90-883C-1E87-6519-A722E977C3ED}"/>
          </ac:spMkLst>
        </pc:spChg>
        <pc:spChg chg="mod ord">
          <ac:chgData name="Hänninen, Lauri" userId="b62831d1-2046-40aa-b4b7-d67e2d73afe1" providerId="ADAL" clId="{F907ACC7-C8F7-470E-B883-D49732EB787C}" dt="2024-02-21T14:00:58.879" v="28786" actId="1582"/>
          <ac:spMkLst>
            <pc:docMk/>
            <pc:sldMk cId="1633419770" sldId="2147483608"/>
            <ac:spMk id="63" creationId="{1E3EC0DD-3116-FFA9-AB46-25AE41B92555}"/>
          </ac:spMkLst>
        </pc:spChg>
        <pc:spChg chg="mod ord">
          <ac:chgData name="Hänninen, Lauri" userId="b62831d1-2046-40aa-b4b7-d67e2d73afe1" providerId="ADAL" clId="{F907ACC7-C8F7-470E-B883-D49732EB787C}" dt="2024-02-21T14:00:58.878" v="28777" actId="1582"/>
          <ac:spMkLst>
            <pc:docMk/>
            <pc:sldMk cId="1633419770" sldId="2147483608"/>
            <ac:spMk id="68" creationId="{D699C75F-1C71-636D-8770-6B76A3D0AD31}"/>
          </ac:spMkLst>
        </pc:spChg>
        <pc:spChg chg="mod">
          <ac:chgData name="Hänninen, Lauri" userId="b62831d1-2046-40aa-b4b7-d67e2d73afe1" providerId="ADAL" clId="{F907ACC7-C8F7-470E-B883-D49732EB787C}" dt="2024-02-21T14:00:57.969" v="28732" actId="1076"/>
          <ac:spMkLst>
            <pc:docMk/>
            <pc:sldMk cId="1633419770" sldId="2147483608"/>
            <ac:spMk id="69" creationId="{19999F36-5095-4B94-AC39-6B9F509E5285}"/>
          </ac:spMkLst>
        </pc:spChg>
        <pc:spChg chg="mod">
          <ac:chgData name="Hänninen, Lauri" userId="b62831d1-2046-40aa-b4b7-d67e2d73afe1" providerId="ADAL" clId="{F907ACC7-C8F7-470E-B883-D49732EB787C}" dt="2024-02-21T14:00:57.969" v="28732" actId="1076"/>
          <ac:spMkLst>
            <pc:docMk/>
            <pc:sldMk cId="1633419770" sldId="2147483608"/>
            <ac:spMk id="70" creationId="{CDADE754-2FB6-BCBA-2738-9F4076C79ADB}"/>
          </ac:spMkLst>
        </pc:spChg>
        <pc:spChg chg="mod ord">
          <ac:chgData name="Hänninen, Lauri" userId="b62831d1-2046-40aa-b4b7-d67e2d73afe1" providerId="ADAL" clId="{F907ACC7-C8F7-470E-B883-D49732EB787C}" dt="2024-02-21T14:00:58.877" v="28772" actId="1582"/>
          <ac:spMkLst>
            <pc:docMk/>
            <pc:sldMk cId="1633419770" sldId="2147483608"/>
            <ac:spMk id="73" creationId="{CF77391E-C7C4-E5D9-FE10-73AC2BB03795}"/>
          </ac:spMkLst>
        </pc:spChg>
        <pc:spChg chg="mod">
          <ac:chgData name="Hänninen, Lauri" userId="b62831d1-2046-40aa-b4b7-d67e2d73afe1" providerId="ADAL" clId="{F907ACC7-C8F7-470E-B883-D49732EB787C}" dt="2024-02-21T14:00:57.969" v="28732" actId="1076"/>
          <ac:spMkLst>
            <pc:docMk/>
            <pc:sldMk cId="1633419770" sldId="2147483608"/>
            <ac:spMk id="77" creationId="{89D3A9B3-8DE3-A4A9-089E-EEE0FBD3DD97}"/>
          </ac:spMkLst>
        </pc:spChg>
        <pc:spChg chg="mod ord">
          <ac:chgData name="Hänninen, Lauri" userId="b62831d1-2046-40aa-b4b7-d67e2d73afe1" providerId="ADAL" clId="{F907ACC7-C8F7-470E-B883-D49732EB787C}" dt="2024-02-21T14:00:58.895" v="28888" actId="1582"/>
          <ac:spMkLst>
            <pc:docMk/>
            <pc:sldMk cId="1633419770" sldId="2147483608"/>
            <ac:spMk id="80" creationId="{46B8F458-819B-5313-8A47-F4A1F73A6118}"/>
          </ac:spMkLst>
        </pc:spChg>
        <pc:spChg chg="mod ord">
          <ac:chgData name="Hänninen, Lauri" userId="b62831d1-2046-40aa-b4b7-d67e2d73afe1" providerId="ADAL" clId="{F907ACC7-C8F7-470E-B883-D49732EB787C}" dt="2024-02-21T14:00:58.872" v="28756" actId="1582"/>
          <ac:spMkLst>
            <pc:docMk/>
            <pc:sldMk cId="1633419770" sldId="2147483608"/>
            <ac:spMk id="87" creationId="{95F1A457-B792-A971-3E7B-2E85A08031DC}"/>
          </ac:spMkLst>
        </pc:spChg>
        <pc:spChg chg="mod ord">
          <ac:chgData name="Hänninen, Lauri" userId="b62831d1-2046-40aa-b4b7-d67e2d73afe1" providerId="ADAL" clId="{F907ACC7-C8F7-470E-B883-D49732EB787C}" dt="2024-02-21T14:00:58.876" v="28764" actId="947"/>
          <ac:spMkLst>
            <pc:docMk/>
            <pc:sldMk cId="1633419770" sldId="2147483608"/>
            <ac:spMk id="88" creationId="{58E4D5D6-DAD2-6ADD-4ABC-39E51507D5A0}"/>
          </ac:spMkLst>
        </pc:spChg>
        <pc:spChg chg="mod">
          <ac:chgData name="Hänninen, Lauri" userId="b62831d1-2046-40aa-b4b7-d67e2d73afe1" providerId="ADAL" clId="{F907ACC7-C8F7-470E-B883-D49732EB787C}" dt="2024-02-21T14:00:57.969" v="28732" actId="1076"/>
          <ac:spMkLst>
            <pc:docMk/>
            <pc:sldMk cId="1633419770" sldId="2147483608"/>
            <ac:spMk id="99" creationId="{017D0283-3141-2A72-CB3F-A6DEBA2F5922}"/>
          </ac:spMkLst>
        </pc:spChg>
        <pc:spChg chg="mod ord">
          <ac:chgData name="Hänninen, Lauri" userId="b62831d1-2046-40aa-b4b7-d67e2d73afe1" providerId="ADAL" clId="{F907ACC7-C8F7-470E-B883-D49732EB787C}" dt="2024-02-21T14:00:58.866" v="28748" actId="947"/>
          <ac:spMkLst>
            <pc:docMk/>
            <pc:sldMk cId="1633419770" sldId="2147483608"/>
            <ac:spMk id="107" creationId="{B37C8B6F-538D-458D-E841-91B566BE0280}"/>
          </ac:spMkLst>
        </pc:spChg>
        <pc:spChg chg="mod ord">
          <ac:chgData name="Hänninen, Lauri" userId="b62831d1-2046-40aa-b4b7-d67e2d73afe1" providerId="ADAL" clId="{F907ACC7-C8F7-470E-B883-D49732EB787C}" dt="2024-02-21T14:00:58.862" v="28740" actId="947"/>
          <ac:spMkLst>
            <pc:docMk/>
            <pc:sldMk cId="1633419770" sldId="2147483608"/>
            <ac:spMk id="108" creationId="{2CA2CD6C-C083-C418-ACA9-A9C5E1FEE6BC}"/>
          </ac:spMkLst>
        </pc:spChg>
        <pc:grpChg chg="add mod">
          <ac:chgData name="Hänninen, Lauri" userId="b62831d1-2046-40aa-b4b7-d67e2d73afe1" providerId="ADAL" clId="{F907ACC7-C8F7-470E-B883-D49732EB787C}" dt="2024-02-21T14:00:57.969" v="28732" actId="1076"/>
          <ac:grpSpMkLst>
            <pc:docMk/>
            <pc:sldMk cId="1633419770" sldId="2147483608"/>
            <ac:grpSpMk id="10" creationId="{9E66CBA2-EFB5-E1B0-1AA1-1008FC892C2D}"/>
          </ac:grpSpMkLst>
        </pc:grpChg>
        <pc:grpChg chg="mod">
          <ac:chgData name="Hänninen, Lauri" userId="b62831d1-2046-40aa-b4b7-d67e2d73afe1" providerId="ADAL" clId="{F907ACC7-C8F7-470E-B883-D49732EB787C}" dt="2024-02-21T14:00:57.969" v="28732" actId="1076"/>
          <ac:grpSpMkLst>
            <pc:docMk/>
            <pc:sldMk cId="1633419770" sldId="2147483608"/>
            <ac:grpSpMk id="97" creationId="{07B53712-C254-1BCC-2F7F-502F37E0CAC4}"/>
          </ac:grpSpMkLst>
        </pc:grpChg>
        <pc:graphicFrameChg chg="mod">
          <ac:chgData name="Hänninen, Lauri" userId="b62831d1-2046-40aa-b4b7-d67e2d73afe1" providerId="ADAL" clId="{F907ACC7-C8F7-470E-B883-D49732EB787C}" dt="2024-02-21T12:23:31.060" v="19175"/>
          <ac:graphicFrameMkLst>
            <pc:docMk/>
            <pc:sldMk cId="1633419770" sldId="2147483608"/>
            <ac:graphicFrameMk id="3" creationId="{AD6081FB-9436-D5D8-CFEE-C7D9BA9B609E}"/>
          </ac:graphicFrameMkLst>
        </pc:graphicFrameChg>
        <pc:picChg chg="mod ord">
          <ac:chgData name="Hänninen, Lauri" userId="b62831d1-2046-40aa-b4b7-d67e2d73afe1" providerId="ADAL" clId="{F907ACC7-C8F7-470E-B883-D49732EB787C}" dt="2024-02-21T14:00:57.969" v="28732" actId="1076"/>
          <ac:picMkLst>
            <pc:docMk/>
            <pc:sldMk cId="1633419770" sldId="2147483608"/>
            <ac:picMk id="9" creationId="{1BBA63A1-C960-39AA-DFFC-9EBBDEFE230C}"/>
          </ac:picMkLst>
        </pc:picChg>
        <pc:picChg chg="mod ord">
          <ac:chgData name="Hänninen, Lauri" userId="b62831d1-2046-40aa-b4b7-d67e2d73afe1" providerId="ADAL" clId="{F907ACC7-C8F7-470E-B883-D49732EB787C}" dt="2024-02-21T14:00:57.969" v="28732" actId="1076"/>
          <ac:picMkLst>
            <pc:docMk/>
            <pc:sldMk cId="1633419770" sldId="2147483608"/>
            <ac:picMk id="24" creationId="{EE3C4035-0061-920E-DD73-63432C5B04B2}"/>
          </ac:picMkLst>
        </pc:picChg>
        <pc:picChg chg="mod">
          <ac:chgData name="Hänninen, Lauri" userId="b62831d1-2046-40aa-b4b7-d67e2d73afe1" providerId="ADAL" clId="{F907ACC7-C8F7-470E-B883-D49732EB787C}" dt="2024-02-21T14:00:57.969" v="28732" actId="1076"/>
          <ac:picMkLst>
            <pc:docMk/>
            <pc:sldMk cId="1633419770" sldId="2147483608"/>
            <ac:picMk id="29" creationId="{8F891D59-9B06-05E6-F997-237066A5828E}"/>
          </ac:picMkLst>
        </pc:picChg>
        <pc:picChg chg="mod ord">
          <ac:chgData name="Hänninen, Lauri" userId="b62831d1-2046-40aa-b4b7-d67e2d73afe1" providerId="ADAL" clId="{F907ACC7-C8F7-470E-B883-D49732EB787C}" dt="2024-02-21T14:00:57.969" v="28732" actId="1076"/>
          <ac:picMkLst>
            <pc:docMk/>
            <pc:sldMk cId="1633419770" sldId="2147483608"/>
            <ac:picMk id="39" creationId="{5D4A5EB2-EB1A-40B0-7B1E-5C5B9EC75D2A}"/>
          </ac:picMkLst>
        </pc:picChg>
        <pc:picChg chg="mod ord">
          <ac:chgData name="Hänninen, Lauri" userId="b62831d1-2046-40aa-b4b7-d67e2d73afe1" providerId="ADAL" clId="{F907ACC7-C8F7-470E-B883-D49732EB787C}" dt="2024-02-21T14:00:57.969" v="28732" actId="1076"/>
          <ac:picMkLst>
            <pc:docMk/>
            <pc:sldMk cId="1633419770" sldId="2147483608"/>
            <ac:picMk id="40" creationId="{EEA4DA73-6965-81DE-30E6-37835E8FBF69}"/>
          </ac:picMkLst>
        </pc:picChg>
        <pc:picChg chg="mod ord">
          <ac:chgData name="Hänninen, Lauri" userId="b62831d1-2046-40aa-b4b7-d67e2d73afe1" providerId="ADAL" clId="{F907ACC7-C8F7-470E-B883-D49732EB787C}" dt="2024-02-21T14:00:57.969" v="28732" actId="1076"/>
          <ac:picMkLst>
            <pc:docMk/>
            <pc:sldMk cId="1633419770" sldId="2147483608"/>
            <ac:picMk id="41" creationId="{C8D74F5B-8408-E687-9F3B-255483CD13C9}"/>
          </ac:picMkLst>
        </pc:picChg>
        <pc:picChg chg="mod ord">
          <ac:chgData name="Hänninen, Lauri" userId="b62831d1-2046-40aa-b4b7-d67e2d73afe1" providerId="ADAL" clId="{F907ACC7-C8F7-470E-B883-D49732EB787C}" dt="2024-02-21T14:00:57.969" v="28732" actId="1076"/>
          <ac:picMkLst>
            <pc:docMk/>
            <pc:sldMk cId="1633419770" sldId="2147483608"/>
            <ac:picMk id="48" creationId="{4E1027DF-D673-E7F4-C255-71640169779C}"/>
          </ac:picMkLst>
        </pc:picChg>
        <pc:picChg chg="mod ord">
          <ac:chgData name="Hänninen, Lauri" userId="b62831d1-2046-40aa-b4b7-d67e2d73afe1" providerId="ADAL" clId="{F907ACC7-C8F7-470E-B883-D49732EB787C}" dt="2024-02-21T14:00:57.969" v="28732" actId="1076"/>
          <ac:picMkLst>
            <pc:docMk/>
            <pc:sldMk cId="1633419770" sldId="2147483608"/>
            <ac:picMk id="49" creationId="{BD5EC02A-9341-7DEE-480A-6EA913A5580B}"/>
          </ac:picMkLst>
        </pc:picChg>
        <pc:picChg chg="mod ord">
          <ac:chgData name="Hänninen, Lauri" userId="b62831d1-2046-40aa-b4b7-d67e2d73afe1" providerId="ADAL" clId="{F907ACC7-C8F7-470E-B883-D49732EB787C}" dt="2024-02-21T14:00:57.969" v="28732" actId="1076"/>
          <ac:picMkLst>
            <pc:docMk/>
            <pc:sldMk cId="1633419770" sldId="2147483608"/>
            <ac:picMk id="53" creationId="{03D726D8-78EA-69C4-FFC0-2DC8715A42E9}"/>
          </ac:picMkLst>
        </pc:picChg>
        <pc:picChg chg="mod ord">
          <ac:chgData name="Hänninen, Lauri" userId="b62831d1-2046-40aa-b4b7-d67e2d73afe1" providerId="ADAL" clId="{F907ACC7-C8F7-470E-B883-D49732EB787C}" dt="2024-02-21T14:00:57.969" v="28732" actId="1076"/>
          <ac:picMkLst>
            <pc:docMk/>
            <pc:sldMk cId="1633419770" sldId="2147483608"/>
            <ac:picMk id="55" creationId="{E6A599AF-C34F-4355-0B35-4848293F2FFA}"/>
          </ac:picMkLst>
        </pc:picChg>
        <pc:picChg chg="mod ord">
          <ac:chgData name="Hänninen, Lauri" userId="b62831d1-2046-40aa-b4b7-d67e2d73afe1" providerId="ADAL" clId="{F907ACC7-C8F7-470E-B883-D49732EB787C}" dt="2024-02-21T14:00:57.969" v="28732" actId="1076"/>
          <ac:picMkLst>
            <pc:docMk/>
            <pc:sldMk cId="1633419770" sldId="2147483608"/>
            <ac:picMk id="56" creationId="{E32F7C7B-2E83-5D05-8E99-823F4A7A7FE2}"/>
          </ac:picMkLst>
        </pc:picChg>
        <pc:picChg chg="mod ord">
          <ac:chgData name="Hänninen, Lauri" userId="b62831d1-2046-40aa-b4b7-d67e2d73afe1" providerId="ADAL" clId="{F907ACC7-C8F7-470E-B883-D49732EB787C}" dt="2024-02-21T14:00:57.969" v="28732" actId="1076"/>
          <ac:picMkLst>
            <pc:docMk/>
            <pc:sldMk cId="1633419770" sldId="2147483608"/>
            <ac:picMk id="59" creationId="{6763FD39-DE97-C434-B9F1-7F9BA0C6CB30}"/>
          </ac:picMkLst>
        </pc:picChg>
        <pc:picChg chg="mod ord">
          <ac:chgData name="Hänninen, Lauri" userId="b62831d1-2046-40aa-b4b7-d67e2d73afe1" providerId="ADAL" clId="{F907ACC7-C8F7-470E-B883-D49732EB787C}" dt="2024-02-21T14:00:57.969" v="28732" actId="1076"/>
          <ac:picMkLst>
            <pc:docMk/>
            <pc:sldMk cId="1633419770" sldId="2147483608"/>
            <ac:picMk id="60" creationId="{CAB0F587-D7E2-AA63-6691-91D993419E2B}"/>
          </ac:picMkLst>
        </pc:picChg>
        <pc:picChg chg="mod ord">
          <ac:chgData name="Hänninen, Lauri" userId="b62831d1-2046-40aa-b4b7-d67e2d73afe1" providerId="ADAL" clId="{F907ACC7-C8F7-470E-B883-D49732EB787C}" dt="2024-02-21T14:00:57.969" v="28732" actId="1076"/>
          <ac:picMkLst>
            <pc:docMk/>
            <pc:sldMk cId="1633419770" sldId="2147483608"/>
            <ac:picMk id="61" creationId="{29BDA610-6BDD-29AF-97D0-BADE4EE55ECC}"/>
          </ac:picMkLst>
        </pc:picChg>
        <pc:picChg chg="mod ord">
          <ac:chgData name="Hänninen, Lauri" userId="b62831d1-2046-40aa-b4b7-d67e2d73afe1" providerId="ADAL" clId="{F907ACC7-C8F7-470E-B883-D49732EB787C}" dt="2024-02-21T14:00:57.969" v="28732" actId="1076"/>
          <ac:picMkLst>
            <pc:docMk/>
            <pc:sldMk cId="1633419770" sldId="2147483608"/>
            <ac:picMk id="62" creationId="{C9D94FDC-07A9-3C70-B0DC-F8CC8EE32AC1}"/>
          </ac:picMkLst>
        </pc:picChg>
        <pc:picChg chg="mod ord">
          <ac:chgData name="Hänninen, Lauri" userId="b62831d1-2046-40aa-b4b7-d67e2d73afe1" providerId="ADAL" clId="{F907ACC7-C8F7-470E-B883-D49732EB787C}" dt="2024-02-21T14:00:57.969" v="28732" actId="1076"/>
          <ac:picMkLst>
            <pc:docMk/>
            <pc:sldMk cId="1633419770" sldId="2147483608"/>
            <ac:picMk id="67" creationId="{C81E532A-1A94-1AA7-B4B4-72DC2DB24CCE}"/>
          </ac:picMkLst>
        </pc:picChg>
        <pc:picChg chg="mod ord">
          <ac:chgData name="Hänninen, Lauri" userId="b62831d1-2046-40aa-b4b7-d67e2d73afe1" providerId="ADAL" clId="{F907ACC7-C8F7-470E-B883-D49732EB787C}" dt="2024-02-21T14:00:57.969" v="28732" actId="1076"/>
          <ac:picMkLst>
            <pc:docMk/>
            <pc:sldMk cId="1633419770" sldId="2147483608"/>
            <ac:picMk id="71" creationId="{6E2CEE32-AC36-585E-B141-8F15FA3179B0}"/>
          </ac:picMkLst>
        </pc:picChg>
        <pc:picChg chg="mod ord">
          <ac:chgData name="Hänninen, Lauri" userId="b62831d1-2046-40aa-b4b7-d67e2d73afe1" providerId="ADAL" clId="{F907ACC7-C8F7-470E-B883-D49732EB787C}" dt="2024-02-21T14:00:57.969" v="28732" actId="1076"/>
          <ac:picMkLst>
            <pc:docMk/>
            <pc:sldMk cId="1633419770" sldId="2147483608"/>
            <ac:picMk id="72" creationId="{61106378-5994-02C9-CFC0-F0827E845318}"/>
          </ac:picMkLst>
        </pc:picChg>
        <pc:picChg chg="mod">
          <ac:chgData name="Hänninen, Lauri" userId="b62831d1-2046-40aa-b4b7-d67e2d73afe1" providerId="ADAL" clId="{F907ACC7-C8F7-470E-B883-D49732EB787C}" dt="2024-02-21T14:00:57.969" v="28732" actId="1076"/>
          <ac:picMkLst>
            <pc:docMk/>
            <pc:sldMk cId="1633419770" sldId="2147483608"/>
            <ac:picMk id="78" creationId="{C06B4A71-6078-6944-048B-AE0D9913446F}"/>
          </ac:picMkLst>
        </pc:picChg>
        <pc:picChg chg="mod">
          <ac:chgData name="Hänninen, Lauri" userId="b62831d1-2046-40aa-b4b7-d67e2d73afe1" providerId="ADAL" clId="{F907ACC7-C8F7-470E-B883-D49732EB787C}" dt="2024-02-21T14:00:57.969" v="28732" actId="1076"/>
          <ac:picMkLst>
            <pc:docMk/>
            <pc:sldMk cId="1633419770" sldId="2147483608"/>
            <ac:picMk id="79" creationId="{B4E5958C-B2B0-935E-3730-9B0578D78EC8}"/>
          </ac:picMkLst>
        </pc:picChg>
        <pc:picChg chg="mod ord">
          <ac:chgData name="Hänninen, Lauri" userId="b62831d1-2046-40aa-b4b7-d67e2d73afe1" providerId="ADAL" clId="{F907ACC7-C8F7-470E-B883-D49732EB787C}" dt="2024-02-21T14:00:57.969" v="28732" actId="1076"/>
          <ac:picMkLst>
            <pc:docMk/>
            <pc:sldMk cId="1633419770" sldId="2147483608"/>
            <ac:picMk id="81" creationId="{77F6C41D-47C2-947A-FA75-49E573A5E5FF}"/>
          </ac:picMkLst>
        </pc:picChg>
        <pc:picChg chg="mod ord">
          <ac:chgData name="Hänninen, Lauri" userId="b62831d1-2046-40aa-b4b7-d67e2d73afe1" providerId="ADAL" clId="{F907ACC7-C8F7-470E-B883-D49732EB787C}" dt="2024-02-21T14:00:57.969" v="28732" actId="1076"/>
          <ac:picMkLst>
            <pc:docMk/>
            <pc:sldMk cId="1633419770" sldId="2147483608"/>
            <ac:picMk id="82" creationId="{A595D242-D4DA-C8CA-B6CC-01668612D56B}"/>
          </ac:picMkLst>
        </pc:picChg>
        <pc:picChg chg="mod ord">
          <ac:chgData name="Hänninen, Lauri" userId="b62831d1-2046-40aa-b4b7-d67e2d73afe1" providerId="ADAL" clId="{F907ACC7-C8F7-470E-B883-D49732EB787C}" dt="2024-02-21T14:00:57.969" v="28732" actId="1076"/>
          <ac:picMkLst>
            <pc:docMk/>
            <pc:sldMk cId="1633419770" sldId="2147483608"/>
            <ac:picMk id="83" creationId="{2105F6C4-3E8F-64CC-7973-21E855A168E1}"/>
          </ac:picMkLst>
        </pc:picChg>
        <pc:picChg chg="mod ord">
          <ac:chgData name="Hänninen, Lauri" userId="b62831d1-2046-40aa-b4b7-d67e2d73afe1" providerId="ADAL" clId="{F907ACC7-C8F7-470E-B883-D49732EB787C}" dt="2024-02-21T14:00:57.969" v="28732" actId="1076"/>
          <ac:picMkLst>
            <pc:docMk/>
            <pc:sldMk cId="1633419770" sldId="2147483608"/>
            <ac:picMk id="84" creationId="{0A139068-1C57-E50E-69B7-F851E4C24A11}"/>
          </ac:picMkLst>
        </pc:picChg>
        <pc:picChg chg="mod ord">
          <ac:chgData name="Hänninen, Lauri" userId="b62831d1-2046-40aa-b4b7-d67e2d73afe1" providerId="ADAL" clId="{F907ACC7-C8F7-470E-B883-D49732EB787C}" dt="2024-02-21T14:00:57.969" v="28732" actId="1076"/>
          <ac:picMkLst>
            <pc:docMk/>
            <pc:sldMk cId="1633419770" sldId="2147483608"/>
            <ac:picMk id="85" creationId="{B7D7F8CB-07A1-D64A-26AD-8FD1B298D946}"/>
          </ac:picMkLst>
        </pc:picChg>
        <pc:picChg chg="mod">
          <ac:chgData name="Hänninen, Lauri" userId="b62831d1-2046-40aa-b4b7-d67e2d73afe1" providerId="ADAL" clId="{F907ACC7-C8F7-470E-B883-D49732EB787C}" dt="2024-02-21T14:00:57.969" v="28732" actId="1076"/>
          <ac:picMkLst>
            <pc:docMk/>
            <pc:sldMk cId="1633419770" sldId="2147483608"/>
            <ac:picMk id="90" creationId="{17D685B2-BD0C-EAC7-669F-E7B8F956730B}"/>
          </ac:picMkLst>
        </pc:picChg>
        <pc:picChg chg="mod">
          <ac:chgData name="Hänninen, Lauri" userId="b62831d1-2046-40aa-b4b7-d67e2d73afe1" providerId="ADAL" clId="{F907ACC7-C8F7-470E-B883-D49732EB787C}" dt="2024-02-21T14:00:57.969" v="28732" actId="1076"/>
          <ac:picMkLst>
            <pc:docMk/>
            <pc:sldMk cId="1633419770" sldId="2147483608"/>
            <ac:picMk id="91" creationId="{DF5B440D-26AA-058D-E22C-146D48243C22}"/>
          </ac:picMkLst>
        </pc:picChg>
        <pc:picChg chg="mod">
          <ac:chgData name="Hänninen, Lauri" userId="b62831d1-2046-40aa-b4b7-d67e2d73afe1" providerId="ADAL" clId="{F907ACC7-C8F7-470E-B883-D49732EB787C}" dt="2024-02-21T14:00:57.969" v="28732" actId="1076"/>
          <ac:picMkLst>
            <pc:docMk/>
            <pc:sldMk cId="1633419770" sldId="2147483608"/>
            <ac:picMk id="93" creationId="{2251A654-632F-01B2-337C-98AAF4A16F8E}"/>
          </ac:picMkLst>
        </pc:picChg>
        <pc:picChg chg="mod">
          <ac:chgData name="Hänninen, Lauri" userId="b62831d1-2046-40aa-b4b7-d67e2d73afe1" providerId="ADAL" clId="{F907ACC7-C8F7-470E-B883-D49732EB787C}" dt="2024-02-21T14:00:57.969" v="28732" actId="1076"/>
          <ac:picMkLst>
            <pc:docMk/>
            <pc:sldMk cId="1633419770" sldId="2147483608"/>
            <ac:picMk id="94" creationId="{9181011E-110A-BDA1-6220-BE150EC7A633}"/>
          </ac:picMkLst>
        </pc:picChg>
        <pc:picChg chg="mod">
          <ac:chgData name="Hänninen, Lauri" userId="b62831d1-2046-40aa-b4b7-d67e2d73afe1" providerId="ADAL" clId="{F907ACC7-C8F7-470E-B883-D49732EB787C}" dt="2024-02-21T14:00:57.969" v="28732" actId="1076"/>
          <ac:picMkLst>
            <pc:docMk/>
            <pc:sldMk cId="1633419770" sldId="2147483608"/>
            <ac:picMk id="95" creationId="{756FA226-FBAA-1E5B-687F-57CF47651FDD}"/>
          </ac:picMkLst>
        </pc:picChg>
        <pc:picChg chg="mod">
          <ac:chgData name="Hänninen, Lauri" userId="b62831d1-2046-40aa-b4b7-d67e2d73afe1" providerId="ADAL" clId="{F907ACC7-C8F7-470E-B883-D49732EB787C}" dt="2024-02-21T14:00:57.969" v="28732" actId="1076"/>
          <ac:picMkLst>
            <pc:docMk/>
            <pc:sldMk cId="1633419770" sldId="2147483608"/>
            <ac:picMk id="96" creationId="{B5E44FC4-7DEF-B07B-3B31-CA0180898FA2}"/>
          </ac:picMkLst>
        </pc:picChg>
        <pc:picChg chg="mod">
          <ac:chgData name="Hänninen, Lauri" userId="b62831d1-2046-40aa-b4b7-d67e2d73afe1" providerId="ADAL" clId="{F907ACC7-C8F7-470E-B883-D49732EB787C}" dt="2024-02-21T14:00:57.969" v="28732" actId="1076"/>
          <ac:picMkLst>
            <pc:docMk/>
            <pc:sldMk cId="1633419770" sldId="2147483608"/>
            <ac:picMk id="98" creationId="{AC589EBB-2E8B-DA1A-E34E-6F8714EC2CE6}"/>
          </ac:picMkLst>
        </pc:picChg>
        <pc:picChg chg="mod">
          <ac:chgData name="Hänninen, Lauri" userId="b62831d1-2046-40aa-b4b7-d67e2d73afe1" providerId="ADAL" clId="{F907ACC7-C8F7-470E-B883-D49732EB787C}" dt="2024-02-21T14:00:57.969" v="28732" actId="1076"/>
          <ac:picMkLst>
            <pc:docMk/>
            <pc:sldMk cId="1633419770" sldId="2147483608"/>
            <ac:picMk id="100" creationId="{4FADB4D1-3685-610F-2F29-46CBC6E39C0B}"/>
          </ac:picMkLst>
        </pc:picChg>
        <pc:picChg chg="mod">
          <ac:chgData name="Hänninen, Lauri" userId="b62831d1-2046-40aa-b4b7-d67e2d73afe1" providerId="ADAL" clId="{F907ACC7-C8F7-470E-B883-D49732EB787C}" dt="2024-02-21T14:00:57.969" v="28732" actId="1076"/>
          <ac:picMkLst>
            <pc:docMk/>
            <pc:sldMk cId="1633419770" sldId="2147483608"/>
            <ac:picMk id="101" creationId="{FE456544-EA21-C753-A14B-DC652CCAE1F3}"/>
          </ac:picMkLst>
        </pc:picChg>
        <pc:picChg chg="mod ord">
          <ac:chgData name="Hänninen, Lauri" userId="b62831d1-2046-40aa-b4b7-d67e2d73afe1" providerId="ADAL" clId="{F907ACC7-C8F7-470E-B883-D49732EB787C}" dt="2024-02-21T14:00:57.969" v="28732" actId="1076"/>
          <ac:picMkLst>
            <pc:docMk/>
            <pc:sldMk cId="1633419770" sldId="2147483608"/>
            <ac:picMk id="102" creationId="{B63D8130-783E-5510-582F-D9962491AD67}"/>
          </ac:picMkLst>
        </pc:picChg>
        <pc:picChg chg="mod">
          <ac:chgData name="Hänninen, Lauri" userId="b62831d1-2046-40aa-b4b7-d67e2d73afe1" providerId="ADAL" clId="{F907ACC7-C8F7-470E-B883-D49732EB787C}" dt="2024-02-21T14:00:57.969" v="28732" actId="1076"/>
          <ac:picMkLst>
            <pc:docMk/>
            <pc:sldMk cId="1633419770" sldId="2147483608"/>
            <ac:picMk id="103" creationId="{07109C93-9FAB-2FE0-4EC0-7DE66CBEE10A}"/>
          </ac:picMkLst>
        </pc:picChg>
        <pc:picChg chg="mod">
          <ac:chgData name="Hänninen, Lauri" userId="b62831d1-2046-40aa-b4b7-d67e2d73afe1" providerId="ADAL" clId="{F907ACC7-C8F7-470E-B883-D49732EB787C}" dt="2024-02-21T14:00:57.969" v="28732" actId="1076"/>
          <ac:picMkLst>
            <pc:docMk/>
            <pc:sldMk cId="1633419770" sldId="2147483608"/>
            <ac:picMk id="104" creationId="{3D6CDDE1-785B-8443-23BD-C8587C13BED9}"/>
          </ac:picMkLst>
        </pc:picChg>
        <pc:picChg chg="mod">
          <ac:chgData name="Hänninen, Lauri" userId="b62831d1-2046-40aa-b4b7-d67e2d73afe1" providerId="ADAL" clId="{F907ACC7-C8F7-470E-B883-D49732EB787C}" dt="2024-02-21T14:00:57.969" v="28732" actId="1076"/>
          <ac:picMkLst>
            <pc:docMk/>
            <pc:sldMk cId="1633419770" sldId="2147483608"/>
            <ac:picMk id="105" creationId="{8EE4FCCA-0E99-95DC-E38F-289F50D5F156}"/>
          </ac:picMkLst>
        </pc:picChg>
        <pc:picChg chg="mod">
          <ac:chgData name="Hänninen, Lauri" userId="b62831d1-2046-40aa-b4b7-d67e2d73afe1" providerId="ADAL" clId="{F907ACC7-C8F7-470E-B883-D49732EB787C}" dt="2024-02-21T14:00:57.969" v="28732" actId="1076"/>
          <ac:picMkLst>
            <pc:docMk/>
            <pc:sldMk cId="1633419770" sldId="2147483608"/>
            <ac:picMk id="3078" creationId="{2B2D1DEA-DF0F-37D5-A893-8DE232E97259}"/>
          </ac:picMkLst>
        </pc:picChg>
        <pc:cxnChg chg="mod ord">
          <ac:chgData name="Hänninen, Lauri" userId="b62831d1-2046-40aa-b4b7-d67e2d73afe1" providerId="ADAL" clId="{F907ACC7-C8F7-470E-B883-D49732EB787C}" dt="2024-02-21T14:00:58.887" v="28833" actId="1582"/>
          <ac:cxnSpMkLst>
            <pc:docMk/>
            <pc:sldMk cId="1633419770" sldId="2147483608"/>
            <ac:cxnSpMk id="35" creationId="{DFB16D3E-7CA9-5667-6DFB-41E49EFEEBD8}"/>
          </ac:cxnSpMkLst>
        </pc:cxnChg>
        <pc:cxnChg chg="mod ord">
          <ac:chgData name="Hänninen, Lauri" userId="b62831d1-2046-40aa-b4b7-d67e2d73afe1" providerId="ADAL" clId="{F907ACC7-C8F7-470E-B883-D49732EB787C}" dt="2024-02-21T14:00:58.887" v="28832" actId="1582"/>
          <ac:cxnSpMkLst>
            <pc:docMk/>
            <pc:sldMk cId="1633419770" sldId="2147483608"/>
            <ac:cxnSpMk id="36" creationId="{85A11148-F63C-F35D-311E-F14B7DBEFA4D}"/>
          </ac:cxnSpMkLst>
        </pc:cxnChg>
        <pc:cxnChg chg="mod ord">
          <ac:chgData name="Hänninen, Lauri" userId="b62831d1-2046-40aa-b4b7-d67e2d73afe1" providerId="ADAL" clId="{F907ACC7-C8F7-470E-B883-D49732EB787C}" dt="2024-02-21T14:00:58.887" v="28831" actId="1582"/>
          <ac:cxnSpMkLst>
            <pc:docMk/>
            <pc:sldMk cId="1633419770" sldId="2147483608"/>
            <ac:cxnSpMk id="37" creationId="{75974621-F633-8965-DE41-06CE99FF7DE3}"/>
          </ac:cxnSpMkLst>
        </pc:cxnChg>
        <pc:cxnChg chg="mod ord">
          <ac:chgData name="Hänninen, Lauri" userId="b62831d1-2046-40aa-b4b7-d67e2d73afe1" providerId="ADAL" clId="{F907ACC7-C8F7-470E-B883-D49732EB787C}" dt="2024-02-21T14:00:58.893" v="28879" actId="1582"/>
          <ac:cxnSpMkLst>
            <pc:docMk/>
            <pc:sldMk cId="1633419770" sldId="2147483608"/>
            <ac:cxnSpMk id="86" creationId="{2862437A-5AEA-533C-8901-D5CD4463AB57}"/>
          </ac:cxnSpMkLst>
        </pc:cxnChg>
        <pc:cxnChg chg="mod ord">
          <ac:chgData name="Hänninen, Lauri" userId="b62831d1-2046-40aa-b4b7-d67e2d73afe1" providerId="ADAL" clId="{F907ACC7-C8F7-470E-B883-D49732EB787C}" dt="2024-02-21T14:00:58.872" v="28757" actId="1582"/>
          <ac:cxnSpMkLst>
            <pc:docMk/>
            <pc:sldMk cId="1633419770" sldId="2147483608"/>
            <ac:cxnSpMk id="89" creationId="{3D1D08B6-4F37-675F-F286-2E034EC93956}"/>
          </ac:cxnSpMkLst>
        </pc:cxnChg>
      </pc:sldChg>
      <pc:sldChg chg="modSp add mod">
        <pc:chgData name="Hänninen, Lauri" userId="b62831d1-2046-40aa-b4b7-d67e2d73afe1" providerId="ADAL" clId="{F907ACC7-C8F7-470E-B883-D49732EB787C}" dt="2024-02-23T08:16:45.186" v="42361" actId="20577"/>
        <pc:sldMkLst>
          <pc:docMk/>
          <pc:sldMk cId="88510384" sldId="2147483609"/>
        </pc:sldMkLst>
        <pc:spChg chg="mod">
          <ac:chgData name="Hänninen, Lauri" userId="b62831d1-2046-40aa-b4b7-d67e2d73afe1" providerId="ADAL" clId="{F907ACC7-C8F7-470E-B883-D49732EB787C}" dt="2024-02-23T08:15:54.795" v="42354" actId="1076"/>
          <ac:spMkLst>
            <pc:docMk/>
            <pc:sldMk cId="88510384" sldId="2147483609"/>
            <ac:spMk id="55" creationId="{3A29D9B7-E72E-5D86-AB03-FD6EFF342516}"/>
          </ac:spMkLst>
        </pc:spChg>
        <pc:spChg chg="mod">
          <ac:chgData name="Hänninen, Lauri" userId="b62831d1-2046-40aa-b4b7-d67e2d73afe1" providerId="ADAL" clId="{F907ACC7-C8F7-470E-B883-D49732EB787C}" dt="2024-02-23T08:15:54.795" v="42354" actId="1076"/>
          <ac:spMkLst>
            <pc:docMk/>
            <pc:sldMk cId="88510384" sldId="2147483609"/>
            <ac:spMk id="62" creationId="{243A2D2E-543B-8E06-F4F9-89F5DFA84DC9}"/>
          </ac:spMkLst>
        </pc:spChg>
        <pc:spChg chg="mod">
          <ac:chgData name="Hänninen, Lauri" userId="b62831d1-2046-40aa-b4b7-d67e2d73afe1" providerId="ADAL" clId="{F907ACC7-C8F7-470E-B883-D49732EB787C}" dt="2024-02-23T08:15:54.795" v="42354" actId="1076"/>
          <ac:spMkLst>
            <pc:docMk/>
            <pc:sldMk cId="88510384" sldId="2147483609"/>
            <ac:spMk id="63" creationId="{4D235B5C-F641-8C20-BF39-A54BA7C85250}"/>
          </ac:spMkLst>
        </pc:spChg>
        <pc:spChg chg="mod">
          <ac:chgData name="Hänninen, Lauri" userId="b62831d1-2046-40aa-b4b7-d67e2d73afe1" providerId="ADAL" clId="{F907ACC7-C8F7-470E-B883-D49732EB787C}" dt="2024-02-23T08:15:54.795" v="42354" actId="1076"/>
          <ac:spMkLst>
            <pc:docMk/>
            <pc:sldMk cId="88510384" sldId="2147483609"/>
            <ac:spMk id="65" creationId="{B3748619-3217-25FA-0663-12BCB9781F51}"/>
          </ac:spMkLst>
        </pc:spChg>
        <pc:spChg chg="mod">
          <ac:chgData name="Hänninen, Lauri" userId="b62831d1-2046-40aa-b4b7-d67e2d73afe1" providerId="ADAL" clId="{F907ACC7-C8F7-470E-B883-D49732EB787C}" dt="2024-02-23T08:15:54.795" v="42354" actId="1076"/>
          <ac:spMkLst>
            <pc:docMk/>
            <pc:sldMk cId="88510384" sldId="2147483609"/>
            <ac:spMk id="100" creationId="{0039313B-E0FB-413F-FC29-126839959669}"/>
          </ac:spMkLst>
        </pc:spChg>
        <pc:spChg chg="mod">
          <ac:chgData name="Hänninen, Lauri" userId="b62831d1-2046-40aa-b4b7-d67e2d73afe1" providerId="ADAL" clId="{F907ACC7-C8F7-470E-B883-D49732EB787C}" dt="2024-02-23T08:15:54.795" v="42354" actId="1076"/>
          <ac:spMkLst>
            <pc:docMk/>
            <pc:sldMk cId="88510384" sldId="2147483609"/>
            <ac:spMk id="112" creationId="{E01CF036-FC5B-9DC1-A861-AD6376C6D595}"/>
          </ac:spMkLst>
        </pc:spChg>
        <pc:spChg chg="mod">
          <ac:chgData name="Hänninen, Lauri" userId="b62831d1-2046-40aa-b4b7-d67e2d73afe1" providerId="ADAL" clId="{F907ACC7-C8F7-470E-B883-D49732EB787C}" dt="2024-02-23T08:15:54.795" v="42354" actId="1076"/>
          <ac:spMkLst>
            <pc:docMk/>
            <pc:sldMk cId="88510384" sldId="2147483609"/>
            <ac:spMk id="113" creationId="{5AE9EB04-4558-CF37-BB8C-EF754C7A228E}"/>
          </ac:spMkLst>
        </pc:spChg>
        <pc:spChg chg="mod">
          <ac:chgData name="Hänninen, Lauri" userId="b62831d1-2046-40aa-b4b7-d67e2d73afe1" providerId="ADAL" clId="{F907ACC7-C8F7-470E-B883-D49732EB787C}" dt="2024-02-23T08:15:54.795" v="42354" actId="1076"/>
          <ac:spMkLst>
            <pc:docMk/>
            <pc:sldMk cId="88510384" sldId="2147483609"/>
            <ac:spMk id="115" creationId="{31F76271-CC18-804E-AFE5-356F0C6041D7}"/>
          </ac:spMkLst>
        </pc:spChg>
        <pc:spChg chg="mod">
          <ac:chgData name="Hänninen, Lauri" userId="b62831d1-2046-40aa-b4b7-d67e2d73afe1" providerId="ADAL" clId="{F907ACC7-C8F7-470E-B883-D49732EB787C}" dt="2024-02-23T08:15:54.795" v="42354" actId="1076"/>
          <ac:spMkLst>
            <pc:docMk/>
            <pc:sldMk cId="88510384" sldId="2147483609"/>
            <ac:spMk id="118" creationId="{046BF868-6DA0-70AA-6DA7-2B75D668F063}"/>
          </ac:spMkLst>
        </pc:spChg>
        <pc:spChg chg="mod">
          <ac:chgData name="Hänninen, Lauri" userId="b62831d1-2046-40aa-b4b7-d67e2d73afe1" providerId="ADAL" clId="{F907ACC7-C8F7-470E-B883-D49732EB787C}" dt="2024-02-23T08:15:54.795" v="42354" actId="1076"/>
          <ac:spMkLst>
            <pc:docMk/>
            <pc:sldMk cId="88510384" sldId="2147483609"/>
            <ac:spMk id="1300" creationId="{5835EAEE-FC08-D341-FEF7-76CD070CB7B9}"/>
          </ac:spMkLst>
        </pc:spChg>
        <pc:grpChg chg="mod">
          <ac:chgData name="Hänninen, Lauri" userId="b62831d1-2046-40aa-b4b7-d67e2d73afe1" providerId="ADAL" clId="{F907ACC7-C8F7-470E-B883-D49732EB787C}" dt="2024-02-23T08:15:54.795" v="42354" actId="1076"/>
          <ac:grpSpMkLst>
            <pc:docMk/>
            <pc:sldMk cId="88510384" sldId="2147483609"/>
            <ac:grpSpMk id="32" creationId="{CCC24654-BE88-4178-C6EB-0CEE12E85008}"/>
          </ac:grpSpMkLst>
        </pc:grpChg>
        <pc:grpChg chg="mod">
          <ac:chgData name="Hänninen, Lauri" userId="b62831d1-2046-40aa-b4b7-d67e2d73afe1" providerId="ADAL" clId="{F907ACC7-C8F7-470E-B883-D49732EB787C}" dt="2024-02-23T08:15:54.795" v="42354" actId="1076"/>
          <ac:grpSpMkLst>
            <pc:docMk/>
            <pc:sldMk cId="88510384" sldId="2147483609"/>
            <ac:grpSpMk id="33" creationId="{9523D5D4-C8F2-E76C-089D-D52CD41DFE7F}"/>
          </ac:grpSpMkLst>
        </pc:grpChg>
        <pc:grpChg chg="mod">
          <ac:chgData name="Hänninen, Lauri" userId="b62831d1-2046-40aa-b4b7-d67e2d73afe1" providerId="ADAL" clId="{F907ACC7-C8F7-470E-B883-D49732EB787C}" dt="2024-02-23T08:15:54.795" v="42354" actId="1076"/>
          <ac:grpSpMkLst>
            <pc:docMk/>
            <pc:sldMk cId="88510384" sldId="2147483609"/>
            <ac:grpSpMk id="35" creationId="{965CC3FD-DC19-5828-48E9-CD49A0412E5E}"/>
          </ac:grpSpMkLst>
        </pc:grpChg>
        <pc:grpChg chg="mod">
          <ac:chgData name="Hänninen, Lauri" userId="b62831d1-2046-40aa-b4b7-d67e2d73afe1" providerId="ADAL" clId="{F907ACC7-C8F7-470E-B883-D49732EB787C}" dt="2024-02-23T08:15:54.795" v="42354" actId="1076"/>
          <ac:grpSpMkLst>
            <pc:docMk/>
            <pc:sldMk cId="88510384" sldId="2147483609"/>
            <ac:grpSpMk id="38" creationId="{9C037C8D-518F-52AC-0E04-9E4BCCDB466D}"/>
          </ac:grpSpMkLst>
        </pc:grpChg>
        <pc:grpChg chg="mod">
          <ac:chgData name="Hänninen, Lauri" userId="b62831d1-2046-40aa-b4b7-d67e2d73afe1" providerId="ADAL" clId="{F907ACC7-C8F7-470E-B883-D49732EB787C}" dt="2024-02-23T08:15:54.795" v="42354" actId="1076"/>
          <ac:grpSpMkLst>
            <pc:docMk/>
            <pc:sldMk cId="88510384" sldId="2147483609"/>
            <ac:grpSpMk id="42" creationId="{644CEEC1-D29F-B425-E6DE-0FF5304F603E}"/>
          </ac:grpSpMkLst>
        </pc:grpChg>
        <pc:grpChg chg="mod">
          <ac:chgData name="Hänninen, Lauri" userId="b62831d1-2046-40aa-b4b7-d67e2d73afe1" providerId="ADAL" clId="{F907ACC7-C8F7-470E-B883-D49732EB787C}" dt="2024-02-23T08:15:54.795" v="42354" actId="1076"/>
          <ac:grpSpMkLst>
            <pc:docMk/>
            <pc:sldMk cId="88510384" sldId="2147483609"/>
            <ac:grpSpMk id="1298" creationId="{283140F8-872A-3D10-35D7-104603C85A61}"/>
          </ac:grpSpMkLst>
        </pc:grpChg>
        <pc:graphicFrameChg chg="modGraphic">
          <ac:chgData name="Hänninen, Lauri" userId="b62831d1-2046-40aa-b4b7-d67e2d73afe1" providerId="ADAL" clId="{F907ACC7-C8F7-470E-B883-D49732EB787C}" dt="2024-02-23T08:16:45.186" v="42361" actId="20577"/>
          <ac:graphicFrameMkLst>
            <pc:docMk/>
            <pc:sldMk cId="88510384" sldId="2147483609"/>
            <ac:graphicFrameMk id="178" creationId="{719D8709-A3FB-C055-67F6-19E57CF7D621}"/>
          </ac:graphicFrameMkLst>
        </pc:graphicFrameChg>
        <pc:picChg chg="mod">
          <ac:chgData name="Hänninen, Lauri" userId="b62831d1-2046-40aa-b4b7-d67e2d73afe1" providerId="ADAL" clId="{F907ACC7-C8F7-470E-B883-D49732EB787C}" dt="2024-02-23T08:15:54.795" v="42354" actId="1076"/>
          <ac:picMkLst>
            <pc:docMk/>
            <pc:sldMk cId="88510384" sldId="2147483609"/>
            <ac:picMk id="19" creationId="{3A7FB9ED-B702-2509-E314-53905A72E2F4}"/>
          </ac:picMkLst>
        </pc:picChg>
        <pc:picChg chg="mod">
          <ac:chgData name="Hänninen, Lauri" userId="b62831d1-2046-40aa-b4b7-d67e2d73afe1" providerId="ADAL" clId="{F907ACC7-C8F7-470E-B883-D49732EB787C}" dt="2024-02-23T08:15:54.795" v="42354" actId="1076"/>
          <ac:picMkLst>
            <pc:docMk/>
            <pc:sldMk cId="88510384" sldId="2147483609"/>
            <ac:picMk id="25" creationId="{448E7821-F4DD-E235-73B1-1C0859CEB166}"/>
          </ac:picMkLst>
        </pc:picChg>
        <pc:picChg chg="mod">
          <ac:chgData name="Hänninen, Lauri" userId="b62831d1-2046-40aa-b4b7-d67e2d73afe1" providerId="ADAL" clId="{F907ACC7-C8F7-470E-B883-D49732EB787C}" dt="2024-02-23T08:15:54.795" v="42354" actId="1076"/>
          <ac:picMkLst>
            <pc:docMk/>
            <pc:sldMk cId="88510384" sldId="2147483609"/>
            <ac:picMk id="27" creationId="{A4DBE533-FCAD-5DFD-353B-37D56CF1624E}"/>
          </ac:picMkLst>
        </pc:picChg>
        <pc:picChg chg="mod">
          <ac:chgData name="Hänninen, Lauri" userId="b62831d1-2046-40aa-b4b7-d67e2d73afe1" providerId="ADAL" clId="{F907ACC7-C8F7-470E-B883-D49732EB787C}" dt="2024-02-23T08:15:54.795" v="42354" actId="1076"/>
          <ac:picMkLst>
            <pc:docMk/>
            <pc:sldMk cId="88510384" sldId="2147483609"/>
            <ac:picMk id="29" creationId="{10EC0455-725C-C473-61D8-2760C2E7FAB7}"/>
          </ac:picMkLst>
        </pc:picChg>
        <pc:picChg chg="mod">
          <ac:chgData name="Hänninen, Lauri" userId="b62831d1-2046-40aa-b4b7-d67e2d73afe1" providerId="ADAL" clId="{F907ACC7-C8F7-470E-B883-D49732EB787C}" dt="2024-02-23T08:15:54.795" v="42354" actId="1076"/>
          <ac:picMkLst>
            <pc:docMk/>
            <pc:sldMk cId="88510384" sldId="2147483609"/>
            <ac:picMk id="1281" creationId="{3582B9EB-8B51-07FB-6E0E-A69BA367D80E}"/>
          </ac:picMkLst>
        </pc:picChg>
        <pc:picChg chg="mod">
          <ac:chgData name="Hänninen, Lauri" userId="b62831d1-2046-40aa-b4b7-d67e2d73afe1" providerId="ADAL" clId="{F907ACC7-C8F7-470E-B883-D49732EB787C}" dt="2024-02-23T08:15:54.795" v="42354" actId="1076"/>
          <ac:picMkLst>
            <pc:docMk/>
            <pc:sldMk cId="88510384" sldId="2147483609"/>
            <ac:picMk id="1282" creationId="{0BF23955-DD97-D222-B58C-1E46C4F69674}"/>
          </ac:picMkLst>
        </pc:picChg>
        <pc:picChg chg="mod">
          <ac:chgData name="Hänninen, Lauri" userId="b62831d1-2046-40aa-b4b7-d67e2d73afe1" providerId="ADAL" clId="{F907ACC7-C8F7-470E-B883-D49732EB787C}" dt="2024-02-23T08:15:54.795" v="42354" actId="1076"/>
          <ac:picMkLst>
            <pc:docMk/>
            <pc:sldMk cId="88510384" sldId="2147483609"/>
            <ac:picMk id="1283" creationId="{BF97C12F-489B-D530-32D8-B17333B0A197}"/>
          </ac:picMkLst>
        </pc:picChg>
        <pc:picChg chg="mod">
          <ac:chgData name="Hänninen, Lauri" userId="b62831d1-2046-40aa-b4b7-d67e2d73afe1" providerId="ADAL" clId="{F907ACC7-C8F7-470E-B883-D49732EB787C}" dt="2024-02-23T08:15:54.795" v="42354" actId="1076"/>
          <ac:picMkLst>
            <pc:docMk/>
            <pc:sldMk cId="88510384" sldId="2147483609"/>
            <ac:picMk id="1284" creationId="{8B6C61B2-11EA-AB51-E9A9-65E258787E84}"/>
          </ac:picMkLst>
        </pc:picChg>
        <pc:picChg chg="mod">
          <ac:chgData name="Hänninen, Lauri" userId="b62831d1-2046-40aa-b4b7-d67e2d73afe1" providerId="ADAL" clId="{F907ACC7-C8F7-470E-B883-D49732EB787C}" dt="2024-02-23T08:15:54.795" v="42354" actId="1076"/>
          <ac:picMkLst>
            <pc:docMk/>
            <pc:sldMk cId="88510384" sldId="2147483609"/>
            <ac:picMk id="1285" creationId="{0F90FFCA-0F13-9FD6-A0BA-CEBAF8C28D65}"/>
          </ac:picMkLst>
        </pc:picChg>
        <pc:picChg chg="mod">
          <ac:chgData name="Hänninen, Lauri" userId="b62831d1-2046-40aa-b4b7-d67e2d73afe1" providerId="ADAL" clId="{F907ACC7-C8F7-470E-B883-D49732EB787C}" dt="2024-02-23T08:15:54.795" v="42354" actId="1076"/>
          <ac:picMkLst>
            <pc:docMk/>
            <pc:sldMk cId="88510384" sldId="2147483609"/>
            <ac:picMk id="1286" creationId="{CC1AACB2-1DEB-D446-F783-EB3E00D840A6}"/>
          </ac:picMkLst>
        </pc:picChg>
        <pc:picChg chg="mod">
          <ac:chgData name="Hänninen, Lauri" userId="b62831d1-2046-40aa-b4b7-d67e2d73afe1" providerId="ADAL" clId="{F907ACC7-C8F7-470E-B883-D49732EB787C}" dt="2024-02-23T08:15:54.795" v="42354" actId="1076"/>
          <ac:picMkLst>
            <pc:docMk/>
            <pc:sldMk cId="88510384" sldId="2147483609"/>
            <ac:picMk id="1289" creationId="{021E8EFA-85C4-DDF6-789B-B043B3C400C3}"/>
          </ac:picMkLst>
        </pc:picChg>
        <pc:picChg chg="mod">
          <ac:chgData name="Hänninen, Lauri" userId="b62831d1-2046-40aa-b4b7-d67e2d73afe1" providerId="ADAL" clId="{F907ACC7-C8F7-470E-B883-D49732EB787C}" dt="2024-02-23T08:15:54.795" v="42354" actId="1076"/>
          <ac:picMkLst>
            <pc:docMk/>
            <pc:sldMk cId="88510384" sldId="2147483609"/>
            <ac:picMk id="1290" creationId="{07527BBF-3921-239C-B294-AB0C2D642F00}"/>
          </ac:picMkLst>
        </pc:picChg>
        <pc:picChg chg="mod">
          <ac:chgData name="Hänninen, Lauri" userId="b62831d1-2046-40aa-b4b7-d67e2d73afe1" providerId="ADAL" clId="{F907ACC7-C8F7-470E-B883-D49732EB787C}" dt="2024-02-23T08:15:54.795" v="42354" actId="1076"/>
          <ac:picMkLst>
            <pc:docMk/>
            <pc:sldMk cId="88510384" sldId="2147483609"/>
            <ac:picMk id="1291" creationId="{E875B345-9E67-E191-E913-96D6CB697CA0}"/>
          </ac:picMkLst>
        </pc:picChg>
        <pc:picChg chg="mod">
          <ac:chgData name="Hänninen, Lauri" userId="b62831d1-2046-40aa-b4b7-d67e2d73afe1" providerId="ADAL" clId="{F907ACC7-C8F7-470E-B883-D49732EB787C}" dt="2024-02-23T08:15:54.795" v="42354" actId="1076"/>
          <ac:picMkLst>
            <pc:docMk/>
            <pc:sldMk cId="88510384" sldId="2147483609"/>
            <ac:picMk id="1292" creationId="{F79BD7AE-B52B-C191-7F60-DA167E4BEC31}"/>
          </ac:picMkLst>
        </pc:picChg>
        <pc:picChg chg="mod">
          <ac:chgData name="Hänninen, Lauri" userId="b62831d1-2046-40aa-b4b7-d67e2d73afe1" providerId="ADAL" clId="{F907ACC7-C8F7-470E-B883-D49732EB787C}" dt="2024-02-23T08:15:54.795" v="42354" actId="1076"/>
          <ac:picMkLst>
            <pc:docMk/>
            <pc:sldMk cId="88510384" sldId="2147483609"/>
            <ac:picMk id="1293" creationId="{6AC4269A-840C-D91B-A12E-B3D4AD50DA92}"/>
          </ac:picMkLst>
        </pc:picChg>
        <pc:picChg chg="mod">
          <ac:chgData name="Hänninen, Lauri" userId="b62831d1-2046-40aa-b4b7-d67e2d73afe1" providerId="ADAL" clId="{F907ACC7-C8F7-470E-B883-D49732EB787C}" dt="2024-02-23T08:15:54.795" v="42354" actId="1076"/>
          <ac:picMkLst>
            <pc:docMk/>
            <pc:sldMk cId="88510384" sldId="2147483609"/>
            <ac:picMk id="1294" creationId="{68FAEDA1-1BEF-6AB7-A8DB-55DE5E57455B}"/>
          </ac:picMkLst>
        </pc:picChg>
        <pc:picChg chg="mod">
          <ac:chgData name="Hänninen, Lauri" userId="b62831d1-2046-40aa-b4b7-d67e2d73afe1" providerId="ADAL" clId="{F907ACC7-C8F7-470E-B883-D49732EB787C}" dt="2024-02-23T08:15:54.795" v="42354" actId="1076"/>
          <ac:picMkLst>
            <pc:docMk/>
            <pc:sldMk cId="88510384" sldId="2147483609"/>
            <ac:picMk id="1295" creationId="{FC305FB6-2D12-4258-28C5-B42C89D7FEFD}"/>
          </ac:picMkLst>
        </pc:picChg>
        <pc:picChg chg="mod">
          <ac:chgData name="Hänninen, Lauri" userId="b62831d1-2046-40aa-b4b7-d67e2d73afe1" providerId="ADAL" clId="{F907ACC7-C8F7-470E-B883-D49732EB787C}" dt="2024-02-23T08:15:54.795" v="42354" actId="1076"/>
          <ac:picMkLst>
            <pc:docMk/>
            <pc:sldMk cId="88510384" sldId="2147483609"/>
            <ac:picMk id="1296" creationId="{143B6A78-7FA4-E1EA-409F-FEDDC39D846A}"/>
          </ac:picMkLst>
        </pc:picChg>
        <pc:picChg chg="mod">
          <ac:chgData name="Hänninen, Lauri" userId="b62831d1-2046-40aa-b4b7-d67e2d73afe1" providerId="ADAL" clId="{F907ACC7-C8F7-470E-B883-D49732EB787C}" dt="2024-02-23T08:15:54.795" v="42354" actId="1076"/>
          <ac:picMkLst>
            <pc:docMk/>
            <pc:sldMk cId="88510384" sldId="2147483609"/>
            <ac:picMk id="1297" creationId="{11F1D9E7-C4A3-588F-7C40-2932ECFCCD94}"/>
          </ac:picMkLst>
        </pc:picChg>
        <pc:picChg chg="mod">
          <ac:chgData name="Hänninen, Lauri" userId="b62831d1-2046-40aa-b4b7-d67e2d73afe1" providerId="ADAL" clId="{F907ACC7-C8F7-470E-B883-D49732EB787C}" dt="2024-02-23T08:15:54.795" v="42354" actId="1076"/>
          <ac:picMkLst>
            <pc:docMk/>
            <pc:sldMk cId="88510384" sldId="2147483609"/>
            <ac:picMk id="1299" creationId="{02F04CA3-DC6E-4A0B-05FC-0CF0B982EAE9}"/>
          </ac:picMkLst>
        </pc:picChg>
        <pc:picChg chg="mod">
          <ac:chgData name="Hänninen, Lauri" userId="b62831d1-2046-40aa-b4b7-d67e2d73afe1" providerId="ADAL" clId="{F907ACC7-C8F7-470E-B883-D49732EB787C}" dt="2024-02-23T08:15:54.795" v="42354" actId="1076"/>
          <ac:picMkLst>
            <pc:docMk/>
            <pc:sldMk cId="88510384" sldId="2147483609"/>
            <ac:picMk id="1301" creationId="{9743B2F2-BF9E-7DE5-100F-5D1FEF3ADA1E}"/>
          </ac:picMkLst>
        </pc:picChg>
        <pc:picChg chg="mod">
          <ac:chgData name="Hänninen, Lauri" userId="b62831d1-2046-40aa-b4b7-d67e2d73afe1" providerId="ADAL" clId="{F907ACC7-C8F7-470E-B883-D49732EB787C}" dt="2024-02-23T08:15:54.795" v="42354" actId="1076"/>
          <ac:picMkLst>
            <pc:docMk/>
            <pc:sldMk cId="88510384" sldId="2147483609"/>
            <ac:picMk id="1306" creationId="{37C5E5E7-1B47-8B0C-6779-8FED32B85133}"/>
          </ac:picMkLst>
        </pc:picChg>
        <pc:picChg chg="mod">
          <ac:chgData name="Hänninen, Lauri" userId="b62831d1-2046-40aa-b4b7-d67e2d73afe1" providerId="ADAL" clId="{F907ACC7-C8F7-470E-B883-D49732EB787C}" dt="2024-02-23T08:15:54.795" v="42354" actId="1076"/>
          <ac:picMkLst>
            <pc:docMk/>
            <pc:sldMk cId="88510384" sldId="2147483609"/>
            <ac:picMk id="1307" creationId="{5EBBDF1B-8E46-7F4C-0BA6-C110B57581E5}"/>
          </ac:picMkLst>
        </pc:picChg>
        <pc:picChg chg="mod">
          <ac:chgData name="Hänninen, Lauri" userId="b62831d1-2046-40aa-b4b7-d67e2d73afe1" providerId="ADAL" clId="{F907ACC7-C8F7-470E-B883-D49732EB787C}" dt="2024-02-23T08:15:54.795" v="42354" actId="1076"/>
          <ac:picMkLst>
            <pc:docMk/>
            <pc:sldMk cId="88510384" sldId="2147483609"/>
            <ac:picMk id="1308" creationId="{B9F1F2F5-5CEB-7D21-2C0D-B507E8F7E9EC}"/>
          </ac:picMkLst>
        </pc:picChg>
        <pc:picChg chg="mod">
          <ac:chgData name="Hänninen, Lauri" userId="b62831d1-2046-40aa-b4b7-d67e2d73afe1" providerId="ADAL" clId="{F907ACC7-C8F7-470E-B883-D49732EB787C}" dt="2024-02-23T08:15:54.795" v="42354" actId="1076"/>
          <ac:picMkLst>
            <pc:docMk/>
            <pc:sldMk cId="88510384" sldId="2147483609"/>
            <ac:picMk id="1309" creationId="{69B93FC8-66EC-25D5-DE29-B58CA891F6D0}"/>
          </ac:picMkLst>
        </pc:picChg>
        <pc:picChg chg="mod">
          <ac:chgData name="Hänninen, Lauri" userId="b62831d1-2046-40aa-b4b7-d67e2d73afe1" providerId="ADAL" clId="{F907ACC7-C8F7-470E-B883-D49732EB787C}" dt="2024-02-23T08:15:54.795" v="42354" actId="1076"/>
          <ac:picMkLst>
            <pc:docMk/>
            <pc:sldMk cId="88510384" sldId="2147483609"/>
            <ac:picMk id="1310" creationId="{2D41CDAD-1C69-E0C7-36A3-B075129257AE}"/>
          </ac:picMkLst>
        </pc:picChg>
        <pc:picChg chg="mod">
          <ac:chgData name="Hänninen, Lauri" userId="b62831d1-2046-40aa-b4b7-d67e2d73afe1" providerId="ADAL" clId="{F907ACC7-C8F7-470E-B883-D49732EB787C}" dt="2024-02-23T08:15:54.795" v="42354" actId="1076"/>
          <ac:picMkLst>
            <pc:docMk/>
            <pc:sldMk cId="88510384" sldId="2147483609"/>
            <ac:picMk id="1311" creationId="{E54DEC59-C18E-CFB4-BE88-C54E60297C84}"/>
          </ac:picMkLst>
        </pc:picChg>
        <pc:picChg chg="mod">
          <ac:chgData name="Hänninen, Lauri" userId="b62831d1-2046-40aa-b4b7-d67e2d73afe1" providerId="ADAL" clId="{F907ACC7-C8F7-470E-B883-D49732EB787C}" dt="2024-02-23T08:15:54.795" v="42354" actId="1076"/>
          <ac:picMkLst>
            <pc:docMk/>
            <pc:sldMk cId="88510384" sldId="2147483609"/>
            <ac:picMk id="1313" creationId="{E8B1EAE1-E9F1-6FED-C81F-CA7950781AC5}"/>
          </ac:picMkLst>
        </pc:picChg>
        <pc:picChg chg="mod">
          <ac:chgData name="Hänninen, Lauri" userId="b62831d1-2046-40aa-b4b7-d67e2d73afe1" providerId="ADAL" clId="{F907ACC7-C8F7-470E-B883-D49732EB787C}" dt="2024-02-23T08:15:54.795" v="42354" actId="1076"/>
          <ac:picMkLst>
            <pc:docMk/>
            <pc:sldMk cId="88510384" sldId="2147483609"/>
            <ac:picMk id="1314" creationId="{481AEB72-D5E3-17B5-1681-11BC4C6D674A}"/>
          </ac:picMkLst>
        </pc:picChg>
        <pc:picChg chg="mod">
          <ac:chgData name="Hänninen, Lauri" userId="b62831d1-2046-40aa-b4b7-d67e2d73afe1" providerId="ADAL" clId="{F907ACC7-C8F7-470E-B883-D49732EB787C}" dt="2024-02-23T08:15:54.795" v="42354" actId="1076"/>
          <ac:picMkLst>
            <pc:docMk/>
            <pc:sldMk cId="88510384" sldId="2147483609"/>
            <ac:picMk id="1315" creationId="{9B681724-5121-48F1-8E12-D0E51208D7CF}"/>
          </ac:picMkLst>
        </pc:picChg>
        <pc:picChg chg="mod">
          <ac:chgData name="Hänninen, Lauri" userId="b62831d1-2046-40aa-b4b7-d67e2d73afe1" providerId="ADAL" clId="{F907ACC7-C8F7-470E-B883-D49732EB787C}" dt="2024-02-23T08:15:54.795" v="42354" actId="1076"/>
          <ac:picMkLst>
            <pc:docMk/>
            <pc:sldMk cId="88510384" sldId="2147483609"/>
            <ac:picMk id="1316" creationId="{5E078619-B6A7-076F-F493-5FC6AA70A1F9}"/>
          </ac:picMkLst>
        </pc:picChg>
        <pc:picChg chg="mod">
          <ac:chgData name="Hänninen, Lauri" userId="b62831d1-2046-40aa-b4b7-d67e2d73afe1" providerId="ADAL" clId="{F907ACC7-C8F7-470E-B883-D49732EB787C}" dt="2024-02-23T08:15:54.795" v="42354" actId="1076"/>
          <ac:picMkLst>
            <pc:docMk/>
            <pc:sldMk cId="88510384" sldId="2147483609"/>
            <ac:picMk id="1317" creationId="{BCD5FB10-7EBE-BAC3-AC19-D100F3EEB31B}"/>
          </ac:picMkLst>
        </pc:picChg>
        <pc:picChg chg="mod">
          <ac:chgData name="Hänninen, Lauri" userId="b62831d1-2046-40aa-b4b7-d67e2d73afe1" providerId="ADAL" clId="{F907ACC7-C8F7-470E-B883-D49732EB787C}" dt="2024-02-23T08:15:54.795" v="42354" actId="1076"/>
          <ac:picMkLst>
            <pc:docMk/>
            <pc:sldMk cId="88510384" sldId="2147483609"/>
            <ac:picMk id="1318" creationId="{703085EC-75AD-A13F-977D-7226B277EDE2}"/>
          </ac:picMkLst>
        </pc:picChg>
        <pc:picChg chg="mod">
          <ac:chgData name="Hänninen, Lauri" userId="b62831d1-2046-40aa-b4b7-d67e2d73afe1" providerId="ADAL" clId="{F907ACC7-C8F7-470E-B883-D49732EB787C}" dt="2024-02-23T08:15:54.795" v="42354" actId="1076"/>
          <ac:picMkLst>
            <pc:docMk/>
            <pc:sldMk cId="88510384" sldId="2147483609"/>
            <ac:picMk id="1319" creationId="{8D590D06-E63C-252A-D20F-12AB71BF6D51}"/>
          </ac:picMkLst>
        </pc:picChg>
        <pc:picChg chg="mod">
          <ac:chgData name="Hänninen, Lauri" userId="b62831d1-2046-40aa-b4b7-d67e2d73afe1" providerId="ADAL" clId="{F907ACC7-C8F7-470E-B883-D49732EB787C}" dt="2024-02-23T08:15:54.795" v="42354" actId="1076"/>
          <ac:picMkLst>
            <pc:docMk/>
            <pc:sldMk cId="88510384" sldId="2147483609"/>
            <ac:picMk id="1320" creationId="{04B2225D-5F7B-5DB5-9A8F-87F93B9E39C6}"/>
          </ac:picMkLst>
        </pc:picChg>
        <pc:picChg chg="mod">
          <ac:chgData name="Hänninen, Lauri" userId="b62831d1-2046-40aa-b4b7-d67e2d73afe1" providerId="ADAL" clId="{F907ACC7-C8F7-470E-B883-D49732EB787C}" dt="2024-02-23T08:15:54.795" v="42354" actId="1076"/>
          <ac:picMkLst>
            <pc:docMk/>
            <pc:sldMk cId="88510384" sldId="2147483609"/>
            <ac:picMk id="1321" creationId="{0ACA9BE1-0D58-8DEE-F94F-E6C9A55ED9EA}"/>
          </ac:picMkLst>
        </pc:picChg>
        <pc:cxnChg chg="mod">
          <ac:chgData name="Hänninen, Lauri" userId="b62831d1-2046-40aa-b4b7-d67e2d73afe1" providerId="ADAL" clId="{F907ACC7-C8F7-470E-B883-D49732EB787C}" dt="2024-02-23T08:15:54.795" v="42354" actId="1076"/>
          <ac:cxnSpMkLst>
            <pc:docMk/>
            <pc:sldMk cId="88510384" sldId="2147483609"/>
            <ac:cxnSpMk id="10" creationId="{0B16B786-373A-E2FC-3697-039FCF15CDC8}"/>
          </ac:cxnSpMkLst>
        </pc:cxnChg>
        <pc:cxnChg chg="mod">
          <ac:chgData name="Hänninen, Lauri" userId="b62831d1-2046-40aa-b4b7-d67e2d73afe1" providerId="ADAL" clId="{F907ACC7-C8F7-470E-B883-D49732EB787C}" dt="2024-02-23T08:15:54.795" v="42354" actId="1076"/>
          <ac:cxnSpMkLst>
            <pc:docMk/>
            <pc:sldMk cId="88510384" sldId="2147483609"/>
            <ac:cxnSpMk id="30" creationId="{1BCAE63F-F65B-3710-B97F-26E4C739BC4C}"/>
          </ac:cxnSpMkLst>
        </pc:cxnChg>
        <pc:cxnChg chg="mod">
          <ac:chgData name="Hänninen, Lauri" userId="b62831d1-2046-40aa-b4b7-d67e2d73afe1" providerId="ADAL" clId="{F907ACC7-C8F7-470E-B883-D49732EB787C}" dt="2024-02-23T08:15:54.795" v="42354" actId="1076"/>
          <ac:cxnSpMkLst>
            <pc:docMk/>
            <pc:sldMk cId="88510384" sldId="2147483609"/>
            <ac:cxnSpMk id="74" creationId="{6594F3FB-C7B6-663A-7F17-68F7B7D2ED96}"/>
          </ac:cxnSpMkLst>
        </pc:cxnChg>
        <pc:cxnChg chg="mod">
          <ac:chgData name="Hänninen, Lauri" userId="b62831d1-2046-40aa-b4b7-d67e2d73afe1" providerId="ADAL" clId="{F907ACC7-C8F7-470E-B883-D49732EB787C}" dt="2024-02-23T08:15:54.795" v="42354" actId="1076"/>
          <ac:cxnSpMkLst>
            <pc:docMk/>
            <pc:sldMk cId="88510384" sldId="2147483609"/>
            <ac:cxnSpMk id="75" creationId="{E9762DC0-BA2A-4FF9-F7DF-FA815FF2D38C}"/>
          </ac:cxnSpMkLst>
        </pc:cxnChg>
      </pc:sldChg>
      <pc:sldChg chg="modSp del mod">
        <pc:chgData name="Hänninen, Lauri" userId="b62831d1-2046-40aa-b4b7-d67e2d73afe1" providerId="ADAL" clId="{F907ACC7-C8F7-470E-B883-D49732EB787C}" dt="2024-02-21T14:34:50.608" v="29169" actId="2696"/>
        <pc:sldMkLst>
          <pc:docMk/>
          <pc:sldMk cId="1821863806" sldId="2147483609"/>
        </pc:sldMkLst>
        <pc:graphicFrameChg chg="modGraphic">
          <ac:chgData name="Hänninen, Lauri" userId="b62831d1-2046-40aa-b4b7-d67e2d73afe1" providerId="ADAL" clId="{F907ACC7-C8F7-470E-B883-D49732EB787C}" dt="2024-02-21T13:23:39.283" v="28551" actId="20577"/>
          <ac:graphicFrameMkLst>
            <pc:docMk/>
            <pc:sldMk cId="1821863806" sldId="2147483609"/>
            <ac:graphicFrameMk id="178" creationId="{719D8709-A3FB-C055-67F6-19E57CF7D621}"/>
          </ac:graphicFrameMkLst>
        </pc:graphicFrameChg>
      </pc:sldChg>
      <pc:sldChg chg="addSp delSp modSp add del mod ord modShow">
        <pc:chgData name="Hänninen, Lauri" userId="b62831d1-2046-40aa-b4b7-d67e2d73afe1" providerId="ADAL" clId="{F907ACC7-C8F7-470E-B883-D49732EB787C}" dt="2024-02-21T18:38:32.903" v="30752" actId="47"/>
        <pc:sldMkLst>
          <pc:docMk/>
          <pc:sldMk cId="4211139620" sldId="2147483610"/>
        </pc:sldMkLst>
        <pc:spChg chg="mod ord">
          <ac:chgData name="Hänninen, Lauri" userId="b62831d1-2046-40aa-b4b7-d67e2d73afe1" providerId="ADAL" clId="{F907ACC7-C8F7-470E-B883-D49732EB787C}" dt="2024-02-21T15:35:45.923" v="30554"/>
          <ac:spMkLst>
            <pc:docMk/>
            <pc:sldMk cId="4211139620" sldId="2147483610"/>
            <ac:spMk id="2" creationId="{551A0760-76B6-B0DA-473F-4F9BCE390A30}"/>
          </ac:spMkLst>
        </pc:spChg>
        <pc:spChg chg="mod ord">
          <ac:chgData name="Hänninen, Lauri" userId="b62831d1-2046-40aa-b4b7-d67e2d73afe1" providerId="ADAL" clId="{F907ACC7-C8F7-470E-B883-D49732EB787C}" dt="2024-02-21T15:35:45.923" v="30556"/>
          <ac:spMkLst>
            <pc:docMk/>
            <pc:sldMk cId="4211139620" sldId="2147483610"/>
            <ac:spMk id="3" creationId="{18FF0807-DAF8-B85E-04CD-C4F80F1262E3}"/>
          </ac:spMkLst>
        </pc:spChg>
        <pc:spChg chg="mod ord">
          <ac:chgData name="Hänninen, Lauri" userId="b62831d1-2046-40aa-b4b7-d67e2d73afe1" providerId="ADAL" clId="{F907ACC7-C8F7-470E-B883-D49732EB787C}" dt="2024-02-21T15:35:45.924" v="30558"/>
          <ac:spMkLst>
            <pc:docMk/>
            <pc:sldMk cId="4211139620" sldId="2147483610"/>
            <ac:spMk id="4" creationId="{D621C63B-DC3F-9AB3-994A-92E4128610F0}"/>
          </ac:spMkLst>
        </pc:spChg>
        <pc:spChg chg="add mod">
          <ac:chgData name="Hänninen, Lauri" userId="b62831d1-2046-40aa-b4b7-d67e2d73afe1" providerId="ADAL" clId="{F907ACC7-C8F7-470E-B883-D49732EB787C}" dt="2024-02-21T18:36:15.452" v="30640" actId="1076"/>
          <ac:spMkLst>
            <pc:docMk/>
            <pc:sldMk cId="4211139620" sldId="2147483610"/>
            <ac:spMk id="5" creationId="{38AD75EA-8C8C-60FA-AEBD-BC4729D23AF0}"/>
          </ac:spMkLst>
        </pc:spChg>
        <pc:spChg chg="add del mod">
          <ac:chgData name="Hänninen, Lauri" userId="b62831d1-2046-40aa-b4b7-d67e2d73afe1" providerId="ADAL" clId="{F907ACC7-C8F7-470E-B883-D49732EB787C}" dt="2024-02-21T12:10:36.087" v="18807" actId="478"/>
          <ac:spMkLst>
            <pc:docMk/>
            <pc:sldMk cId="4211139620" sldId="2147483610"/>
            <ac:spMk id="10" creationId="{A6C58741-552D-6BC8-6769-0677D683C014}"/>
          </ac:spMkLst>
        </pc:spChg>
        <pc:spChg chg="add del mod">
          <ac:chgData name="Hänninen, Lauri" userId="b62831d1-2046-40aa-b4b7-d67e2d73afe1" providerId="ADAL" clId="{F907ACC7-C8F7-470E-B883-D49732EB787C}" dt="2024-02-21T12:10:36.087" v="18807" actId="478"/>
          <ac:spMkLst>
            <pc:docMk/>
            <pc:sldMk cId="4211139620" sldId="2147483610"/>
            <ac:spMk id="11" creationId="{B11F09D8-017A-88D4-DB9D-85C69F2329AB}"/>
          </ac:spMkLst>
        </pc:spChg>
        <pc:spChg chg="add del mod">
          <ac:chgData name="Hänninen, Lauri" userId="b62831d1-2046-40aa-b4b7-d67e2d73afe1" providerId="ADAL" clId="{F907ACC7-C8F7-470E-B883-D49732EB787C}" dt="2024-02-21T12:10:36.087" v="18807" actId="478"/>
          <ac:spMkLst>
            <pc:docMk/>
            <pc:sldMk cId="4211139620" sldId="2147483610"/>
            <ac:spMk id="12" creationId="{68CDED10-FDF3-2F4F-3644-E6C58EE35622}"/>
          </ac:spMkLst>
        </pc:spChg>
        <pc:spChg chg="add del mod">
          <ac:chgData name="Hänninen, Lauri" userId="b62831d1-2046-40aa-b4b7-d67e2d73afe1" providerId="ADAL" clId="{F907ACC7-C8F7-470E-B883-D49732EB787C}" dt="2024-02-21T12:10:36.087" v="18807" actId="478"/>
          <ac:spMkLst>
            <pc:docMk/>
            <pc:sldMk cId="4211139620" sldId="2147483610"/>
            <ac:spMk id="13" creationId="{5B834E01-4A61-CF25-6E60-A46B66F70D5D}"/>
          </ac:spMkLst>
        </pc:spChg>
        <pc:spChg chg="add del mod">
          <ac:chgData name="Hänninen, Lauri" userId="b62831d1-2046-40aa-b4b7-d67e2d73afe1" providerId="ADAL" clId="{F907ACC7-C8F7-470E-B883-D49732EB787C}" dt="2024-02-21T12:10:36.087" v="18807" actId="478"/>
          <ac:spMkLst>
            <pc:docMk/>
            <pc:sldMk cId="4211139620" sldId="2147483610"/>
            <ac:spMk id="14" creationId="{963973DE-2B2E-7693-C60D-BB635F44D3B6}"/>
          </ac:spMkLst>
        </pc:spChg>
        <pc:spChg chg="add del mod">
          <ac:chgData name="Hänninen, Lauri" userId="b62831d1-2046-40aa-b4b7-d67e2d73afe1" providerId="ADAL" clId="{F907ACC7-C8F7-470E-B883-D49732EB787C}" dt="2024-02-21T12:10:36.087" v="18807" actId="478"/>
          <ac:spMkLst>
            <pc:docMk/>
            <pc:sldMk cId="4211139620" sldId="2147483610"/>
            <ac:spMk id="15" creationId="{AE81C395-C0A3-951B-B52D-8608685475C8}"/>
          </ac:spMkLst>
        </pc:spChg>
        <pc:spChg chg="add del mod">
          <ac:chgData name="Hänninen, Lauri" userId="b62831d1-2046-40aa-b4b7-d67e2d73afe1" providerId="ADAL" clId="{F907ACC7-C8F7-470E-B883-D49732EB787C}" dt="2024-02-21T12:10:36.087" v="18807" actId="478"/>
          <ac:spMkLst>
            <pc:docMk/>
            <pc:sldMk cId="4211139620" sldId="2147483610"/>
            <ac:spMk id="16" creationId="{0DB3E527-AD76-73DB-DB6D-EB95F75BC3A1}"/>
          </ac:spMkLst>
        </pc:spChg>
        <pc:spChg chg="mod">
          <ac:chgData name="Hänninen, Lauri" userId="b62831d1-2046-40aa-b4b7-d67e2d73afe1" providerId="ADAL" clId="{F907ACC7-C8F7-470E-B883-D49732EB787C}" dt="2024-02-21T12:07:30.084" v="18621"/>
          <ac:spMkLst>
            <pc:docMk/>
            <pc:sldMk cId="4211139620" sldId="2147483610"/>
            <ac:spMk id="24" creationId="{2A3FB93D-75E9-78BE-D328-707AA652E928}"/>
          </ac:spMkLst>
        </pc:spChg>
        <pc:spChg chg="mod">
          <ac:chgData name="Hänninen, Lauri" userId="b62831d1-2046-40aa-b4b7-d67e2d73afe1" providerId="ADAL" clId="{F907ACC7-C8F7-470E-B883-D49732EB787C}" dt="2024-02-21T12:07:30.084" v="18621"/>
          <ac:spMkLst>
            <pc:docMk/>
            <pc:sldMk cId="4211139620" sldId="2147483610"/>
            <ac:spMk id="25" creationId="{BED80E77-7DF8-713F-B3D4-453E15FF914B}"/>
          </ac:spMkLst>
        </pc:spChg>
        <pc:spChg chg="mod">
          <ac:chgData name="Hänninen, Lauri" userId="b62831d1-2046-40aa-b4b7-d67e2d73afe1" providerId="ADAL" clId="{F907ACC7-C8F7-470E-B883-D49732EB787C}" dt="2024-02-21T12:07:30.084" v="18621"/>
          <ac:spMkLst>
            <pc:docMk/>
            <pc:sldMk cId="4211139620" sldId="2147483610"/>
            <ac:spMk id="27" creationId="{F8815268-9E3E-D55D-FF29-430EF87BC9FF}"/>
          </ac:spMkLst>
        </pc:spChg>
        <pc:spChg chg="mod">
          <ac:chgData name="Hänninen, Lauri" userId="b62831d1-2046-40aa-b4b7-d67e2d73afe1" providerId="ADAL" clId="{F907ACC7-C8F7-470E-B883-D49732EB787C}" dt="2024-02-21T12:07:30.084" v="18621"/>
          <ac:spMkLst>
            <pc:docMk/>
            <pc:sldMk cId="4211139620" sldId="2147483610"/>
            <ac:spMk id="28" creationId="{B941C873-48B7-A67F-28E2-A52D76C9E595}"/>
          </ac:spMkLst>
        </pc:spChg>
        <pc:spChg chg="mod">
          <ac:chgData name="Hänninen, Lauri" userId="b62831d1-2046-40aa-b4b7-d67e2d73afe1" providerId="ADAL" clId="{F907ACC7-C8F7-470E-B883-D49732EB787C}" dt="2024-02-21T12:07:30.084" v="18621"/>
          <ac:spMkLst>
            <pc:docMk/>
            <pc:sldMk cId="4211139620" sldId="2147483610"/>
            <ac:spMk id="30" creationId="{95CD127D-300C-E432-CEFD-BC4767E84753}"/>
          </ac:spMkLst>
        </pc:spChg>
        <pc:spChg chg="mod">
          <ac:chgData name="Hänninen, Lauri" userId="b62831d1-2046-40aa-b4b7-d67e2d73afe1" providerId="ADAL" clId="{F907ACC7-C8F7-470E-B883-D49732EB787C}" dt="2024-02-21T12:07:30.084" v="18621"/>
          <ac:spMkLst>
            <pc:docMk/>
            <pc:sldMk cId="4211139620" sldId="2147483610"/>
            <ac:spMk id="31" creationId="{6236B88A-CAF1-7521-5142-837AA71DFB3E}"/>
          </ac:spMkLst>
        </pc:spChg>
        <pc:spChg chg="mod">
          <ac:chgData name="Hänninen, Lauri" userId="b62831d1-2046-40aa-b4b7-d67e2d73afe1" providerId="ADAL" clId="{F907ACC7-C8F7-470E-B883-D49732EB787C}" dt="2024-02-21T12:07:30.084" v="18621"/>
          <ac:spMkLst>
            <pc:docMk/>
            <pc:sldMk cId="4211139620" sldId="2147483610"/>
            <ac:spMk id="33" creationId="{434307A0-EE19-21BB-AC77-2B2CCC5A6CDD}"/>
          </ac:spMkLst>
        </pc:spChg>
        <pc:spChg chg="mod">
          <ac:chgData name="Hänninen, Lauri" userId="b62831d1-2046-40aa-b4b7-d67e2d73afe1" providerId="ADAL" clId="{F907ACC7-C8F7-470E-B883-D49732EB787C}" dt="2024-02-21T12:07:30.084" v="18621"/>
          <ac:spMkLst>
            <pc:docMk/>
            <pc:sldMk cId="4211139620" sldId="2147483610"/>
            <ac:spMk id="34" creationId="{0F4C9FB1-AE56-332E-90E0-23E7B0B38A24}"/>
          </ac:spMkLst>
        </pc:spChg>
        <pc:spChg chg="del mod">
          <ac:chgData name="Hänninen, Lauri" userId="b62831d1-2046-40aa-b4b7-d67e2d73afe1" providerId="ADAL" clId="{F907ACC7-C8F7-470E-B883-D49732EB787C}" dt="2024-02-21T15:25:03.961" v="30343" actId="478"/>
          <ac:spMkLst>
            <pc:docMk/>
            <pc:sldMk cId="4211139620" sldId="2147483610"/>
            <ac:spMk id="36" creationId="{D61DA5B7-3218-2006-BA12-39C23695AE6E}"/>
          </ac:spMkLst>
        </pc:spChg>
        <pc:spChg chg="del mod">
          <ac:chgData name="Hänninen, Lauri" userId="b62831d1-2046-40aa-b4b7-d67e2d73afe1" providerId="ADAL" clId="{F907ACC7-C8F7-470E-B883-D49732EB787C}" dt="2024-02-21T15:32:37.042" v="30506" actId="478"/>
          <ac:spMkLst>
            <pc:docMk/>
            <pc:sldMk cId="4211139620" sldId="2147483610"/>
            <ac:spMk id="37" creationId="{8E283BF3-2C39-DC24-4287-CF0B25C9BE82}"/>
          </ac:spMkLst>
        </pc:spChg>
        <pc:spChg chg="del mod">
          <ac:chgData name="Hänninen, Lauri" userId="b62831d1-2046-40aa-b4b7-d67e2d73afe1" providerId="ADAL" clId="{F907ACC7-C8F7-470E-B883-D49732EB787C}" dt="2024-02-21T15:22:12.682" v="30276" actId="478"/>
          <ac:spMkLst>
            <pc:docMk/>
            <pc:sldMk cId="4211139620" sldId="2147483610"/>
            <ac:spMk id="38" creationId="{362CFE38-9C88-04CB-2061-1AA2B33F408A}"/>
          </ac:spMkLst>
        </pc:spChg>
        <pc:spChg chg="del mod">
          <ac:chgData name="Hänninen, Lauri" userId="b62831d1-2046-40aa-b4b7-d67e2d73afe1" providerId="ADAL" clId="{F907ACC7-C8F7-470E-B883-D49732EB787C}" dt="2024-02-21T15:25:03.961" v="30343" actId="478"/>
          <ac:spMkLst>
            <pc:docMk/>
            <pc:sldMk cId="4211139620" sldId="2147483610"/>
            <ac:spMk id="39" creationId="{FD94B9CD-D997-EEC3-00B8-8727A5185CDA}"/>
          </ac:spMkLst>
        </pc:spChg>
        <pc:spChg chg="del mod">
          <ac:chgData name="Hänninen, Lauri" userId="b62831d1-2046-40aa-b4b7-d67e2d73afe1" providerId="ADAL" clId="{F907ACC7-C8F7-470E-B883-D49732EB787C}" dt="2024-02-21T15:25:03.961" v="30343" actId="478"/>
          <ac:spMkLst>
            <pc:docMk/>
            <pc:sldMk cId="4211139620" sldId="2147483610"/>
            <ac:spMk id="40" creationId="{8D4EC94F-4DC7-5DA9-CCE1-39088A252928}"/>
          </ac:spMkLst>
        </pc:spChg>
        <pc:spChg chg="del mod">
          <ac:chgData name="Hänninen, Lauri" userId="b62831d1-2046-40aa-b4b7-d67e2d73afe1" providerId="ADAL" clId="{F907ACC7-C8F7-470E-B883-D49732EB787C}" dt="2024-02-21T15:25:03.961" v="30343" actId="478"/>
          <ac:spMkLst>
            <pc:docMk/>
            <pc:sldMk cId="4211139620" sldId="2147483610"/>
            <ac:spMk id="41" creationId="{5211DB1D-88AE-1545-6628-483916C1B2A7}"/>
          </ac:spMkLst>
        </pc:spChg>
        <pc:spChg chg="mod">
          <ac:chgData name="Hänninen, Lauri" userId="b62831d1-2046-40aa-b4b7-d67e2d73afe1" providerId="ADAL" clId="{F907ACC7-C8F7-470E-B883-D49732EB787C}" dt="2024-02-21T12:07:30.084" v="18621"/>
          <ac:spMkLst>
            <pc:docMk/>
            <pc:sldMk cId="4211139620" sldId="2147483610"/>
            <ac:spMk id="42" creationId="{FC21827F-750D-CB2B-D705-44122CE7888F}"/>
          </ac:spMkLst>
        </pc:spChg>
        <pc:spChg chg="del">
          <ac:chgData name="Hänninen, Lauri" userId="b62831d1-2046-40aa-b4b7-d67e2d73afe1" providerId="ADAL" clId="{F907ACC7-C8F7-470E-B883-D49732EB787C}" dt="2024-02-21T11:57:26.580" v="18277" actId="478"/>
          <ac:spMkLst>
            <pc:docMk/>
            <pc:sldMk cId="4211139620" sldId="2147483610"/>
            <ac:spMk id="43" creationId="{C957FCD6-79E3-C503-C92D-93BCABC39AEF}"/>
          </ac:spMkLst>
        </pc:spChg>
        <pc:spChg chg="del">
          <ac:chgData name="Hänninen, Lauri" userId="b62831d1-2046-40aa-b4b7-d67e2d73afe1" providerId="ADAL" clId="{F907ACC7-C8F7-470E-B883-D49732EB787C}" dt="2024-02-21T11:57:26.580" v="18277" actId="478"/>
          <ac:spMkLst>
            <pc:docMk/>
            <pc:sldMk cId="4211139620" sldId="2147483610"/>
            <ac:spMk id="44" creationId="{B4021556-3B5F-F041-F26E-357CD42B7499}"/>
          </ac:spMkLst>
        </pc:spChg>
        <pc:spChg chg="mod ord">
          <ac:chgData name="Hänninen, Lauri" userId="b62831d1-2046-40aa-b4b7-d67e2d73afe1" providerId="ADAL" clId="{F907ACC7-C8F7-470E-B883-D49732EB787C}" dt="2024-02-21T15:35:45.924" v="30560"/>
          <ac:spMkLst>
            <pc:docMk/>
            <pc:sldMk cId="4211139620" sldId="2147483610"/>
            <ac:spMk id="45" creationId="{4657879F-3BC5-6301-1001-5ED1AEE61328}"/>
          </ac:spMkLst>
        </pc:spChg>
        <pc:spChg chg="del">
          <ac:chgData name="Hänninen, Lauri" userId="b62831d1-2046-40aa-b4b7-d67e2d73afe1" providerId="ADAL" clId="{F907ACC7-C8F7-470E-B883-D49732EB787C}" dt="2024-02-21T11:57:26.580" v="18277" actId="478"/>
          <ac:spMkLst>
            <pc:docMk/>
            <pc:sldMk cId="4211139620" sldId="2147483610"/>
            <ac:spMk id="46" creationId="{614FD35D-7F32-2D3E-8845-D20014094152}"/>
          </ac:spMkLst>
        </pc:spChg>
        <pc:spChg chg="mod ord">
          <ac:chgData name="Hänninen, Lauri" userId="b62831d1-2046-40aa-b4b7-d67e2d73afe1" providerId="ADAL" clId="{F907ACC7-C8F7-470E-B883-D49732EB787C}" dt="2024-02-21T15:35:45.925" v="30562"/>
          <ac:spMkLst>
            <pc:docMk/>
            <pc:sldMk cId="4211139620" sldId="2147483610"/>
            <ac:spMk id="47" creationId="{C5496458-A953-531B-05A4-F5CC4D44D01C}"/>
          </ac:spMkLst>
        </pc:spChg>
        <pc:spChg chg="del">
          <ac:chgData name="Hänninen, Lauri" userId="b62831d1-2046-40aa-b4b7-d67e2d73afe1" providerId="ADAL" clId="{F907ACC7-C8F7-470E-B883-D49732EB787C}" dt="2024-02-21T11:57:26.580" v="18277" actId="478"/>
          <ac:spMkLst>
            <pc:docMk/>
            <pc:sldMk cId="4211139620" sldId="2147483610"/>
            <ac:spMk id="48" creationId="{1C518AA0-C19D-6212-65A7-FC61A2F217EC}"/>
          </ac:spMkLst>
        </pc:spChg>
        <pc:spChg chg="mod ord">
          <ac:chgData name="Hänninen, Lauri" userId="b62831d1-2046-40aa-b4b7-d67e2d73afe1" providerId="ADAL" clId="{F907ACC7-C8F7-470E-B883-D49732EB787C}" dt="2024-02-21T15:35:45.925" v="30564"/>
          <ac:spMkLst>
            <pc:docMk/>
            <pc:sldMk cId="4211139620" sldId="2147483610"/>
            <ac:spMk id="49" creationId="{DC3A8934-BC51-C1BD-9E37-3C01E30634A5}"/>
          </ac:spMkLst>
        </pc:spChg>
        <pc:spChg chg="del">
          <ac:chgData name="Hänninen, Lauri" userId="b62831d1-2046-40aa-b4b7-d67e2d73afe1" providerId="ADAL" clId="{F907ACC7-C8F7-470E-B883-D49732EB787C}" dt="2024-02-21T11:57:26.580" v="18277" actId="478"/>
          <ac:spMkLst>
            <pc:docMk/>
            <pc:sldMk cId="4211139620" sldId="2147483610"/>
            <ac:spMk id="50" creationId="{60EC45AC-D23A-6613-D408-4FB57FC0255E}"/>
          </ac:spMkLst>
        </pc:spChg>
        <pc:spChg chg="mod ord">
          <ac:chgData name="Hänninen, Lauri" userId="b62831d1-2046-40aa-b4b7-d67e2d73afe1" providerId="ADAL" clId="{F907ACC7-C8F7-470E-B883-D49732EB787C}" dt="2024-02-21T15:35:45.925" v="30566"/>
          <ac:spMkLst>
            <pc:docMk/>
            <pc:sldMk cId="4211139620" sldId="2147483610"/>
            <ac:spMk id="51" creationId="{D19B4448-A9F7-C160-12D9-32F81019B264}"/>
          </ac:spMkLst>
        </pc:spChg>
        <pc:spChg chg="del">
          <ac:chgData name="Hänninen, Lauri" userId="b62831d1-2046-40aa-b4b7-d67e2d73afe1" providerId="ADAL" clId="{F907ACC7-C8F7-470E-B883-D49732EB787C}" dt="2024-02-21T11:57:26.580" v="18277" actId="478"/>
          <ac:spMkLst>
            <pc:docMk/>
            <pc:sldMk cId="4211139620" sldId="2147483610"/>
            <ac:spMk id="52" creationId="{97BE96F8-3E43-2E36-1C30-67F8C8DB1988}"/>
          </ac:spMkLst>
        </pc:spChg>
        <pc:spChg chg="mod ord">
          <ac:chgData name="Hänninen, Lauri" userId="b62831d1-2046-40aa-b4b7-d67e2d73afe1" providerId="ADAL" clId="{F907ACC7-C8F7-470E-B883-D49732EB787C}" dt="2024-02-21T15:35:45.926" v="30568"/>
          <ac:spMkLst>
            <pc:docMk/>
            <pc:sldMk cId="4211139620" sldId="2147483610"/>
            <ac:spMk id="53" creationId="{A6F89742-99AE-4CE2-861F-863085C718ED}"/>
          </ac:spMkLst>
        </pc:spChg>
        <pc:spChg chg="mod">
          <ac:chgData name="Hänninen, Lauri" userId="b62831d1-2046-40aa-b4b7-d67e2d73afe1" providerId="ADAL" clId="{F907ACC7-C8F7-470E-B883-D49732EB787C}" dt="2024-02-21T12:07:30.084" v="18621"/>
          <ac:spMkLst>
            <pc:docMk/>
            <pc:sldMk cId="4211139620" sldId="2147483610"/>
            <ac:spMk id="54" creationId="{16E34C90-FB54-74D9-994A-6A8807A465C7}"/>
          </ac:spMkLst>
        </pc:spChg>
        <pc:spChg chg="del mod">
          <ac:chgData name="Hänninen, Lauri" userId="b62831d1-2046-40aa-b4b7-d67e2d73afe1" providerId="ADAL" clId="{F907ACC7-C8F7-470E-B883-D49732EB787C}" dt="2024-02-21T12:07:29.689" v="18620" actId="478"/>
          <ac:spMkLst>
            <pc:docMk/>
            <pc:sldMk cId="4211139620" sldId="2147483610"/>
            <ac:spMk id="55" creationId="{980D850A-7E88-D35F-31CA-D226144DF1CF}"/>
          </ac:spMkLst>
        </pc:spChg>
        <pc:spChg chg="mod">
          <ac:chgData name="Hänninen, Lauri" userId="b62831d1-2046-40aa-b4b7-d67e2d73afe1" providerId="ADAL" clId="{F907ACC7-C8F7-470E-B883-D49732EB787C}" dt="2024-02-21T12:07:30.084" v="18621"/>
          <ac:spMkLst>
            <pc:docMk/>
            <pc:sldMk cId="4211139620" sldId="2147483610"/>
            <ac:spMk id="57" creationId="{BE817156-050D-D25C-7BB4-93CF620A2011}"/>
          </ac:spMkLst>
        </pc:spChg>
        <pc:spChg chg="mod">
          <ac:chgData name="Hänninen, Lauri" userId="b62831d1-2046-40aa-b4b7-d67e2d73afe1" providerId="ADAL" clId="{F907ACC7-C8F7-470E-B883-D49732EB787C}" dt="2024-02-21T12:07:30.084" v="18621"/>
          <ac:spMkLst>
            <pc:docMk/>
            <pc:sldMk cId="4211139620" sldId="2147483610"/>
            <ac:spMk id="58" creationId="{EB6431DF-C857-901B-13C1-AC98AF1BAEC4}"/>
          </ac:spMkLst>
        </pc:spChg>
        <pc:spChg chg="mod ord">
          <ac:chgData name="Hänninen, Lauri" userId="b62831d1-2046-40aa-b4b7-d67e2d73afe1" providerId="ADAL" clId="{F907ACC7-C8F7-470E-B883-D49732EB787C}" dt="2024-02-21T15:35:45.926" v="30570"/>
          <ac:spMkLst>
            <pc:docMk/>
            <pc:sldMk cId="4211139620" sldId="2147483610"/>
            <ac:spMk id="85" creationId="{60BECB16-66DC-ED92-B420-482909299A4E}"/>
          </ac:spMkLst>
        </pc:spChg>
        <pc:spChg chg="del mod">
          <ac:chgData name="Hänninen, Lauri" userId="b62831d1-2046-40aa-b4b7-d67e2d73afe1" providerId="ADAL" clId="{F907ACC7-C8F7-470E-B883-D49732EB787C}" dt="2024-02-21T15:32:40.743" v="30507" actId="478"/>
          <ac:spMkLst>
            <pc:docMk/>
            <pc:sldMk cId="4211139620" sldId="2147483610"/>
            <ac:spMk id="87" creationId="{F68BE898-0494-067D-F821-332DE537965B}"/>
          </ac:spMkLst>
        </pc:spChg>
        <pc:spChg chg="del">
          <ac:chgData name="Hänninen, Lauri" userId="b62831d1-2046-40aa-b4b7-d67e2d73afe1" providerId="ADAL" clId="{F907ACC7-C8F7-470E-B883-D49732EB787C}" dt="2024-02-21T11:57:26.580" v="18277" actId="478"/>
          <ac:spMkLst>
            <pc:docMk/>
            <pc:sldMk cId="4211139620" sldId="2147483610"/>
            <ac:spMk id="89" creationId="{482C91E3-F9E7-D9F5-B694-93AF59602BEE}"/>
          </ac:spMkLst>
        </pc:spChg>
        <pc:spChg chg="del mod">
          <ac:chgData name="Hänninen, Lauri" userId="b62831d1-2046-40aa-b4b7-d67e2d73afe1" providerId="ADAL" clId="{F907ACC7-C8F7-470E-B883-D49732EB787C}" dt="2024-02-21T12:07:29.689" v="18620" actId="478"/>
          <ac:spMkLst>
            <pc:docMk/>
            <pc:sldMk cId="4211139620" sldId="2147483610"/>
            <ac:spMk id="90" creationId="{8C6A5DA1-B253-18BC-E9D2-AA684B850A95}"/>
          </ac:spMkLst>
        </pc:spChg>
        <pc:spChg chg="del mod">
          <ac:chgData name="Hänninen, Lauri" userId="b62831d1-2046-40aa-b4b7-d67e2d73afe1" providerId="ADAL" clId="{F907ACC7-C8F7-470E-B883-D49732EB787C}" dt="2024-02-21T12:07:29.689" v="18620" actId="478"/>
          <ac:spMkLst>
            <pc:docMk/>
            <pc:sldMk cId="4211139620" sldId="2147483610"/>
            <ac:spMk id="91" creationId="{632E6A5E-CA5D-3C04-1A88-9742A59A57DD}"/>
          </ac:spMkLst>
        </pc:spChg>
        <pc:spChg chg="mod ord">
          <ac:chgData name="Hänninen, Lauri" userId="b62831d1-2046-40aa-b4b7-d67e2d73afe1" providerId="ADAL" clId="{F907ACC7-C8F7-470E-B883-D49732EB787C}" dt="2024-02-21T15:35:45.922" v="30552"/>
          <ac:spMkLst>
            <pc:docMk/>
            <pc:sldMk cId="4211139620" sldId="2147483610"/>
            <ac:spMk id="93" creationId="{8C41F1AD-D67F-FFAF-4C71-C09949D141B4}"/>
          </ac:spMkLst>
        </pc:spChg>
        <pc:spChg chg="del mod">
          <ac:chgData name="Hänninen, Lauri" userId="b62831d1-2046-40aa-b4b7-d67e2d73afe1" providerId="ADAL" clId="{F907ACC7-C8F7-470E-B883-D49732EB787C}" dt="2024-02-21T12:07:29.689" v="18620" actId="478"/>
          <ac:spMkLst>
            <pc:docMk/>
            <pc:sldMk cId="4211139620" sldId="2147483610"/>
            <ac:spMk id="94" creationId="{782B41A5-5BEA-D729-E326-E2C677A33C29}"/>
          </ac:spMkLst>
        </pc:spChg>
        <pc:spChg chg="del mod">
          <ac:chgData name="Hänninen, Lauri" userId="b62831d1-2046-40aa-b4b7-d67e2d73afe1" providerId="ADAL" clId="{F907ACC7-C8F7-470E-B883-D49732EB787C}" dt="2024-02-21T12:07:29.689" v="18620" actId="478"/>
          <ac:spMkLst>
            <pc:docMk/>
            <pc:sldMk cId="4211139620" sldId="2147483610"/>
            <ac:spMk id="95" creationId="{D222769B-2183-E511-7680-E6857BCCE7B4}"/>
          </ac:spMkLst>
        </pc:spChg>
        <pc:spChg chg="del mod">
          <ac:chgData name="Hänninen, Lauri" userId="b62831d1-2046-40aa-b4b7-d67e2d73afe1" providerId="ADAL" clId="{F907ACC7-C8F7-470E-B883-D49732EB787C}" dt="2024-02-21T12:07:29.689" v="18620" actId="478"/>
          <ac:spMkLst>
            <pc:docMk/>
            <pc:sldMk cId="4211139620" sldId="2147483610"/>
            <ac:spMk id="96" creationId="{1DC7EBE9-E676-C37F-D850-53B7BCC8020D}"/>
          </ac:spMkLst>
        </pc:spChg>
        <pc:spChg chg="del mod">
          <ac:chgData name="Hänninen, Lauri" userId="b62831d1-2046-40aa-b4b7-d67e2d73afe1" providerId="ADAL" clId="{F907ACC7-C8F7-470E-B883-D49732EB787C}" dt="2024-02-21T12:07:29.689" v="18620" actId="478"/>
          <ac:spMkLst>
            <pc:docMk/>
            <pc:sldMk cId="4211139620" sldId="2147483610"/>
            <ac:spMk id="97" creationId="{7600430B-B98D-78CA-EFB3-2B8367B1E80E}"/>
          </ac:spMkLst>
        </pc:spChg>
        <pc:spChg chg="add del mod ord">
          <ac:chgData name="Hänninen, Lauri" userId="b62831d1-2046-40aa-b4b7-d67e2d73afe1" providerId="ADAL" clId="{F907ACC7-C8F7-470E-B883-D49732EB787C}" dt="2024-02-21T15:10:32.753" v="30035" actId="478"/>
          <ac:spMkLst>
            <pc:docMk/>
            <pc:sldMk cId="4211139620" sldId="2147483610"/>
            <ac:spMk id="122" creationId="{00E3D1D2-8B11-C852-14E9-83046F7FA7D8}"/>
          </ac:spMkLst>
        </pc:spChg>
        <pc:spChg chg="add del mod">
          <ac:chgData name="Hänninen, Lauri" userId="b62831d1-2046-40aa-b4b7-d67e2d73afe1" providerId="ADAL" clId="{F907ACC7-C8F7-470E-B883-D49732EB787C}" dt="2024-02-21T15:35:45.927" v="30573"/>
          <ac:spMkLst>
            <pc:docMk/>
            <pc:sldMk cId="4211139620" sldId="2147483610"/>
            <ac:spMk id="123" creationId="{488D5A92-DDD7-DC0C-12A3-67E844C1EAAA}"/>
          </ac:spMkLst>
        </pc:spChg>
        <pc:spChg chg="add mod">
          <ac:chgData name="Hänninen, Lauri" userId="b62831d1-2046-40aa-b4b7-d67e2d73afe1" providerId="ADAL" clId="{F907ACC7-C8F7-470E-B883-D49732EB787C}" dt="2024-02-21T15:35:45.928" v="30574"/>
          <ac:spMkLst>
            <pc:docMk/>
            <pc:sldMk cId="4211139620" sldId="2147483610"/>
            <ac:spMk id="124" creationId="{B3AB5812-AFAF-BA1D-A45A-34AB4E61D0B1}"/>
          </ac:spMkLst>
        </pc:spChg>
        <pc:spChg chg="add mod">
          <ac:chgData name="Hänninen, Lauri" userId="b62831d1-2046-40aa-b4b7-d67e2d73afe1" providerId="ADAL" clId="{F907ACC7-C8F7-470E-B883-D49732EB787C}" dt="2024-02-21T15:35:45.928" v="30575"/>
          <ac:spMkLst>
            <pc:docMk/>
            <pc:sldMk cId="4211139620" sldId="2147483610"/>
            <ac:spMk id="125" creationId="{2A47D68E-7632-E269-C462-053214A6BADB}"/>
          </ac:spMkLst>
        </pc:spChg>
        <pc:spChg chg="add mod">
          <ac:chgData name="Hänninen, Lauri" userId="b62831d1-2046-40aa-b4b7-d67e2d73afe1" providerId="ADAL" clId="{F907ACC7-C8F7-470E-B883-D49732EB787C}" dt="2024-02-21T15:35:45.928" v="30576"/>
          <ac:spMkLst>
            <pc:docMk/>
            <pc:sldMk cId="4211139620" sldId="2147483610"/>
            <ac:spMk id="126" creationId="{77CBCD88-F46F-F7B6-7DED-70CC83903EA1}"/>
          </ac:spMkLst>
        </pc:spChg>
        <pc:spChg chg="add mod">
          <ac:chgData name="Hänninen, Lauri" userId="b62831d1-2046-40aa-b4b7-d67e2d73afe1" providerId="ADAL" clId="{F907ACC7-C8F7-470E-B883-D49732EB787C}" dt="2024-02-21T15:35:45.929" v="30577"/>
          <ac:spMkLst>
            <pc:docMk/>
            <pc:sldMk cId="4211139620" sldId="2147483610"/>
            <ac:spMk id="127" creationId="{73B863C3-D621-5C94-C8F4-62322391F49C}"/>
          </ac:spMkLst>
        </pc:spChg>
        <pc:spChg chg="add mod">
          <ac:chgData name="Hänninen, Lauri" userId="b62831d1-2046-40aa-b4b7-d67e2d73afe1" providerId="ADAL" clId="{F907ACC7-C8F7-470E-B883-D49732EB787C}" dt="2024-02-21T15:35:45.929" v="30578"/>
          <ac:spMkLst>
            <pc:docMk/>
            <pc:sldMk cId="4211139620" sldId="2147483610"/>
            <ac:spMk id="128" creationId="{0B5A4D5A-F9C7-7DE5-6872-98B3631F2115}"/>
          </ac:spMkLst>
        </pc:spChg>
        <pc:spChg chg="add del mod">
          <ac:chgData name="Hänninen, Lauri" userId="b62831d1-2046-40aa-b4b7-d67e2d73afe1" providerId="ADAL" clId="{F907ACC7-C8F7-470E-B883-D49732EB787C}" dt="2024-02-21T14:48:11.425" v="29526" actId="478"/>
          <ac:spMkLst>
            <pc:docMk/>
            <pc:sldMk cId="4211139620" sldId="2147483610"/>
            <ac:spMk id="143" creationId="{D545E7C1-6C7D-D965-CCAE-08F97DCAC72F}"/>
          </ac:spMkLst>
        </pc:spChg>
        <pc:spChg chg="add mod ord">
          <ac:chgData name="Hänninen, Lauri" userId="b62831d1-2046-40aa-b4b7-d67e2d73afe1" providerId="ADAL" clId="{F907ACC7-C8F7-470E-B883-D49732EB787C}" dt="2024-02-21T15:35:45.931" v="30586"/>
          <ac:spMkLst>
            <pc:docMk/>
            <pc:sldMk cId="4211139620" sldId="2147483610"/>
            <ac:spMk id="144" creationId="{585C2921-D54B-6459-D57A-BE7FC3A1E194}"/>
          </ac:spMkLst>
        </pc:spChg>
        <pc:spChg chg="add mod ord">
          <ac:chgData name="Hänninen, Lauri" userId="b62831d1-2046-40aa-b4b7-d67e2d73afe1" providerId="ADAL" clId="{F907ACC7-C8F7-470E-B883-D49732EB787C}" dt="2024-02-21T15:35:45.931" v="30588"/>
          <ac:spMkLst>
            <pc:docMk/>
            <pc:sldMk cId="4211139620" sldId="2147483610"/>
            <ac:spMk id="145" creationId="{C1828352-0B8A-B262-B6D9-72BC2346331D}"/>
          </ac:spMkLst>
        </pc:spChg>
        <pc:spChg chg="add mod ord">
          <ac:chgData name="Hänninen, Lauri" userId="b62831d1-2046-40aa-b4b7-d67e2d73afe1" providerId="ADAL" clId="{F907ACC7-C8F7-470E-B883-D49732EB787C}" dt="2024-02-21T15:35:45.932" v="30590"/>
          <ac:spMkLst>
            <pc:docMk/>
            <pc:sldMk cId="4211139620" sldId="2147483610"/>
            <ac:spMk id="146" creationId="{2B885522-D562-99C4-7CEA-884456B277D6}"/>
          </ac:spMkLst>
        </pc:spChg>
        <pc:spChg chg="add mod ord">
          <ac:chgData name="Hänninen, Lauri" userId="b62831d1-2046-40aa-b4b7-d67e2d73afe1" providerId="ADAL" clId="{F907ACC7-C8F7-470E-B883-D49732EB787C}" dt="2024-02-21T15:35:45.932" v="30592"/>
          <ac:spMkLst>
            <pc:docMk/>
            <pc:sldMk cId="4211139620" sldId="2147483610"/>
            <ac:spMk id="147" creationId="{B1EA97D1-161A-4F9A-A01E-0DEE447537A8}"/>
          </ac:spMkLst>
        </pc:spChg>
        <pc:spChg chg="add mod ord">
          <ac:chgData name="Hänninen, Lauri" userId="b62831d1-2046-40aa-b4b7-d67e2d73afe1" providerId="ADAL" clId="{F907ACC7-C8F7-470E-B883-D49732EB787C}" dt="2024-02-21T15:35:45.933" v="30594"/>
          <ac:spMkLst>
            <pc:docMk/>
            <pc:sldMk cId="4211139620" sldId="2147483610"/>
            <ac:spMk id="148" creationId="{B87B077D-3F25-4113-1D8A-43E8A26F4A30}"/>
          </ac:spMkLst>
        </pc:spChg>
        <pc:spChg chg="add mod ord">
          <ac:chgData name="Hänninen, Lauri" userId="b62831d1-2046-40aa-b4b7-d67e2d73afe1" providerId="ADAL" clId="{F907ACC7-C8F7-470E-B883-D49732EB787C}" dt="2024-02-21T15:35:45.933" v="30596"/>
          <ac:spMkLst>
            <pc:docMk/>
            <pc:sldMk cId="4211139620" sldId="2147483610"/>
            <ac:spMk id="149" creationId="{F366B6E6-75E8-37FB-DAD8-9620FAA010AF}"/>
          </ac:spMkLst>
        </pc:spChg>
        <pc:spChg chg="add mod">
          <ac:chgData name="Hänninen, Lauri" userId="b62831d1-2046-40aa-b4b7-d67e2d73afe1" providerId="ADAL" clId="{F907ACC7-C8F7-470E-B883-D49732EB787C}" dt="2024-02-21T15:21:26.004" v="30260" actId="571"/>
          <ac:spMkLst>
            <pc:docMk/>
            <pc:sldMk cId="4211139620" sldId="2147483610"/>
            <ac:spMk id="158" creationId="{3CDB15E3-A680-AFC1-EEFE-B3D33D96319C}"/>
          </ac:spMkLst>
        </pc:spChg>
        <pc:spChg chg="add mod">
          <ac:chgData name="Hänninen, Lauri" userId="b62831d1-2046-40aa-b4b7-d67e2d73afe1" providerId="ADAL" clId="{F907ACC7-C8F7-470E-B883-D49732EB787C}" dt="2024-02-21T15:35:45.933" v="30597"/>
          <ac:spMkLst>
            <pc:docMk/>
            <pc:sldMk cId="4211139620" sldId="2147483610"/>
            <ac:spMk id="159" creationId="{4CB969B4-BCCD-8357-268A-42B2483DE1FD}"/>
          </ac:spMkLst>
        </pc:spChg>
        <pc:spChg chg="add mod">
          <ac:chgData name="Hänninen, Lauri" userId="b62831d1-2046-40aa-b4b7-d67e2d73afe1" providerId="ADAL" clId="{F907ACC7-C8F7-470E-B883-D49732EB787C}" dt="2024-02-21T15:35:45.934" v="30598"/>
          <ac:spMkLst>
            <pc:docMk/>
            <pc:sldMk cId="4211139620" sldId="2147483610"/>
            <ac:spMk id="160" creationId="{737D5EB8-7E8A-25D9-E663-EE3A835665C3}"/>
          </ac:spMkLst>
        </pc:spChg>
        <pc:spChg chg="add mod">
          <ac:chgData name="Hänninen, Lauri" userId="b62831d1-2046-40aa-b4b7-d67e2d73afe1" providerId="ADAL" clId="{F907ACC7-C8F7-470E-B883-D49732EB787C}" dt="2024-02-21T15:35:45.934" v="30599"/>
          <ac:spMkLst>
            <pc:docMk/>
            <pc:sldMk cId="4211139620" sldId="2147483610"/>
            <ac:spMk id="161" creationId="{26DF77BC-495B-6CC0-135E-56F2F8D5E883}"/>
          </ac:spMkLst>
        </pc:spChg>
        <pc:spChg chg="add mod">
          <ac:chgData name="Hänninen, Lauri" userId="b62831d1-2046-40aa-b4b7-d67e2d73afe1" providerId="ADAL" clId="{F907ACC7-C8F7-470E-B883-D49732EB787C}" dt="2024-02-21T15:35:45.935" v="30600"/>
          <ac:spMkLst>
            <pc:docMk/>
            <pc:sldMk cId="4211139620" sldId="2147483610"/>
            <ac:spMk id="162" creationId="{952B5413-4A04-3F97-B903-BA6C10ECC22A}"/>
          </ac:spMkLst>
        </pc:spChg>
        <pc:spChg chg="add mod">
          <ac:chgData name="Hänninen, Lauri" userId="b62831d1-2046-40aa-b4b7-d67e2d73afe1" providerId="ADAL" clId="{F907ACC7-C8F7-470E-B883-D49732EB787C}" dt="2024-02-21T15:35:45.935" v="30601"/>
          <ac:spMkLst>
            <pc:docMk/>
            <pc:sldMk cId="4211139620" sldId="2147483610"/>
            <ac:spMk id="163" creationId="{C2BB9DA9-9A66-609A-AA01-86617CC687CC}"/>
          </ac:spMkLst>
        </pc:spChg>
        <pc:spChg chg="add mod">
          <ac:chgData name="Hänninen, Lauri" userId="b62831d1-2046-40aa-b4b7-d67e2d73afe1" providerId="ADAL" clId="{F907ACC7-C8F7-470E-B883-D49732EB787C}" dt="2024-02-21T15:35:45.936" v="30602"/>
          <ac:spMkLst>
            <pc:docMk/>
            <pc:sldMk cId="4211139620" sldId="2147483610"/>
            <ac:spMk id="164" creationId="{4C14A481-D19D-CB2E-372C-87B6EF9F18F1}"/>
          </ac:spMkLst>
        </pc:spChg>
        <pc:spChg chg="add mod ord">
          <ac:chgData name="Hänninen, Lauri" userId="b62831d1-2046-40aa-b4b7-d67e2d73afe1" providerId="ADAL" clId="{F907ACC7-C8F7-470E-B883-D49732EB787C}" dt="2024-02-21T15:35:45.938" v="30614"/>
          <ac:spMkLst>
            <pc:docMk/>
            <pc:sldMk cId="4211139620" sldId="2147483610"/>
            <ac:spMk id="171" creationId="{6FA24F68-9266-B3DF-8A62-EDE790A60EC4}"/>
          </ac:spMkLst>
        </pc:spChg>
        <pc:spChg chg="add del mod">
          <ac:chgData name="Hänninen, Lauri" userId="b62831d1-2046-40aa-b4b7-d67e2d73afe1" providerId="ADAL" clId="{F907ACC7-C8F7-470E-B883-D49732EB787C}" dt="2024-02-21T15:31:04.099" v="30450" actId="478"/>
          <ac:spMkLst>
            <pc:docMk/>
            <pc:sldMk cId="4211139620" sldId="2147483610"/>
            <ac:spMk id="172" creationId="{0186DFF8-0514-CEFB-FB23-0B75ADCD0A79}"/>
          </ac:spMkLst>
        </pc:spChg>
        <pc:spChg chg="add mod ord">
          <ac:chgData name="Hänninen, Lauri" userId="b62831d1-2046-40aa-b4b7-d67e2d73afe1" providerId="ADAL" clId="{F907ACC7-C8F7-470E-B883-D49732EB787C}" dt="2024-02-21T15:35:45.938" v="30616"/>
          <ac:spMkLst>
            <pc:docMk/>
            <pc:sldMk cId="4211139620" sldId="2147483610"/>
            <ac:spMk id="173" creationId="{365FFD61-F1FA-94E8-D81A-5D80F71E5C59}"/>
          </ac:spMkLst>
        </pc:spChg>
        <pc:spChg chg="add mod ord">
          <ac:chgData name="Hänninen, Lauri" userId="b62831d1-2046-40aa-b4b7-d67e2d73afe1" providerId="ADAL" clId="{F907ACC7-C8F7-470E-B883-D49732EB787C}" dt="2024-02-21T15:35:45.939" v="30618"/>
          <ac:spMkLst>
            <pc:docMk/>
            <pc:sldMk cId="4211139620" sldId="2147483610"/>
            <ac:spMk id="174" creationId="{88D20422-445D-B25A-3B86-AAB9546772E7}"/>
          </ac:spMkLst>
        </pc:spChg>
        <pc:spChg chg="add mod ord">
          <ac:chgData name="Hänninen, Lauri" userId="b62831d1-2046-40aa-b4b7-d67e2d73afe1" providerId="ADAL" clId="{F907ACC7-C8F7-470E-B883-D49732EB787C}" dt="2024-02-21T15:35:45.939" v="30620"/>
          <ac:spMkLst>
            <pc:docMk/>
            <pc:sldMk cId="4211139620" sldId="2147483610"/>
            <ac:spMk id="175" creationId="{0FA37D84-DDD5-AF3B-454D-ADD1A11929B4}"/>
          </ac:spMkLst>
        </pc:spChg>
        <pc:spChg chg="add mod ord">
          <ac:chgData name="Hänninen, Lauri" userId="b62831d1-2046-40aa-b4b7-d67e2d73afe1" providerId="ADAL" clId="{F907ACC7-C8F7-470E-B883-D49732EB787C}" dt="2024-02-21T15:35:45.940" v="30622"/>
          <ac:spMkLst>
            <pc:docMk/>
            <pc:sldMk cId="4211139620" sldId="2147483610"/>
            <ac:spMk id="176" creationId="{0636EC69-8F12-067D-8E1E-59A54F4A8DFB}"/>
          </ac:spMkLst>
        </pc:spChg>
        <pc:spChg chg="add mod ord">
          <ac:chgData name="Hänninen, Lauri" userId="b62831d1-2046-40aa-b4b7-d67e2d73afe1" providerId="ADAL" clId="{F907ACC7-C8F7-470E-B883-D49732EB787C}" dt="2024-02-21T15:35:45.940" v="30624"/>
          <ac:spMkLst>
            <pc:docMk/>
            <pc:sldMk cId="4211139620" sldId="2147483610"/>
            <ac:spMk id="177" creationId="{B425E9E1-6311-6B7E-D6F0-0DEE242B0415}"/>
          </ac:spMkLst>
        </pc:spChg>
        <pc:grpChg chg="add del mod">
          <ac:chgData name="Hänninen, Lauri" userId="b62831d1-2046-40aa-b4b7-d67e2d73afe1" providerId="ADAL" clId="{F907ACC7-C8F7-470E-B883-D49732EB787C}" dt="2024-02-21T12:10:36.087" v="18807" actId="478"/>
          <ac:grpSpMkLst>
            <pc:docMk/>
            <pc:sldMk cId="4211139620" sldId="2147483610"/>
            <ac:grpSpMk id="5" creationId="{65F2BD58-B46A-AE95-B4D2-4FDACF2F752F}"/>
          </ac:grpSpMkLst>
        </pc:grpChg>
        <pc:grpChg chg="add del mod">
          <ac:chgData name="Hänninen, Lauri" userId="b62831d1-2046-40aa-b4b7-d67e2d73afe1" providerId="ADAL" clId="{F907ACC7-C8F7-470E-B883-D49732EB787C}" dt="2024-02-21T12:10:36.087" v="18807" actId="478"/>
          <ac:grpSpMkLst>
            <pc:docMk/>
            <pc:sldMk cId="4211139620" sldId="2147483610"/>
            <ac:grpSpMk id="23" creationId="{6A89E591-862C-46EF-FBB9-E4C69B3C6AFA}"/>
          </ac:grpSpMkLst>
        </pc:grpChg>
        <pc:grpChg chg="add del mod">
          <ac:chgData name="Hänninen, Lauri" userId="b62831d1-2046-40aa-b4b7-d67e2d73afe1" providerId="ADAL" clId="{F907ACC7-C8F7-470E-B883-D49732EB787C}" dt="2024-02-21T12:10:36.087" v="18807" actId="478"/>
          <ac:grpSpMkLst>
            <pc:docMk/>
            <pc:sldMk cId="4211139620" sldId="2147483610"/>
            <ac:grpSpMk id="26" creationId="{4670EE0A-505F-039F-ABF9-2CF31B7D2011}"/>
          </ac:grpSpMkLst>
        </pc:grpChg>
        <pc:grpChg chg="add del mod">
          <ac:chgData name="Hänninen, Lauri" userId="b62831d1-2046-40aa-b4b7-d67e2d73afe1" providerId="ADAL" clId="{F907ACC7-C8F7-470E-B883-D49732EB787C}" dt="2024-02-21T12:10:36.087" v="18807" actId="478"/>
          <ac:grpSpMkLst>
            <pc:docMk/>
            <pc:sldMk cId="4211139620" sldId="2147483610"/>
            <ac:grpSpMk id="29" creationId="{FE25F498-C7BB-02F3-E2EF-D689DED8F7E0}"/>
          </ac:grpSpMkLst>
        </pc:grpChg>
        <pc:grpChg chg="add del mod">
          <ac:chgData name="Hänninen, Lauri" userId="b62831d1-2046-40aa-b4b7-d67e2d73afe1" providerId="ADAL" clId="{F907ACC7-C8F7-470E-B883-D49732EB787C}" dt="2024-02-21T12:10:36.087" v="18807" actId="478"/>
          <ac:grpSpMkLst>
            <pc:docMk/>
            <pc:sldMk cId="4211139620" sldId="2147483610"/>
            <ac:grpSpMk id="32" creationId="{6B020F57-B53A-879B-4726-F7AAED1B49A7}"/>
          </ac:grpSpMkLst>
        </pc:grpChg>
        <pc:grpChg chg="add del mod">
          <ac:chgData name="Hänninen, Lauri" userId="b62831d1-2046-40aa-b4b7-d67e2d73afe1" providerId="ADAL" clId="{F907ACC7-C8F7-470E-B883-D49732EB787C}" dt="2024-02-21T12:10:36.087" v="18807" actId="478"/>
          <ac:grpSpMkLst>
            <pc:docMk/>
            <pc:sldMk cId="4211139620" sldId="2147483610"/>
            <ac:grpSpMk id="35" creationId="{B012BDBF-7403-30A9-3D45-8FFF7665F658}"/>
          </ac:grpSpMkLst>
        </pc:grpChg>
        <pc:grpChg chg="add del mod">
          <ac:chgData name="Hänninen, Lauri" userId="b62831d1-2046-40aa-b4b7-d67e2d73afe1" providerId="ADAL" clId="{F907ACC7-C8F7-470E-B883-D49732EB787C}" dt="2024-02-21T12:10:36.087" v="18807" actId="478"/>
          <ac:grpSpMkLst>
            <pc:docMk/>
            <pc:sldMk cId="4211139620" sldId="2147483610"/>
            <ac:grpSpMk id="56" creationId="{EFA78C0B-A8D6-37FE-9ACF-C3CB7048F789}"/>
          </ac:grpSpMkLst>
        </pc:grpChg>
        <pc:grpChg chg="add del mod">
          <ac:chgData name="Hänninen, Lauri" userId="b62831d1-2046-40aa-b4b7-d67e2d73afe1" providerId="ADAL" clId="{F907ACC7-C8F7-470E-B883-D49732EB787C}" dt="2024-02-21T12:08:23.617" v="18662" actId="478"/>
          <ac:grpSpMkLst>
            <pc:docMk/>
            <pc:sldMk cId="4211139620" sldId="2147483610"/>
            <ac:grpSpMk id="59" creationId="{4F2A1347-CBAA-C4B6-4F46-EBAA89980374}"/>
          </ac:grpSpMkLst>
        </pc:grpChg>
        <pc:grpChg chg="add del mod">
          <ac:chgData name="Hänninen, Lauri" userId="b62831d1-2046-40aa-b4b7-d67e2d73afe1" providerId="ADAL" clId="{F907ACC7-C8F7-470E-B883-D49732EB787C}" dt="2024-02-21T12:08:23.617" v="18662" actId="478"/>
          <ac:grpSpMkLst>
            <pc:docMk/>
            <pc:sldMk cId="4211139620" sldId="2147483610"/>
            <ac:grpSpMk id="64" creationId="{F061A0C5-4B8B-3027-5160-F6FF62B20AE7}"/>
          </ac:grpSpMkLst>
        </pc:grpChg>
        <pc:grpChg chg="add del mod">
          <ac:chgData name="Hänninen, Lauri" userId="b62831d1-2046-40aa-b4b7-d67e2d73afe1" providerId="ADAL" clId="{F907ACC7-C8F7-470E-B883-D49732EB787C}" dt="2024-02-21T12:08:23.617" v="18662" actId="478"/>
          <ac:grpSpMkLst>
            <pc:docMk/>
            <pc:sldMk cId="4211139620" sldId="2147483610"/>
            <ac:grpSpMk id="69" creationId="{0A2D84EE-FFE3-70B6-1CB5-645562BDE07D}"/>
          </ac:grpSpMkLst>
        </pc:grpChg>
        <pc:grpChg chg="add del mod">
          <ac:chgData name="Hänninen, Lauri" userId="b62831d1-2046-40aa-b4b7-d67e2d73afe1" providerId="ADAL" clId="{F907ACC7-C8F7-470E-B883-D49732EB787C}" dt="2024-02-21T12:08:23.617" v="18662" actId="478"/>
          <ac:grpSpMkLst>
            <pc:docMk/>
            <pc:sldMk cId="4211139620" sldId="2147483610"/>
            <ac:grpSpMk id="74" creationId="{B910D6ED-BFEE-D56A-4EE3-7CBC4F18DC5B}"/>
          </ac:grpSpMkLst>
        </pc:grpChg>
        <pc:grpChg chg="add del mod">
          <ac:chgData name="Hänninen, Lauri" userId="b62831d1-2046-40aa-b4b7-d67e2d73afe1" providerId="ADAL" clId="{F907ACC7-C8F7-470E-B883-D49732EB787C}" dt="2024-02-21T12:08:23.617" v="18662" actId="478"/>
          <ac:grpSpMkLst>
            <pc:docMk/>
            <pc:sldMk cId="4211139620" sldId="2147483610"/>
            <ac:grpSpMk id="79" creationId="{66EB180A-673F-92C5-29AF-ECA8AAC3E694}"/>
          </ac:grpSpMkLst>
        </pc:grpChg>
        <pc:grpChg chg="del">
          <ac:chgData name="Hänninen, Lauri" userId="b62831d1-2046-40aa-b4b7-d67e2d73afe1" providerId="ADAL" clId="{F907ACC7-C8F7-470E-B883-D49732EB787C}" dt="2024-02-21T12:07:29.689" v="18620" actId="478"/>
          <ac:grpSpMkLst>
            <pc:docMk/>
            <pc:sldMk cId="4211139620" sldId="2147483610"/>
            <ac:grpSpMk id="104" creationId="{1C855EBC-DFB6-AB57-EA86-A6F83FA54737}"/>
          </ac:grpSpMkLst>
        </pc:grpChg>
        <pc:grpChg chg="del">
          <ac:chgData name="Hänninen, Lauri" userId="b62831d1-2046-40aa-b4b7-d67e2d73afe1" providerId="ADAL" clId="{F907ACC7-C8F7-470E-B883-D49732EB787C}" dt="2024-02-21T12:07:29.689" v="18620" actId="478"/>
          <ac:grpSpMkLst>
            <pc:docMk/>
            <pc:sldMk cId="4211139620" sldId="2147483610"/>
            <ac:grpSpMk id="107" creationId="{D4F196BC-CED7-B2F9-B93A-1D56A8C9F6A7}"/>
          </ac:grpSpMkLst>
        </pc:grpChg>
        <pc:grpChg chg="del">
          <ac:chgData name="Hänninen, Lauri" userId="b62831d1-2046-40aa-b4b7-d67e2d73afe1" providerId="ADAL" clId="{F907ACC7-C8F7-470E-B883-D49732EB787C}" dt="2024-02-21T12:07:29.689" v="18620" actId="478"/>
          <ac:grpSpMkLst>
            <pc:docMk/>
            <pc:sldMk cId="4211139620" sldId="2147483610"/>
            <ac:grpSpMk id="110" creationId="{B5E48479-EE07-AA52-D12B-058B63D4F86B}"/>
          </ac:grpSpMkLst>
        </pc:grpChg>
        <pc:grpChg chg="del">
          <ac:chgData name="Hänninen, Lauri" userId="b62831d1-2046-40aa-b4b7-d67e2d73afe1" providerId="ADAL" clId="{F907ACC7-C8F7-470E-B883-D49732EB787C}" dt="2024-02-21T12:07:29.689" v="18620" actId="478"/>
          <ac:grpSpMkLst>
            <pc:docMk/>
            <pc:sldMk cId="4211139620" sldId="2147483610"/>
            <ac:grpSpMk id="113" creationId="{D5A30BE6-BA32-0BA8-7B20-4BC51C1FBBCE}"/>
          </ac:grpSpMkLst>
        </pc:grpChg>
        <pc:grpChg chg="del">
          <ac:chgData name="Hänninen, Lauri" userId="b62831d1-2046-40aa-b4b7-d67e2d73afe1" providerId="ADAL" clId="{F907ACC7-C8F7-470E-B883-D49732EB787C}" dt="2024-02-21T12:07:29.689" v="18620" actId="478"/>
          <ac:grpSpMkLst>
            <pc:docMk/>
            <pc:sldMk cId="4211139620" sldId="2147483610"/>
            <ac:grpSpMk id="116" creationId="{E547E646-8692-AEBA-B480-A749EAEC0188}"/>
          </ac:grpSpMkLst>
        </pc:grpChg>
        <pc:grpChg chg="del">
          <ac:chgData name="Hänninen, Lauri" userId="b62831d1-2046-40aa-b4b7-d67e2d73afe1" providerId="ADAL" clId="{F907ACC7-C8F7-470E-B883-D49732EB787C}" dt="2024-02-21T12:07:29.689" v="18620" actId="478"/>
          <ac:grpSpMkLst>
            <pc:docMk/>
            <pc:sldMk cId="4211139620" sldId="2147483610"/>
            <ac:grpSpMk id="119" creationId="{E6E4F935-F492-614E-ACD0-5B062AC4F969}"/>
          </ac:grpSpMkLst>
        </pc:grpChg>
        <pc:graphicFrameChg chg="mod">
          <ac:chgData name="Hänninen, Lauri" userId="b62831d1-2046-40aa-b4b7-d67e2d73afe1" providerId="ADAL" clId="{F907ACC7-C8F7-470E-B883-D49732EB787C}" dt="2024-02-21T15:35:45.957" v="30628"/>
          <ac:graphicFrameMkLst>
            <pc:docMk/>
            <pc:sldMk cId="4211139620" sldId="2147483610"/>
            <ac:graphicFrameMk id="92" creationId="{701DF10B-BD15-1CC5-106E-42D7102AC1E6}"/>
          </ac:graphicFrameMkLst>
        </pc:graphicFrameChg>
        <pc:picChg chg="add del mod">
          <ac:chgData name="Hänninen, Lauri" userId="b62831d1-2046-40aa-b4b7-d67e2d73afe1" providerId="ADAL" clId="{F907ACC7-C8F7-470E-B883-D49732EB787C}" dt="2024-02-21T12:10:36.087" v="18807" actId="478"/>
          <ac:picMkLst>
            <pc:docMk/>
            <pc:sldMk cId="4211139620" sldId="2147483610"/>
            <ac:picMk id="17" creationId="{CA5E119F-9E6A-6AF4-296F-921BA4A0CAEE}"/>
          </ac:picMkLst>
        </pc:picChg>
        <pc:picChg chg="add del mod">
          <ac:chgData name="Hänninen, Lauri" userId="b62831d1-2046-40aa-b4b7-d67e2d73afe1" providerId="ADAL" clId="{F907ACC7-C8F7-470E-B883-D49732EB787C}" dt="2024-02-21T12:10:36.087" v="18807" actId="478"/>
          <ac:picMkLst>
            <pc:docMk/>
            <pc:sldMk cId="4211139620" sldId="2147483610"/>
            <ac:picMk id="18" creationId="{50525D44-1167-AB4A-DF92-E6669DC95D3E}"/>
          </ac:picMkLst>
        </pc:picChg>
        <pc:picChg chg="add del mod">
          <ac:chgData name="Hänninen, Lauri" userId="b62831d1-2046-40aa-b4b7-d67e2d73afe1" providerId="ADAL" clId="{F907ACC7-C8F7-470E-B883-D49732EB787C}" dt="2024-02-21T12:10:36.087" v="18807" actId="478"/>
          <ac:picMkLst>
            <pc:docMk/>
            <pc:sldMk cId="4211139620" sldId="2147483610"/>
            <ac:picMk id="19" creationId="{94DF6C4D-A7F3-4C20-ECB5-BFAA43A7310A}"/>
          </ac:picMkLst>
        </pc:picChg>
        <pc:picChg chg="add del mod">
          <ac:chgData name="Hänninen, Lauri" userId="b62831d1-2046-40aa-b4b7-d67e2d73afe1" providerId="ADAL" clId="{F907ACC7-C8F7-470E-B883-D49732EB787C}" dt="2024-02-21T12:10:36.087" v="18807" actId="478"/>
          <ac:picMkLst>
            <pc:docMk/>
            <pc:sldMk cId="4211139620" sldId="2147483610"/>
            <ac:picMk id="20" creationId="{23834FF6-62AF-C89E-B3B9-328F36395ED2}"/>
          </ac:picMkLst>
        </pc:picChg>
        <pc:picChg chg="add del mod">
          <ac:chgData name="Hänninen, Lauri" userId="b62831d1-2046-40aa-b4b7-d67e2d73afe1" providerId="ADAL" clId="{F907ACC7-C8F7-470E-B883-D49732EB787C}" dt="2024-02-21T12:10:36.087" v="18807" actId="478"/>
          <ac:picMkLst>
            <pc:docMk/>
            <pc:sldMk cId="4211139620" sldId="2147483610"/>
            <ac:picMk id="21" creationId="{6C4DECB8-E9DB-6B00-D1DB-FEB6C5D49AB9}"/>
          </ac:picMkLst>
        </pc:picChg>
        <pc:picChg chg="add del mod">
          <ac:chgData name="Hänninen, Lauri" userId="b62831d1-2046-40aa-b4b7-d67e2d73afe1" providerId="ADAL" clId="{F907ACC7-C8F7-470E-B883-D49732EB787C}" dt="2024-02-21T12:10:36.087" v="18807" actId="478"/>
          <ac:picMkLst>
            <pc:docMk/>
            <pc:sldMk cId="4211139620" sldId="2147483610"/>
            <ac:picMk id="22" creationId="{53A1E1A3-C790-B5AE-AE19-447DD58052E0}"/>
          </ac:picMkLst>
        </pc:picChg>
        <pc:picChg chg="del mod">
          <ac:chgData name="Hänninen, Lauri" userId="b62831d1-2046-40aa-b4b7-d67e2d73afe1" providerId="ADAL" clId="{F907ACC7-C8F7-470E-B883-D49732EB787C}" dt="2024-02-21T12:07:29.689" v="18620" actId="478"/>
          <ac:picMkLst>
            <pc:docMk/>
            <pc:sldMk cId="4211139620" sldId="2147483610"/>
            <ac:picMk id="98" creationId="{51FF0E1B-526C-222A-5C04-F15070B0F3FD}"/>
          </ac:picMkLst>
        </pc:picChg>
        <pc:picChg chg="del mod">
          <ac:chgData name="Hänninen, Lauri" userId="b62831d1-2046-40aa-b4b7-d67e2d73afe1" providerId="ADAL" clId="{F907ACC7-C8F7-470E-B883-D49732EB787C}" dt="2024-02-21T12:07:29.689" v="18620" actId="478"/>
          <ac:picMkLst>
            <pc:docMk/>
            <pc:sldMk cId="4211139620" sldId="2147483610"/>
            <ac:picMk id="99" creationId="{D70191E7-96C1-C76B-4DBB-2F19B78BE10F}"/>
          </ac:picMkLst>
        </pc:picChg>
        <pc:picChg chg="del mod">
          <ac:chgData name="Hänninen, Lauri" userId="b62831d1-2046-40aa-b4b7-d67e2d73afe1" providerId="ADAL" clId="{F907ACC7-C8F7-470E-B883-D49732EB787C}" dt="2024-02-21T12:07:29.689" v="18620" actId="478"/>
          <ac:picMkLst>
            <pc:docMk/>
            <pc:sldMk cId="4211139620" sldId="2147483610"/>
            <ac:picMk id="100" creationId="{490FF30F-6CAD-1D53-D7FC-8C637BB5FE63}"/>
          </ac:picMkLst>
        </pc:picChg>
        <pc:picChg chg="del mod">
          <ac:chgData name="Hänninen, Lauri" userId="b62831d1-2046-40aa-b4b7-d67e2d73afe1" providerId="ADAL" clId="{F907ACC7-C8F7-470E-B883-D49732EB787C}" dt="2024-02-21T12:07:29.689" v="18620" actId="478"/>
          <ac:picMkLst>
            <pc:docMk/>
            <pc:sldMk cId="4211139620" sldId="2147483610"/>
            <ac:picMk id="101" creationId="{19072012-5B9D-3E18-40AE-FD5B3DDB3A51}"/>
          </ac:picMkLst>
        </pc:picChg>
        <pc:picChg chg="del mod">
          <ac:chgData name="Hänninen, Lauri" userId="b62831d1-2046-40aa-b4b7-d67e2d73afe1" providerId="ADAL" clId="{F907ACC7-C8F7-470E-B883-D49732EB787C}" dt="2024-02-21T12:07:29.689" v="18620" actId="478"/>
          <ac:picMkLst>
            <pc:docMk/>
            <pc:sldMk cId="4211139620" sldId="2147483610"/>
            <ac:picMk id="102" creationId="{1591E3BA-D797-3DC8-4DF7-7F32AB97D3C7}"/>
          </ac:picMkLst>
        </pc:picChg>
        <pc:picChg chg="del mod">
          <ac:chgData name="Hänninen, Lauri" userId="b62831d1-2046-40aa-b4b7-d67e2d73afe1" providerId="ADAL" clId="{F907ACC7-C8F7-470E-B883-D49732EB787C}" dt="2024-02-21T12:07:29.689" v="18620" actId="478"/>
          <ac:picMkLst>
            <pc:docMk/>
            <pc:sldMk cId="4211139620" sldId="2147483610"/>
            <ac:picMk id="103" creationId="{8F581ECF-3643-FDFB-E69B-52A9B739C0F2}"/>
          </ac:picMkLst>
        </pc:picChg>
        <pc:picChg chg="add del mod ord">
          <ac:chgData name="Hänninen, Lauri" userId="b62831d1-2046-40aa-b4b7-d67e2d73afe1" providerId="ADAL" clId="{F907ACC7-C8F7-470E-B883-D49732EB787C}" dt="2024-02-21T15:10:35.507" v="30036" actId="478"/>
          <ac:picMkLst>
            <pc:docMk/>
            <pc:sldMk cId="4211139620" sldId="2147483610"/>
            <ac:picMk id="129" creationId="{E6A23602-6F77-95D9-004C-1B2C2E107D80}"/>
          </ac:picMkLst>
        </pc:picChg>
        <pc:picChg chg="add del mod">
          <ac:chgData name="Hänninen, Lauri" userId="b62831d1-2046-40aa-b4b7-d67e2d73afe1" providerId="ADAL" clId="{F907ACC7-C8F7-470E-B883-D49732EB787C}" dt="2024-02-21T14:56:07.425" v="29602" actId="478"/>
          <ac:picMkLst>
            <pc:docMk/>
            <pc:sldMk cId="4211139620" sldId="2147483610"/>
            <ac:picMk id="130" creationId="{139B14B5-9069-AD09-77A8-14CD930C62E5}"/>
          </ac:picMkLst>
        </pc:picChg>
        <pc:picChg chg="add del mod ord">
          <ac:chgData name="Hänninen, Lauri" userId="b62831d1-2046-40aa-b4b7-d67e2d73afe1" providerId="ADAL" clId="{F907ACC7-C8F7-470E-B883-D49732EB787C}" dt="2024-02-21T15:10:35.507" v="30036" actId="478"/>
          <ac:picMkLst>
            <pc:docMk/>
            <pc:sldMk cId="4211139620" sldId="2147483610"/>
            <ac:picMk id="131" creationId="{AC793735-2681-67E6-CD21-3EE1223D1E37}"/>
          </ac:picMkLst>
        </pc:picChg>
        <pc:picChg chg="add del mod ord">
          <ac:chgData name="Hänninen, Lauri" userId="b62831d1-2046-40aa-b4b7-d67e2d73afe1" providerId="ADAL" clId="{F907ACC7-C8F7-470E-B883-D49732EB787C}" dt="2024-02-21T15:10:35.507" v="30036" actId="478"/>
          <ac:picMkLst>
            <pc:docMk/>
            <pc:sldMk cId="4211139620" sldId="2147483610"/>
            <ac:picMk id="132" creationId="{54CA589B-1E52-E831-E876-A29E777ABE5C}"/>
          </ac:picMkLst>
        </pc:picChg>
        <pc:picChg chg="add del mod ord">
          <ac:chgData name="Hänninen, Lauri" userId="b62831d1-2046-40aa-b4b7-d67e2d73afe1" providerId="ADAL" clId="{F907ACC7-C8F7-470E-B883-D49732EB787C}" dt="2024-02-21T15:10:35.507" v="30036" actId="478"/>
          <ac:picMkLst>
            <pc:docMk/>
            <pc:sldMk cId="4211139620" sldId="2147483610"/>
            <ac:picMk id="133" creationId="{B6A44F0E-25C0-F243-013B-9927DE04FFCC}"/>
          </ac:picMkLst>
        </pc:picChg>
        <pc:picChg chg="add del mod ord">
          <ac:chgData name="Hänninen, Lauri" userId="b62831d1-2046-40aa-b4b7-d67e2d73afe1" providerId="ADAL" clId="{F907ACC7-C8F7-470E-B883-D49732EB787C}" dt="2024-02-21T15:10:35.507" v="30036" actId="478"/>
          <ac:picMkLst>
            <pc:docMk/>
            <pc:sldMk cId="4211139620" sldId="2147483610"/>
            <ac:picMk id="134" creationId="{69792FE1-9E09-466E-AFEF-5C5478EFA692}"/>
          </ac:picMkLst>
        </pc:picChg>
        <pc:picChg chg="add del mod ord">
          <ac:chgData name="Hänninen, Lauri" userId="b62831d1-2046-40aa-b4b7-d67e2d73afe1" providerId="ADAL" clId="{F907ACC7-C8F7-470E-B883-D49732EB787C}" dt="2024-02-21T15:35:48.119" v="30629" actId="478"/>
          <ac:picMkLst>
            <pc:docMk/>
            <pc:sldMk cId="4211139620" sldId="2147483610"/>
            <ac:picMk id="136" creationId="{7CEC8FC2-E3AF-679B-E4E4-588CA84EA21C}"/>
          </ac:picMkLst>
        </pc:picChg>
        <pc:picChg chg="add mod ord modCrop">
          <ac:chgData name="Hänninen, Lauri" userId="b62831d1-2046-40aa-b4b7-d67e2d73afe1" providerId="ADAL" clId="{F907ACC7-C8F7-470E-B883-D49732EB787C}" dt="2024-02-21T15:35:45.930" v="30580"/>
          <ac:picMkLst>
            <pc:docMk/>
            <pc:sldMk cId="4211139620" sldId="2147483610"/>
            <ac:picMk id="137" creationId="{527F7124-6950-9FB7-D1A1-D696ADA945D0}"/>
          </ac:picMkLst>
        </pc:picChg>
        <pc:picChg chg="add del mod">
          <ac:chgData name="Hänninen, Lauri" userId="b62831d1-2046-40aa-b4b7-d67e2d73afe1" providerId="ADAL" clId="{F907ACC7-C8F7-470E-B883-D49732EB787C}" dt="2024-02-21T14:55:51.033" v="29593" actId="478"/>
          <ac:picMkLst>
            <pc:docMk/>
            <pc:sldMk cId="4211139620" sldId="2147483610"/>
            <ac:picMk id="138" creationId="{618D9F6D-9E41-7A2F-E887-5C772ACA9E22}"/>
          </ac:picMkLst>
        </pc:picChg>
        <pc:picChg chg="add del mod ord">
          <ac:chgData name="Hänninen, Lauri" userId="b62831d1-2046-40aa-b4b7-d67e2d73afe1" providerId="ADAL" clId="{F907ACC7-C8F7-470E-B883-D49732EB787C}" dt="2024-02-21T14:59:31.843" v="29696" actId="478"/>
          <ac:picMkLst>
            <pc:docMk/>
            <pc:sldMk cId="4211139620" sldId="2147483610"/>
            <ac:picMk id="139" creationId="{DC69C686-27D9-60C9-9A60-8BCB8E2AD042}"/>
          </ac:picMkLst>
        </pc:picChg>
        <pc:picChg chg="add del mod ord">
          <ac:chgData name="Hänninen, Lauri" userId="b62831d1-2046-40aa-b4b7-d67e2d73afe1" providerId="ADAL" clId="{F907ACC7-C8F7-470E-B883-D49732EB787C}" dt="2024-02-21T15:09:22.456" v="29925" actId="478"/>
          <ac:picMkLst>
            <pc:docMk/>
            <pc:sldMk cId="4211139620" sldId="2147483610"/>
            <ac:picMk id="140" creationId="{9EC113EC-D6E6-DC81-EB5E-0BA50AE7A058}"/>
          </ac:picMkLst>
        </pc:picChg>
        <pc:picChg chg="add del mod ord">
          <ac:chgData name="Hänninen, Lauri" userId="b62831d1-2046-40aa-b4b7-d67e2d73afe1" providerId="ADAL" clId="{F907ACC7-C8F7-470E-B883-D49732EB787C}" dt="2024-02-21T15:02:46.469" v="29792" actId="478"/>
          <ac:picMkLst>
            <pc:docMk/>
            <pc:sldMk cId="4211139620" sldId="2147483610"/>
            <ac:picMk id="141" creationId="{CBD1254E-1684-D589-C32B-36D5D6C0A7E6}"/>
          </ac:picMkLst>
        </pc:picChg>
        <pc:picChg chg="add del mod ord">
          <ac:chgData name="Hänninen, Lauri" userId="b62831d1-2046-40aa-b4b7-d67e2d73afe1" providerId="ADAL" clId="{F907ACC7-C8F7-470E-B883-D49732EB787C}" dt="2024-02-21T15:05:45.500" v="29834" actId="478"/>
          <ac:picMkLst>
            <pc:docMk/>
            <pc:sldMk cId="4211139620" sldId="2147483610"/>
            <ac:picMk id="142" creationId="{43461EB3-7BA3-93DA-0D7B-BD22C6D6CC3B}"/>
          </ac:picMkLst>
        </pc:picChg>
        <pc:picChg chg="add mod ord modCrop">
          <ac:chgData name="Hänninen, Lauri" userId="b62831d1-2046-40aa-b4b7-d67e2d73afe1" providerId="ADAL" clId="{F907ACC7-C8F7-470E-B883-D49732EB787C}" dt="2024-02-21T15:35:45.922" v="30550"/>
          <ac:picMkLst>
            <pc:docMk/>
            <pc:sldMk cId="4211139620" sldId="2147483610"/>
            <ac:picMk id="150" creationId="{0FC92CCE-1BB0-AA76-9B0C-6F4C3A9DE997}"/>
          </ac:picMkLst>
        </pc:picChg>
        <pc:picChg chg="add mod ord modCrop">
          <ac:chgData name="Hänninen, Lauri" userId="b62831d1-2046-40aa-b4b7-d67e2d73afe1" providerId="ADAL" clId="{F907ACC7-C8F7-470E-B883-D49732EB787C}" dt="2024-02-21T15:35:45.921" v="30548"/>
          <ac:picMkLst>
            <pc:docMk/>
            <pc:sldMk cId="4211139620" sldId="2147483610"/>
            <ac:picMk id="151" creationId="{126CFF9B-946D-C268-D174-D3A82F8A545A}"/>
          </ac:picMkLst>
        </pc:picChg>
        <pc:picChg chg="add mod ord modCrop">
          <ac:chgData name="Hänninen, Lauri" userId="b62831d1-2046-40aa-b4b7-d67e2d73afe1" providerId="ADAL" clId="{F907ACC7-C8F7-470E-B883-D49732EB787C}" dt="2024-02-21T15:35:45.930" v="30584"/>
          <ac:picMkLst>
            <pc:docMk/>
            <pc:sldMk cId="4211139620" sldId="2147483610"/>
            <ac:picMk id="152" creationId="{CC97601C-DBF1-C5BA-291C-961C903BBF2C}"/>
          </ac:picMkLst>
        </pc:picChg>
        <pc:picChg chg="add mod ord modCrop">
          <ac:chgData name="Hänninen, Lauri" userId="b62831d1-2046-40aa-b4b7-d67e2d73afe1" providerId="ADAL" clId="{F907ACC7-C8F7-470E-B883-D49732EB787C}" dt="2024-02-21T15:35:45.921" v="30546"/>
          <ac:picMkLst>
            <pc:docMk/>
            <pc:sldMk cId="4211139620" sldId="2147483610"/>
            <ac:picMk id="153" creationId="{DDFEF92C-DBB7-975A-8BB6-DB5ADCFAD09C}"/>
          </ac:picMkLst>
        </pc:picChg>
        <pc:picChg chg="add mod ord modCrop">
          <ac:chgData name="Hänninen, Lauri" userId="b62831d1-2046-40aa-b4b7-d67e2d73afe1" providerId="ADAL" clId="{F907ACC7-C8F7-470E-B883-D49732EB787C}" dt="2024-02-21T15:35:45.919" v="30544"/>
          <ac:picMkLst>
            <pc:docMk/>
            <pc:sldMk cId="4211139620" sldId="2147483610"/>
            <ac:picMk id="178" creationId="{E8EFCBE3-1176-04E7-1096-1C5FFA455A78}"/>
          </ac:picMkLst>
        </pc:picChg>
        <pc:cxnChg chg="mod">
          <ac:chgData name="Hänninen, Lauri" userId="b62831d1-2046-40aa-b4b7-d67e2d73afe1" providerId="ADAL" clId="{F907ACC7-C8F7-470E-B883-D49732EB787C}" dt="2024-02-21T12:07:30.084" v="18621"/>
          <ac:cxnSpMkLst>
            <pc:docMk/>
            <pc:sldMk cId="4211139620" sldId="2147483610"/>
            <ac:cxnSpMk id="6" creationId="{5D8994B1-D0CA-C190-15DF-0152FE66F364}"/>
          </ac:cxnSpMkLst>
        </pc:cxnChg>
        <pc:cxnChg chg="mod">
          <ac:chgData name="Hänninen, Lauri" userId="b62831d1-2046-40aa-b4b7-d67e2d73afe1" providerId="ADAL" clId="{F907ACC7-C8F7-470E-B883-D49732EB787C}" dt="2024-02-21T12:07:30.084" v="18621"/>
          <ac:cxnSpMkLst>
            <pc:docMk/>
            <pc:sldMk cId="4211139620" sldId="2147483610"/>
            <ac:cxnSpMk id="7" creationId="{2E23EC42-90CD-B7E8-D12B-501EDA19A2E5}"/>
          </ac:cxnSpMkLst>
        </pc:cxnChg>
        <pc:cxnChg chg="mod">
          <ac:chgData name="Hänninen, Lauri" userId="b62831d1-2046-40aa-b4b7-d67e2d73afe1" providerId="ADAL" clId="{F907ACC7-C8F7-470E-B883-D49732EB787C}" dt="2024-02-21T12:07:30.084" v="18621"/>
          <ac:cxnSpMkLst>
            <pc:docMk/>
            <pc:sldMk cId="4211139620" sldId="2147483610"/>
            <ac:cxnSpMk id="8" creationId="{D4B96B87-59EE-B26C-5A3E-68DC025FD6B0}"/>
          </ac:cxnSpMkLst>
        </pc:cxnChg>
        <pc:cxnChg chg="mod">
          <ac:chgData name="Hänninen, Lauri" userId="b62831d1-2046-40aa-b4b7-d67e2d73afe1" providerId="ADAL" clId="{F907ACC7-C8F7-470E-B883-D49732EB787C}" dt="2024-02-21T12:07:30.084" v="18621"/>
          <ac:cxnSpMkLst>
            <pc:docMk/>
            <pc:sldMk cId="4211139620" sldId="2147483610"/>
            <ac:cxnSpMk id="9" creationId="{6CF71AEC-8658-5D45-C326-9350A30C02CC}"/>
          </ac:cxnSpMkLst>
        </pc:cxnChg>
        <pc:cxnChg chg="mod">
          <ac:chgData name="Hänninen, Lauri" userId="b62831d1-2046-40aa-b4b7-d67e2d73afe1" providerId="ADAL" clId="{F907ACC7-C8F7-470E-B883-D49732EB787C}" dt="2024-02-21T12:07:30.084" v="18621"/>
          <ac:cxnSpMkLst>
            <pc:docMk/>
            <pc:sldMk cId="4211139620" sldId="2147483610"/>
            <ac:cxnSpMk id="60" creationId="{EEF3196D-06AF-7E66-01FC-F94B1C400351}"/>
          </ac:cxnSpMkLst>
        </pc:cxnChg>
        <pc:cxnChg chg="mod">
          <ac:chgData name="Hänninen, Lauri" userId="b62831d1-2046-40aa-b4b7-d67e2d73afe1" providerId="ADAL" clId="{F907ACC7-C8F7-470E-B883-D49732EB787C}" dt="2024-02-21T12:07:30.084" v="18621"/>
          <ac:cxnSpMkLst>
            <pc:docMk/>
            <pc:sldMk cId="4211139620" sldId="2147483610"/>
            <ac:cxnSpMk id="61" creationId="{51DFC4AE-88E7-EDA8-05B6-87B8E39AFF3E}"/>
          </ac:cxnSpMkLst>
        </pc:cxnChg>
        <pc:cxnChg chg="mod">
          <ac:chgData name="Hänninen, Lauri" userId="b62831d1-2046-40aa-b4b7-d67e2d73afe1" providerId="ADAL" clId="{F907ACC7-C8F7-470E-B883-D49732EB787C}" dt="2024-02-21T12:07:30.084" v="18621"/>
          <ac:cxnSpMkLst>
            <pc:docMk/>
            <pc:sldMk cId="4211139620" sldId="2147483610"/>
            <ac:cxnSpMk id="62" creationId="{8DCEC79B-9A37-048C-13EF-BEF1808EBF92}"/>
          </ac:cxnSpMkLst>
        </pc:cxnChg>
        <pc:cxnChg chg="mod">
          <ac:chgData name="Hänninen, Lauri" userId="b62831d1-2046-40aa-b4b7-d67e2d73afe1" providerId="ADAL" clId="{F907ACC7-C8F7-470E-B883-D49732EB787C}" dt="2024-02-21T12:07:30.084" v="18621"/>
          <ac:cxnSpMkLst>
            <pc:docMk/>
            <pc:sldMk cId="4211139620" sldId="2147483610"/>
            <ac:cxnSpMk id="63" creationId="{448AE9BA-4ED9-17A6-C8DA-8165849E6F09}"/>
          </ac:cxnSpMkLst>
        </pc:cxnChg>
        <pc:cxnChg chg="mod">
          <ac:chgData name="Hänninen, Lauri" userId="b62831d1-2046-40aa-b4b7-d67e2d73afe1" providerId="ADAL" clId="{F907ACC7-C8F7-470E-B883-D49732EB787C}" dt="2024-02-21T12:07:30.084" v="18621"/>
          <ac:cxnSpMkLst>
            <pc:docMk/>
            <pc:sldMk cId="4211139620" sldId="2147483610"/>
            <ac:cxnSpMk id="65" creationId="{B8E49C1C-C399-BCF7-EDE2-EA79D0CA3F2D}"/>
          </ac:cxnSpMkLst>
        </pc:cxnChg>
        <pc:cxnChg chg="mod">
          <ac:chgData name="Hänninen, Lauri" userId="b62831d1-2046-40aa-b4b7-d67e2d73afe1" providerId="ADAL" clId="{F907ACC7-C8F7-470E-B883-D49732EB787C}" dt="2024-02-21T12:07:30.084" v="18621"/>
          <ac:cxnSpMkLst>
            <pc:docMk/>
            <pc:sldMk cId="4211139620" sldId="2147483610"/>
            <ac:cxnSpMk id="66" creationId="{A3BE777F-1741-8977-2950-61B69A210059}"/>
          </ac:cxnSpMkLst>
        </pc:cxnChg>
        <pc:cxnChg chg="mod">
          <ac:chgData name="Hänninen, Lauri" userId="b62831d1-2046-40aa-b4b7-d67e2d73afe1" providerId="ADAL" clId="{F907ACC7-C8F7-470E-B883-D49732EB787C}" dt="2024-02-21T12:07:30.084" v="18621"/>
          <ac:cxnSpMkLst>
            <pc:docMk/>
            <pc:sldMk cId="4211139620" sldId="2147483610"/>
            <ac:cxnSpMk id="67" creationId="{06F68EB6-6809-DA79-67B6-70F625BCD3CE}"/>
          </ac:cxnSpMkLst>
        </pc:cxnChg>
        <pc:cxnChg chg="mod">
          <ac:chgData name="Hänninen, Lauri" userId="b62831d1-2046-40aa-b4b7-d67e2d73afe1" providerId="ADAL" clId="{F907ACC7-C8F7-470E-B883-D49732EB787C}" dt="2024-02-21T12:07:30.084" v="18621"/>
          <ac:cxnSpMkLst>
            <pc:docMk/>
            <pc:sldMk cId="4211139620" sldId="2147483610"/>
            <ac:cxnSpMk id="68" creationId="{8CCA5F29-B5B7-F344-EA8E-9BD4A7FA7641}"/>
          </ac:cxnSpMkLst>
        </pc:cxnChg>
        <pc:cxnChg chg="mod">
          <ac:chgData name="Hänninen, Lauri" userId="b62831d1-2046-40aa-b4b7-d67e2d73afe1" providerId="ADAL" clId="{F907ACC7-C8F7-470E-B883-D49732EB787C}" dt="2024-02-21T12:07:30.084" v="18621"/>
          <ac:cxnSpMkLst>
            <pc:docMk/>
            <pc:sldMk cId="4211139620" sldId="2147483610"/>
            <ac:cxnSpMk id="70" creationId="{E8849237-427A-0BA5-C0F9-272E1F845A28}"/>
          </ac:cxnSpMkLst>
        </pc:cxnChg>
        <pc:cxnChg chg="mod">
          <ac:chgData name="Hänninen, Lauri" userId="b62831d1-2046-40aa-b4b7-d67e2d73afe1" providerId="ADAL" clId="{F907ACC7-C8F7-470E-B883-D49732EB787C}" dt="2024-02-21T12:07:30.084" v="18621"/>
          <ac:cxnSpMkLst>
            <pc:docMk/>
            <pc:sldMk cId="4211139620" sldId="2147483610"/>
            <ac:cxnSpMk id="71" creationId="{CB6C8CFD-AD9B-A0D4-6AEC-65D9677B2C60}"/>
          </ac:cxnSpMkLst>
        </pc:cxnChg>
        <pc:cxnChg chg="mod">
          <ac:chgData name="Hänninen, Lauri" userId="b62831d1-2046-40aa-b4b7-d67e2d73afe1" providerId="ADAL" clId="{F907ACC7-C8F7-470E-B883-D49732EB787C}" dt="2024-02-21T12:07:30.084" v="18621"/>
          <ac:cxnSpMkLst>
            <pc:docMk/>
            <pc:sldMk cId="4211139620" sldId="2147483610"/>
            <ac:cxnSpMk id="72" creationId="{7B321DAC-68A3-BA9C-C3CB-7059FE50A68C}"/>
          </ac:cxnSpMkLst>
        </pc:cxnChg>
        <pc:cxnChg chg="mod">
          <ac:chgData name="Hänninen, Lauri" userId="b62831d1-2046-40aa-b4b7-d67e2d73afe1" providerId="ADAL" clId="{F907ACC7-C8F7-470E-B883-D49732EB787C}" dt="2024-02-21T12:07:30.084" v="18621"/>
          <ac:cxnSpMkLst>
            <pc:docMk/>
            <pc:sldMk cId="4211139620" sldId="2147483610"/>
            <ac:cxnSpMk id="73" creationId="{056FD43D-EFBA-EEF8-1CEE-0FA2B4502B76}"/>
          </ac:cxnSpMkLst>
        </pc:cxnChg>
        <pc:cxnChg chg="mod">
          <ac:chgData name="Hänninen, Lauri" userId="b62831d1-2046-40aa-b4b7-d67e2d73afe1" providerId="ADAL" clId="{F907ACC7-C8F7-470E-B883-D49732EB787C}" dt="2024-02-21T12:07:30.084" v="18621"/>
          <ac:cxnSpMkLst>
            <pc:docMk/>
            <pc:sldMk cId="4211139620" sldId="2147483610"/>
            <ac:cxnSpMk id="75" creationId="{51177622-4C3C-DFEB-C8D2-2107E1969F92}"/>
          </ac:cxnSpMkLst>
        </pc:cxnChg>
        <pc:cxnChg chg="mod">
          <ac:chgData name="Hänninen, Lauri" userId="b62831d1-2046-40aa-b4b7-d67e2d73afe1" providerId="ADAL" clId="{F907ACC7-C8F7-470E-B883-D49732EB787C}" dt="2024-02-21T12:07:30.084" v="18621"/>
          <ac:cxnSpMkLst>
            <pc:docMk/>
            <pc:sldMk cId="4211139620" sldId="2147483610"/>
            <ac:cxnSpMk id="76" creationId="{99009359-5735-91B6-7533-0BB2E4C59B54}"/>
          </ac:cxnSpMkLst>
        </pc:cxnChg>
        <pc:cxnChg chg="mod">
          <ac:chgData name="Hänninen, Lauri" userId="b62831d1-2046-40aa-b4b7-d67e2d73afe1" providerId="ADAL" clId="{F907ACC7-C8F7-470E-B883-D49732EB787C}" dt="2024-02-21T12:07:30.084" v="18621"/>
          <ac:cxnSpMkLst>
            <pc:docMk/>
            <pc:sldMk cId="4211139620" sldId="2147483610"/>
            <ac:cxnSpMk id="77" creationId="{E6E25286-67F4-0461-A6BB-94359A0B6485}"/>
          </ac:cxnSpMkLst>
        </pc:cxnChg>
        <pc:cxnChg chg="mod">
          <ac:chgData name="Hänninen, Lauri" userId="b62831d1-2046-40aa-b4b7-d67e2d73afe1" providerId="ADAL" clId="{F907ACC7-C8F7-470E-B883-D49732EB787C}" dt="2024-02-21T12:07:30.084" v="18621"/>
          <ac:cxnSpMkLst>
            <pc:docMk/>
            <pc:sldMk cId="4211139620" sldId="2147483610"/>
            <ac:cxnSpMk id="78" creationId="{24778A15-FFE5-70F6-CD2A-B25570D5AC8F}"/>
          </ac:cxnSpMkLst>
        </pc:cxnChg>
        <pc:cxnChg chg="mod">
          <ac:chgData name="Hänninen, Lauri" userId="b62831d1-2046-40aa-b4b7-d67e2d73afe1" providerId="ADAL" clId="{F907ACC7-C8F7-470E-B883-D49732EB787C}" dt="2024-02-21T12:07:30.084" v="18621"/>
          <ac:cxnSpMkLst>
            <pc:docMk/>
            <pc:sldMk cId="4211139620" sldId="2147483610"/>
            <ac:cxnSpMk id="80" creationId="{AB609D2B-A003-B98F-A1D4-E333382E428B}"/>
          </ac:cxnSpMkLst>
        </pc:cxnChg>
        <pc:cxnChg chg="mod">
          <ac:chgData name="Hänninen, Lauri" userId="b62831d1-2046-40aa-b4b7-d67e2d73afe1" providerId="ADAL" clId="{F907ACC7-C8F7-470E-B883-D49732EB787C}" dt="2024-02-21T12:07:30.084" v="18621"/>
          <ac:cxnSpMkLst>
            <pc:docMk/>
            <pc:sldMk cId="4211139620" sldId="2147483610"/>
            <ac:cxnSpMk id="81" creationId="{F38E60A8-30A4-3B85-B510-1F67C1B97DD7}"/>
          </ac:cxnSpMkLst>
        </pc:cxnChg>
        <pc:cxnChg chg="mod">
          <ac:chgData name="Hänninen, Lauri" userId="b62831d1-2046-40aa-b4b7-d67e2d73afe1" providerId="ADAL" clId="{F907ACC7-C8F7-470E-B883-D49732EB787C}" dt="2024-02-21T12:07:30.084" v="18621"/>
          <ac:cxnSpMkLst>
            <pc:docMk/>
            <pc:sldMk cId="4211139620" sldId="2147483610"/>
            <ac:cxnSpMk id="82" creationId="{8936658C-6ADA-2B8B-7A4A-4788DED97564}"/>
          </ac:cxnSpMkLst>
        </pc:cxnChg>
        <pc:cxnChg chg="mod">
          <ac:chgData name="Hänninen, Lauri" userId="b62831d1-2046-40aa-b4b7-d67e2d73afe1" providerId="ADAL" clId="{F907ACC7-C8F7-470E-B883-D49732EB787C}" dt="2024-02-21T12:07:30.084" v="18621"/>
          <ac:cxnSpMkLst>
            <pc:docMk/>
            <pc:sldMk cId="4211139620" sldId="2147483610"/>
            <ac:cxnSpMk id="83" creationId="{83025427-3250-568A-3B83-1AD4E53C3EB2}"/>
          </ac:cxnSpMkLst>
        </pc:cxnChg>
        <pc:cxnChg chg="mod ord">
          <ac:chgData name="Hänninen, Lauri" userId="b62831d1-2046-40aa-b4b7-d67e2d73afe1" providerId="ADAL" clId="{F907ACC7-C8F7-470E-B883-D49732EB787C}" dt="2024-02-21T15:35:45.927" v="30572"/>
          <ac:cxnSpMkLst>
            <pc:docMk/>
            <pc:sldMk cId="4211139620" sldId="2147483610"/>
            <ac:cxnSpMk id="86" creationId="{FFF5CB0D-A2E1-B2B0-4E2D-9AD92449820C}"/>
          </ac:cxnSpMkLst>
        </pc:cxnChg>
        <pc:cxnChg chg="del">
          <ac:chgData name="Hänninen, Lauri" userId="b62831d1-2046-40aa-b4b7-d67e2d73afe1" providerId="ADAL" clId="{F907ACC7-C8F7-470E-B883-D49732EB787C}" dt="2024-02-21T11:57:26.580" v="18277" actId="478"/>
          <ac:cxnSpMkLst>
            <pc:docMk/>
            <pc:sldMk cId="4211139620" sldId="2147483610"/>
            <ac:cxnSpMk id="88" creationId="{0BBD0A38-6C11-375E-2365-DF5E0815BF42}"/>
          </ac:cxnSpMkLst>
        </pc:cxnChg>
        <pc:cxnChg chg="add mod ord">
          <ac:chgData name="Hänninen, Lauri" userId="b62831d1-2046-40aa-b4b7-d67e2d73afe1" providerId="ADAL" clId="{F907ACC7-C8F7-470E-B883-D49732EB787C}" dt="2024-02-21T15:35:45.936" v="30604"/>
          <ac:cxnSpMkLst>
            <pc:docMk/>
            <pc:sldMk cId="4211139620" sldId="2147483610"/>
            <ac:cxnSpMk id="166" creationId="{46A93D87-B412-819F-712F-6E004866FA35}"/>
          </ac:cxnSpMkLst>
        </pc:cxnChg>
        <pc:cxnChg chg="add mod ord">
          <ac:chgData name="Hänninen, Lauri" userId="b62831d1-2046-40aa-b4b7-d67e2d73afe1" providerId="ADAL" clId="{F907ACC7-C8F7-470E-B883-D49732EB787C}" dt="2024-02-21T15:35:45.936" v="30606"/>
          <ac:cxnSpMkLst>
            <pc:docMk/>
            <pc:sldMk cId="4211139620" sldId="2147483610"/>
            <ac:cxnSpMk id="167" creationId="{53B44BE2-9B69-40DA-D693-45DFB53DA678}"/>
          </ac:cxnSpMkLst>
        </pc:cxnChg>
        <pc:cxnChg chg="add mod ord">
          <ac:chgData name="Hänninen, Lauri" userId="b62831d1-2046-40aa-b4b7-d67e2d73afe1" providerId="ADAL" clId="{F907ACC7-C8F7-470E-B883-D49732EB787C}" dt="2024-02-21T15:35:45.937" v="30608"/>
          <ac:cxnSpMkLst>
            <pc:docMk/>
            <pc:sldMk cId="4211139620" sldId="2147483610"/>
            <ac:cxnSpMk id="168" creationId="{94B3EEBE-311D-A777-FB77-949B535B1B4B}"/>
          </ac:cxnSpMkLst>
        </pc:cxnChg>
        <pc:cxnChg chg="add mod ord">
          <ac:chgData name="Hänninen, Lauri" userId="b62831d1-2046-40aa-b4b7-d67e2d73afe1" providerId="ADAL" clId="{F907ACC7-C8F7-470E-B883-D49732EB787C}" dt="2024-02-21T15:35:45.937" v="30610"/>
          <ac:cxnSpMkLst>
            <pc:docMk/>
            <pc:sldMk cId="4211139620" sldId="2147483610"/>
            <ac:cxnSpMk id="169" creationId="{29F7AC04-702E-E1D0-B236-1DD8F24D723C}"/>
          </ac:cxnSpMkLst>
        </pc:cxnChg>
        <pc:cxnChg chg="add mod ord">
          <ac:chgData name="Hänninen, Lauri" userId="b62831d1-2046-40aa-b4b7-d67e2d73afe1" providerId="ADAL" clId="{F907ACC7-C8F7-470E-B883-D49732EB787C}" dt="2024-02-21T15:35:45.937" v="30612"/>
          <ac:cxnSpMkLst>
            <pc:docMk/>
            <pc:sldMk cId="4211139620" sldId="2147483610"/>
            <ac:cxnSpMk id="170" creationId="{56ADE1F7-F101-FD1C-402D-CE9F77533349}"/>
          </ac:cxnSpMkLst>
        </pc:cxnChg>
      </pc:sldChg>
      <pc:sldChg chg="new del">
        <pc:chgData name="Hänninen, Lauri" userId="b62831d1-2046-40aa-b4b7-d67e2d73afe1" providerId="ADAL" clId="{F907ACC7-C8F7-470E-B883-D49732EB787C}" dt="2024-02-21T12:37:32.450" v="19478" actId="47"/>
        <pc:sldMkLst>
          <pc:docMk/>
          <pc:sldMk cId="3483260911" sldId="2147483611"/>
        </pc:sldMkLst>
      </pc:sldChg>
      <pc:sldChg chg="addSp delSp modSp add del mod">
        <pc:chgData name="Hänninen, Lauri" userId="b62831d1-2046-40aa-b4b7-d67e2d73afe1" providerId="ADAL" clId="{F907ACC7-C8F7-470E-B883-D49732EB787C}" dt="2024-02-21T14:34:50.608" v="29169" actId="2696"/>
        <pc:sldMkLst>
          <pc:docMk/>
          <pc:sldMk cId="1250207495" sldId="2147483612"/>
        </pc:sldMkLst>
        <pc:spChg chg="mod ord">
          <ac:chgData name="Hänninen, Lauri" userId="b62831d1-2046-40aa-b4b7-d67e2d73afe1" providerId="ADAL" clId="{F907ACC7-C8F7-470E-B883-D49732EB787C}" dt="2024-02-21T12:43:29.445" v="28211"/>
          <ac:spMkLst>
            <pc:docMk/>
            <pc:sldMk cId="1250207495" sldId="2147483612"/>
            <ac:spMk id="2" creationId="{06AFAE7C-5F6A-B878-93B9-6DE5A9DAA9F7}"/>
          </ac:spMkLst>
        </pc:spChg>
        <pc:spChg chg="mod ord">
          <ac:chgData name="Hänninen, Lauri" userId="b62831d1-2046-40aa-b4b7-d67e2d73afe1" providerId="ADAL" clId="{F907ACC7-C8F7-470E-B883-D49732EB787C}" dt="2024-02-21T12:43:29.445" v="28213"/>
          <ac:spMkLst>
            <pc:docMk/>
            <pc:sldMk cId="1250207495" sldId="2147483612"/>
            <ac:spMk id="3" creationId="{028D4B8F-B27C-53F5-451A-24CA598898DE}"/>
          </ac:spMkLst>
        </pc:spChg>
        <pc:spChg chg="mod ord">
          <ac:chgData name="Hänninen, Lauri" userId="b62831d1-2046-40aa-b4b7-d67e2d73afe1" providerId="ADAL" clId="{F907ACC7-C8F7-470E-B883-D49732EB787C}" dt="2024-02-21T12:48:05.248" v="28495" actId="20577"/>
          <ac:spMkLst>
            <pc:docMk/>
            <pc:sldMk cId="1250207495" sldId="2147483612"/>
            <ac:spMk id="4" creationId="{1A68FC50-AA15-FC69-1AB4-767E70C870EA}"/>
          </ac:spMkLst>
        </pc:spChg>
        <pc:spChg chg="mod ord">
          <ac:chgData name="Hänninen, Lauri" userId="b62831d1-2046-40aa-b4b7-d67e2d73afe1" providerId="ADAL" clId="{F907ACC7-C8F7-470E-B883-D49732EB787C}" dt="2024-02-21T12:45:47.609" v="28464" actId="14100"/>
          <ac:spMkLst>
            <pc:docMk/>
            <pc:sldMk cId="1250207495" sldId="2147483612"/>
            <ac:spMk id="5" creationId="{5F43F86A-EE19-5783-47DD-51DBCADCF320}"/>
          </ac:spMkLst>
        </pc:spChg>
        <pc:spChg chg="add mod ord">
          <ac:chgData name="Hänninen, Lauri" userId="b62831d1-2046-40aa-b4b7-d67e2d73afe1" providerId="ADAL" clId="{F907ACC7-C8F7-470E-B883-D49732EB787C}" dt="2024-02-21T12:46:35.027" v="28473" actId="1076"/>
          <ac:spMkLst>
            <pc:docMk/>
            <pc:sldMk cId="1250207495" sldId="2147483612"/>
            <ac:spMk id="6" creationId="{CC2F7FCE-275B-F6E1-966E-D35A5ACECE5B}"/>
          </ac:spMkLst>
        </pc:spChg>
        <pc:spChg chg="del">
          <ac:chgData name="Hänninen, Lauri" userId="b62831d1-2046-40aa-b4b7-d67e2d73afe1" providerId="ADAL" clId="{F907ACC7-C8F7-470E-B883-D49732EB787C}" dt="2024-02-21T12:37:37.530" v="19479" actId="478"/>
          <ac:spMkLst>
            <pc:docMk/>
            <pc:sldMk cId="1250207495" sldId="2147483612"/>
            <ac:spMk id="60" creationId="{5BD22249-25D3-4F0A-D909-C57A7C687EEF}"/>
          </ac:spMkLst>
        </pc:spChg>
        <pc:spChg chg="del">
          <ac:chgData name="Hänninen, Lauri" userId="b62831d1-2046-40aa-b4b7-d67e2d73afe1" providerId="ADAL" clId="{F907ACC7-C8F7-470E-B883-D49732EB787C}" dt="2024-02-21T12:37:37.530" v="19479" actId="478"/>
          <ac:spMkLst>
            <pc:docMk/>
            <pc:sldMk cId="1250207495" sldId="2147483612"/>
            <ac:spMk id="61" creationId="{060F6B84-5012-1D98-11FC-06E9CAB989DD}"/>
          </ac:spMkLst>
        </pc:spChg>
        <pc:spChg chg="del">
          <ac:chgData name="Hänninen, Lauri" userId="b62831d1-2046-40aa-b4b7-d67e2d73afe1" providerId="ADAL" clId="{F907ACC7-C8F7-470E-B883-D49732EB787C}" dt="2024-02-21T12:37:37.530" v="19479" actId="478"/>
          <ac:spMkLst>
            <pc:docMk/>
            <pc:sldMk cId="1250207495" sldId="2147483612"/>
            <ac:spMk id="62" creationId="{28292A01-3AB1-7830-E66D-7B2EB7E44196}"/>
          </ac:spMkLst>
        </pc:spChg>
        <pc:spChg chg="del">
          <ac:chgData name="Hänninen, Lauri" userId="b62831d1-2046-40aa-b4b7-d67e2d73afe1" providerId="ADAL" clId="{F907ACC7-C8F7-470E-B883-D49732EB787C}" dt="2024-02-21T12:37:37.530" v="19479" actId="478"/>
          <ac:spMkLst>
            <pc:docMk/>
            <pc:sldMk cId="1250207495" sldId="2147483612"/>
            <ac:spMk id="63" creationId="{638EA041-AB8D-9159-2512-10A59D9C19AF}"/>
          </ac:spMkLst>
        </pc:spChg>
        <pc:spChg chg="del">
          <ac:chgData name="Hänninen, Lauri" userId="b62831d1-2046-40aa-b4b7-d67e2d73afe1" providerId="ADAL" clId="{F907ACC7-C8F7-470E-B883-D49732EB787C}" dt="2024-02-21T12:37:37.530" v="19479" actId="478"/>
          <ac:spMkLst>
            <pc:docMk/>
            <pc:sldMk cId="1250207495" sldId="2147483612"/>
            <ac:spMk id="64" creationId="{0FC950B7-50D0-BEEE-25CB-E23749017DD1}"/>
          </ac:spMkLst>
        </pc:spChg>
        <pc:spChg chg="del">
          <ac:chgData name="Hänninen, Lauri" userId="b62831d1-2046-40aa-b4b7-d67e2d73afe1" providerId="ADAL" clId="{F907ACC7-C8F7-470E-B883-D49732EB787C}" dt="2024-02-21T12:37:37.530" v="19479" actId="478"/>
          <ac:spMkLst>
            <pc:docMk/>
            <pc:sldMk cId="1250207495" sldId="2147483612"/>
            <ac:spMk id="65" creationId="{2724926A-6C9B-E798-096B-B4DB5A29AB7F}"/>
          </ac:spMkLst>
        </pc:spChg>
        <pc:spChg chg="del">
          <ac:chgData name="Hänninen, Lauri" userId="b62831d1-2046-40aa-b4b7-d67e2d73afe1" providerId="ADAL" clId="{F907ACC7-C8F7-470E-B883-D49732EB787C}" dt="2024-02-21T12:37:37.530" v="19479" actId="478"/>
          <ac:spMkLst>
            <pc:docMk/>
            <pc:sldMk cId="1250207495" sldId="2147483612"/>
            <ac:spMk id="66" creationId="{FDE7FF8F-9A43-B5E6-2A5B-F5B1D85C2FD2}"/>
          </ac:spMkLst>
        </pc:spChg>
        <pc:spChg chg="del">
          <ac:chgData name="Hänninen, Lauri" userId="b62831d1-2046-40aa-b4b7-d67e2d73afe1" providerId="ADAL" clId="{F907ACC7-C8F7-470E-B883-D49732EB787C}" dt="2024-02-21T12:37:37.530" v="19479" actId="478"/>
          <ac:spMkLst>
            <pc:docMk/>
            <pc:sldMk cId="1250207495" sldId="2147483612"/>
            <ac:spMk id="67" creationId="{6097C977-C096-75AA-B1BB-11E0300C00E2}"/>
          </ac:spMkLst>
        </pc:spChg>
        <pc:spChg chg="del">
          <ac:chgData name="Hänninen, Lauri" userId="b62831d1-2046-40aa-b4b7-d67e2d73afe1" providerId="ADAL" clId="{F907ACC7-C8F7-470E-B883-D49732EB787C}" dt="2024-02-21T12:37:37.530" v="19479" actId="478"/>
          <ac:spMkLst>
            <pc:docMk/>
            <pc:sldMk cId="1250207495" sldId="2147483612"/>
            <ac:spMk id="68" creationId="{48DD6062-926C-1910-A869-9632DC00EBAB}"/>
          </ac:spMkLst>
        </pc:spChg>
        <pc:spChg chg="del">
          <ac:chgData name="Hänninen, Lauri" userId="b62831d1-2046-40aa-b4b7-d67e2d73afe1" providerId="ADAL" clId="{F907ACC7-C8F7-470E-B883-D49732EB787C}" dt="2024-02-21T12:37:37.530" v="19479" actId="478"/>
          <ac:spMkLst>
            <pc:docMk/>
            <pc:sldMk cId="1250207495" sldId="2147483612"/>
            <ac:spMk id="69" creationId="{A06ECE1C-14BB-0B7E-8FA5-72894FB2A392}"/>
          </ac:spMkLst>
        </pc:spChg>
        <pc:spChg chg="del">
          <ac:chgData name="Hänninen, Lauri" userId="b62831d1-2046-40aa-b4b7-d67e2d73afe1" providerId="ADAL" clId="{F907ACC7-C8F7-470E-B883-D49732EB787C}" dt="2024-02-21T12:37:37.530" v="19479" actId="478"/>
          <ac:spMkLst>
            <pc:docMk/>
            <pc:sldMk cId="1250207495" sldId="2147483612"/>
            <ac:spMk id="70" creationId="{C290A65B-9C43-7720-25D9-BD48A78E3B28}"/>
          </ac:spMkLst>
        </pc:spChg>
        <pc:spChg chg="del">
          <ac:chgData name="Hänninen, Lauri" userId="b62831d1-2046-40aa-b4b7-d67e2d73afe1" providerId="ADAL" clId="{F907ACC7-C8F7-470E-B883-D49732EB787C}" dt="2024-02-21T12:37:37.530" v="19479" actId="478"/>
          <ac:spMkLst>
            <pc:docMk/>
            <pc:sldMk cId="1250207495" sldId="2147483612"/>
            <ac:spMk id="71" creationId="{35D96789-E440-BC78-C8E6-AD235F757A02}"/>
          </ac:spMkLst>
        </pc:spChg>
        <pc:spChg chg="del">
          <ac:chgData name="Hänninen, Lauri" userId="b62831d1-2046-40aa-b4b7-d67e2d73afe1" providerId="ADAL" clId="{F907ACC7-C8F7-470E-B883-D49732EB787C}" dt="2024-02-21T12:37:37.530" v="19479" actId="478"/>
          <ac:spMkLst>
            <pc:docMk/>
            <pc:sldMk cId="1250207495" sldId="2147483612"/>
            <ac:spMk id="72" creationId="{8FB06394-42F4-FC70-9E4E-A174AA19D907}"/>
          </ac:spMkLst>
        </pc:spChg>
        <pc:spChg chg="del">
          <ac:chgData name="Hänninen, Lauri" userId="b62831d1-2046-40aa-b4b7-d67e2d73afe1" providerId="ADAL" clId="{F907ACC7-C8F7-470E-B883-D49732EB787C}" dt="2024-02-21T12:37:37.530" v="19479" actId="478"/>
          <ac:spMkLst>
            <pc:docMk/>
            <pc:sldMk cId="1250207495" sldId="2147483612"/>
            <ac:spMk id="73" creationId="{2CCDAC78-7CF9-4AF7-4F1E-486DA154A128}"/>
          </ac:spMkLst>
        </pc:spChg>
        <pc:spChg chg="del">
          <ac:chgData name="Hänninen, Lauri" userId="b62831d1-2046-40aa-b4b7-d67e2d73afe1" providerId="ADAL" clId="{F907ACC7-C8F7-470E-B883-D49732EB787C}" dt="2024-02-21T12:37:37.530" v="19479" actId="478"/>
          <ac:spMkLst>
            <pc:docMk/>
            <pc:sldMk cId="1250207495" sldId="2147483612"/>
            <ac:spMk id="74" creationId="{5D530390-DD8D-ECE4-D386-F2831223C404}"/>
          </ac:spMkLst>
        </pc:spChg>
        <pc:spChg chg="del">
          <ac:chgData name="Hänninen, Lauri" userId="b62831d1-2046-40aa-b4b7-d67e2d73afe1" providerId="ADAL" clId="{F907ACC7-C8F7-470E-B883-D49732EB787C}" dt="2024-02-21T12:37:37.530" v="19479" actId="478"/>
          <ac:spMkLst>
            <pc:docMk/>
            <pc:sldMk cId="1250207495" sldId="2147483612"/>
            <ac:spMk id="75" creationId="{56F6B9C8-11B2-A39C-2EBD-F43F82E55AE4}"/>
          </ac:spMkLst>
        </pc:spChg>
        <pc:spChg chg="add mod ord replST">
          <ac:chgData name="Hänninen, Lauri" userId="b62831d1-2046-40aa-b4b7-d67e2d73afe1" providerId="ADAL" clId="{F907ACC7-C8F7-470E-B883-D49732EB787C}" dt="2024-02-21T12:43:29.483" v="28379"/>
          <ac:spMkLst>
            <pc:docMk/>
            <pc:sldMk cId="1250207495" sldId="2147483612"/>
            <ac:spMk id="81" creationId="{E0163D1B-C9FA-D4C6-813D-ACDE33431878}"/>
          </ac:spMkLst>
        </pc:spChg>
        <pc:spChg chg="add mod replST">
          <ac:chgData name="Hänninen, Lauri" userId="b62831d1-2046-40aa-b4b7-d67e2d73afe1" providerId="ADAL" clId="{F907ACC7-C8F7-470E-B883-D49732EB787C}" dt="2024-02-21T12:43:29.483" v="28380"/>
          <ac:spMkLst>
            <pc:docMk/>
            <pc:sldMk cId="1250207495" sldId="2147483612"/>
            <ac:spMk id="82" creationId="{507125FD-ADFF-CC5A-E1C4-C23758A3B673}"/>
          </ac:spMkLst>
        </pc:spChg>
        <pc:spChg chg="add mod replST">
          <ac:chgData name="Hänninen, Lauri" userId="b62831d1-2046-40aa-b4b7-d67e2d73afe1" providerId="ADAL" clId="{F907ACC7-C8F7-470E-B883-D49732EB787C}" dt="2024-02-21T12:43:29.468" v="28329"/>
          <ac:spMkLst>
            <pc:docMk/>
            <pc:sldMk cId="1250207495" sldId="2147483612"/>
            <ac:spMk id="83" creationId="{AFE18B81-E7A2-F65D-4913-C241B16E5C2C}"/>
          </ac:spMkLst>
        </pc:spChg>
        <pc:spChg chg="add mod ord replST">
          <ac:chgData name="Hänninen, Lauri" userId="b62831d1-2046-40aa-b4b7-d67e2d73afe1" providerId="ADAL" clId="{F907ACC7-C8F7-470E-B883-D49732EB787C}" dt="2024-02-21T12:43:29.468" v="28331"/>
          <ac:spMkLst>
            <pc:docMk/>
            <pc:sldMk cId="1250207495" sldId="2147483612"/>
            <ac:spMk id="84" creationId="{B4B8ED13-3E08-0B69-0A42-D28F6B38D589}"/>
          </ac:spMkLst>
        </pc:spChg>
        <pc:spChg chg="add mod replST">
          <ac:chgData name="Hänninen, Lauri" userId="b62831d1-2046-40aa-b4b7-d67e2d73afe1" providerId="ADAL" clId="{F907ACC7-C8F7-470E-B883-D49732EB787C}" dt="2024-02-21T12:43:29.469" v="28332"/>
          <ac:spMkLst>
            <pc:docMk/>
            <pc:sldMk cId="1250207495" sldId="2147483612"/>
            <ac:spMk id="85" creationId="{54CCB771-87E0-45D8-D4E2-6C47927639D1}"/>
          </ac:spMkLst>
        </pc:spChg>
        <pc:spChg chg="add mod replST">
          <ac:chgData name="Hänninen, Lauri" userId="b62831d1-2046-40aa-b4b7-d67e2d73afe1" providerId="ADAL" clId="{F907ACC7-C8F7-470E-B883-D49732EB787C}" dt="2024-02-21T12:43:29.480" v="28372"/>
          <ac:spMkLst>
            <pc:docMk/>
            <pc:sldMk cId="1250207495" sldId="2147483612"/>
            <ac:spMk id="86" creationId="{EC7EAB62-937D-3E11-49E5-4416F4CA9BE4}"/>
          </ac:spMkLst>
        </pc:spChg>
        <pc:spChg chg="add mod ord replST">
          <ac:chgData name="Hänninen, Lauri" userId="b62831d1-2046-40aa-b4b7-d67e2d73afe1" providerId="ADAL" clId="{F907ACC7-C8F7-470E-B883-D49732EB787C}" dt="2024-02-21T12:43:29.470" v="28338"/>
          <ac:spMkLst>
            <pc:docMk/>
            <pc:sldMk cId="1250207495" sldId="2147483612"/>
            <ac:spMk id="87" creationId="{7E4A1DFC-1AFA-AE61-AACC-53DA0ABCD7ED}"/>
          </ac:spMkLst>
        </pc:spChg>
        <pc:spChg chg="add mod ord replST">
          <ac:chgData name="Hänninen, Lauri" userId="b62831d1-2046-40aa-b4b7-d67e2d73afe1" providerId="ADAL" clId="{F907ACC7-C8F7-470E-B883-D49732EB787C}" dt="2024-02-21T12:43:29.470" v="28340"/>
          <ac:spMkLst>
            <pc:docMk/>
            <pc:sldMk cId="1250207495" sldId="2147483612"/>
            <ac:spMk id="88" creationId="{ABEBB86A-0412-3CD5-2BD5-EE33B716C446}"/>
          </ac:spMkLst>
        </pc:spChg>
        <pc:spChg chg="add mod replST">
          <ac:chgData name="Hänninen, Lauri" userId="b62831d1-2046-40aa-b4b7-d67e2d73afe1" providerId="ADAL" clId="{F907ACC7-C8F7-470E-B883-D49732EB787C}" dt="2024-02-21T12:43:29.471" v="28341"/>
          <ac:spMkLst>
            <pc:docMk/>
            <pc:sldMk cId="1250207495" sldId="2147483612"/>
            <ac:spMk id="89" creationId="{6089D362-4ACA-85EF-322C-843A138C53C7}"/>
          </ac:spMkLst>
        </pc:spChg>
        <pc:spChg chg="add mod ord replST">
          <ac:chgData name="Hänninen, Lauri" userId="b62831d1-2046-40aa-b4b7-d67e2d73afe1" providerId="ADAL" clId="{F907ACC7-C8F7-470E-B883-D49732EB787C}" dt="2024-02-21T12:43:29.471" v="28343"/>
          <ac:spMkLst>
            <pc:docMk/>
            <pc:sldMk cId="1250207495" sldId="2147483612"/>
            <ac:spMk id="90" creationId="{1F8B30C0-5318-F145-2877-44CB344E4F8E}"/>
          </ac:spMkLst>
        </pc:spChg>
        <pc:spChg chg="add mod replST">
          <ac:chgData name="Hänninen, Lauri" userId="b62831d1-2046-40aa-b4b7-d67e2d73afe1" providerId="ADAL" clId="{F907ACC7-C8F7-470E-B883-D49732EB787C}" dt="2024-02-21T12:43:29.472" v="28344"/>
          <ac:spMkLst>
            <pc:docMk/>
            <pc:sldMk cId="1250207495" sldId="2147483612"/>
            <ac:spMk id="91" creationId="{9B303F20-AB14-267E-4385-54511A5E4EFF}"/>
          </ac:spMkLst>
        </pc:spChg>
        <pc:spChg chg="add mod ord replST">
          <ac:chgData name="Hänninen, Lauri" userId="b62831d1-2046-40aa-b4b7-d67e2d73afe1" providerId="ADAL" clId="{F907ACC7-C8F7-470E-B883-D49732EB787C}" dt="2024-02-21T12:43:29.473" v="28349"/>
          <ac:spMkLst>
            <pc:docMk/>
            <pc:sldMk cId="1250207495" sldId="2147483612"/>
            <ac:spMk id="92" creationId="{4A616973-1823-FC50-CCAD-610D0C5C8D9B}"/>
          </ac:spMkLst>
        </pc:spChg>
        <pc:spChg chg="add mod ord replST">
          <ac:chgData name="Hänninen, Lauri" userId="b62831d1-2046-40aa-b4b7-d67e2d73afe1" providerId="ADAL" clId="{F907ACC7-C8F7-470E-B883-D49732EB787C}" dt="2024-02-21T12:43:29.472" v="28346"/>
          <ac:spMkLst>
            <pc:docMk/>
            <pc:sldMk cId="1250207495" sldId="2147483612"/>
            <ac:spMk id="93" creationId="{29E4B7E5-FECA-D3FA-CA2F-AA707877C42C}"/>
          </ac:spMkLst>
        </pc:spChg>
        <pc:spChg chg="add mod replST">
          <ac:chgData name="Hänninen, Lauri" userId="b62831d1-2046-40aa-b4b7-d67e2d73afe1" providerId="ADAL" clId="{F907ACC7-C8F7-470E-B883-D49732EB787C}" dt="2024-02-21T12:43:29.472" v="28347"/>
          <ac:spMkLst>
            <pc:docMk/>
            <pc:sldMk cId="1250207495" sldId="2147483612"/>
            <ac:spMk id="94" creationId="{C2990678-E11F-4B33-CC12-C1CB25F727D0}"/>
          </ac:spMkLst>
        </pc:spChg>
        <pc:spChg chg="add mod ord replST">
          <ac:chgData name="Hänninen, Lauri" userId="b62831d1-2046-40aa-b4b7-d67e2d73afe1" providerId="ADAL" clId="{F907ACC7-C8F7-470E-B883-D49732EB787C}" dt="2024-02-21T12:43:29.473" v="28351"/>
          <ac:spMkLst>
            <pc:docMk/>
            <pc:sldMk cId="1250207495" sldId="2147483612"/>
            <ac:spMk id="95" creationId="{DE2F9691-C8CA-57E7-C586-64654FE2347E}"/>
          </ac:spMkLst>
        </pc:spChg>
        <pc:spChg chg="add mod replST">
          <ac:chgData name="Hänninen, Lauri" userId="b62831d1-2046-40aa-b4b7-d67e2d73afe1" providerId="ADAL" clId="{F907ACC7-C8F7-470E-B883-D49732EB787C}" dt="2024-02-21T12:43:29.474" v="28352"/>
          <ac:spMkLst>
            <pc:docMk/>
            <pc:sldMk cId="1250207495" sldId="2147483612"/>
            <ac:spMk id="96" creationId="{E9E385A3-6731-674A-C0FC-8164870F1C38}"/>
          </ac:spMkLst>
        </pc:spChg>
        <pc:spChg chg="add mod ord replST">
          <ac:chgData name="Hänninen, Lauri" userId="b62831d1-2046-40aa-b4b7-d67e2d73afe1" providerId="ADAL" clId="{F907ACC7-C8F7-470E-B883-D49732EB787C}" dt="2024-02-21T12:43:29.469" v="28334"/>
          <ac:spMkLst>
            <pc:docMk/>
            <pc:sldMk cId="1250207495" sldId="2147483612"/>
            <ac:spMk id="97" creationId="{0BC40D6A-F5DC-7C6F-B58A-4993CAC64FD2}"/>
          </ac:spMkLst>
        </pc:spChg>
        <pc:spChg chg="add mod ord replST">
          <ac:chgData name="Hänninen, Lauri" userId="b62831d1-2046-40aa-b4b7-d67e2d73afe1" providerId="ADAL" clId="{F907ACC7-C8F7-470E-B883-D49732EB787C}" dt="2024-02-21T12:43:29.474" v="28354"/>
          <ac:spMkLst>
            <pc:docMk/>
            <pc:sldMk cId="1250207495" sldId="2147483612"/>
            <ac:spMk id="98" creationId="{E75C7AF5-3D91-E4FC-7A99-D1E17C59A47B}"/>
          </ac:spMkLst>
        </pc:spChg>
        <pc:spChg chg="add mod replST">
          <ac:chgData name="Hänninen, Lauri" userId="b62831d1-2046-40aa-b4b7-d67e2d73afe1" providerId="ADAL" clId="{F907ACC7-C8F7-470E-B883-D49732EB787C}" dt="2024-02-21T12:43:29.475" v="28355"/>
          <ac:spMkLst>
            <pc:docMk/>
            <pc:sldMk cId="1250207495" sldId="2147483612"/>
            <ac:spMk id="99" creationId="{118504DE-492B-DDB6-6D40-9648EE176136}"/>
          </ac:spMkLst>
        </pc:spChg>
        <pc:spChg chg="del">
          <ac:chgData name="Hänninen, Lauri" userId="b62831d1-2046-40aa-b4b7-d67e2d73afe1" providerId="ADAL" clId="{F907ACC7-C8F7-470E-B883-D49732EB787C}" dt="2024-02-21T12:37:37.530" v="19479" actId="478"/>
          <ac:spMkLst>
            <pc:docMk/>
            <pc:sldMk cId="1250207495" sldId="2147483612"/>
            <ac:spMk id="107" creationId="{3E2E6731-7116-1D16-5064-363C99D4A08F}"/>
          </ac:spMkLst>
        </pc:spChg>
        <pc:spChg chg="del">
          <ac:chgData name="Hänninen, Lauri" userId="b62831d1-2046-40aa-b4b7-d67e2d73afe1" providerId="ADAL" clId="{F907ACC7-C8F7-470E-B883-D49732EB787C}" dt="2024-02-21T12:37:37.530" v="19479" actId="478"/>
          <ac:spMkLst>
            <pc:docMk/>
            <pc:sldMk cId="1250207495" sldId="2147483612"/>
            <ac:spMk id="109" creationId="{43B4839A-3895-59C0-F77D-E4FFDD277B6D}"/>
          </ac:spMkLst>
        </pc:spChg>
        <pc:spChg chg="add mod replST">
          <ac:chgData name="Hänninen, Lauri" userId="b62831d1-2046-40aa-b4b7-d67e2d73afe1" providerId="ADAL" clId="{F907ACC7-C8F7-470E-B883-D49732EB787C}" dt="2024-02-21T12:43:29.475" v="28357"/>
          <ac:spMkLst>
            <pc:docMk/>
            <pc:sldMk cId="1250207495" sldId="2147483612"/>
            <ac:spMk id="110" creationId="{5CEB2C8C-C89F-C1FC-1A3D-A48B69815BB1}"/>
          </ac:spMkLst>
        </pc:spChg>
        <pc:spChg chg="del">
          <ac:chgData name="Hänninen, Lauri" userId="b62831d1-2046-40aa-b4b7-d67e2d73afe1" providerId="ADAL" clId="{F907ACC7-C8F7-470E-B883-D49732EB787C}" dt="2024-02-21T12:37:37.530" v="19479" actId="478"/>
          <ac:spMkLst>
            <pc:docMk/>
            <pc:sldMk cId="1250207495" sldId="2147483612"/>
            <ac:spMk id="111" creationId="{508CB0FD-EAA4-15AC-EB17-196F2245F10F}"/>
          </ac:spMkLst>
        </pc:spChg>
        <pc:spChg chg="del">
          <ac:chgData name="Hänninen, Lauri" userId="b62831d1-2046-40aa-b4b7-d67e2d73afe1" providerId="ADAL" clId="{F907ACC7-C8F7-470E-B883-D49732EB787C}" dt="2024-02-21T12:37:37.530" v="19479" actId="478"/>
          <ac:spMkLst>
            <pc:docMk/>
            <pc:sldMk cId="1250207495" sldId="2147483612"/>
            <ac:spMk id="112" creationId="{A9B033B9-EB11-8D0E-276E-BF983E7AAE56}"/>
          </ac:spMkLst>
        </pc:spChg>
        <pc:spChg chg="add mod ord replST">
          <ac:chgData name="Hänninen, Lauri" userId="b62831d1-2046-40aa-b4b7-d67e2d73afe1" providerId="ADAL" clId="{F907ACC7-C8F7-470E-B883-D49732EB787C}" dt="2024-02-21T12:43:29.476" v="28359"/>
          <ac:spMkLst>
            <pc:docMk/>
            <pc:sldMk cId="1250207495" sldId="2147483612"/>
            <ac:spMk id="113" creationId="{9C6FEE6F-91DA-C985-FBE8-19CDF3502CA5}"/>
          </ac:spMkLst>
        </pc:spChg>
        <pc:spChg chg="add mod replST">
          <ac:chgData name="Hänninen, Lauri" userId="b62831d1-2046-40aa-b4b7-d67e2d73afe1" providerId="ADAL" clId="{F907ACC7-C8F7-470E-B883-D49732EB787C}" dt="2024-02-21T12:43:29.475" v="28356"/>
          <ac:spMkLst>
            <pc:docMk/>
            <pc:sldMk cId="1250207495" sldId="2147483612"/>
            <ac:spMk id="114" creationId="{59D227CC-4EC7-86E2-2687-3A8018192320}"/>
          </ac:spMkLst>
        </pc:spChg>
        <pc:spChg chg="add mod ord replST">
          <ac:chgData name="Hänninen, Lauri" userId="b62831d1-2046-40aa-b4b7-d67e2d73afe1" providerId="ADAL" clId="{F907ACC7-C8F7-470E-B883-D49732EB787C}" dt="2024-02-21T12:43:29.477" v="28364"/>
          <ac:spMkLst>
            <pc:docMk/>
            <pc:sldMk cId="1250207495" sldId="2147483612"/>
            <ac:spMk id="115" creationId="{C700AA40-7F42-2ADF-363B-BC79AF8D3E07}"/>
          </ac:spMkLst>
        </pc:spChg>
        <pc:spChg chg="add mod replST">
          <ac:chgData name="Hänninen, Lauri" userId="b62831d1-2046-40aa-b4b7-d67e2d73afe1" providerId="ADAL" clId="{F907ACC7-C8F7-470E-B883-D49732EB787C}" dt="2024-02-21T12:43:29.477" v="28362"/>
          <ac:spMkLst>
            <pc:docMk/>
            <pc:sldMk cId="1250207495" sldId="2147483612"/>
            <ac:spMk id="117" creationId="{C3A50482-98EC-FD1A-1B25-6F7CE1421A70}"/>
          </ac:spMkLst>
        </pc:spChg>
        <pc:spChg chg="add mod ord replST">
          <ac:chgData name="Hänninen, Lauri" userId="b62831d1-2046-40aa-b4b7-d67e2d73afe1" providerId="ADAL" clId="{F907ACC7-C8F7-470E-B883-D49732EB787C}" dt="2024-02-21T12:43:29.469" v="28336"/>
          <ac:spMkLst>
            <pc:docMk/>
            <pc:sldMk cId="1250207495" sldId="2147483612"/>
            <ac:spMk id="118" creationId="{055340C3-B0BD-D375-8267-A580647F1211}"/>
          </ac:spMkLst>
        </pc:spChg>
        <pc:spChg chg="add mod replST">
          <ac:chgData name="Hänninen, Lauri" userId="b62831d1-2046-40aa-b4b7-d67e2d73afe1" providerId="ADAL" clId="{F907ACC7-C8F7-470E-B883-D49732EB787C}" dt="2024-02-21T12:43:29.478" v="28367"/>
          <ac:spMkLst>
            <pc:docMk/>
            <pc:sldMk cId="1250207495" sldId="2147483612"/>
            <ac:spMk id="119" creationId="{D2ABD258-FEDA-94F7-AA1F-4925B495117C}"/>
          </ac:spMkLst>
        </pc:spChg>
        <pc:spChg chg="add mod replST">
          <ac:chgData name="Hänninen, Lauri" userId="b62831d1-2046-40aa-b4b7-d67e2d73afe1" providerId="ADAL" clId="{F907ACC7-C8F7-470E-B883-D49732EB787C}" dt="2024-02-21T12:43:29.478" v="28366"/>
          <ac:spMkLst>
            <pc:docMk/>
            <pc:sldMk cId="1250207495" sldId="2147483612"/>
            <ac:spMk id="120" creationId="{E7FB1C86-891D-6859-417F-B38A1BC2EE84}"/>
          </ac:spMkLst>
        </pc:spChg>
        <pc:spChg chg="add mod replST">
          <ac:chgData name="Hänninen, Lauri" userId="b62831d1-2046-40aa-b4b7-d67e2d73afe1" providerId="ADAL" clId="{F907ACC7-C8F7-470E-B883-D49732EB787C}" dt="2024-02-21T12:43:29.483" v="28381"/>
          <ac:spMkLst>
            <pc:docMk/>
            <pc:sldMk cId="1250207495" sldId="2147483612"/>
            <ac:spMk id="121" creationId="{DE2B9B86-4C9A-DE4E-7AEF-46F79FEE04E6}"/>
          </ac:spMkLst>
        </pc:spChg>
        <pc:spChg chg="add mod ord replST">
          <ac:chgData name="Hänninen, Lauri" userId="b62831d1-2046-40aa-b4b7-d67e2d73afe1" providerId="ADAL" clId="{F907ACC7-C8F7-470E-B883-D49732EB787C}" dt="2024-02-21T12:43:29.479" v="28369"/>
          <ac:spMkLst>
            <pc:docMk/>
            <pc:sldMk cId="1250207495" sldId="2147483612"/>
            <ac:spMk id="122" creationId="{501E721F-2C1F-A5D8-35EF-70633179749E}"/>
          </ac:spMkLst>
        </pc:spChg>
        <pc:spChg chg="add mod ord replST">
          <ac:chgData name="Hänninen, Lauri" userId="b62831d1-2046-40aa-b4b7-d67e2d73afe1" providerId="ADAL" clId="{F907ACC7-C8F7-470E-B883-D49732EB787C}" dt="2024-02-21T12:43:29.476" v="28361"/>
          <ac:spMkLst>
            <pc:docMk/>
            <pc:sldMk cId="1250207495" sldId="2147483612"/>
            <ac:spMk id="123" creationId="{19E8D635-381D-1681-4B0C-FCD896AE3742}"/>
          </ac:spMkLst>
        </pc:spChg>
        <pc:spChg chg="add mod replST">
          <ac:chgData name="Hänninen, Lauri" userId="b62831d1-2046-40aa-b4b7-d67e2d73afe1" providerId="ADAL" clId="{F907ACC7-C8F7-470E-B883-D49732EB787C}" dt="2024-02-21T12:43:29.480" v="28371"/>
          <ac:spMkLst>
            <pc:docMk/>
            <pc:sldMk cId="1250207495" sldId="2147483612"/>
            <ac:spMk id="124" creationId="{E40D43E1-166E-AFE3-64C0-CAE5E4C75659}"/>
          </ac:spMkLst>
        </pc:spChg>
        <pc:spChg chg="add mod replST">
          <ac:chgData name="Hänninen, Lauri" userId="b62831d1-2046-40aa-b4b7-d67e2d73afe1" providerId="ADAL" clId="{F907ACC7-C8F7-470E-B883-D49732EB787C}" dt="2024-02-21T12:43:29.479" v="28370"/>
          <ac:spMkLst>
            <pc:docMk/>
            <pc:sldMk cId="1250207495" sldId="2147483612"/>
            <ac:spMk id="125" creationId="{185F15C4-4260-29DB-91DB-F79B686A726C}"/>
          </ac:spMkLst>
        </pc:spChg>
        <pc:spChg chg="add mod ord replST">
          <ac:chgData name="Hänninen, Lauri" userId="b62831d1-2046-40aa-b4b7-d67e2d73afe1" providerId="ADAL" clId="{F907ACC7-C8F7-470E-B883-D49732EB787C}" dt="2024-02-21T12:43:29.481" v="28374"/>
          <ac:spMkLst>
            <pc:docMk/>
            <pc:sldMk cId="1250207495" sldId="2147483612"/>
            <ac:spMk id="126" creationId="{E0B7402E-676B-2F43-74BE-9E83AF213B36}"/>
          </ac:spMkLst>
        </pc:spChg>
        <pc:spChg chg="add mod replST">
          <ac:chgData name="Hänninen, Lauri" userId="b62831d1-2046-40aa-b4b7-d67e2d73afe1" providerId="ADAL" clId="{F907ACC7-C8F7-470E-B883-D49732EB787C}" dt="2024-02-21T12:43:29.481" v="28375"/>
          <ac:spMkLst>
            <pc:docMk/>
            <pc:sldMk cId="1250207495" sldId="2147483612"/>
            <ac:spMk id="151" creationId="{9B9E6101-D212-03D3-571C-E5AC64661FDE}"/>
          </ac:spMkLst>
        </pc:spChg>
        <pc:spChg chg="add mod replST">
          <ac:chgData name="Hänninen, Lauri" userId="b62831d1-2046-40aa-b4b7-d67e2d73afe1" providerId="ADAL" clId="{F907ACC7-C8F7-470E-B883-D49732EB787C}" dt="2024-02-21T12:43:29.482" v="28376"/>
          <ac:spMkLst>
            <pc:docMk/>
            <pc:sldMk cId="1250207495" sldId="2147483612"/>
            <ac:spMk id="152" creationId="{16F4A0E5-CCC4-4BF5-60DD-C10945B3E3A8}"/>
          </ac:spMkLst>
        </pc:spChg>
        <pc:spChg chg="add mod replST">
          <ac:chgData name="Hänninen, Lauri" userId="b62831d1-2046-40aa-b4b7-d67e2d73afe1" providerId="ADAL" clId="{F907ACC7-C8F7-470E-B883-D49732EB787C}" dt="2024-02-21T12:43:29.482" v="28377"/>
          <ac:spMkLst>
            <pc:docMk/>
            <pc:sldMk cId="1250207495" sldId="2147483612"/>
            <ac:spMk id="153" creationId="{A13A7F6E-4FEA-CC0B-94FE-02F163A6E7B0}"/>
          </ac:spMkLst>
        </pc:spChg>
        <pc:spChg chg="del">
          <ac:chgData name="Hänninen, Lauri" userId="b62831d1-2046-40aa-b4b7-d67e2d73afe1" providerId="ADAL" clId="{F907ACC7-C8F7-470E-B883-D49732EB787C}" dt="2024-02-21T12:37:37.530" v="19479" actId="478"/>
          <ac:spMkLst>
            <pc:docMk/>
            <pc:sldMk cId="1250207495" sldId="2147483612"/>
            <ac:spMk id="154" creationId="{FCF8BAB2-D8C4-6D04-4C79-048E05CB6B36}"/>
          </ac:spMkLst>
        </pc:spChg>
        <pc:spChg chg="del">
          <ac:chgData name="Hänninen, Lauri" userId="b62831d1-2046-40aa-b4b7-d67e2d73afe1" providerId="ADAL" clId="{F907ACC7-C8F7-470E-B883-D49732EB787C}" dt="2024-02-21T12:37:37.530" v="19479" actId="478"/>
          <ac:spMkLst>
            <pc:docMk/>
            <pc:sldMk cId="1250207495" sldId="2147483612"/>
            <ac:spMk id="155" creationId="{601AA2D5-0F23-B313-A950-30B6F92A42F1}"/>
          </ac:spMkLst>
        </pc:spChg>
        <pc:spChg chg="add mod replST">
          <ac:chgData name="Hänninen, Lauri" userId="b62831d1-2046-40aa-b4b7-d67e2d73afe1" providerId="ADAL" clId="{F907ACC7-C8F7-470E-B883-D49732EB787C}" dt="2024-02-21T12:43:29.478" v="28365"/>
          <ac:spMkLst>
            <pc:docMk/>
            <pc:sldMk cId="1250207495" sldId="2147483612"/>
            <ac:spMk id="160" creationId="{16EF51DD-7098-48EE-B026-42CA8A745259}"/>
          </ac:spMkLst>
        </pc:spChg>
        <pc:spChg chg="add del mod modVis">
          <ac:chgData name="Hänninen, Lauri" userId="b62831d1-2046-40aa-b4b7-d67e2d73afe1" providerId="ADAL" clId="{F907ACC7-C8F7-470E-B883-D49732EB787C}" dt="2024-02-21T12:38:32.739" v="20630"/>
          <ac:spMkLst>
            <pc:docMk/>
            <pc:sldMk cId="1250207495" sldId="2147483612"/>
            <ac:spMk id="161" creationId="{E91658F5-7DAB-B74C-E295-8CB594912A9E}"/>
          </ac:spMkLst>
        </pc:spChg>
        <pc:spChg chg="add del mod ord replST">
          <ac:chgData name="Hänninen, Lauri" userId="b62831d1-2046-40aa-b4b7-d67e2d73afe1" providerId="ADAL" clId="{F907ACC7-C8F7-470E-B883-D49732EB787C}" dt="2024-02-21T12:38:38.670" v="21673"/>
          <ac:spMkLst>
            <pc:docMk/>
            <pc:sldMk cId="1250207495" sldId="2147483612"/>
            <ac:spMk id="163" creationId="{50496157-FF75-6176-B4DB-D0B07FFB31E5}"/>
          </ac:spMkLst>
        </pc:spChg>
        <pc:spChg chg="add del mod modVis">
          <ac:chgData name="Hänninen, Lauri" userId="b62831d1-2046-40aa-b4b7-d67e2d73afe1" providerId="ADAL" clId="{F907ACC7-C8F7-470E-B883-D49732EB787C}" dt="2024-02-21T12:38:36.482" v="21306"/>
          <ac:spMkLst>
            <pc:docMk/>
            <pc:sldMk cId="1250207495" sldId="2147483612"/>
            <ac:spMk id="164" creationId="{1BB0A440-665A-BDD3-86F9-8173E3736364}"/>
          </ac:spMkLst>
        </pc:spChg>
        <pc:spChg chg="add del mod ord replST">
          <ac:chgData name="Hänninen, Lauri" userId="b62831d1-2046-40aa-b4b7-d67e2d73afe1" providerId="ADAL" clId="{F907ACC7-C8F7-470E-B883-D49732EB787C}" dt="2024-02-21T12:38:38.687" v="21702"/>
          <ac:spMkLst>
            <pc:docMk/>
            <pc:sldMk cId="1250207495" sldId="2147483612"/>
            <ac:spMk id="165" creationId="{9684F365-7618-5CA1-74CA-5A319CE4C849}"/>
          </ac:spMkLst>
        </pc:spChg>
        <pc:spChg chg="add del mod ord replST">
          <ac:chgData name="Hänninen, Lauri" userId="b62831d1-2046-40aa-b4b7-d67e2d73afe1" providerId="ADAL" clId="{F907ACC7-C8F7-470E-B883-D49732EB787C}" dt="2024-02-21T12:39:23.872" v="26729"/>
          <ac:spMkLst>
            <pc:docMk/>
            <pc:sldMk cId="1250207495" sldId="2147483612"/>
            <ac:spMk id="171" creationId="{D595664E-A583-7FB9-8100-0D1F33E00FB1}"/>
          </ac:spMkLst>
        </pc:spChg>
        <pc:spChg chg="add del mod modVis">
          <ac:chgData name="Hänninen, Lauri" userId="b62831d1-2046-40aa-b4b7-d67e2d73afe1" providerId="ADAL" clId="{F907ACC7-C8F7-470E-B883-D49732EB787C}" dt="2024-02-21T12:38:44.627" v="24048"/>
          <ac:spMkLst>
            <pc:docMk/>
            <pc:sldMk cId="1250207495" sldId="2147483612"/>
            <ac:spMk id="172" creationId="{8215B32E-71F7-0185-4201-C4C789782F33}"/>
          </ac:spMkLst>
        </pc:spChg>
        <pc:spChg chg="add del mod ord replST">
          <ac:chgData name="Hänninen, Lauri" userId="b62831d1-2046-40aa-b4b7-d67e2d73afe1" providerId="ADAL" clId="{F907ACC7-C8F7-470E-B883-D49732EB787C}" dt="2024-02-21T12:39:23.878" v="26749"/>
          <ac:spMkLst>
            <pc:docMk/>
            <pc:sldMk cId="1250207495" sldId="2147483612"/>
            <ac:spMk id="173" creationId="{86BF5351-9AC0-AF21-808E-FED90293C1EE}"/>
          </ac:spMkLst>
        </pc:spChg>
        <pc:spChg chg="add del mod ord replST">
          <ac:chgData name="Hänninen, Lauri" userId="b62831d1-2046-40aa-b4b7-d67e2d73afe1" providerId="ADAL" clId="{F907ACC7-C8F7-470E-B883-D49732EB787C}" dt="2024-02-21T12:39:23.893" v="26801"/>
          <ac:spMkLst>
            <pc:docMk/>
            <pc:sldMk cId="1250207495" sldId="2147483612"/>
            <ac:spMk id="174" creationId="{11B303D8-2900-43EB-2F32-4E1D6AF9FBE1}"/>
          </ac:spMkLst>
        </pc:spChg>
        <pc:spChg chg="add del mod ord replST">
          <ac:chgData name="Hänninen, Lauri" userId="b62831d1-2046-40aa-b4b7-d67e2d73afe1" providerId="ADAL" clId="{F907ACC7-C8F7-470E-B883-D49732EB787C}" dt="2024-02-21T12:39:23.898" v="26821"/>
          <ac:spMkLst>
            <pc:docMk/>
            <pc:sldMk cId="1250207495" sldId="2147483612"/>
            <ac:spMk id="175" creationId="{7BEDA7CF-D52C-1079-E8F9-833546E92A91}"/>
          </ac:spMkLst>
        </pc:spChg>
        <pc:spChg chg="add del mod ord replST">
          <ac:chgData name="Hänninen, Lauri" userId="b62831d1-2046-40aa-b4b7-d67e2d73afe1" providerId="ADAL" clId="{F907ACC7-C8F7-470E-B883-D49732EB787C}" dt="2024-02-21T12:39:23.904" v="26841"/>
          <ac:spMkLst>
            <pc:docMk/>
            <pc:sldMk cId="1250207495" sldId="2147483612"/>
            <ac:spMk id="176" creationId="{658B8869-69EB-6E6A-3907-C84649FC6A62}"/>
          </ac:spMkLst>
        </pc:spChg>
        <pc:spChg chg="add del mod ord replST">
          <ac:chgData name="Hänninen, Lauri" userId="b62831d1-2046-40aa-b4b7-d67e2d73afe1" providerId="ADAL" clId="{F907ACC7-C8F7-470E-B883-D49732EB787C}" dt="2024-02-21T12:39:23.910" v="26861"/>
          <ac:spMkLst>
            <pc:docMk/>
            <pc:sldMk cId="1250207495" sldId="2147483612"/>
            <ac:spMk id="177" creationId="{C970BAC5-1C0B-9932-603F-3B23D7041528}"/>
          </ac:spMkLst>
        </pc:spChg>
        <pc:spChg chg="add del mod ord replST">
          <ac:chgData name="Hänninen, Lauri" userId="b62831d1-2046-40aa-b4b7-d67e2d73afe1" providerId="ADAL" clId="{F907ACC7-C8F7-470E-B883-D49732EB787C}" dt="2024-02-21T12:39:23.920" v="26895"/>
          <ac:spMkLst>
            <pc:docMk/>
            <pc:sldMk cId="1250207495" sldId="2147483612"/>
            <ac:spMk id="178" creationId="{9B2DF149-1110-6EF3-D980-609590F7CDD5}"/>
          </ac:spMkLst>
        </pc:spChg>
        <pc:spChg chg="add del mod ord replST">
          <ac:chgData name="Hänninen, Lauri" userId="b62831d1-2046-40aa-b4b7-d67e2d73afe1" providerId="ADAL" clId="{F907ACC7-C8F7-470E-B883-D49732EB787C}" dt="2024-02-21T12:39:23.926" v="26915"/>
          <ac:spMkLst>
            <pc:docMk/>
            <pc:sldMk cId="1250207495" sldId="2147483612"/>
            <ac:spMk id="179" creationId="{54074AF0-0BF6-3357-CCA6-325E656788D9}"/>
          </ac:spMkLst>
        </pc:spChg>
        <pc:spChg chg="add del mod ord replST">
          <ac:chgData name="Hänninen, Lauri" userId="b62831d1-2046-40aa-b4b7-d67e2d73afe1" providerId="ADAL" clId="{F907ACC7-C8F7-470E-B883-D49732EB787C}" dt="2024-02-21T12:39:23.932" v="26935"/>
          <ac:spMkLst>
            <pc:docMk/>
            <pc:sldMk cId="1250207495" sldId="2147483612"/>
            <ac:spMk id="180" creationId="{121DA697-11C2-7982-0BB8-5726F329ACA8}"/>
          </ac:spMkLst>
        </pc:spChg>
        <pc:spChg chg="add del mod ord replST">
          <ac:chgData name="Hänninen, Lauri" userId="b62831d1-2046-40aa-b4b7-d67e2d73afe1" providerId="ADAL" clId="{F907ACC7-C8F7-470E-B883-D49732EB787C}" dt="2024-02-21T12:39:23.938" v="26955"/>
          <ac:spMkLst>
            <pc:docMk/>
            <pc:sldMk cId="1250207495" sldId="2147483612"/>
            <ac:spMk id="181" creationId="{F1A2AB72-5501-4028-6189-04EBF4A93B24}"/>
          </ac:spMkLst>
        </pc:spChg>
        <pc:spChg chg="add del mod ord replST">
          <ac:chgData name="Hänninen, Lauri" userId="b62831d1-2046-40aa-b4b7-d67e2d73afe1" providerId="ADAL" clId="{F907ACC7-C8F7-470E-B883-D49732EB787C}" dt="2024-02-21T12:39:23.943" v="26975"/>
          <ac:spMkLst>
            <pc:docMk/>
            <pc:sldMk cId="1250207495" sldId="2147483612"/>
            <ac:spMk id="182" creationId="{5206A980-6ACB-5D08-B8AD-2CBBC8D05EAE}"/>
          </ac:spMkLst>
        </pc:spChg>
        <pc:spChg chg="mod ord topLvl">
          <ac:chgData name="Hänninen, Lauri" userId="b62831d1-2046-40aa-b4b7-d67e2d73afe1" providerId="ADAL" clId="{F907ACC7-C8F7-470E-B883-D49732EB787C}" dt="2024-02-21T12:43:29.484" v="28383"/>
          <ac:spMkLst>
            <pc:docMk/>
            <pc:sldMk cId="1250207495" sldId="2147483612"/>
            <ac:spMk id="187" creationId="{85E730FD-E453-68E3-722F-CCAAEAB0AEED}"/>
          </ac:spMkLst>
        </pc:spChg>
        <pc:spChg chg="mod">
          <ac:chgData name="Hänninen, Lauri" userId="b62831d1-2046-40aa-b4b7-d67e2d73afe1" providerId="ADAL" clId="{F907ACC7-C8F7-470E-B883-D49732EB787C}" dt="2024-02-21T12:41:30.440" v="27321" actId="1076"/>
          <ac:spMkLst>
            <pc:docMk/>
            <pc:sldMk cId="1250207495" sldId="2147483612"/>
            <ac:spMk id="197" creationId="{ADF2F934-6591-2F6E-1F3D-480D71F6BD5C}"/>
          </ac:spMkLst>
        </pc:spChg>
        <pc:spChg chg="mod">
          <ac:chgData name="Hänninen, Lauri" userId="b62831d1-2046-40aa-b4b7-d67e2d73afe1" providerId="ADAL" clId="{F907ACC7-C8F7-470E-B883-D49732EB787C}" dt="2024-02-21T12:41:30.440" v="27321" actId="1076"/>
          <ac:spMkLst>
            <pc:docMk/>
            <pc:sldMk cId="1250207495" sldId="2147483612"/>
            <ac:spMk id="198" creationId="{0883DDED-8DB4-020D-EC2D-ADACCBBD9F28}"/>
          </ac:spMkLst>
        </pc:spChg>
        <pc:spChg chg="mod">
          <ac:chgData name="Hänninen, Lauri" userId="b62831d1-2046-40aa-b4b7-d67e2d73afe1" providerId="ADAL" clId="{F907ACC7-C8F7-470E-B883-D49732EB787C}" dt="2024-02-21T12:41:30.440" v="27321" actId="1076"/>
          <ac:spMkLst>
            <pc:docMk/>
            <pc:sldMk cId="1250207495" sldId="2147483612"/>
            <ac:spMk id="199" creationId="{AC34FE67-2EB8-6262-0C1A-96B8DCCDDD31}"/>
          </ac:spMkLst>
        </pc:spChg>
        <pc:spChg chg="mod">
          <ac:chgData name="Hänninen, Lauri" userId="b62831d1-2046-40aa-b4b7-d67e2d73afe1" providerId="ADAL" clId="{F907ACC7-C8F7-470E-B883-D49732EB787C}" dt="2024-02-21T12:41:30.440" v="27321" actId="1076"/>
          <ac:spMkLst>
            <pc:docMk/>
            <pc:sldMk cId="1250207495" sldId="2147483612"/>
            <ac:spMk id="200" creationId="{B027357E-F42B-D19B-10F1-456D65B8C5C3}"/>
          </ac:spMkLst>
        </pc:spChg>
        <pc:spChg chg="mod">
          <ac:chgData name="Hänninen, Lauri" userId="b62831d1-2046-40aa-b4b7-d67e2d73afe1" providerId="ADAL" clId="{F907ACC7-C8F7-470E-B883-D49732EB787C}" dt="2024-02-21T12:41:30.440" v="27321" actId="1076"/>
          <ac:spMkLst>
            <pc:docMk/>
            <pc:sldMk cId="1250207495" sldId="2147483612"/>
            <ac:spMk id="201" creationId="{5D1A2B97-9CDB-B845-93A3-B70BD5B51614}"/>
          </ac:spMkLst>
        </pc:spChg>
        <pc:spChg chg="mod">
          <ac:chgData name="Hänninen, Lauri" userId="b62831d1-2046-40aa-b4b7-d67e2d73afe1" providerId="ADAL" clId="{F907ACC7-C8F7-470E-B883-D49732EB787C}" dt="2024-02-21T12:41:30.440" v="27321" actId="1076"/>
          <ac:spMkLst>
            <pc:docMk/>
            <pc:sldMk cId="1250207495" sldId="2147483612"/>
            <ac:spMk id="202" creationId="{7C5FFB9D-5967-0F66-0EB5-DE79EF938D64}"/>
          </ac:spMkLst>
        </pc:spChg>
        <pc:spChg chg="mod">
          <ac:chgData name="Hänninen, Lauri" userId="b62831d1-2046-40aa-b4b7-d67e2d73afe1" providerId="ADAL" clId="{F907ACC7-C8F7-470E-B883-D49732EB787C}" dt="2024-02-21T12:41:30.440" v="27321" actId="1076"/>
          <ac:spMkLst>
            <pc:docMk/>
            <pc:sldMk cId="1250207495" sldId="2147483612"/>
            <ac:spMk id="203" creationId="{48F27D47-8974-6403-180E-CE138DC23E40}"/>
          </ac:spMkLst>
        </pc:spChg>
        <pc:spChg chg="mod">
          <ac:chgData name="Hänninen, Lauri" userId="b62831d1-2046-40aa-b4b7-d67e2d73afe1" providerId="ADAL" clId="{F907ACC7-C8F7-470E-B883-D49732EB787C}" dt="2024-02-21T12:41:30.440" v="27321" actId="1076"/>
          <ac:spMkLst>
            <pc:docMk/>
            <pc:sldMk cId="1250207495" sldId="2147483612"/>
            <ac:spMk id="204" creationId="{FE104843-CCE5-6140-A539-B090271BD5C9}"/>
          </ac:spMkLst>
        </pc:spChg>
        <pc:spChg chg="mod">
          <ac:chgData name="Hänninen, Lauri" userId="b62831d1-2046-40aa-b4b7-d67e2d73afe1" providerId="ADAL" clId="{F907ACC7-C8F7-470E-B883-D49732EB787C}" dt="2024-02-21T12:41:30.440" v="27321" actId="1076"/>
          <ac:spMkLst>
            <pc:docMk/>
            <pc:sldMk cId="1250207495" sldId="2147483612"/>
            <ac:spMk id="205" creationId="{6A10F23C-4006-A109-015F-66C6882DD8CD}"/>
          </ac:spMkLst>
        </pc:spChg>
        <pc:spChg chg="mod">
          <ac:chgData name="Hänninen, Lauri" userId="b62831d1-2046-40aa-b4b7-d67e2d73afe1" providerId="ADAL" clId="{F907ACC7-C8F7-470E-B883-D49732EB787C}" dt="2024-02-21T12:41:30.440" v="27321" actId="1076"/>
          <ac:spMkLst>
            <pc:docMk/>
            <pc:sldMk cId="1250207495" sldId="2147483612"/>
            <ac:spMk id="206" creationId="{86606C3A-50A6-4C8F-79C2-FBC4BDDFB756}"/>
          </ac:spMkLst>
        </pc:spChg>
        <pc:spChg chg="mod">
          <ac:chgData name="Hänninen, Lauri" userId="b62831d1-2046-40aa-b4b7-d67e2d73afe1" providerId="ADAL" clId="{F907ACC7-C8F7-470E-B883-D49732EB787C}" dt="2024-02-21T12:41:30.440" v="27321" actId="1076"/>
          <ac:spMkLst>
            <pc:docMk/>
            <pc:sldMk cId="1250207495" sldId="2147483612"/>
            <ac:spMk id="207" creationId="{F344CE1C-B874-581A-C366-4FA25D0ED4FD}"/>
          </ac:spMkLst>
        </pc:spChg>
        <pc:spChg chg="mod">
          <ac:chgData name="Hänninen, Lauri" userId="b62831d1-2046-40aa-b4b7-d67e2d73afe1" providerId="ADAL" clId="{F907ACC7-C8F7-470E-B883-D49732EB787C}" dt="2024-02-21T12:41:30.440" v="27321" actId="1076"/>
          <ac:spMkLst>
            <pc:docMk/>
            <pc:sldMk cId="1250207495" sldId="2147483612"/>
            <ac:spMk id="208" creationId="{D7B42D78-754A-2F65-DED2-4FFA522DE97A}"/>
          </ac:spMkLst>
        </pc:spChg>
        <pc:spChg chg="mod">
          <ac:chgData name="Hänninen, Lauri" userId="b62831d1-2046-40aa-b4b7-d67e2d73afe1" providerId="ADAL" clId="{F907ACC7-C8F7-470E-B883-D49732EB787C}" dt="2024-02-21T12:41:30.440" v="27321" actId="1076"/>
          <ac:spMkLst>
            <pc:docMk/>
            <pc:sldMk cId="1250207495" sldId="2147483612"/>
            <ac:spMk id="209" creationId="{5AA2CC4E-5A5F-3C79-0F67-C767CF5A78D0}"/>
          </ac:spMkLst>
        </pc:spChg>
        <pc:spChg chg="mod">
          <ac:chgData name="Hänninen, Lauri" userId="b62831d1-2046-40aa-b4b7-d67e2d73afe1" providerId="ADAL" clId="{F907ACC7-C8F7-470E-B883-D49732EB787C}" dt="2024-02-21T12:41:30.440" v="27321" actId="1076"/>
          <ac:spMkLst>
            <pc:docMk/>
            <pc:sldMk cId="1250207495" sldId="2147483612"/>
            <ac:spMk id="210" creationId="{672A9B01-8AAB-25ED-EF9D-1BDA291BE007}"/>
          </ac:spMkLst>
        </pc:spChg>
        <pc:spChg chg="mod">
          <ac:chgData name="Hänninen, Lauri" userId="b62831d1-2046-40aa-b4b7-d67e2d73afe1" providerId="ADAL" clId="{F907ACC7-C8F7-470E-B883-D49732EB787C}" dt="2024-02-21T12:41:30.440" v="27321" actId="1076"/>
          <ac:spMkLst>
            <pc:docMk/>
            <pc:sldMk cId="1250207495" sldId="2147483612"/>
            <ac:spMk id="211" creationId="{C6A55512-24BD-C770-F53B-C9453E4B3E5B}"/>
          </ac:spMkLst>
        </pc:spChg>
        <pc:spChg chg="mod">
          <ac:chgData name="Hänninen, Lauri" userId="b62831d1-2046-40aa-b4b7-d67e2d73afe1" providerId="ADAL" clId="{F907ACC7-C8F7-470E-B883-D49732EB787C}" dt="2024-02-21T12:41:30.440" v="27321" actId="1076"/>
          <ac:spMkLst>
            <pc:docMk/>
            <pc:sldMk cId="1250207495" sldId="2147483612"/>
            <ac:spMk id="212" creationId="{B941C0B2-48B0-3BEA-B8B2-0D4A8660665C}"/>
          </ac:spMkLst>
        </pc:spChg>
        <pc:spChg chg="mod">
          <ac:chgData name="Hänninen, Lauri" userId="b62831d1-2046-40aa-b4b7-d67e2d73afe1" providerId="ADAL" clId="{F907ACC7-C8F7-470E-B883-D49732EB787C}" dt="2024-02-21T12:42:12.641" v="27327"/>
          <ac:spMkLst>
            <pc:docMk/>
            <pc:sldMk cId="1250207495" sldId="2147483612"/>
            <ac:spMk id="217" creationId="{A3D3AEB7-2993-06E4-93EC-895908C21CC1}"/>
          </ac:spMkLst>
        </pc:spChg>
        <pc:spChg chg="mod">
          <ac:chgData name="Hänninen, Lauri" userId="b62831d1-2046-40aa-b4b7-d67e2d73afe1" providerId="ADAL" clId="{F907ACC7-C8F7-470E-B883-D49732EB787C}" dt="2024-02-21T12:42:12.641" v="27327"/>
          <ac:spMkLst>
            <pc:docMk/>
            <pc:sldMk cId="1250207495" sldId="2147483612"/>
            <ac:spMk id="227" creationId="{2042ED8D-458D-76F6-8E76-14A7196EA4D4}"/>
          </ac:spMkLst>
        </pc:spChg>
        <pc:spChg chg="mod">
          <ac:chgData name="Hänninen, Lauri" userId="b62831d1-2046-40aa-b4b7-d67e2d73afe1" providerId="ADAL" clId="{F907ACC7-C8F7-470E-B883-D49732EB787C}" dt="2024-02-21T12:42:12.641" v="27327"/>
          <ac:spMkLst>
            <pc:docMk/>
            <pc:sldMk cId="1250207495" sldId="2147483612"/>
            <ac:spMk id="228" creationId="{BB628BD9-4ACA-318F-92B1-773FBC6464A6}"/>
          </ac:spMkLst>
        </pc:spChg>
        <pc:spChg chg="mod">
          <ac:chgData name="Hänninen, Lauri" userId="b62831d1-2046-40aa-b4b7-d67e2d73afe1" providerId="ADAL" clId="{F907ACC7-C8F7-470E-B883-D49732EB787C}" dt="2024-02-21T12:42:12.641" v="27327"/>
          <ac:spMkLst>
            <pc:docMk/>
            <pc:sldMk cId="1250207495" sldId="2147483612"/>
            <ac:spMk id="229" creationId="{1CEF8626-0487-7AB9-AFC1-1890CD7D8CB4}"/>
          </ac:spMkLst>
        </pc:spChg>
        <pc:spChg chg="mod">
          <ac:chgData name="Hänninen, Lauri" userId="b62831d1-2046-40aa-b4b7-d67e2d73afe1" providerId="ADAL" clId="{F907ACC7-C8F7-470E-B883-D49732EB787C}" dt="2024-02-21T12:42:12.641" v="27327"/>
          <ac:spMkLst>
            <pc:docMk/>
            <pc:sldMk cId="1250207495" sldId="2147483612"/>
            <ac:spMk id="230" creationId="{D6437226-A221-FEA8-305D-9C0C32977BF6}"/>
          </ac:spMkLst>
        </pc:spChg>
        <pc:spChg chg="mod">
          <ac:chgData name="Hänninen, Lauri" userId="b62831d1-2046-40aa-b4b7-d67e2d73afe1" providerId="ADAL" clId="{F907ACC7-C8F7-470E-B883-D49732EB787C}" dt="2024-02-21T12:42:12.641" v="27327"/>
          <ac:spMkLst>
            <pc:docMk/>
            <pc:sldMk cId="1250207495" sldId="2147483612"/>
            <ac:spMk id="231" creationId="{831B2F93-3A18-88AD-8ACD-A418E85E3207}"/>
          </ac:spMkLst>
        </pc:spChg>
        <pc:spChg chg="mod">
          <ac:chgData name="Hänninen, Lauri" userId="b62831d1-2046-40aa-b4b7-d67e2d73afe1" providerId="ADAL" clId="{F907ACC7-C8F7-470E-B883-D49732EB787C}" dt="2024-02-21T12:42:12.641" v="27327"/>
          <ac:spMkLst>
            <pc:docMk/>
            <pc:sldMk cId="1250207495" sldId="2147483612"/>
            <ac:spMk id="232" creationId="{A0C5F881-9F44-BE6F-E775-0857846D5529}"/>
          </ac:spMkLst>
        </pc:spChg>
        <pc:spChg chg="mod">
          <ac:chgData name="Hänninen, Lauri" userId="b62831d1-2046-40aa-b4b7-d67e2d73afe1" providerId="ADAL" clId="{F907ACC7-C8F7-470E-B883-D49732EB787C}" dt="2024-02-21T12:42:12.641" v="27327"/>
          <ac:spMkLst>
            <pc:docMk/>
            <pc:sldMk cId="1250207495" sldId="2147483612"/>
            <ac:spMk id="233" creationId="{51EED9EF-98C2-C29F-4C71-610C7117C320}"/>
          </ac:spMkLst>
        </pc:spChg>
        <pc:spChg chg="mod">
          <ac:chgData name="Hänninen, Lauri" userId="b62831d1-2046-40aa-b4b7-d67e2d73afe1" providerId="ADAL" clId="{F907ACC7-C8F7-470E-B883-D49732EB787C}" dt="2024-02-21T12:42:12.641" v="27327"/>
          <ac:spMkLst>
            <pc:docMk/>
            <pc:sldMk cId="1250207495" sldId="2147483612"/>
            <ac:spMk id="234" creationId="{5F359124-7C38-8BCA-6AE1-BE3343D7728B}"/>
          </ac:spMkLst>
        </pc:spChg>
        <pc:spChg chg="mod">
          <ac:chgData name="Hänninen, Lauri" userId="b62831d1-2046-40aa-b4b7-d67e2d73afe1" providerId="ADAL" clId="{F907ACC7-C8F7-470E-B883-D49732EB787C}" dt="2024-02-21T12:42:12.641" v="27327"/>
          <ac:spMkLst>
            <pc:docMk/>
            <pc:sldMk cId="1250207495" sldId="2147483612"/>
            <ac:spMk id="235" creationId="{906A7EEE-9B22-1A0F-A329-252810A9B5C5}"/>
          </ac:spMkLst>
        </pc:spChg>
        <pc:spChg chg="mod">
          <ac:chgData name="Hänninen, Lauri" userId="b62831d1-2046-40aa-b4b7-d67e2d73afe1" providerId="ADAL" clId="{F907ACC7-C8F7-470E-B883-D49732EB787C}" dt="2024-02-21T12:42:12.641" v="27327"/>
          <ac:spMkLst>
            <pc:docMk/>
            <pc:sldMk cId="1250207495" sldId="2147483612"/>
            <ac:spMk id="236" creationId="{71DB608C-0376-D690-883B-70FE88BA9849}"/>
          </ac:spMkLst>
        </pc:spChg>
        <pc:spChg chg="mod">
          <ac:chgData name="Hänninen, Lauri" userId="b62831d1-2046-40aa-b4b7-d67e2d73afe1" providerId="ADAL" clId="{F907ACC7-C8F7-470E-B883-D49732EB787C}" dt="2024-02-21T12:42:12.641" v="27327"/>
          <ac:spMkLst>
            <pc:docMk/>
            <pc:sldMk cId="1250207495" sldId="2147483612"/>
            <ac:spMk id="237" creationId="{6DEA1BA1-09D0-83A0-F574-429DA4FD7636}"/>
          </ac:spMkLst>
        </pc:spChg>
        <pc:spChg chg="mod">
          <ac:chgData name="Hänninen, Lauri" userId="b62831d1-2046-40aa-b4b7-d67e2d73afe1" providerId="ADAL" clId="{F907ACC7-C8F7-470E-B883-D49732EB787C}" dt="2024-02-21T12:42:12.641" v="27327"/>
          <ac:spMkLst>
            <pc:docMk/>
            <pc:sldMk cId="1250207495" sldId="2147483612"/>
            <ac:spMk id="238" creationId="{3E2DDC72-B9CC-91BF-DB02-AF10A530B69D}"/>
          </ac:spMkLst>
        </pc:spChg>
        <pc:spChg chg="mod">
          <ac:chgData name="Hänninen, Lauri" userId="b62831d1-2046-40aa-b4b7-d67e2d73afe1" providerId="ADAL" clId="{F907ACC7-C8F7-470E-B883-D49732EB787C}" dt="2024-02-21T12:42:12.641" v="27327"/>
          <ac:spMkLst>
            <pc:docMk/>
            <pc:sldMk cId="1250207495" sldId="2147483612"/>
            <ac:spMk id="239" creationId="{4B98CB0B-C4BA-E5CF-FDCF-84BD05ABBD49}"/>
          </ac:spMkLst>
        </pc:spChg>
        <pc:spChg chg="mod">
          <ac:chgData name="Hänninen, Lauri" userId="b62831d1-2046-40aa-b4b7-d67e2d73afe1" providerId="ADAL" clId="{F907ACC7-C8F7-470E-B883-D49732EB787C}" dt="2024-02-21T12:42:12.641" v="27327"/>
          <ac:spMkLst>
            <pc:docMk/>
            <pc:sldMk cId="1250207495" sldId="2147483612"/>
            <ac:spMk id="240" creationId="{51EA8465-7D90-A75E-65B6-E8D7DD7AC95F}"/>
          </ac:spMkLst>
        </pc:spChg>
        <pc:spChg chg="mod">
          <ac:chgData name="Hänninen, Lauri" userId="b62831d1-2046-40aa-b4b7-d67e2d73afe1" providerId="ADAL" clId="{F907ACC7-C8F7-470E-B883-D49732EB787C}" dt="2024-02-21T12:42:12.641" v="27327"/>
          <ac:spMkLst>
            <pc:docMk/>
            <pc:sldMk cId="1250207495" sldId="2147483612"/>
            <ac:spMk id="241" creationId="{24D34CD3-432B-8628-E7C6-D2CAB946765D}"/>
          </ac:spMkLst>
        </pc:spChg>
        <pc:spChg chg="mod">
          <ac:chgData name="Hänninen, Lauri" userId="b62831d1-2046-40aa-b4b7-d67e2d73afe1" providerId="ADAL" clId="{F907ACC7-C8F7-470E-B883-D49732EB787C}" dt="2024-02-21T12:42:12.641" v="27327"/>
          <ac:spMkLst>
            <pc:docMk/>
            <pc:sldMk cId="1250207495" sldId="2147483612"/>
            <ac:spMk id="242" creationId="{13B0C009-F0CB-3FE2-322B-CC72C7E71FEA}"/>
          </ac:spMkLst>
        </pc:spChg>
        <pc:spChg chg="add del mod">
          <ac:chgData name="Hänninen, Lauri" userId="b62831d1-2046-40aa-b4b7-d67e2d73afe1" providerId="ADAL" clId="{F907ACC7-C8F7-470E-B883-D49732EB787C}" dt="2024-02-21T12:43:39.796" v="28397" actId="478"/>
          <ac:spMkLst>
            <pc:docMk/>
            <pc:sldMk cId="1250207495" sldId="2147483612"/>
            <ac:spMk id="243" creationId="{A1F7DB7A-EEE6-D046-EECF-115719D5A52D}"/>
          </ac:spMkLst>
        </pc:spChg>
        <pc:spChg chg="add mod">
          <ac:chgData name="Hänninen, Lauri" userId="b62831d1-2046-40aa-b4b7-d67e2d73afe1" providerId="ADAL" clId="{F907ACC7-C8F7-470E-B883-D49732EB787C}" dt="2024-02-21T12:43:29.485" v="28386"/>
          <ac:spMkLst>
            <pc:docMk/>
            <pc:sldMk cId="1250207495" sldId="2147483612"/>
            <ac:spMk id="244" creationId="{1D74A072-9F09-2A0D-7DB0-06E199DC2306}"/>
          </ac:spMkLst>
        </pc:spChg>
        <pc:spChg chg="add mod">
          <ac:chgData name="Hänninen, Lauri" userId="b62831d1-2046-40aa-b4b7-d67e2d73afe1" providerId="ADAL" clId="{F907ACC7-C8F7-470E-B883-D49732EB787C}" dt="2024-02-21T12:45:34.570" v="28454" actId="14100"/>
          <ac:spMkLst>
            <pc:docMk/>
            <pc:sldMk cId="1250207495" sldId="2147483612"/>
            <ac:spMk id="245" creationId="{0E871521-D876-97AE-880B-04E53B46C4C4}"/>
          </ac:spMkLst>
        </pc:spChg>
        <pc:grpChg chg="del">
          <ac:chgData name="Hänninen, Lauri" userId="b62831d1-2046-40aa-b4b7-d67e2d73afe1" providerId="ADAL" clId="{F907ACC7-C8F7-470E-B883-D49732EB787C}" dt="2024-02-21T12:37:37.530" v="19479" actId="478"/>
          <ac:grpSpMkLst>
            <pc:docMk/>
            <pc:sldMk cId="1250207495" sldId="2147483612"/>
            <ac:grpSpMk id="76" creationId="{0FB6B899-0B9D-7103-00AE-E8AA850C95CB}"/>
          </ac:grpSpMkLst>
        </pc:grpChg>
        <pc:grpChg chg="del">
          <ac:chgData name="Hänninen, Lauri" userId="b62831d1-2046-40aa-b4b7-d67e2d73afe1" providerId="ADAL" clId="{F907ACC7-C8F7-470E-B883-D49732EB787C}" dt="2024-02-21T12:37:37.530" v="19479" actId="478"/>
          <ac:grpSpMkLst>
            <pc:docMk/>
            <pc:sldMk cId="1250207495" sldId="2147483612"/>
            <ac:grpSpMk id="127" creationId="{A862A51A-B884-BE74-CB5B-4E713D8DF92F}"/>
          </ac:grpSpMkLst>
        </pc:grpChg>
        <pc:grpChg chg="del">
          <ac:chgData name="Hänninen, Lauri" userId="b62831d1-2046-40aa-b4b7-d67e2d73afe1" providerId="ADAL" clId="{F907ACC7-C8F7-470E-B883-D49732EB787C}" dt="2024-02-21T12:37:37.530" v="19479" actId="478"/>
          <ac:grpSpMkLst>
            <pc:docMk/>
            <pc:sldMk cId="1250207495" sldId="2147483612"/>
            <ac:grpSpMk id="130" creationId="{B361CF5E-46B0-4E8E-7A1E-B5AECBEB8D3B}"/>
          </ac:grpSpMkLst>
        </pc:grpChg>
        <pc:grpChg chg="del">
          <ac:chgData name="Hänninen, Lauri" userId="b62831d1-2046-40aa-b4b7-d67e2d73afe1" providerId="ADAL" clId="{F907ACC7-C8F7-470E-B883-D49732EB787C}" dt="2024-02-21T12:37:37.530" v="19479" actId="478"/>
          <ac:grpSpMkLst>
            <pc:docMk/>
            <pc:sldMk cId="1250207495" sldId="2147483612"/>
            <ac:grpSpMk id="133" creationId="{FB369870-FFEC-B75B-21B8-1E7D7CA6FC54}"/>
          </ac:grpSpMkLst>
        </pc:grpChg>
        <pc:grpChg chg="del">
          <ac:chgData name="Hänninen, Lauri" userId="b62831d1-2046-40aa-b4b7-d67e2d73afe1" providerId="ADAL" clId="{F907ACC7-C8F7-470E-B883-D49732EB787C}" dt="2024-02-21T12:37:37.530" v="19479" actId="478"/>
          <ac:grpSpMkLst>
            <pc:docMk/>
            <pc:sldMk cId="1250207495" sldId="2147483612"/>
            <ac:grpSpMk id="136" creationId="{ABB63206-B430-F540-5552-8533B0B80D03}"/>
          </ac:grpSpMkLst>
        </pc:grpChg>
        <pc:grpChg chg="del">
          <ac:chgData name="Hänninen, Lauri" userId="b62831d1-2046-40aa-b4b7-d67e2d73afe1" providerId="ADAL" clId="{F907ACC7-C8F7-470E-B883-D49732EB787C}" dt="2024-02-21T12:37:37.530" v="19479" actId="478"/>
          <ac:grpSpMkLst>
            <pc:docMk/>
            <pc:sldMk cId="1250207495" sldId="2147483612"/>
            <ac:grpSpMk id="139" creationId="{88EB32D2-92C2-858C-D34C-AB320CF9793D}"/>
          </ac:grpSpMkLst>
        </pc:grpChg>
        <pc:grpChg chg="del">
          <ac:chgData name="Hänninen, Lauri" userId="b62831d1-2046-40aa-b4b7-d67e2d73afe1" providerId="ADAL" clId="{F907ACC7-C8F7-470E-B883-D49732EB787C}" dt="2024-02-21T12:37:37.530" v="19479" actId="478"/>
          <ac:grpSpMkLst>
            <pc:docMk/>
            <pc:sldMk cId="1250207495" sldId="2147483612"/>
            <ac:grpSpMk id="142" creationId="{89A09ED7-DF71-9C47-EA90-07C92CF8FE85}"/>
          </ac:grpSpMkLst>
        </pc:grpChg>
        <pc:grpChg chg="del">
          <ac:chgData name="Hänninen, Lauri" userId="b62831d1-2046-40aa-b4b7-d67e2d73afe1" providerId="ADAL" clId="{F907ACC7-C8F7-470E-B883-D49732EB787C}" dt="2024-02-21T12:37:37.530" v="19479" actId="478"/>
          <ac:grpSpMkLst>
            <pc:docMk/>
            <pc:sldMk cId="1250207495" sldId="2147483612"/>
            <ac:grpSpMk id="145" creationId="{C953C6DC-62A0-57EE-F8F6-49825D17273B}"/>
          </ac:grpSpMkLst>
        </pc:grpChg>
        <pc:grpChg chg="del">
          <ac:chgData name="Hänninen, Lauri" userId="b62831d1-2046-40aa-b4b7-d67e2d73afe1" providerId="ADAL" clId="{F907ACC7-C8F7-470E-B883-D49732EB787C}" dt="2024-02-21T12:37:37.530" v="19479" actId="478"/>
          <ac:grpSpMkLst>
            <pc:docMk/>
            <pc:sldMk cId="1250207495" sldId="2147483612"/>
            <ac:grpSpMk id="148" creationId="{A5796A35-7775-778C-3589-CED3CF8E8293}"/>
          </ac:grpSpMkLst>
        </pc:grpChg>
        <pc:grpChg chg="del">
          <ac:chgData name="Hänninen, Lauri" userId="b62831d1-2046-40aa-b4b7-d67e2d73afe1" providerId="ADAL" clId="{F907ACC7-C8F7-470E-B883-D49732EB787C}" dt="2024-02-21T12:37:37.530" v="19479" actId="478"/>
          <ac:grpSpMkLst>
            <pc:docMk/>
            <pc:sldMk cId="1250207495" sldId="2147483612"/>
            <ac:grpSpMk id="156" creationId="{D92DB3BA-DB6A-0729-2795-4FD6E55086D5}"/>
          </ac:grpSpMkLst>
        </pc:grpChg>
        <pc:grpChg chg="add del mod">
          <ac:chgData name="Hänninen, Lauri" userId="b62831d1-2046-40aa-b4b7-d67e2d73afe1" providerId="ADAL" clId="{F907ACC7-C8F7-470E-B883-D49732EB787C}" dt="2024-02-21T12:40:04.129" v="27275" actId="165"/>
          <ac:grpSpMkLst>
            <pc:docMk/>
            <pc:sldMk cId="1250207495" sldId="2147483612"/>
            <ac:grpSpMk id="186" creationId="{0634C4AB-D81C-9F40-6069-E0CFE22D0BA4}"/>
          </ac:grpSpMkLst>
        </pc:grpChg>
        <pc:grpChg chg="del mod topLvl">
          <ac:chgData name="Hänninen, Lauri" userId="b62831d1-2046-40aa-b4b7-d67e2d73afe1" providerId="ADAL" clId="{F907ACC7-C8F7-470E-B883-D49732EB787C}" dt="2024-02-21T12:40:16.303" v="27278" actId="165"/>
          <ac:grpSpMkLst>
            <pc:docMk/>
            <pc:sldMk cId="1250207495" sldId="2147483612"/>
            <ac:grpSpMk id="188" creationId="{86F500AC-A9F2-47D4-55E5-82C131C6C6C6}"/>
          </ac:grpSpMkLst>
        </pc:grpChg>
        <pc:grpChg chg="mod topLvl">
          <ac:chgData name="Hänninen, Lauri" userId="b62831d1-2046-40aa-b4b7-d67e2d73afe1" providerId="ADAL" clId="{F907ACC7-C8F7-470E-B883-D49732EB787C}" dt="2024-02-21T12:41:30.440" v="27321" actId="1076"/>
          <ac:grpSpMkLst>
            <pc:docMk/>
            <pc:sldMk cId="1250207495" sldId="2147483612"/>
            <ac:grpSpMk id="189" creationId="{B7D0D2ED-EE4B-5A05-C98C-6DE983A9C445}"/>
          </ac:grpSpMkLst>
        </pc:grpChg>
        <pc:grpChg chg="mod topLvl">
          <ac:chgData name="Hänninen, Lauri" userId="b62831d1-2046-40aa-b4b7-d67e2d73afe1" providerId="ADAL" clId="{F907ACC7-C8F7-470E-B883-D49732EB787C}" dt="2024-02-21T12:41:30.440" v="27321" actId="1076"/>
          <ac:grpSpMkLst>
            <pc:docMk/>
            <pc:sldMk cId="1250207495" sldId="2147483612"/>
            <ac:grpSpMk id="190" creationId="{0E4F23FF-6B02-076D-94DE-85690D154868}"/>
          </ac:grpSpMkLst>
        </pc:grpChg>
        <pc:grpChg chg="mod topLvl">
          <ac:chgData name="Hänninen, Lauri" userId="b62831d1-2046-40aa-b4b7-d67e2d73afe1" providerId="ADAL" clId="{F907ACC7-C8F7-470E-B883-D49732EB787C}" dt="2024-02-21T12:41:30.440" v="27321" actId="1076"/>
          <ac:grpSpMkLst>
            <pc:docMk/>
            <pc:sldMk cId="1250207495" sldId="2147483612"/>
            <ac:grpSpMk id="191" creationId="{71FBD336-2E8D-680E-A03B-BC92B3B606E9}"/>
          </ac:grpSpMkLst>
        </pc:grpChg>
        <pc:grpChg chg="mod topLvl">
          <ac:chgData name="Hänninen, Lauri" userId="b62831d1-2046-40aa-b4b7-d67e2d73afe1" providerId="ADAL" clId="{F907ACC7-C8F7-470E-B883-D49732EB787C}" dt="2024-02-21T12:41:30.440" v="27321" actId="1076"/>
          <ac:grpSpMkLst>
            <pc:docMk/>
            <pc:sldMk cId="1250207495" sldId="2147483612"/>
            <ac:grpSpMk id="192" creationId="{0ADDEF58-71A1-7B2C-2907-3087332F2596}"/>
          </ac:grpSpMkLst>
        </pc:grpChg>
        <pc:grpChg chg="mod topLvl">
          <ac:chgData name="Hänninen, Lauri" userId="b62831d1-2046-40aa-b4b7-d67e2d73afe1" providerId="ADAL" clId="{F907ACC7-C8F7-470E-B883-D49732EB787C}" dt="2024-02-21T12:41:30.440" v="27321" actId="1076"/>
          <ac:grpSpMkLst>
            <pc:docMk/>
            <pc:sldMk cId="1250207495" sldId="2147483612"/>
            <ac:grpSpMk id="193" creationId="{DF3C0077-16A2-DB43-713F-B9DA97DA557A}"/>
          </ac:grpSpMkLst>
        </pc:grpChg>
        <pc:grpChg chg="mod topLvl">
          <ac:chgData name="Hänninen, Lauri" userId="b62831d1-2046-40aa-b4b7-d67e2d73afe1" providerId="ADAL" clId="{F907ACC7-C8F7-470E-B883-D49732EB787C}" dt="2024-02-21T12:41:30.440" v="27321" actId="1076"/>
          <ac:grpSpMkLst>
            <pc:docMk/>
            <pc:sldMk cId="1250207495" sldId="2147483612"/>
            <ac:grpSpMk id="194" creationId="{28B164E3-2B11-FA44-2A27-23274421E614}"/>
          </ac:grpSpMkLst>
        </pc:grpChg>
        <pc:grpChg chg="mod topLvl">
          <ac:chgData name="Hänninen, Lauri" userId="b62831d1-2046-40aa-b4b7-d67e2d73afe1" providerId="ADAL" clId="{F907ACC7-C8F7-470E-B883-D49732EB787C}" dt="2024-02-21T12:41:30.440" v="27321" actId="1076"/>
          <ac:grpSpMkLst>
            <pc:docMk/>
            <pc:sldMk cId="1250207495" sldId="2147483612"/>
            <ac:grpSpMk id="195" creationId="{5ECD1E0C-19D5-AAAF-146E-EEC65050581D}"/>
          </ac:grpSpMkLst>
        </pc:grpChg>
        <pc:grpChg chg="mod topLvl">
          <ac:chgData name="Hänninen, Lauri" userId="b62831d1-2046-40aa-b4b7-d67e2d73afe1" providerId="ADAL" clId="{F907ACC7-C8F7-470E-B883-D49732EB787C}" dt="2024-02-21T12:41:30.440" v="27321" actId="1076"/>
          <ac:grpSpMkLst>
            <pc:docMk/>
            <pc:sldMk cId="1250207495" sldId="2147483612"/>
            <ac:grpSpMk id="196" creationId="{8335295C-AC33-43BB-AD80-572CAC58B86D}"/>
          </ac:grpSpMkLst>
        </pc:grpChg>
        <pc:grpChg chg="add mod">
          <ac:chgData name="Hänninen, Lauri" userId="b62831d1-2046-40aa-b4b7-d67e2d73afe1" providerId="ADAL" clId="{F907ACC7-C8F7-470E-B883-D49732EB787C}" dt="2024-02-21T12:43:29.485" v="28384"/>
          <ac:grpSpMkLst>
            <pc:docMk/>
            <pc:sldMk cId="1250207495" sldId="2147483612"/>
            <ac:grpSpMk id="215" creationId="{A7DDEF73-46C6-4455-411B-DC2649E31C04}"/>
          </ac:grpSpMkLst>
        </pc:grpChg>
        <pc:grpChg chg="add mod">
          <ac:chgData name="Hänninen, Lauri" userId="b62831d1-2046-40aa-b4b7-d67e2d73afe1" providerId="ADAL" clId="{F907ACC7-C8F7-470E-B883-D49732EB787C}" dt="2024-02-21T12:42:12.641" v="27327"/>
          <ac:grpSpMkLst>
            <pc:docMk/>
            <pc:sldMk cId="1250207495" sldId="2147483612"/>
            <ac:grpSpMk id="216" creationId="{CE53CE27-AEAE-1A5C-1BF3-2B219656E576}"/>
          </ac:grpSpMkLst>
        </pc:grpChg>
        <pc:grpChg chg="mod">
          <ac:chgData name="Hänninen, Lauri" userId="b62831d1-2046-40aa-b4b7-d67e2d73afe1" providerId="ADAL" clId="{F907ACC7-C8F7-470E-B883-D49732EB787C}" dt="2024-02-21T12:42:12.641" v="27327"/>
          <ac:grpSpMkLst>
            <pc:docMk/>
            <pc:sldMk cId="1250207495" sldId="2147483612"/>
            <ac:grpSpMk id="218" creationId="{6981DAC7-D630-ACEC-42B1-EE2829558305}"/>
          </ac:grpSpMkLst>
        </pc:grpChg>
        <pc:grpChg chg="mod">
          <ac:chgData name="Hänninen, Lauri" userId="b62831d1-2046-40aa-b4b7-d67e2d73afe1" providerId="ADAL" clId="{F907ACC7-C8F7-470E-B883-D49732EB787C}" dt="2024-02-21T12:42:12.641" v="27327"/>
          <ac:grpSpMkLst>
            <pc:docMk/>
            <pc:sldMk cId="1250207495" sldId="2147483612"/>
            <ac:grpSpMk id="219" creationId="{6ACD0F80-93DA-077A-D134-396C71811DBD}"/>
          </ac:grpSpMkLst>
        </pc:grpChg>
        <pc:grpChg chg="mod">
          <ac:chgData name="Hänninen, Lauri" userId="b62831d1-2046-40aa-b4b7-d67e2d73afe1" providerId="ADAL" clId="{F907ACC7-C8F7-470E-B883-D49732EB787C}" dt="2024-02-21T12:42:12.641" v="27327"/>
          <ac:grpSpMkLst>
            <pc:docMk/>
            <pc:sldMk cId="1250207495" sldId="2147483612"/>
            <ac:grpSpMk id="220" creationId="{93116F1A-D79B-BCCE-5D89-07693A2F4D15}"/>
          </ac:grpSpMkLst>
        </pc:grpChg>
        <pc:grpChg chg="mod">
          <ac:chgData name="Hänninen, Lauri" userId="b62831d1-2046-40aa-b4b7-d67e2d73afe1" providerId="ADAL" clId="{F907ACC7-C8F7-470E-B883-D49732EB787C}" dt="2024-02-21T12:42:12.641" v="27327"/>
          <ac:grpSpMkLst>
            <pc:docMk/>
            <pc:sldMk cId="1250207495" sldId="2147483612"/>
            <ac:grpSpMk id="221" creationId="{2247153D-841C-87EB-FAF0-2C150F3A00DE}"/>
          </ac:grpSpMkLst>
        </pc:grpChg>
        <pc:grpChg chg="mod">
          <ac:chgData name="Hänninen, Lauri" userId="b62831d1-2046-40aa-b4b7-d67e2d73afe1" providerId="ADAL" clId="{F907ACC7-C8F7-470E-B883-D49732EB787C}" dt="2024-02-21T12:42:12.641" v="27327"/>
          <ac:grpSpMkLst>
            <pc:docMk/>
            <pc:sldMk cId="1250207495" sldId="2147483612"/>
            <ac:grpSpMk id="222" creationId="{5B777D12-0A3F-DF61-A119-688D666E1D31}"/>
          </ac:grpSpMkLst>
        </pc:grpChg>
        <pc:grpChg chg="mod">
          <ac:chgData name="Hänninen, Lauri" userId="b62831d1-2046-40aa-b4b7-d67e2d73afe1" providerId="ADAL" clId="{F907ACC7-C8F7-470E-B883-D49732EB787C}" dt="2024-02-21T12:42:12.641" v="27327"/>
          <ac:grpSpMkLst>
            <pc:docMk/>
            <pc:sldMk cId="1250207495" sldId="2147483612"/>
            <ac:grpSpMk id="223" creationId="{7C0C5739-1750-6930-4DB9-7EC3625B76D4}"/>
          </ac:grpSpMkLst>
        </pc:grpChg>
        <pc:grpChg chg="mod">
          <ac:chgData name="Hänninen, Lauri" userId="b62831d1-2046-40aa-b4b7-d67e2d73afe1" providerId="ADAL" clId="{F907ACC7-C8F7-470E-B883-D49732EB787C}" dt="2024-02-21T12:42:12.641" v="27327"/>
          <ac:grpSpMkLst>
            <pc:docMk/>
            <pc:sldMk cId="1250207495" sldId="2147483612"/>
            <ac:grpSpMk id="224" creationId="{6CE7B99D-EB4C-38DD-1EE3-1C7ED579C684}"/>
          </ac:grpSpMkLst>
        </pc:grpChg>
        <pc:grpChg chg="mod">
          <ac:chgData name="Hänninen, Lauri" userId="b62831d1-2046-40aa-b4b7-d67e2d73afe1" providerId="ADAL" clId="{F907ACC7-C8F7-470E-B883-D49732EB787C}" dt="2024-02-21T12:42:12.641" v="27327"/>
          <ac:grpSpMkLst>
            <pc:docMk/>
            <pc:sldMk cId="1250207495" sldId="2147483612"/>
            <ac:grpSpMk id="225" creationId="{3DDE5AAA-947F-17ED-89BC-7F384A3F81E1}"/>
          </ac:grpSpMkLst>
        </pc:grpChg>
        <pc:grpChg chg="mod">
          <ac:chgData name="Hänninen, Lauri" userId="b62831d1-2046-40aa-b4b7-d67e2d73afe1" providerId="ADAL" clId="{F907ACC7-C8F7-470E-B883-D49732EB787C}" dt="2024-02-21T12:42:12.641" v="27327"/>
          <ac:grpSpMkLst>
            <pc:docMk/>
            <pc:sldMk cId="1250207495" sldId="2147483612"/>
            <ac:grpSpMk id="226" creationId="{ECC36B60-198A-9132-A12C-7A2DF1B38D52}"/>
          </ac:grpSpMkLst>
        </pc:grpChg>
        <pc:graphicFrameChg chg="add del mod replST">
          <ac:chgData name="Hänninen, Lauri" userId="b62831d1-2046-40aa-b4b7-d67e2d73afe1" providerId="ADAL" clId="{F907ACC7-C8F7-470E-B883-D49732EB787C}" dt="2024-02-21T12:38:32.676" v="20452"/>
          <ac:graphicFrameMkLst>
            <pc:docMk/>
            <pc:sldMk cId="1250207495" sldId="2147483612"/>
            <ac:graphicFrameMk id="7" creationId="{5C03B4D0-0432-3BA4-85F1-2E788B64678C}"/>
          </ac:graphicFrameMkLst>
        </pc:graphicFrameChg>
        <pc:graphicFrameChg chg="mod">
          <ac:chgData name="Hänninen, Lauri" userId="b62831d1-2046-40aa-b4b7-d67e2d73afe1" providerId="ADAL" clId="{F907ACC7-C8F7-470E-B883-D49732EB787C}" dt="2024-02-21T12:43:29.498" v="28391"/>
          <ac:graphicFrameMkLst>
            <pc:docMk/>
            <pc:sldMk cId="1250207495" sldId="2147483612"/>
            <ac:graphicFrameMk id="18" creationId="{B1F93F93-8617-34BA-4FE5-87FF8058C959}"/>
          </ac:graphicFrameMkLst>
        </pc:graphicFrameChg>
        <pc:graphicFrameChg chg="add del mod replST">
          <ac:chgData name="Hänninen, Lauri" userId="b62831d1-2046-40aa-b4b7-d67e2d73afe1" providerId="ADAL" clId="{F907ACC7-C8F7-470E-B883-D49732EB787C}" dt="2024-02-21T12:38:36.420" v="21124"/>
          <ac:graphicFrameMkLst>
            <pc:docMk/>
            <pc:sldMk cId="1250207495" sldId="2147483612"/>
            <ac:graphicFrameMk id="162" creationId="{0061D93A-D42B-FA21-49DD-40F589B7DC7B}"/>
          </ac:graphicFrameMkLst>
        </pc:graphicFrameChg>
        <pc:graphicFrameChg chg="add del mod replST">
          <ac:chgData name="Hänninen, Lauri" userId="b62831d1-2046-40aa-b4b7-d67e2d73afe1" providerId="ADAL" clId="{F907ACC7-C8F7-470E-B883-D49732EB787C}" dt="2024-02-21T12:38:38.702" v="21737"/>
          <ac:graphicFrameMkLst>
            <pc:docMk/>
            <pc:sldMk cId="1250207495" sldId="2147483612"/>
            <ac:graphicFrameMk id="166" creationId="{48CE381B-895B-4F96-B730-32EFEE381369}"/>
          </ac:graphicFrameMkLst>
        </pc:graphicFrameChg>
        <pc:graphicFrameChg chg="add del mod replST">
          <ac:chgData name="Hänninen, Lauri" userId="b62831d1-2046-40aa-b4b7-d67e2d73afe1" providerId="ADAL" clId="{F907ACC7-C8F7-470E-B883-D49732EB787C}" dt="2024-02-21T12:38:41.001" v="22602"/>
          <ac:graphicFrameMkLst>
            <pc:docMk/>
            <pc:sldMk cId="1250207495" sldId="2147483612"/>
            <ac:graphicFrameMk id="169" creationId="{CA1221E6-7250-03A4-80AF-F9F00A65DB9D}"/>
          </ac:graphicFrameMkLst>
        </pc:graphicFrameChg>
        <pc:graphicFrameChg chg="add del mod replST">
          <ac:chgData name="Hänninen, Lauri" userId="b62831d1-2046-40aa-b4b7-d67e2d73afe1" providerId="ADAL" clId="{F907ACC7-C8F7-470E-B883-D49732EB787C}" dt="2024-02-21T12:38:44.559" v="23844"/>
          <ac:graphicFrameMkLst>
            <pc:docMk/>
            <pc:sldMk cId="1250207495" sldId="2147483612"/>
            <ac:graphicFrameMk id="170" creationId="{73D9187F-E4A9-6D83-4A28-CAA66068799B}"/>
          </ac:graphicFrameMkLst>
        </pc:graphicFrameChg>
        <pc:graphicFrameChg chg="add del mod replST">
          <ac:chgData name="Hänninen, Lauri" userId="b62831d1-2046-40aa-b4b7-d67e2d73afe1" providerId="ADAL" clId="{F907ACC7-C8F7-470E-B883-D49732EB787C}" dt="2024-02-21T12:38:46.571" v="24832"/>
          <ac:graphicFrameMkLst>
            <pc:docMk/>
            <pc:sldMk cId="1250207495" sldId="2147483612"/>
            <ac:graphicFrameMk id="183" creationId="{0CF7B9F8-CF1D-784B-E792-1EAE58CA4394}"/>
          </ac:graphicFrameMkLst>
        </pc:graphicFrameChg>
        <pc:graphicFrameChg chg="add del mod replST">
          <ac:chgData name="Hänninen, Lauri" userId="b62831d1-2046-40aa-b4b7-d67e2d73afe1" providerId="ADAL" clId="{F907ACC7-C8F7-470E-B883-D49732EB787C}" dt="2024-02-21T12:38:48.545" v="25818"/>
          <ac:graphicFrameMkLst>
            <pc:docMk/>
            <pc:sldMk cId="1250207495" sldId="2147483612"/>
            <ac:graphicFrameMk id="184" creationId="{5F244599-065A-6B4F-6844-FEEE5FEF6F21}"/>
          </ac:graphicFrameMkLst>
        </pc:graphicFrameChg>
        <pc:graphicFrameChg chg="add del mod replST">
          <ac:chgData name="Hänninen, Lauri" userId="b62831d1-2046-40aa-b4b7-d67e2d73afe1" providerId="ADAL" clId="{F907ACC7-C8F7-470E-B883-D49732EB787C}" dt="2024-02-21T12:39:21.032" v="26442"/>
          <ac:graphicFrameMkLst>
            <pc:docMk/>
            <pc:sldMk cId="1250207495" sldId="2147483612"/>
            <ac:graphicFrameMk id="185" creationId="{14295570-2D1C-17AA-6962-0B29A7224B23}"/>
          </ac:graphicFrameMkLst>
        </pc:graphicFrameChg>
        <pc:graphicFrameChg chg="add del mod replST">
          <ac:chgData name="Hänninen, Lauri" userId="b62831d1-2046-40aa-b4b7-d67e2d73afe1" providerId="ADAL" clId="{F907ACC7-C8F7-470E-B883-D49732EB787C}" dt="2024-02-21T12:39:23.965" v="27041"/>
          <ac:graphicFrameMkLst>
            <pc:docMk/>
            <pc:sldMk cId="1250207495" sldId="2147483612"/>
            <ac:graphicFrameMk id="213" creationId="{B95AD1F4-51EF-D73C-1BDC-B55E2760841B}"/>
          </ac:graphicFrameMkLst>
        </pc:graphicFrameChg>
        <pc:graphicFrameChg chg="add del mod replST">
          <ac:chgData name="Hänninen, Lauri" userId="b62831d1-2046-40aa-b4b7-d67e2d73afe1" providerId="ADAL" clId="{F907ACC7-C8F7-470E-B883-D49732EB787C}" dt="2024-02-21T12:43:08.621" v="27654"/>
          <ac:graphicFrameMkLst>
            <pc:docMk/>
            <pc:sldMk cId="1250207495" sldId="2147483612"/>
            <ac:graphicFrameMk id="214" creationId="{E4A3EA14-07A0-8AF5-2821-35294252454D}"/>
          </ac:graphicFrameMkLst>
        </pc:graphicFrameChg>
        <pc:graphicFrameChg chg="add del mod replST">
          <ac:chgData name="Hänninen, Lauri" userId="b62831d1-2046-40aa-b4b7-d67e2d73afe1" providerId="ADAL" clId="{F907ACC7-C8F7-470E-B883-D49732EB787C}" dt="2024-02-21T12:43:29.425" v="28203"/>
          <ac:graphicFrameMkLst>
            <pc:docMk/>
            <pc:sldMk cId="1250207495" sldId="2147483612"/>
            <ac:graphicFrameMk id="246" creationId="{41477110-0F58-9E35-E6F5-4F5AD1488459}"/>
          </ac:graphicFrameMkLst>
        </pc:graphicFrameChg>
        <pc:graphicFrameChg chg="add mod replST">
          <ac:chgData name="Hänninen, Lauri" userId="b62831d1-2046-40aa-b4b7-d67e2d73afe1" providerId="ADAL" clId="{F907ACC7-C8F7-470E-B883-D49732EB787C}" dt="2024-02-21T12:43:29.447" v="28220"/>
          <ac:graphicFrameMkLst>
            <pc:docMk/>
            <pc:sldMk cId="1250207495" sldId="2147483612"/>
            <ac:graphicFrameMk id="247" creationId="{C10E5537-154E-A05C-6FFE-06FA2EDE43C9}"/>
          </ac:graphicFrameMkLst>
        </pc:graphicFrameChg>
        <pc:cxnChg chg="add mod ord replST">
          <ac:chgData name="Hänninen, Lauri" userId="b62831d1-2046-40aa-b4b7-d67e2d73afe1" providerId="ADAL" clId="{F907ACC7-C8F7-470E-B883-D49732EB787C}" dt="2024-02-21T12:43:29.448" v="28222"/>
          <ac:cxnSpMkLst>
            <pc:docMk/>
            <pc:sldMk cId="1250207495" sldId="2147483612"/>
            <ac:cxnSpMk id="8" creationId="{CB101BB2-1DD9-D2E7-DE9E-243AA1C490F6}"/>
          </ac:cxnSpMkLst>
        </pc:cxnChg>
        <pc:cxnChg chg="add mod ord replST">
          <ac:chgData name="Hänninen, Lauri" userId="b62831d1-2046-40aa-b4b7-d67e2d73afe1" providerId="ADAL" clId="{F907ACC7-C8F7-470E-B883-D49732EB787C}" dt="2024-02-21T12:43:29.448" v="28224"/>
          <ac:cxnSpMkLst>
            <pc:docMk/>
            <pc:sldMk cId="1250207495" sldId="2147483612"/>
            <ac:cxnSpMk id="9" creationId="{DC916649-BE79-0916-997C-1E9A9C67FFBD}"/>
          </ac:cxnSpMkLst>
        </pc:cxnChg>
        <pc:cxnChg chg="add mod ord replST">
          <ac:chgData name="Hänninen, Lauri" userId="b62831d1-2046-40aa-b4b7-d67e2d73afe1" providerId="ADAL" clId="{F907ACC7-C8F7-470E-B883-D49732EB787C}" dt="2024-02-21T12:43:29.448" v="28226"/>
          <ac:cxnSpMkLst>
            <pc:docMk/>
            <pc:sldMk cId="1250207495" sldId="2147483612"/>
            <ac:cxnSpMk id="10" creationId="{DE1668FF-B385-E8D0-7E4F-845E9BA2B386}"/>
          </ac:cxnSpMkLst>
        </pc:cxnChg>
        <pc:cxnChg chg="add mod ord replST">
          <ac:chgData name="Hänninen, Lauri" userId="b62831d1-2046-40aa-b4b7-d67e2d73afe1" providerId="ADAL" clId="{F907ACC7-C8F7-470E-B883-D49732EB787C}" dt="2024-02-21T12:43:29.449" v="28228"/>
          <ac:cxnSpMkLst>
            <pc:docMk/>
            <pc:sldMk cId="1250207495" sldId="2147483612"/>
            <ac:cxnSpMk id="11" creationId="{34D7FB03-B29D-2854-22C8-8E82FCB53072}"/>
          </ac:cxnSpMkLst>
        </pc:cxnChg>
        <pc:cxnChg chg="add mod ord replST">
          <ac:chgData name="Hänninen, Lauri" userId="b62831d1-2046-40aa-b4b7-d67e2d73afe1" providerId="ADAL" clId="{F907ACC7-C8F7-470E-B883-D49732EB787C}" dt="2024-02-21T12:43:29.450" v="28232"/>
          <ac:cxnSpMkLst>
            <pc:docMk/>
            <pc:sldMk cId="1250207495" sldId="2147483612"/>
            <ac:cxnSpMk id="12" creationId="{56B21ECE-5BFF-2624-A9D3-7DCC8628FB67}"/>
          </ac:cxnSpMkLst>
        </pc:cxnChg>
        <pc:cxnChg chg="add mod ord replST">
          <ac:chgData name="Hänninen, Lauri" userId="b62831d1-2046-40aa-b4b7-d67e2d73afe1" providerId="ADAL" clId="{F907ACC7-C8F7-470E-B883-D49732EB787C}" dt="2024-02-21T12:43:29.449" v="28230"/>
          <ac:cxnSpMkLst>
            <pc:docMk/>
            <pc:sldMk cId="1250207495" sldId="2147483612"/>
            <ac:cxnSpMk id="13" creationId="{C4AA725F-B581-5FF3-E09C-E2367C21EFE6}"/>
          </ac:cxnSpMkLst>
        </pc:cxnChg>
        <pc:cxnChg chg="add mod ord replST">
          <ac:chgData name="Hänninen, Lauri" userId="b62831d1-2046-40aa-b4b7-d67e2d73afe1" providerId="ADAL" clId="{F907ACC7-C8F7-470E-B883-D49732EB787C}" dt="2024-02-21T12:43:29.450" v="28234"/>
          <ac:cxnSpMkLst>
            <pc:docMk/>
            <pc:sldMk cId="1250207495" sldId="2147483612"/>
            <ac:cxnSpMk id="14" creationId="{4E005F48-A73C-B787-B7E2-A1B31CF5C47F}"/>
          </ac:cxnSpMkLst>
        </pc:cxnChg>
        <pc:cxnChg chg="add mod ord replST">
          <ac:chgData name="Hänninen, Lauri" userId="b62831d1-2046-40aa-b4b7-d67e2d73afe1" providerId="ADAL" clId="{F907ACC7-C8F7-470E-B883-D49732EB787C}" dt="2024-02-21T12:43:29.450" v="28236"/>
          <ac:cxnSpMkLst>
            <pc:docMk/>
            <pc:sldMk cId="1250207495" sldId="2147483612"/>
            <ac:cxnSpMk id="15" creationId="{78325BB2-9DB9-F93B-F781-E35910F73BE5}"/>
          </ac:cxnSpMkLst>
        </pc:cxnChg>
        <pc:cxnChg chg="add mod ord replST">
          <ac:chgData name="Hänninen, Lauri" userId="b62831d1-2046-40aa-b4b7-d67e2d73afe1" providerId="ADAL" clId="{F907ACC7-C8F7-470E-B883-D49732EB787C}" dt="2024-02-21T12:43:29.451" v="28238"/>
          <ac:cxnSpMkLst>
            <pc:docMk/>
            <pc:sldMk cId="1250207495" sldId="2147483612"/>
            <ac:cxnSpMk id="16" creationId="{780C3784-D567-1669-06AF-CC26B2FBF6D1}"/>
          </ac:cxnSpMkLst>
        </pc:cxnChg>
        <pc:cxnChg chg="add mod ord replST">
          <ac:chgData name="Hänninen, Lauri" userId="b62831d1-2046-40aa-b4b7-d67e2d73afe1" providerId="ADAL" clId="{F907ACC7-C8F7-470E-B883-D49732EB787C}" dt="2024-02-21T12:43:29.451" v="28240"/>
          <ac:cxnSpMkLst>
            <pc:docMk/>
            <pc:sldMk cId="1250207495" sldId="2147483612"/>
            <ac:cxnSpMk id="17" creationId="{F42EDAA8-1DEE-E253-43EB-17A816D3BB83}"/>
          </ac:cxnSpMkLst>
        </pc:cxnChg>
        <pc:cxnChg chg="add mod ord replST">
          <ac:chgData name="Hänninen, Lauri" userId="b62831d1-2046-40aa-b4b7-d67e2d73afe1" providerId="ADAL" clId="{F907ACC7-C8F7-470E-B883-D49732EB787C}" dt="2024-02-21T12:43:29.452" v="28246"/>
          <ac:cxnSpMkLst>
            <pc:docMk/>
            <pc:sldMk cId="1250207495" sldId="2147483612"/>
            <ac:cxnSpMk id="19" creationId="{5987A039-FD10-ADE1-6010-CE5A53B7F21D}"/>
          </ac:cxnSpMkLst>
        </pc:cxnChg>
        <pc:cxnChg chg="add mod ord replST">
          <ac:chgData name="Hänninen, Lauri" userId="b62831d1-2046-40aa-b4b7-d67e2d73afe1" providerId="ADAL" clId="{F907ACC7-C8F7-470E-B883-D49732EB787C}" dt="2024-02-21T12:43:29.451" v="28242"/>
          <ac:cxnSpMkLst>
            <pc:docMk/>
            <pc:sldMk cId="1250207495" sldId="2147483612"/>
            <ac:cxnSpMk id="20" creationId="{08171B52-CE2F-90AE-71FC-7745EDB3D03B}"/>
          </ac:cxnSpMkLst>
        </pc:cxnChg>
        <pc:cxnChg chg="add mod ord replST">
          <ac:chgData name="Hänninen, Lauri" userId="b62831d1-2046-40aa-b4b7-d67e2d73afe1" providerId="ADAL" clId="{F907ACC7-C8F7-470E-B883-D49732EB787C}" dt="2024-02-21T12:43:29.452" v="28244"/>
          <ac:cxnSpMkLst>
            <pc:docMk/>
            <pc:sldMk cId="1250207495" sldId="2147483612"/>
            <ac:cxnSpMk id="21" creationId="{834471C1-79BA-6428-5B6A-87DAF5335028}"/>
          </ac:cxnSpMkLst>
        </pc:cxnChg>
        <pc:cxnChg chg="add mod ord replST">
          <ac:chgData name="Hänninen, Lauri" userId="b62831d1-2046-40aa-b4b7-d67e2d73afe1" providerId="ADAL" clId="{F907ACC7-C8F7-470E-B883-D49732EB787C}" dt="2024-02-21T12:43:29.452" v="28248"/>
          <ac:cxnSpMkLst>
            <pc:docMk/>
            <pc:sldMk cId="1250207495" sldId="2147483612"/>
            <ac:cxnSpMk id="22" creationId="{B45D840F-D4F0-AC55-9F76-A10417065DAD}"/>
          </ac:cxnSpMkLst>
        </pc:cxnChg>
        <pc:cxnChg chg="add mod ord replST">
          <ac:chgData name="Hänninen, Lauri" userId="b62831d1-2046-40aa-b4b7-d67e2d73afe1" providerId="ADAL" clId="{F907ACC7-C8F7-470E-B883-D49732EB787C}" dt="2024-02-21T12:43:29.453" v="28250"/>
          <ac:cxnSpMkLst>
            <pc:docMk/>
            <pc:sldMk cId="1250207495" sldId="2147483612"/>
            <ac:cxnSpMk id="23" creationId="{10CCA6FF-CF9B-CFF3-B03A-5F7879539A31}"/>
          </ac:cxnSpMkLst>
        </pc:cxnChg>
        <pc:cxnChg chg="add mod ord replST">
          <ac:chgData name="Hänninen, Lauri" userId="b62831d1-2046-40aa-b4b7-d67e2d73afe1" providerId="ADAL" clId="{F907ACC7-C8F7-470E-B883-D49732EB787C}" dt="2024-02-21T12:43:29.453" v="28252"/>
          <ac:cxnSpMkLst>
            <pc:docMk/>
            <pc:sldMk cId="1250207495" sldId="2147483612"/>
            <ac:cxnSpMk id="24" creationId="{DBBB8302-2E6B-B9F5-4BEE-A358C422D8B9}"/>
          </ac:cxnSpMkLst>
        </pc:cxnChg>
        <pc:cxnChg chg="add mod ord replST">
          <ac:chgData name="Hänninen, Lauri" userId="b62831d1-2046-40aa-b4b7-d67e2d73afe1" providerId="ADAL" clId="{F907ACC7-C8F7-470E-B883-D49732EB787C}" dt="2024-02-21T12:43:29.454" v="28256"/>
          <ac:cxnSpMkLst>
            <pc:docMk/>
            <pc:sldMk cId="1250207495" sldId="2147483612"/>
            <ac:cxnSpMk id="25" creationId="{C16ED6B2-6200-BE92-1C61-7C064385A6DB}"/>
          </ac:cxnSpMkLst>
        </pc:cxnChg>
        <pc:cxnChg chg="add mod ord replST">
          <ac:chgData name="Hänninen, Lauri" userId="b62831d1-2046-40aa-b4b7-d67e2d73afe1" providerId="ADAL" clId="{F907ACC7-C8F7-470E-B883-D49732EB787C}" dt="2024-02-21T12:43:29.454" v="28258"/>
          <ac:cxnSpMkLst>
            <pc:docMk/>
            <pc:sldMk cId="1250207495" sldId="2147483612"/>
            <ac:cxnSpMk id="26" creationId="{7532D461-A228-DF33-4BEE-FAB3CC8879E9}"/>
          </ac:cxnSpMkLst>
        </pc:cxnChg>
        <pc:cxnChg chg="add mod ord replST">
          <ac:chgData name="Hänninen, Lauri" userId="b62831d1-2046-40aa-b4b7-d67e2d73afe1" providerId="ADAL" clId="{F907ACC7-C8F7-470E-B883-D49732EB787C}" dt="2024-02-21T12:43:29.454" v="28254"/>
          <ac:cxnSpMkLst>
            <pc:docMk/>
            <pc:sldMk cId="1250207495" sldId="2147483612"/>
            <ac:cxnSpMk id="27" creationId="{EE1CC03E-FCFB-5A49-E5BC-8837A3DC2DF2}"/>
          </ac:cxnSpMkLst>
        </pc:cxnChg>
        <pc:cxnChg chg="add mod ord replST">
          <ac:chgData name="Hänninen, Lauri" userId="b62831d1-2046-40aa-b4b7-d67e2d73afe1" providerId="ADAL" clId="{F907ACC7-C8F7-470E-B883-D49732EB787C}" dt="2024-02-21T12:43:29.455" v="28260"/>
          <ac:cxnSpMkLst>
            <pc:docMk/>
            <pc:sldMk cId="1250207495" sldId="2147483612"/>
            <ac:cxnSpMk id="28" creationId="{4564507F-4F35-081B-8470-E2893F8BF21A}"/>
          </ac:cxnSpMkLst>
        </pc:cxnChg>
        <pc:cxnChg chg="add mod ord replST">
          <ac:chgData name="Hänninen, Lauri" userId="b62831d1-2046-40aa-b4b7-d67e2d73afe1" providerId="ADAL" clId="{F907ACC7-C8F7-470E-B883-D49732EB787C}" dt="2024-02-21T12:43:29.455" v="28262"/>
          <ac:cxnSpMkLst>
            <pc:docMk/>
            <pc:sldMk cId="1250207495" sldId="2147483612"/>
            <ac:cxnSpMk id="29" creationId="{9D4CE214-7D40-9425-5D65-D34575C7B343}"/>
          </ac:cxnSpMkLst>
        </pc:cxnChg>
        <pc:cxnChg chg="add mod ord replST">
          <ac:chgData name="Hänninen, Lauri" userId="b62831d1-2046-40aa-b4b7-d67e2d73afe1" providerId="ADAL" clId="{F907ACC7-C8F7-470E-B883-D49732EB787C}" dt="2024-02-21T12:43:29.455" v="28264"/>
          <ac:cxnSpMkLst>
            <pc:docMk/>
            <pc:sldMk cId="1250207495" sldId="2147483612"/>
            <ac:cxnSpMk id="30" creationId="{31155AC3-64CB-8436-5B8F-62CDC1D2BC07}"/>
          </ac:cxnSpMkLst>
        </pc:cxnChg>
        <pc:cxnChg chg="add mod ord replST">
          <ac:chgData name="Hänninen, Lauri" userId="b62831d1-2046-40aa-b4b7-d67e2d73afe1" providerId="ADAL" clId="{F907ACC7-C8F7-470E-B883-D49732EB787C}" dt="2024-02-21T12:43:29.456" v="28266"/>
          <ac:cxnSpMkLst>
            <pc:docMk/>
            <pc:sldMk cId="1250207495" sldId="2147483612"/>
            <ac:cxnSpMk id="31" creationId="{64F30394-3700-69ED-54BD-9EB787A68245}"/>
          </ac:cxnSpMkLst>
        </pc:cxnChg>
        <pc:cxnChg chg="add mod ord replST">
          <ac:chgData name="Hänninen, Lauri" userId="b62831d1-2046-40aa-b4b7-d67e2d73afe1" providerId="ADAL" clId="{F907ACC7-C8F7-470E-B883-D49732EB787C}" dt="2024-02-21T12:43:29.456" v="28268"/>
          <ac:cxnSpMkLst>
            <pc:docMk/>
            <pc:sldMk cId="1250207495" sldId="2147483612"/>
            <ac:cxnSpMk id="32" creationId="{E7E0E9AE-2417-69EC-509C-031F0C4681A5}"/>
          </ac:cxnSpMkLst>
        </pc:cxnChg>
        <pc:cxnChg chg="add mod ord replST">
          <ac:chgData name="Hänninen, Lauri" userId="b62831d1-2046-40aa-b4b7-d67e2d73afe1" providerId="ADAL" clId="{F907ACC7-C8F7-470E-B883-D49732EB787C}" dt="2024-02-21T12:43:29.457" v="28274"/>
          <ac:cxnSpMkLst>
            <pc:docMk/>
            <pc:sldMk cId="1250207495" sldId="2147483612"/>
            <ac:cxnSpMk id="33" creationId="{D86343AC-4F54-0047-8AA2-B59575F34CDB}"/>
          </ac:cxnSpMkLst>
        </pc:cxnChg>
        <pc:cxnChg chg="add mod ord replST">
          <ac:chgData name="Hänninen, Lauri" userId="b62831d1-2046-40aa-b4b7-d67e2d73afe1" providerId="ADAL" clId="{F907ACC7-C8F7-470E-B883-D49732EB787C}" dt="2024-02-21T12:43:29.457" v="28272"/>
          <ac:cxnSpMkLst>
            <pc:docMk/>
            <pc:sldMk cId="1250207495" sldId="2147483612"/>
            <ac:cxnSpMk id="34" creationId="{1780A85B-BEE4-A815-284D-5F638E4658A1}"/>
          </ac:cxnSpMkLst>
        </pc:cxnChg>
        <pc:cxnChg chg="add mod ord replST">
          <ac:chgData name="Hänninen, Lauri" userId="b62831d1-2046-40aa-b4b7-d67e2d73afe1" providerId="ADAL" clId="{F907ACC7-C8F7-470E-B883-D49732EB787C}" dt="2024-02-21T12:43:29.457" v="28270"/>
          <ac:cxnSpMkLst>
            <pc:docMk/>
            <pc:sldMk cId="1250207495" sldId="2147483612"/>
            <ac:cxnSpMk id="35" creationId="{37AB657F-BD56-BDBF-734A-A2439B2BB7F2}"/>
          </ac:cxnSpMkLst>
        </pc:cxnChg>
        <pc:cxnChg chg="add mod ord replST">
          <ac:chgData name="Hänninen, Lauri" userId="b62831d1-2046-40aa-b4b7-d67e2d73afe1" providerId="ADAL" clId="{F907ACC7-C8F7-470E-B883-D49732EB787C}" dt="2024-02-21T12:43:29.458" v="28276"/>
          <ac:cxnSpMkLst>
            <pc:docMk/>
            <pc:sldMk cId="1250207495" sldId="2147483612"/>
            <ac:cxnSpMk id="36" creationId="{BC5D919A-DAA9-03F4-CCE3-49F6BAFEC69F}"/>
          </ac:cxnSpMkLst>
        </pc:cxnChg>
        <pc:cxnChg chg="add mod ord replST">
          <ac:chgData name="Hänninen, Lauri" userId="b62831d1-2046-40aa-b4b7-d67e2d73afe1" providerId="ADAL" clId="{F907ACC7-C8F7-470E-B883-D49732EB787C}" dt="2024-02-21T12:43:29.458" v="28278"/>
          <ac:cxnSpMkLst>
            <pc:docMk/>
            <pc:sldMk cId="1250207495" sldId="2147483612"/>
            <ac:cxnSpMk id="37" creationId="{22395034-C814-D6D8-FC24-616EFC857245}"/>
          </ac:cxnSpMkLst>
        </pc:cxnChg>
        <pc:cxnChg chg="add mod ord replST">
          <ac:chgData name="Hänninen, Lauri" userId="b62831d1-2046-40aa-b4b7-d67e2d73afe1" providerId="ADAL" clId="{F907ACC7-C8F7-470E-B883-D49732EB787C}" dt="2024-02-21T12:43:29.458" v="28280"/>
          <ac:cxnSpMkLst>
            <pc:docMk/>
            <pc:sldMk cId="1250207495" sldId="2147483612"/>
            <ac:cxnSpMk id="38" creationId="{16136DAE-2209-D0AE-5FAA-915D0495EF69}"/>
          </ac:cxnSpMkLst>
        </pc:cxnChg>
        <pc:cxnChg chg="add mod ord replST">
          <ac:chgData name="Hänninen, Lauri" userId="b62831d1-2046-40aa-b4b7-d67e2d73afe1" providerId="ADAL" clId="{F907ACC7-C8F7-470E-B883-D49732EB787C}" dt="2024-02-21T12:43:29.459" v="28284"/>
          <ac:cxnSpMkLst>
            <pc:docMk/>
            <pc:sldMk cId="1250207495" sldId="2147483612"/>
            <ac:cxnSpMk id="39" creationId="{4989D6F6-272D-214A-FC93-A3663B027D30}"/>
          </ac:cxnSpMkLst>
        </pc:cxnChg>
        <pc:cxnChg chg="add mod ord replST">
          <ac:chgData name="Hänninen, Lauri" userId="b62831d1-2046-40aa-b4b7-d67e2d73afe1" providerId="ADAL" clId="{F907ACC7-C8F7-470E-B883-D49732EB787C}" dt="2024-02-21T12:43:29.459" v="28282"/>
          <ac:cxnSpMkLst>
            <pc:docMk/>
            <pc:sldMk cId="1250207495" sldId="2147483612"/>
            <ac:cxnSpMk id="40" creationId="{3A461933-EC3D-9826-8DE6-DBE360CE61CD}"/>
          </ac:cxnSpMkLst>
        </pc:cxnChg>
        <pc:cxnChg chg="add mod ord replST">
          <ac:chgData name="Hänninen, Lauri" userId="b62831d1-2046-40aa-b4b7-d67e2d73afe1" providerId="ADAL" clId="{F907ACC7-C8F7-470E-B883-D49732EB787C}" dt="2024-02-21T12:43:29.460" v="28286"/>
          <ac:cxnSpMkLst>
            <pc:docMk/>
            <pc:sldMk cId="1250207495" sldId="2147483612"/>
            <ac:cxnSpMk id="41" creationId="{05904A67-F535-CA2B-11F8-711D494E15CB}"/>
          </ac:cxnSpMkLst>
        </pc:cxnChg>
        <pc:cxnChg chg="add mod ord replST">
          <ac:chgData name="Hänninen, Lauri" userId="b62831d1-2046-40aa-b4b7-d67e2d73afe1" providerId="ADAL" clId="{F907ACC7-C8F7-470E-B883-D49732EB787C}" dt="2024-02-21T12:43:29.460" v="28290"/>
          <ac:cxnSpMkLst>
            <pc:docMk/>
            <pc:sldMk cId="1250207495" sldId="2147483612"/>
            <ac:cxnSpMk id="42" creationId="{25187C55-80AE-5FF3-D4AB-20D2A3163FC1}"/>
          </ac:cxnSpMkLst>
        </pc:cxnChg>
        <pc:cxnChg chg="add mod ord replST">
          <ac:chgData name="Hänninen, Lauri" userId="b62831d1-2046-40aa-b4b7-d67e2d73afe1" providerId="ADAL" clId="{F907ACC7-C8F7-470E-B883-D49732EB787C}" dt="2024-02-21T12:43:29.461" v="28292"/>
          <ac:cxnSpMkLst>
            <pc:docMk/>
            <pc:sldMk cId="1250207495" sldId="2147483612"/>
            <ac:cxnSpMk id="43" creationId="{85B04080-5BDF-394C-25D1-6D397A1E68B3}"/>
          </ac:cxnSpMkLst>
        </pc:cxnChg>
        <pc:cxnChg chg="add mod ord replST">
          <ac:chgData name="Hänninen, Lauri" userId="b62831d1-2046-40aa-b4b7-d67e2d73afe1" providerId="ADAL" clId="{F907ACC7-C8F7-470E-B883-D49732EB787C}" dt="2024-02-21T12:43:29.460" v="28288"/>
          <ac:cxnSpMkLst>
            <pc:docMk/>
            <pc:sldMk cId="1250207495" sldId="2147483612"/>
            <ac:cxnSpMk id="44" creationId="{5A554B0E-F4A1-7A8E-97E4-C0257381C25B}"/>
          </ac:cxnSpMkLst>
        </pc:cxnChg>
        <pc:cxnChg chg="add mod ord replST">
          <ac:chgData name="Hänninen, Lauri" userId="b62831d1-2046-40aa-b4b7-d67e2d73afe1" providerId="ADAL" clId="{F907ACC7-C8F7-470E-B883-D49732EB787C}" dt="2024-02-21T12:43:29.462" v="28298"/>
          <ac:cxnSpMkLst>
            <pc:docMk/>
            <pc:sldMk cId="1250207495" sldId="2147483612"/>
            <ac:cxnSpMk id="45" creationId="{4937A4A1-074E-7D0F-12E4-1C4F80B8FDBF}"/>
          </ac:cxnSpMkLst>
        </pc:cxnChg>
        <pc:cxnChg chg="add mod ord replST">
          <ac:chgData name="Hänninen, Lauri" userId="b62831d1-2046-40aa-b4b7-d67e2d73afe1" providerId="ADAL" clId="{F907ACC7-C8F7-470E-B883-D49732EB787C}" dt="2024-02-21T12:43:29.461" v="28294"/>
          <ac:cxnSpMkLst>
            <pc:docMk/>
            <pc:sldMk cId="1250207495" sldId="2147483612"/>
            <ac:cxnSpMk id="46" creationId="{348C3654-4E0C-83CB-0723-6F6D1771236A}"/>
          </ac:cxnSpMkLst>
        </pc:cxnChg>
        <pc:cxnChg chg="add mod ord replST">
          <ac:chgData name="Hänninen, Lauri" userId="b62831d1-2046-40aa-b4b7-d67e2d73afe1" providerId="ADAL" clId="{F907ACC7-C8F7-470E-B883-D49732EB787C}" dt="2024-02-21T12:43:29.461" v="28296"/>
          <ac:cxnSpMkLst>
            <pc:docMk/>
            <pc:sldMk cId="1250207495" sldId="2147483612"/>
            <ac:cxnSpMk id="47" creationId="{81529735-0891-005E-170B-1CD56658A7F0}"/>
          </ac:cxnSpMkLst>
        </pc:cxnChg>
        <pc:cxnChg chg="add mod ord replST">
          <ac:chgData name="Hänninen, Lauri" userId="b62831d1-2046-40aa-b4b7-d67e2d73afe1" providerId="ADAL" clId="{F907ACC7-C8F7-470E-B883-D49732EB787C}" dt="2024-02-21T12:43:29.462" v="28300"/>
          <ac:cxnSpMkLst>
            <pc:docMk/>
            <pc:sldMk cId="1250207495" sldId="2147483612"/>
            <ac:cxnSpMk id="48" creationId="{8D40EDDF-96D8-9E39-8AB3-2684BD359FE8}"/>
          </ac:cxnSpMkLst>
        </pc:cxnChg>
        <pc:cxnChg chg="add mod ord replST">
          <ac:chgData name="Hänninen, Lauri" userId="b62831d1-2046-40aa-b4b7-d67e2d73afe1" providerId="ADAL" clId="{F907ACC7-C8F7-470E-B883-D49732EB787C}" dt="2024-02-21T12:43:29.462" v="28302"/>
          <ac:cxnSpMkLst>
            <pc:docMk/>
            <pc:sldMk cId="1250207495" sldId="2147483612"/>
            <ac:cxnSpMk id="49" creationId="{605FD5B3-CE24-DCF8-18F8-32D653539833}"/>
          </ac:cxnSpMkLst>
        </pc:cxnChg>
        <pc:cxnChg chg="add mod ord replST">
          <ac:chgData name="Hänninen, Lauri" userId="b62831d1-2046-40aa-b4b7-d67e2d73afe1" providerId="ADAL" clId="{F907ACC7-C8F7-470E-B883-D49732EB787C}" dt="2024-02-21T12:43:29.463" v="28306"/>
          <ac:cxnSpMkLst>
            <pc:docMk/>
            <pc:sldMk cId="1250207495" sldId="2147483612"/>
            <ac:cxnSpMk id="50" creationId="{AF8A5EE0-C97C-7077-2236-8D2C06200986}"/>
          </ac:cxnSpMkLst>
        </pc:cxnChg>
        <pc:cxnChg chg="add mod ord replST">
          <ac:chgData name="Hänninen, Lauri" userId="b62831d1-2046-40aa-b4b7-d67e2d73afe1" providerId="ADAL" clId="{F907ACC7-C8F7-470E-B883-D49732EB787C}" dt="2024-02-21T12:43:29.463" v="28304"/>
          <ac:cxnSpMkLst>
            <pc:docMk/>
            <pc:sldMk cId="1250207495" sldId="2147483612"/>
            <ac:cxnSpMk id="51" creationId="{F0CFA4FC-21DA-A4C4-DA81-D0D69497B02C}"/>
          </ac:cxnSpMkLst>
        </pc:cxnChg>
        <pc:cxnChg chg="add mod ord replST">
          <ac:chgData name="Hänninen, Lauri" userId="b62831d1-2046-40aa-b4b7-d67e2d73afe1" providerId="ADAL" clId="{F907ACC7-C8F7-470E-B883-D49732EB787C}" dt="2024-02-21T12:43:29.464" v="28308"/>
          <ac:cxnSpMkLst>
            <pc:docMk/>
            <pc:sldMk cId="1250207495" sldId="2147483612"/>
            <ac:cxnSpMk id="52" creationId="{85DE3CEA-5898-AFA4-9090-BA168A6BAC04}"/>
          </ac:cxnSpMkLst>
        </pc:cxnChg>
        <pc:cxnChg chg="add mod ord replST">
          <ac:chgData name="Hänninen, Lauri" userId="b62831d1-2046-40aa-b4b7-d67e2d73afe1" providerId="ADAL" clId="{F907ACC7-C8F7-470E-B883-D49732EB787C}" dt="2024-02-21T12:43:29.464" v="28310"/>
          <ac:cxnSpMkLst>
            <pc:docMk/>
            <pc:sldMk cId="1250207495" sldId="2147483612"/>
            <ac:cxnSpMk id="53" creationId="{CE3F733B-5FE0-EC6E-184B-A0E64B971CE0}"/>
          </ac:cxnSpMkLst>
        </pc:cxnChg>
        <pc:cxnChg chg="add mod ord replST">
          <ac:chgData name="Hänninen, Lauri" userId="b62831d1-2046-40aa-b4b7-d67e2d73afe1" providerId="ADAL" clId="{F907ACC7-C8F7-470E-B883-D49732EB787C}" dt="2024-02-21T12:43:29.464" v="28312"/>
          <ac:cxnSpMkLst>
            <pc:docMk/>
            <pc:sldMk cId="1250207495" sldId="2147483612"/>
            <ac:cxnSpMk id="54" creationId="{CAE2D1CA-96A2-1BC5-5442-49F3B25654B2}"/>
          </ac:cxnSpMkLst>
        </pc:cxnChg>
        <pc:cxnChg chg="add mod ord replST">
          <ac:chgData name="Hänninen, Lauri" userId="b62831d1-2046-40aa-b4b7-d67e2d73afe1" providerId="ADAL" clId="{F907ACC7-C8F7-470E-B883-D49732EB787C}" dt="2024-02-21T12:43:29.465" v="28314"/>
          <ac:cxnSpMkLst>
            <pc:docMk/>
            <pc:sldMk cId="1250207495" sldId="2147483612"/>
            <ac:cxnSpMk id="55" creationId="{C2D4A6B8-27E8-E478-4E7A-9C253F38A66E}"/>
          </ac:cxnSpMkLst>
        </pc:cxnChg>
        <pc:cxnChg chg="add mod ord replST">
          <ac:chgData name="Hänninen, Lauri" userId="b62831d1-2046-40aa-b4b7-d67e2d73afe1" providerId="ADAL" clId="{F907ACC7-C8F7-470E-B883-D49732EB787C}" dt="2024-02-21T12:43:29.465" v="28316"/>
          <ac:cxnSpMkLst>
            <pc:docMk/>
            <pc:sldMk cId="1250207495" sldId="2147483612"/>
            <ac:cxnSpMk id="56" creationId="{0E9DC064-0A06-3CCE-B86B-8AF459599894}"/>
          </ac:cxnSpMkLst>
        </pc:cxnChg>
        <pc:cxnChg chg="add mod ord replST">
          <ac:chgData name="Hänninen, Lauri" userId="b62831d1-2046-40aa-b4b7-d67e2d73afe1" providerId="ADAL" clId="{F907ACC7-C8F7-470E-B883-D49732EB787C}" dt="2024-02-21T12:43:29.466" v="28318"/>
          <ac:cxnSpMkLst>
            <pc:docMk/>
            <pc:sldMk cId="1250207495" sldId="2147483612"/>
            <ac:cxnSpMk id="57" creationId="{3FCD2D52-9711-65F8-FF1C-5B4AAEF6EE9F}"/>
          </ac:cxnSpMkLst>
        </pc:cxnChg>
        <pc:cxnChg chg="add mod ord replST">
          <ac:chgData name="Hänninen, Lauri" userId="b62831d1-2046-40aa-b4b7-d67e2d73afe1" providerId="ADAL" clId="{F907ACC7-C8F7-470E-B883-D49732EB787C}" dt="2024-02-21T12:43:29.466" v="28320"/>
          <ac:cxnSpMkLst>
            <pc:docMk/>
            <pc:sldMk cId="1250207495" sldId="2147483612"/>
            <ac:cxnSpMk id="58" creationId="{6F9DCD36-1591-8CC9-D260-8C35E550E14B}"/>
          </ac:cxnSpMkLst>
        </pc:cxnChg>
        <pc:cxnChg chg="del">
          <ac:chgData name="Hänninen, Lauri" userId="b62831d1-2046-40aa-b4b7-d67e2d73afe1" providerId="ADAL" clId="{F907ACC7-C8F7-470E-B883-D49732EB787C}" dt="2024-02-21T12:37:37.530" v="19479" actId="478"/>
          <ac:cxnSpMkLst>
            <pc:docMk/>
            <pc:sldMk cId="1250207495" sldId="2147483612"/>
            <ac:cxnSpMk id="59" creationId="{AC3D3624-8968-2490-A300-49E5F1BC1694}"/>
          </ac:cxnSpMkLst>
        </pc:cxnChg>
        <pc:cxnChg chg="add mod ord replST">
          <ac:chgData name="Hänninen, Lauri" userId="b62831d1-2046-40aa-b4b7-d67e2d73afe1" providerId="ADAL" clId="{F907ACC7-C8F7-470E-B883-D49732EB787C}" dt="2024-02-21T12:43:29.466" v="28322"/>
          <ac:cxnSpMkLst>
            <pc:docMk/>
            <pc:sldMk cId="1250207495" sldId="2147483612"/>
            <ac:cxnSpMk id="79" creationId="{B1B2495B-F0D9-C40F-79D0-105A1852D8B3}"/>
          </ac:cxnSpMkLst>
        </pc:cxnChg>
        <pc:cxnChg chg="add mod ord replST">
          <ac:chgData name="Hänninen, Lauri" userId="b62831d1-2046-40aa-b4b7-d67e2d73afe1" providerId="ADAL" clId="{F907ACC7-C8F7-470E-B883-D49732EB787C}" dt="2024-02-21T12:43:29.467" v="28324"/>
          <ac:cxnSpMkLst>
            <pc:docMk/>
            <pc:sldMk cId="1250207495" sldId="2147483612"/>
            <ac:cxnSpMk id="80" creationId="{C3C56690-C04E-90A4-F885-C8CB23656AFE}"/>
          </ac:cxnSpMkLst>
        </pc:cxnChg>
        <pc:cxnChg chg="del">
          <ac:chgData name="Hänninen, Lauri" userId="b62831d1-2046-40aa-b4b7-d67e2d73afe1" providerId="ADAL" clId="{F907ACC7-C8F7-470E-B883-D49732EB787C}" dt="2024-02-21T12:37:37.530" v="19479" actId="478"/>
          <ac:cxnSpMkLst>
            <pc:docMk/>
            <pc:sldMk cId="1250207495" sldId="2147483612"/>
            <ac:cxnSpMk id="100" creationId="{49033E7E-57E8-A9C6-DE60-6E2C6E44D713}"/>
          </ac:cxnSpMkLst>
        </pc:cxnChg>
        <pc:cxnChg chg="del">
          <ac:chgData name="Hänninen, Lauri" userId="b62831d1-2046-40aa-b4b7-d67e2d73afe1" providerId="ADAL" clId="{F907ACC7-C8F7-470E-B883-D49732EB787C}" dt="2024-02-21T12:37:37.530" v="19479" actId="478"/>
          <ac:cxnSpMkLst>
            <pc:docMk/>
            <pc:sldMk cId="1250207495" sldId="2147483612"/>
            <ac:cxnSpMk id="101" creationId="{2938C6D6-F09A-07BE-70D5-27C66363F45F}"/>
          </ac:cxnSpMkLst>
        </pc:cxnChg>
        <pc:cxnChg chg="del">
          <ac:chgData name="Hänninen, Lauri" userId="b62831d1-2046-40aa-b4b7-d67e2d73afe1" providerId="ADAL" clId="{F907ACC7-C8F7-470E-B883-D49732EB787C}" dt="2024-02-21T12:37:37.530" v="19479" actId="478"/>
          <ac:cxnSpMkLst>
            <pc:docMk/>
            <pc:sldMk cId="1250207495" sldId="2147483612"/>
            <ac:cxnSpMk id="102" creationId="{A8FE5DA9-D619-140C-8B01-D6C642827DC7}"/>
          </ac:cxnSpMkLst>
        </pc:cxnChg>
        <pc:cxnChg chg="del">
          <ac:chgData name="Hänninen, Lauri" userId="b62831d1-2046-40aa-b4b7-d67e2d73afe1" providerId="ADAL" clId="{F907ACC7-C8F7-470E-B883-D49732EB787C}" dt="2024-02-21T12:37:37.530" v="19479" actId="478"/>
          <ac:cxnSpMkLst>
            <pc:docMk/>
            <pc:sldMk cId="1250207495" sldId="2147483612"/>
            <ac:cxnSpMk id="103" creationId="{056D4BED-57A2-12B0-7C6C-F143481E5564}"/>
          </ac:cxnSpMkLst>
        </pc:cxnChg>
        <pc:cxnChg chg="del">
          <ac:chgData name="Hänninen, Lauri" userId="b62831d1-2046-40aa-b4b7-d67e2d73afe1" providerId="ADAL" clId="{F907ACC7-C8F7-470E-B883-D49732EB787C}" dt="2024-02-21T12:37:37.530" v="19479" actId="478"/>
          <ac:cxnSpMkLst>
            <pc:docMk/>
            <pc:sldMk cId="1250207495" sldId="2147483612"/>
            <ac:cxnSpMk id="104" creationId="{07E1602F-7209-CE9E-A8FB-F621A3F3F981}"/>
          </ac:cxnSpMkLst>
        </pc:cxnChg>
        <pc:cxnChg chg="del">
          <ac:chgData name="Hänninen, Lauri" userId="b62831d1-2046-40aa-b4b7-d67e2d73afe1" providerId="ADAL" clId="{F907ACC7-C8F7-470E-B883-D49732EB787C}" dt="2024-02-21T12:37:37.530" v="19479" actId="478"/>
          <ac:cxnSpMkLst>
            <pc:docMk/>
            <pc:sldMk cId="1250207495" sldId="2147483612"/>
            <ac:cxnSpMk id="105" creationId="{61F3BE8C-4418-EB86-F1A6-8874747115E5}"/>
          </ac:cxnSpMkLst>
        </pc:cxnChg>
        <pc:cxnChg chg="del">
          <ac:chgData name="Hänninen, Lauri" userId="b62831d1-2046-40aa-b4b7-d67e2d73afe1" providerId="ADAL" clId="{F907ACC7-C8F7-470E-B883-D49732EB787C}" dt="2024-02-21T12:37:37.530" v="19479" actId="478"/>
          <ac:cxnSpMkLst>
            <pc:docMk/>
            <pc:sldMk cId="1250207495" sldId="2147483612"/>
            <ac:cxnSpMk id="106" creationId="{9374FECC-0DD8-7DE9-373A-00F58E0A94B5}"/>
          </ac:cxnSpMkLst>
        </pc:cxnChg>
        <pc:cxnChg chg="del">
          <ac:chgData name="Hänninen, Lauri" userId="b62831d1-2046-40aa-b4b7-d67e2d73afe1" providerId="ADAL" clId="{F907ACC7-C8F7-470E-B883-D49732EB787C}" dt="2024-02-21T12:37:37.530" v="19479" actId="478"/>
          <ac:cxnSpMkLst>
            <pc:docMk/>
            <pc:sldMk cId="1250207495" sldId="2147483612"/>
            <ac:cxnSpMk id="108" creationId="{4FE5BF6C-782A-164D-BBB4-67F392D72B5E}"/>
          </ac:cxnSpMkLst>
        </pc:cxnChg>
        <pc:cxnChg chg="del">
          <ac:chgData name="Hänninen, Lauri" userId="b62831d1-2046-40aa-b4b7-d67e2d73afe1" providerId="ADAL" clId="{F907ACC7-C8F7-470E-B883-D49732EB787C}" dt="2024-02-21T12:37:37.530" v="19479" actId="478"/>
          <ac:cxnSpMkLst>
            <pc:docMk/>
            <pc:sldMk cId="1250207495" sldId="2147483612"/>
            <ac:cxnSpMk id="116" creationId="{DD99C2D7-36CC-3088-5268-65C2090F205A}"/>
          </ac:cxnSpMkLst>
        </pc:cxnChg>
        <pc:cxnChg chg="del">
          <ac:chgData name="Hänninen, Lauri" userId="b62831d1-2046-40aa-b4b7-d67e2d73afe1" providerId="ADAL" clId="{F907ACC7-C8F7-470E-B883-D49732EB787C}" dt="2024-02-21T12:37:37.530" v="19479" actId="478"/>
          <ac:cxnSpMkLst>
            <pc:docMk/>
            <pc:sldMk cId="1250207495" sldId="2147483612"/>
            <ac:cxnSpMk id="159" creationId="{89B48A68-4235-033C-2140-27B706436590}"/>
          </ac:cxnSpMkLst>
        </pc:cxnChg>
        <pc:cxnChg chg="add mod ord replST">
          <ac:chgData name="Hänninen, Lauri" userId="b62831d1-2046-40aa-b4b7-d67e2d73afe1" providerId="ADAL" clId="{F907ACC7-C8F7-470E-B883-D49732EB787C}" dt="2024-02-21T12:43:29.467" v="28326"/>
          <ac:cxnSpMkLst>
            <pc:docMk/>
            <pc:sldMk cId="1250207495" sldId="2147483612"/>
            <ac:cxnSpMk id="167" creationId="{E2021158-26D7-3555-5ED4-AB86BD52BC30}"/>
          </ac:cxnSpMkLst>
        </pc:cxnChg>
        <pc:cxnChg chg="add mod ord replST">
          <ac:chgData name="Hänninen, Lauri" userId="b62831d1-2046-40aa-b4b7-d67e2d73afe1" providerId="ADAL" clId="{F907ACC7-C8F7-470E-B883-D49732EB787C}" dt="2024-02-21T12:43:29.467" v="28328"/>
          <ac:cxnSpMkLst>
            <pc:docMk/>
            <pc:sldMk cId="1250207495" sldId="2147483612"/>
            <ac:cxnSpMk id="168" creationId="{FEA8F081-1E2B-7F4F-46E1-E7FAC08DFB19}"/>
          </ac:cxnSpMkLst>
        </pc:cxnChg>
      </pc:sldChg>
      <pc:sldChg chg="modSp add mod">
        <pc:chgData name="Hänninen, Lauri" userId="b62831d1-2046-40aa-b4b7-d67e2d73afe1" providerId="ADAL" clId="{F907ACC7-C8F7-470E-B883-D49732EB787C}" dt="2024-02-22T08:44:33.052" v="33123" actId="14100"/>
        <pc:sldMkLst>
          <pc:docMk/>
          <pc:sldMk cId="3264993228" sldId="2147483612"/>
        </pc:sldMkLst>
        <pc:spChg chg="mod">
          <ac:chgData name="Hänninen, Lauri" userId="b62831d1-2046-40aa-b4b7-d67e2d73afe1" providerId="ADAL" clId="{F907ACC7-C8F7-470E-B883-D49732EB787C}" dt="2024-02-22T08:44:33.052" v="33123" actId="14100"/>
          <ac:spMkLst>
            <pc:docMk/>
            <pc:sldMk cId="3264993228" sldId="2147483612"/>
            <ac:spMk id="5" creationId="{5F43F86A-EE19-5783-47DD-51DBCADCF320}"/>
          </ac:spMkLst>
        </pc:spChg>
      </pc:sldChg>
      <pc:sldChg chg="addSp delSp modSp new mod modClrScheme chgLayout">
        <pc:chgData name="Hänninen, Lauri" userId="b62831d1-2046-40aa-b4b7-d67e2d73afe1" providerId="ADAL" clId="{F907ACC7-C8F7-470E-B883-D49732EB787C}" dt="2024-02-23T10:58:58.714" v="42471" actId="20577"/>
        <pc:sldMkLst>
          <pc:docMk/>
          <pc:sldMk cId="643489597" sldId="2147483613"/>
        </pc:sldMkLst>
        <pc:spChg chg="mod ord">
          <ac:chgData name="Hänninen, Lauri" userId="b62831d1-2046-40aa-b4b7-d67e2d73afe1" providerId="ADAL" clId="{F907ACC7-C8F7-470E-B883-D49732EB787C}" dt="2024-02-21T14:38:43.283" v="29222" actId="700"/>
          <ac:spMkLst>
            <pc:docMk/>
            <pc:sldMk cId="643489597" sldId="2147483613"/>
            <ac:spMk id="2" creationId="{B4D5740A-3F4B-C954-5A78-CEDC078BD8A1}"/>
          </ac:spMkLst>
        </pc:spChg>
        <pc:spChg chg="mod ord">
          <ac:chgData name="Hänninen, Lauri" userId="b62831d1-2046-40aa-b4b7-d67e2d73afe1" providerId="ADAL" clId="{F907ACC7-C8F7-470E-B883-D49732EB787C}" dt="2024-02-21T14:38:43.283" v="29222" actId="700"/>
          <ac:spMkLst>
            <pc:docMk/>
            <pc:sldMk cId="643489597" sldId="2147483613"/>
            <ac:spMk id="3" creationId="{D02E9E0D-C3A2-3BCA-49D1-1C99FE1964BD}"/>
          </ac:spMkLst>
        </pc:spChg>
        <pc:spChg chg="mod ord">
          <ac:chgData name="Hänninen, Lauri" userId="b62831d1-2046-40aa-b4b7-d67e2d73afe1" providerId="ADAL" clId="{F907ACC7-C8F7-470E-B883-D49732EB787C}" dt="2024-02-21T14:38:43.283" v="29222" actId="700"/>
          <ac:spMkLst>
            <pc:docMk/>
            <pc:sldMk cId="643489597" sldId="2147483613"/>
            <ac:spMk id="4" creationId="{79834DB1-6513-DE89-4252-1FA85E557C2E}"/>
          </ac:spMkLst>
        </pc:spChg>
        <pc:spChg chg="del mod ord">
          <ac:chgData name="Hänninen, Lauri" userId="b62831d1-2046-40aa-b4b7-d67e2d73afe1" providerId="ADAL" clId="{F907ACC7-C8F7-470E-B883-D49732EB787C}" dt="2024-02-21T14:38:43.283" v="29222" actId="700"/>
          <ac:spMkLst>
            <pc:docMk/>
            <pc:sldMk cId="643489597" sldId="2147483613"/>
            <ac:spMk id="5" creationId="{AF06E8C4-7F3A-18F4-D44B-940310B6DFFF}"/>
          </ac:spMkLst>
        </pc:spChg>
        <pc:spChg chg="del">
          <ac:chgData name="Hänninen, Lauri" userId="b62831d1-2046-40aa-b4b7-d67e2d73afe1" providerId="ADAL" clId="{F907ACC7-C8F7-470E-B883-D49732EB787C}" dt="2024-02-21T14:38:43.283" v="29222" actId="700"/>
          <ac:spMkLst>
            <pc:docMk/>
            <pc:sldMk cId="643489597" sldId="2147483613"/>
            <ac:spMk id="6" creationId="{C6F247AF-051C-29BD-A645-264EC230B4D8}"/>
          </ac:spMkLst>
        </pc:spChg>
        <pc:spChg chg="del">
          <ac:chgData name="Hänninen, Lauri" userId="b62831d1-2046-40aa-b4b7-d67e2d73afe1" providerId="ADAL" clId="{F907ACC7-C8F7-470E-B883-D49732EB787C}" dt="2024-02-21T14:38:43.283" v="29222" actId="700"/>
          <ac:spMkLst>
            <pc:docMk/>
            <pc:sldMk cId="643489597" sldId="2147483613"/>
            <ac:spMk id="7" creationId="{42F82ADC-2F21-00BF-55E4-34350273AAD9}"/>
          </ac:spMkLst>
        </pc:spChg>
        <pc:spChg chg="add mod ord">
          <ac:chgData name="Hänninen, Lauri" userId="b62831d1-2046-40aa-b4b7-d67e2d73afe1" providerId="ADAL" clId="{F907ACC7-C8F7-470E-B883-D49732EB787C}" dt="2024-02-23T10:58:58.714" v="42471" actId="20577"/>
          <ac:spMkLst>
            <pc:docMk/>
            <pc:sldMk cId="643489597" sldId="2147483613"/>
            <ac:spMk id="8" creationId="{B7D8C3E2-37A0-C53F-D7ED-A1EBBE495C04}"/>
          </ac:spMkLst>
        </pc:spChg>
      </pc:sldChg>
      <pc:sldChg chg="add">
        <pc:chgData name="Hänninen, Lauri" userId="b62831d1-2046-40aa-b4b7-d67e2d73afe1" providerId="ADAL" clId="{F907ACC7-C8F7-470E-B883-D49732EB787C}" dt="2024-02-21T15:35:56.978" v="30631"/>
        <pc:sldMkLst>
          <pc:docMk/>
          <pc:sldMk cId="934607398" sldId="2147483614"/>
        </pc:sldMkLst>
      </pc:sldChg>
      <pc:sldChg chg="add del">
        <pc:chgData name="Hänninen, Lauri" userId="b62831d1-2046-40aa-b4b7-d67e2d73afe1" providerId="ADAL" clId="{F907ACC7-C8F7-470E-B883-D49732EB787C}" dt="2024-02-21T15:35:54.961" v="30630" actId="2696"/>
        <pc:sldMkLst>
          <pc:docMk/>
          <pc:sldMk cId="1258364764" sldId="2147483614"/>
        </pc:sldMkLst>
      </pc:sldChg>
      <pc:sldChg chg="addSp modSp mod">
        <pc:chgData name="Hänninen, Lauri" userId="b62831d1-2046-40aa-b4b7-d67e2d73afe1" providerId="ADAL" clId="{F907ACC7-C8F7-470E-B883-D49732EB787C}" dt="2024-02-22T11:41:28.702" v="42325" actId="14100"/>
        <pc:sldMkLst>
          <pc:docMk/>
          <pc:sldMk cId="4171510167" sldId="2147483615"/>
        </pc:sldMkLst>
        <pc:spChg chg="add mod ord">
          <ac:chgData name="Hänninen, Lauri" userId="b62831d1-2046-40aa-b4b7-d67e2d73afe1" providerId="ADAL" clId="{F907ACC7-C8F7-470E-B883-D49732EB787C}" dt="2024-02-22T11:41:28.702" v="42325" actId="14100"/>
          <ac:spMkLst>
            <pc:docMk/>
            <pc:sldMk cId="4171510167" sldId="2147483615"/>
            <ac:spMk id="3" creationId="{CE6D7F85-4B84-4762-35B1-BBD3A5BC1CA4}"/>
          </ac:spMkLst>
        </pc:spChg>
        <pc:spChg chg="mod">
          <ac:chgData name="Hänninen, Lauri" userId="b62831d1-2046-40aa-b4b7-d67e2d73afe1" providerId="ADAL" clId="{F907ACC7-C8F7-470E-B883-D49732EB787C}" dt="2024-02-22T11:40:41.354" v="42313"/>
          <ac:spMkLst>
            <pc:docMk/>
            <pc:sldMk cId="4171510167" sldId="2147483615"/>
            <ac:spMk id="4" creationId="{633ECCD7-5A12-2D5F-ECF9-6850D555853D}"/>
          </ac:spMkLst>
        </pc:spChg>
        <pc:spChg chg="mod">
          <ac:chgData name="Hänninen, Lauri" userId="b62831d1-2046-40aa-b4b7-d67e2d73afe1" providerId="ADAL" clId="{F907ACC7-C8F7-470E-B883-D49732EB787C}" dt="2024-02-22T11:40:41.286" v="42214"/>
          <ac:spMkLst>
            <pc:docMk/>
            <pc:sldMk cId="4171510167" sldId="2147483615"/>
            <ac:spMk id="5" creationId="{A4660A33-27AF-DEBC-F888-EF057A63D71F}"/>
          </ac:spMkLst>
        </pc:spChg>
        <pc:spChg chg="mod ord">
          <ac:chgData name="Hänninen, Lauri" userId="b62831d1-2046-40aa-b4b7-d67e2d73afe1" providerId="ADAL" clId="{F907ACC7-C8F7-470E-B883-D49732EB787C}" dt="2024-02-22T11:40:41.355" v="42315"/>
          <ac:spMkLst>
            <pc:docMk/>
            <pc:sldMk cId="4171510167" sldId="2147483615"/>
            <ac:spMk id="6" creationId="{13E6FFAC-361A-B3F7-753C-F9A7A1AA495B}"/>
          </ac:spMkLst>
        </pc:spChg>
        <pc:spChg chg="mod ord">
          <ac:chgData name="Hänninen, Lauri" userId="b62831d1-2046-40aa-b4b7-d67e2d73afe1" providerId="ADAL" clId="{F907ACC7-C8F7-470E-B883-D49732EB787C}" dt="2024-02-22T11:40:41.357" v="42317"/>
          <ac:spMkLst>
            <pc:docMk/>
            <pc:sldMk cId="4171510167" sldId="2147483615"/>
            <ac:spMk id="8" creationId="{73A561AA-3BCF-7AF9-EB7E-4348AAAB7585}"/>
          </ac:spMkLst>
        </pc:spChg>
        <pc:spChg chg="mod ord">
          <ac:chgData name="Hänninen, Lauri" userId="b62831d1-2046-40aa-b4b7-d67e2d73afe1" providerId="ADAL" clId="{F907ACC7-C8F7-470E-B883-D49732EB787C}" dt="2024-02-22T11:40:45.986" v="42324" actId="14100"/>
          <ac:spMkLst>
            <pc:docMk/>
            <pc:sldMk cId="4171510167" sldId="2147483615"/>
            <ac:spMk id="9" creationId="{66B8C03E-EBD5-0B65-75E3-896333E980A3}"/>
          </ac:spMkLst>
        </pc:spChg>
        <pc:spChg chg="mod ord">
          <ac:chgData name="Hänninen, Lauri" userId="b62831d1-2046-40aa-b4b7-d67e2d73afe1" providerId="ADAL" clId="{F907ACC7-C8F7-470E-B883-D49732EB787C}" dt="2024-02-22T11:40:41.283" v="42213"/>
          <ac:spMkLst>
            <pc:docMk/>
            <pc:sldMk cId="4171510167" sldId="2147483615"/>
            <ac:spMk id="20" creationId="{00000000-0000-0000-0000-000000000000}"/>
          </ac:spMkLst>
        </pc:spChg>
        <pc:spChg chg="mod ord">
          <ac:chgData name="Hänninen, Lauri" userId="b62831d1-2046-40aa-b4b7-d67e2d73afe1" providerId="ADAL" clId="{F907ACC7-C8F7-470E-B883-D49732EB787C}" dt="2024-02-22T11:40:41.283" v="42211"/>
          <ac:spMkLst>
            <pc:docMk/>
            <pc:sldMk cId="4171510167" sldId="2147483615"/>
            <ac:spMk id="23" creationId="{00000000-0000-0000-0000-000000000000}"/>
          </ac:spMkLst>
        </pc:spChg>
        <pc:spChg chg="mod ord">
          <ac:chgData name="Hänninen, Lauri" userId="b62831d1-2046-40aa-b4b7-d67e2d73afe1" providerId="ADAL" clId="{F907ACC7-C8F7-470E-B883-D49732EB787C}" dt="2024-02-22T11:40:41.293" v="42226"/>
          <ac:spMkLst>
            <pc:docMk/>
            <pc:sldMk cId="4171510167" sldId="2147483615"/>
            <ac:spMk id="39" creationId="{B6ECE51B-363E-6B9F-DAA5-996829DE6EA0}"/>
          </ac:spMkLst>
        </pc:spChg>
        <pc:spChg chg="mod ord">
          <ac:chgData name="Hänninen, Lauri" userId="b62831d1-2046-40aa-b4b7-d67e2d73afe1" providerId="ADAL" clId="{F907ACC7-C8F7-470E-B883-D49732EB787C}" dt="2024-02-22T11:40:41.295" v="42228"/>
          <ac:spMkLst>
            <pc:docMk/>
            <pc:sldMk cId="4171510167" sldId="2147483615"/>
            <ac:spMk id="40" creationId="{907DE964-C6BF-7FD3-7A98-95DC17AE1E7D}"/>
          </ac:spMkLst>
        </pc:spChg>
        <pc:spChg chg="mod ord">
          <ac:chgData name="Hänninen, Lauri" userId="b62831d1-2046-40aa-b4b7-d67e2d73afe1" providerId="ADAL" clId="{F907ACC7-C8F7-470E-B883-D49732EB787C}" dt="2024-02-22T11:40:41.296" v="42230"/>
          <ac:spMkLst>
            <pc:docMk/>
            <pc:sldMk cId="4171510167" sldId="2147483615"/>
            <ac:spMk id="41" creationId="{7906A662-6B8D-BCCB-A047-4B7AEBCF9D8C}"/>
          </ac:spMkLst>
        </pc:spChg>
        <pc:spChg chg="mod ord">
          <ac:chgData name="Hänninen, Lauri" userId="b62831d1-2046-40aa-b4b7-d67e2d73afe1" providerId="ADAL" clId="{F907ACC7-C8F7-470E-B883-D49732EB787C}" dt="2024-02-22T11:40:41.297" v="42232"/>
          <ac:spMkLst>
            <pc:docMk/>
            <pc:sldMk cId="4171510167" sldId="2147483615"/>
            <ac:spMk id="44" creationId="{A577934E-16C3-A4F0-53A2-00FA34E8D5F8}"/>
          </ac:spMkLst>
        </pc:spChg>
        <pc:spChg chg="mod ord">
          <ac:chgData name="Hänninen, Lauri" userId="b62831d1-2046-40aa-b4b7-d67e2d73afe1" providerId="ADAL" clId="{F907ACC7-C8F7-470E-B883-D49732EB787C}" dt="2024-02-22T11:40:41.298" v="42234"/>
          <ac:spMkLst>
            <pc:docMk/>
            <pc:sldMk cId="4171510167" sldId="2147483615"/>
            <ac:spMk id="64" creationId="{8343C1B7-4CA0-DE93-0FE0-052E1F86A6C2}"/>
          </ac:spMkLst>
        </pc:spChg>
        <pc:spChg chg="mod ord">
          <ac:chgData name="Hänninen, Lauri" userId="b62831d1-2046-40aa-b4b7-d67e2d73afe1" providerId="ADAL" clId="{F907ACC7-C8F7-470E-B883-D49732EB787C}" dt="2024-02-22T11:40:41.306" v="42245"/>
          <ac:spMkLst>
            <pc:docMk/>
            <pc:sldMk cId="4171510167" sldId="2147483615"/>
            <ac:spMk id="69" creationId="{FBC7C7BB-9BB0-FE9C-70C4-BCCF04721B3D}"/>
          </ac:spMkLst>
        </pc:spChg>
        <pc:spChg chg="mod">
          <ac:chgData name="Hänninen, Lauri" userId="b62831d1-2046-40aa-b4b7-d67e2d73afe1" providerId="ADAL" clId="{F907ACC7-C8F7-470E-B883-D49732EB787C}" dt="2024-02-22T11:40:41.305" v="42243"/>
          <ac:spMkLst>
            <pc:docMk/>
            <pc:sldMk cId="4171510167" sldId="2147483615"/>
            <ac:spMk id="71" creationId="{E775E5E1-5713-8690-FBCA-EB63877B6750}"/>
          </ac:spMkLst>
        </pc:spChg>
        <pc:spChg chg="mod ord">
          <ac:chgData name="Hänninen, Lauri" userId="b62831d1-2046-40aa-b4b7-d67e2d73afe1" providerId="ADAL" clId="{F907ACC7-C8F7-470E-B883-D49732EB787C}" dt="2024-02-22T11:40:41.290" v="42222"/>
          <ac:spMkLst>
            <pc:docMk/>
            <pc:sldMk cId="4171510167" sldId="2147483615"/>
            <ac:spMk id="73" creationId="{A50EF969-4B65-582B-8E6B-AF67E0EDA4F8}"/>
          </ac:spMkLst>
        </pc:spChg>
        <pc:spChg chg="mod ord">
          <ac:chgData name="Hänninen, Lauri" userId="b62831d1-2046-40aa-b4b7-d67e2d73afe1" providerId="ADAL" clId="{F907ACC7-C8F7-470E-B883-D49732EB787C}" dt="2024-02-22T11:40:41.300" v="42237"/>
          <ac:spMkLst>
            <pc:docMk/>
            <pc:sldMk cId="4171510167" sldId="2147483615"/>
            <ac:spMk id="75" creationId="{49D02EC1-497C-7B2F-145D-B5705EF6E085}"/>
          </ac:spMkLst>
        </pc:spChg>
        <pc:spChg chg="mod ord">
          <ac:chgData name="Hänninen, Lauri" userId="b62831d1-2046-40aa-b4b7-d67e2d73afe1" providerId="ADAL" clId="{F907ACC7-C8F7-470E-B883-D49732EB787C}" dt="2024-02-22T11:40:41.308" v="42247"/>
          <ac:spMkLst>
            <pc:docMk/>
            <pc:sldMk cId="4171510167" sldId="2147483615"/>
            <ac:spMk id="77" creationId="{FF07228E-72ED-A2E8-20BF-E0322E73853A}"/>
          </ac:spMkLst>
        </pc:spChg>
        <pc:spChg chg="mod">
          <ac:chgData name="Hänninen, Lauri" userId="b62831d1-2046-40aa-b4b7-d67e2d73afe1" providerId="ADAL" clId="{F907ACC7-C8F7-470E-B883-D49732EB787C}" dt="2024-02-22T11:40:41.299" v="42235"/>
          <ac:spMkLst>
            <pc:docMk/>
            <pc:sldMk cId="4171510167" sldId="2147483615"/>
            <ac:spMk id="79" creationId="{B6C87280-E871-275A-FF11-F80A2D882532}"/>
          </ac:spMkLst>
        </pc:spChg>
        <pc:spChg chg="mod">
          <ac:chgData name="Hänninen, Lauri" userId="b62831d1-2046-40aa-b4b7-d67e2d73afe1" providerId="ADAL" clId="{F907ACC7-C8F7-470E-B883-D49732EB787C}" dt="2024-02-22T11:40:41.326" v="42277"/>
          <ac:spMkLst>
            <pc:docMk/>
            <pc:sldMk cId="4171510167" sldId="2147483615"/>
            <ac:spMk id="80" creationId="{8EA44671-9873-14CD-396E-AD4115072F16}"/>
          </ac:spMkLst>
        </pc:spChg>
        <pc:spChg chg="mod">
          <ac:chgData name="Hänninen, Lauri" userId="b62831d1-2046-40aa-b4b7-d67e2d73afe1" providerId="ADAL" clId="{F907ACC7-C8F7-470E-B883-D49732EB787C}" dt="2024-02-22T11:40:41.326" v="42276"/>
          <ac:spMkLst>
            <pc:docMk/>
            <pc:sldMk cId="4171510167" sldId="2147483615"/>
            <ac:spMk id="81" creationId="{BE7DD53F-1D19-F231-9B5A-E3A2EB3503B7}"/>
          </ac:spMkLst>
        </pc:spChg>
        <pc:spChg chg="mod ord">
          <ac:chgData name="Hänninen, Lauri" userId="b62831d1-2046-40aa-b4b7-d67e2d73afe1" providerId="ADAL" clId="{F907ACC7-C8F7-470E-B883-D49732EB787C}" dt="2024-02-22T11:40:41.301" v="42239"/>
          <ac:spMkLst>
            <pc:docMk/>
            <pc:sldMk cId="4171510167" sldId="2147483615"/>
            <ac:spMk id="82" creationId="{C9C52679-1A3D-1418-4B07-2307A4E733BA}"/>
          </ac:spMkLst>
        </pc:spChg>
        <pc:spChg chg="mod">
          <ac:chgData name="Hänninen, Lauri" userId="b62831d1-2046-40aa-b4b7-d67e2d73afe1" providerId="ADAL" clId="{F907ACC7-C8F7-470E-B883-D49732EB787C}" dt="2024-02-22T11:40:41.327" v="42278"/>
          <ac:spMkLst>
            <pc:docMk/>
            <pc:sldMk cId="4171510167" sldId="2147483615"/>
            <ac:spMk id="84" creationId="{177281A7-5556-E5E1-C2B2-10579B1BC460}"/>
          </ac:spMkLst>
        </pc:spChg>
        <pc:spChg chg="mod ord">
          <ac:chgData name="Hänninen, Lauri" userId="b62831d1-2046-40aa-b4b7-d67e2d73afe1" providerId="ADAL" clId="{F907ACC7-C8F7-470E-B883-D49732EB787C}" dt="2024-02-22T11:40:41.282" v="42209"/>
          <ac:spMkLst>
            <pc:docMk/>
            <pc:sldMk cId="4171510167" sldId="2147483615"/>
            <ac:spMk id="97" creationId="{9DF0CE66-3057-405D-312C-4FFFD4F03417}"/>
          </ac:spMkLst>
        </pc:spChg>
        <pc:spChg chg="mod">
          <ac:chgData name="Hänninen, Lauri" userId="b62831d1-2046-40aa-b4b7-d67e2d73afe1" providerId="ADAL" clId="{F907ACC7-C8F7-470E-B883-D49732EB787C}" dt="2024-02-22T11:40:41.354" v="42312"/>
          <ac:spMkLst>
            <pc:docMk/>
            <pc:sldMk cId="4171510167" sldId="2147483615"/>
            <ac:spMk id="109" creationId="{8D66650D-4A93-8801-556C-0B31EE2DDF7A}"/>
          </ac:spMkLst>
        </pc:spChg>
        <pc:spChg chg="mod ord">
          <ac:chgData name="Hänninen, Lauri" userId="b62831d1-2046-40aa-b4b7-d67e2d73afe1" providerId="ADAL" clId="{F907ACC7-C8F7-470E-B883-D49732EB787C}" dt="2024-02-22T11:40:41.288" v="42218"/>
          <ac:spMkLst>
            <pc:docMk/>
            <pc:sldMk cId="4171510167" sldId="2147483615"/>
            <ac:spMk id="1087" creationId="{A9811922-0425-B20C-5CB6-5E15F57DA33D}"/>
          </ac:spMkLst>
        </pc:spChg>
        <pc:grpChg chg="mod ord">
          <ac:chgData name="Hänninen, Lauri" userId="b62831d1-2046-40aa-b4b7-d67e2d73afe1" providerId="ADAL" clId="{F907ACC7-C8F7-470E-B883-D49732EB787C}" dt="2024-02-22T11:40:41.291" v="42224"/>
          <ac:grpSpMkLst>
            <pc:docMk/>
            <pc:sldMk cId="4171510167" sldId="2147483615"/>
            <ac:grpSpMk id="2" creationId="{0FFBC4EA-61E4-7F05-7283-85E4590FBE37}"/>
          </ac:grpSpMkLst>
        </pc:grpChg>
        <pc:grpChg chg="mod">
          <ac:chgData name="Hänninen, Lauri" userId="b62831d1-2046-40aa-b4b7-d67e2d73afe1" providerId="ADAL" clId="{F907ACC7-C8F7-470E-B883-D49732EB787C}" dt="2024-02-22T11:40:41.324" v="42274"/>
          <ac:grpSpMkLst>
            <pc:docMk/>
            <pc:sldMk cId="4171510167" sldId="2147483615"/>
            <ac:grpSpMk id="92" creationId="{9D84AA0C-9590-C8C1-9CED-972A9DB30C08}"/>
          </ac:grpSpMkLst>
        </pc:grpChg>
        <pc:grpChg chg="mod">
          <ac:chgData name="Hänninen, Lauri" userId="b62831d1-2046-40aa-b4b7-d67e2d73afe1" providerId="ADAL" clId="{F907ACC7-C8F7-470E-B883-D49732EB787C}" dt="2024-02-22T11:40:41.325" v="42275"/>
          <ac:grpSpMkLst>
            <pc:docMk/>
            <pc:sldMk cId="4171510167" sldId="2147483615"/>
            <ac:grpSpMk id="93" creationId="{6A831E64-22BE-C1BB-08E7-C510A69364BB}"/>
          </ac:grpSpMkLst>
        </pc:grpChg>
        <pc:grpChg chg="mod">
          <ac:chgData name="Hänninen, Lauri" userId="b62831d1-2046-40aa-b4b7-d67e2d73afe1" providerId="ADAL" clId="{F907ACC7-C8F7-470E-B883-D49732EB787C}" dt="2024-02-22T11:40:41.324" v="42273"/>
          <ac:grpSpMkLst>
            <pc:docMk/>
            <pc:sldMk cId="4171510167" sldId="2147483615"/>
            <ac:grpSpMk id="1271" creationId="{963873F5-0832-4334-B96D-602583809DE5}"/>
          </ac:grpSpMkLst>
        </pc:grpChg>
        <pc:graphicFrameChg chg="mod ord">
          <ac:chgData name="Hänninen, Lauri" userId="b62831d1-2046-40aa-b4b7-d67e2d73afe1" providerId="ADAL" clId="{F907ACC7-C8F7-470E-B883-D49732EB787C}" dt="2024-02-22T11:40:41.329" v="42280"/>
          <ac:graphicFrameMkLst>
            <pc:docMk/>
            <pc:sldMk cId="4171510167" sldId="2147483615"/>
            <ac:graphicFrameMk id="13" creationId="{034AEA76-5AE2-01DD-180F-8BA7BC68C55D}"/>
          </ac:graphicFrameMkLst>
        </pc:graphicFrameChg>
        <pc:graphicFrameChg chg="mod ord">
          <ac:chgData name="Hänninen, Lauri" userId="b62831d1-2046-40aa-b4b7-d67e2d73afe1" providerId="ADAL" clId="{F907ACC7-C8F7-470E-B883-D49732EB787C}" dt="2024-02-22T11:40:41.330" v="42282"/>
          <ac:graphicFrameMkLst>
            <pc:docMk/>
            <pc:sldMk cId="4171510167" sldId="2147483615"/>
            <ac:graphicFrameMk id="15" creationId="{3B1F5321-C599-3836-CEFC-2D505ADE8D48}"/>
          </ac:graphicFrameMkLst>
        </pc:graphicFrameChg>
        <pc:graphicFrameChg chg="mod">
          <ac:chgData name="Hänninen, Lauri" userId="b62831d1-2046-40aa-b4b7-d67e2d73afe1" providerId="ADAL" clId="{F907ACC7-C8F7-470E-B883-D49732EB787C}" dt="2024-02-22T11:40:41.380" v="42323"/>
          <ac:graphicFrameMkLst>
            <pc:docMk/>
            <pc:sldMk cId="4171510167" sldId="2147483615"/>
            <ac:graphicFrameMk id="24" creationId="{00000000-0000-0000-0000-000000000000}"/>
          </ac:graphicFrameMkLst>
        </pc:graphicFrameChg>
        <pc:picChg chg="mod">
          <ac:chgData name="Hänninen, Lauri" userId="b62831d1-2046-40aa-b4b7-d67e2d73afe1" providerId="ADAL" clId="{F907ACC7-C8F7-470E-B883-D49732EB787C}" dt="2024-02-22T11:40:41.331" v="42283"/>
          <ac:picMkLst>
            <pc:docMk/>
            <pc:sldMk cId="4171510167" sldId="2147483615"/>
            <ac:picMk id="18" creationId="{A9B26D04-B5F6-23B8-2CE4-1C8F80A20AAE}"/>
          </ac:picMkLst>
        </pc:picChg>
        <pc:picChg chg="mod">
          <ac:chgData name="Hänninen, Lauri" userId="b62831d1-2046-40aa-b4b7-d67e2d73afe1" providerId="ADAL" clId="{F907ACC7-C8F7-470E-B883-D49732EB787C}" dt="2024-02-22T11:40:41.332" v="42284"/>
          <ac:picMkLst>
            <pc:docMk/>
            <pc:sldMk cId="4171510167" sldId="2147483615"/>
            <ac:picMk id="22" creationId="{75112055-35FD-70CB-06F7-9C2BB0380330}"/>
          </ac:picMkLst>
        </pc:picChg>
        <pc:picChg chg="mod">
          <ac:chgData name="Hänninen, Lauri" userId="b62831d1-2046-40aa-b4b7-d67e2d73afe1" providerId="ADAL" clId="{F907ACC7-C8F7-470E-B883-D49732EB787C}" dt="2024-02-22T11:40:41.333" v="42285"/>
          <ac:picMkLst>
            <pc:docMk/>
            <pc:sldMk cId="4171510167" sldId="2147483615"/>
            <ac:picMk id="25" creationId="{18B419F6-765A-1096-5F99-965937FAEBD2}"/>
          </ac:picMkLst>
        </pc:picChg>
        <pc:picChg chg="mod">
          <ac:chgData name="Hänninen, Lauri" userId="b62831d1-2046-40aa-b4b7-d67e2d73afe1" providerId="ADAL" clId="{F907ACC7-C8F7-470E-B883-D49732EB787C}" dt="2024-02-22T11:40:41.334" v="42286"/>
          <ac:picMkLst>
            <pc:docMk/>
            <pc:sldMk cId="4171510167" sldId="2147483615"/>
            <ac:picMk id="27" creationId="{2DD46412-CC92-7A36-A651-963F75BDB18F}"/>
          </ac:picMkLst>
        </pc:picChg>
        <pc:picChg chg="mod">
          <ac:chgData name="Hänninen, Lauri" userId="b62831d1-2046-40aa-b4b7-d67e2d73afe1" providerId="ADAL" clId="{F907ACC7-C8F7-470E-B883-D49732EB787C}" dt="2024-02-22T11:40:41.334" v="42287"/>
          <ac:picMkLst>
            <pc:docMk/>
            <pc:sldMk cId="4171510167" sldId="2147483615"/>
            <ac:picMk id="29" creationId="{1602B96D-0128-A78E-EEED-0A01AD84FB81}"/>
          </ac:picMkLst>
        </pc:picChg>
        <pc:picChg chg="mod">
          <ac:chgData name="Hänninen, Lauri" userId="b62831d1-2046-40aa-b4b7-d67e2d73afe1" providerId="ADAL" clId="{F907ACC7-C8F7-470E-B883-D49732EB787C}" dt="2024-02-22T11:40:41.335" v="42288"/>
          <ac:picMkLst>
            <pc:docMk/>
            <pc:sldMk cId="4171510167" sldId="2147483615"/>
            <ac:picMk id="30" creationId="{EA6B4B26-1482-3ED7-3D67-201D2870CE61}"/>
          </ac:picMkLst>
        </pc:picChg>
        <pc:picChg chg="mod">
          <ac:chgData name="Hänninen, Lauri" userId="b62831d1-2046-40aa-b4b7-d67e2d73afe1" providerId="ADAL" clId="{F907ACC7-C8F7-470E-B883-D49732EB787C}" dt="2024-02-22T11:40:41.335" v="42289"/>
          <ac:picMkLst>
            <pc:docMk/>
            <pc:sldMk cId="4171510167" sldId="2147483615"/>
            <ac:picMk id="32" creationId="{1BEE0AF3-3C34-B472-C3EE-DCBAD77DC808}"/>
          </ac:picMkLst>
        </pc:picChg>
        <pc:picChg chg="mod">
          <ac:chgData name="Hänninen, Lauri" userId="b62831d1-2046-40aa-b4b7-d67e2d73afe1" providerId="ADAL" clId="{F907ACC7-C8F7-470E-B883-D49732EB787C}" dt="2024-02-22T11:40:41.336" v="42290"/>
          <ac:picMkLst>
            <pc:docMk/>
            <pc:sldMk cId="4171510167" sldId="2147483615"/>
            <ac:picMk id="33" creationId="{E4CA3237-F09B-F28C-2925-CB01DAB8D486}"/>
          </ac:picMkLst>
        </pc:picChg>
        <pc:picChg chg="mod">
          <ac:chgData name="Hänninen, Lauri" userId="b62831d1-2046-40aa-b4b7-d67e2d73afe1" providerId="ADAL" clId="{F907ACC7-C8F7-470E-B883-D49732EB787C}" dt="2024-02-22T11:40:41.337" v="42291"/>
          <ac:picMkLst>
            <pc:docMk/>
            <pc:sldMk cId="4171510167" sldId="2147483615"/>
            <ac:picMk id="34" creationId="{E3D0418D-7D9D-6529-B9C2-59893063A6C2}"/>
          </ac:picMkLst>
        </pc:picChg>
        <pc:picChg chg="mod">
          <ac:chgData name="Hänninen, Lauri" userId="b62831d1-2046-40aa-b4b7-d67e2d73afe1" providerId="ADAL" clId="{F907ACC7-C8F7-470E-B883-D49732EB787C}" dt="2024-02-22T11:40:41.338" v="42292"/>
          <ac:picMkLst>
            <pc:docMk/>
            <pc:sldMk cId="4171510167" sldId="2147483615"/>
            <ac:picMk id="38" creationId="{ED967D85-1894-149F-DDAA-6BEF9A442EEB}"/>
          </ac:picMkLst>
        </pc:picChg>
        <pc:picChg chg="mod">
          <ac:chgData name="Hänninen, Lauri" userId="b62831d1-2046-40aa-b4b7-d67e2d73afe1" providerId="ADAL" clId="{F907ACC7-C8F7-470E-B883-D49732EB787C}" dt="2024-02-22T11:40:41.339" v="42293"/>
          <ac:picMkLst>
            <pc:docMk/>
            <pc:sldMk cId="4171510167" sldId="2147483615"/>
            <ac:picMk id="42" creationId="{D2CF4420-946F-E189-75B0-3083EF9206E0}"/>
          </ac:picMkLst>
        </pc:picChg>
        <pc:picChg chg="mod">
          <ac:chgData name="Hänninen, Lauri" userId="b62831d1-2046-40aa-b4b7-d67e2d73afe1" providerId="ADAL" clId="{F907ACC7-C8F7-470E-B883-D49732EB787C}" dt="2024-02-22T11:40:41.339" v="42294"/>
          <ac:picMkLst>
            <pc:docMk/>
            <pc:sldMk cId="4171510167" sldId="2147483615"/>
            <ac:picMk id="43" creationId="{4C98D5FB-323B-CE21-F506-C8BA66ED4887}"/>
          </ac:picMkLst>
        </pc:picChg>
        <pc:picChg chg="mod">
          <ac:chgData name="Hänninen, Lauri" userId="b62831d1-2046-40aa-b4b7-d67e2d73afe1" providerId="ADAL" clId="{F907ACC7-C8F7-470E-B883-D49732EB787C}" dt="2024-02-22T11:40:41.340" v="42295"/>
          <ac:picMkLst>
            <pc:docMk/>
            <pc:sldMk cId="4171510167" sldId="2147483615"/>
            <ac:picMk id="45" creationId="{B59C6327-A854-8B4C-6B18-5DBCC66E8A24}"/>
          </ac:picMkLst>
        </pc:picChg>
        <pc:picChg chg="mod">
          <ac:chgData name="Hänninen, Lauri" userId="b62831d1-2046-40aa-b4b7-d67e2d73afe1" providerId="ADAL" clId="{F907ACC7-C8F7-470E-B883-D49732EB787C}" dt="2024-02-22T11:40:41.341" v="42296"/>
          <ac:picMkLst>
            <pc:docMk/>
            <pc:sldMk cId="4171510167" sldId="2147483615"/>
            <ac:picMk id="46" creationId="{F161FD06-DAB5-4A0E-B278-4B7961D0CA28}"/>
          </ac:picMkLst>
        </pc:picChg>
        <pc:picChg chg="mod">
          <ac:chgData name="Hänninen, Lauri" userId="b62831d1-2046-40aa-b4b7-d67e2d73afe1" providerId="ADAL" clId="{F907ACC7-C8F7-470E-B883-D49732EB787C}" dt="2024-02-22T11:40:41.342" v="42297"/>
          <ac:picMkLst>
            <pc:docMk/>
            <pc:sldMk cId="4171510167" sldId="2147483615"/>
            <ac:picMk id="47" creationId="{86C8C553-44F6-E077-AA3E-ADCA837B6C31}"/>
          </ac:picMkLst>
        </pc:picChg>
        <pc:picChg chg="mod">
          <ac:chgData name="Hänninen, Lauri" userId="b62831d1-2046-40aa-b4b7-d67e2d73afe1" providerId="ADAL" clId="{F907ACC7-C8F7-470E-B883-D49732EB787C}" dt="2024-02-22T11:40:41.342" v="42298"/>
          <ac:picMkLst>
            <pc:docMk/>
            <pc:sldMk cId="4171510167" sldId="2147483615"/>
            <ac:picMk id="48" creationId="{D1838D56-682A-D7F6-7B9A-DC0EA7987476}"/>
          </ac:picMkLst>
        </pc:picChg>
        <pc:picChg chg="mod">
          <ac:chgData name="Hänninen, Lauri" userId="b62831d1-2046-40aa-b4b7-d67e2d73afe1" providerId="ADAL" clId="{F907ACC7-C8F7-470E-B883-D49732EB787C}" dt="2024-02-22T11:40:41.343" v="42299"/>
          <ac:picMkLst>
            <pc:docMk/>
            <pc:sldMk cId="4171510167" sldId="2147483615"/>
            <ac:picMk id="49" creationId="{AF61ACC4-0E33-142F-FEBC-E411C2251192}"/>
          </ac:picMkLst>
        </pc:picChg>
        <pc:picChg chg="mod ord">
          <ac:chgData name="Hänninen, Lauri" userId="b62831d1-2046-40aa-b4b7-d67e2d73afe1" providerId="ADAL" clId="{F907ACC7-C8F7-470E-B883-D49732EB787C}" dt="2024-02-22T11:40:41.344" v="42301"/>
          <ac:picMkLst>
            <pc:docMk/>
            <pc:sldMk cId="4171510167" sldId="2147483615"/>
            <ac:picMk id="50" creationId="{37981C4D-C09E-FDFB-5E86-71C8182D638A}"/>
          </ac:picMkLst>
        </pc:picChg>
        <pc:picChg chg="mod">
          <ac:chgData name="Hänninen, Lauri" userId="b62831d1-2046-40aa-b4b7-d67e2d73afe1" providerId="ADAL" clId="{F907ACC7-C8F7-470E-B883-D49732EB787C}" dt="2024-02-22T11:40:41.345" v="42302"/>
          <ac:picMkLst>
            <pc:docMk/>
            <pc:sldMk cId="4171510167" sldId="2147483615"/>
            <ac:picMk id="51" creationId="{F286D917-997A-C269-3C35-2EFFA79E0B4F}"/>
          </ac:picMkLst>
        </pc:picChg>
        <pc:picChg chg="mod">
          <ac:chgData name="Hänninen, Lauri" userId="b62831d1-2046-40aa-b4b7-d67e2d73afe1" providerId="ADAL" clId="{F907ACC7-C8F7-470E-B883-D49732EB787C}" dt="2024-02-22T11:40:41.345" v="42303"/>
          <ac:picMkLst>
            <pc:docMk/>
            <pc:sldMk cId="4171510167" sldId="2147483615"/>
            <ac:picMk id="52" creationId="{05AD413F-E587-906D-7B3D-07549DDB1649}"/>
          </ac:picMkLst>
        </pc:picChg>
        <pc:picChg chg="mod">
          <ac:chgData name="Hänninen, Lauri" userId="b62831d1-2046-40aa-b4b7-d67e2d73afe1" providerId="ADAL" clId="{F907ACC7-C8F7-470E-B883-D49732EB787C}" dt="2024-02-22T11:40:41.346" v="42304"/>
          <ac:picMkLst>
            <pc:docMk/>
            <pc:sldMk cId="4171510167" sldId="2147483615"/>
            <ac:picMk id="53" creationId="{7AA5D0BB-7DDB-E496-F0A7-BFFF3A2AFA71}"/>
          </ac:picMkLst>
        </pc:picChg>
        <pc:picChg chg="mod">
          <ac:chgData name="Hänninen, Lauri" userId="b62831d1-2046-40aa-b4b7-d67e2d73afe1" providerId="ADAL" clId="{F907ACC7-C8F7-470E-B883-D49732EB787C}" dt="2024-02-22T11:40:41.348" v="42305"/>
          <ac:picMkLst>
            <pc:docMk/>
            <pc:sldMk cId="4171510167" sldId="2147483615"/>
            <ac:picMk id="54" creationId="{102B9346-DC6D-8617-6A15-E45F1980E161}"/>
          </ac:picMkLst>
        </pc:picChg>
        <pc:picChg chg="mod">
          <ac:chgData name="Hänninen, Lauri" userId="b62831d1-2046-40aa-b4b7-d67e2d73afe1" providerId="ADAL" clId="{F907ACC7-C8F7-470E-B883-D49732EB787C}" dt="2024-02-22T11:40:41.349" v="42306"/>
          <ac:picMkLst>
            <pc:docMk/>
            <pc:sldMk cId="4171510167" sldId="2147483615"/>
            <ac:picMk id="55" creationId="{8315A803-FE87-BCBA-CE5D-98E56AD99C0B}"/>
          </ac:picMkLst>
        </pc:picChg>
        <pc:picChg chg="mod">
          <ac:chgData name="Hänninen, Lauri" userId="b62831d1-2046-40aa-b4b7-d67e2d73afe1" providerId="ADAL" clId="{F907ACC7-C8F7-470E-B883-D49732EB787C}" dt="2024-02-22T11:40:41.349" v="42307"/>
          <ac:picMkLst>
            <pc:docMk/>
            <pc:sldMk cId="4171510167" sldId="2147483615"/>
            <ac:picMk id="56" creationId="{F2C1BD3F-3928-1C9F-CE47-F0416021C5D3}"/>
          </ac:picMkLst>
        </pc:picChg>
        <pc:picChg chg="mod">
          <ac:chgData name="Hänninen, Lauri" userId="b62831d1-2046-40aa-b4b7-d67e2d73afe1" providerId="ADAL" clId="{F907ACC7-C8F7-470E-B883-D49732EB787C}" dt="2024-02-22T11:40:41.350" v="42308"/>
          <ac:picMkLst>
            <pc:docMk/>
            <pc:sldMk cId="4171510167" sldId="2147483615"/>
            <ac:picMk id="57" creationId="{E059E7A7-2B28-BD3F-2D23-7F78ED641243}"/>
          </ac:picMkLst>
        </pc:picChg>
        <pc:picChg chg="mod">
          <ac:chgData name="Hänninen, Lauri" userId="b62831d1-2046-40aa-b4b7-d67e2d73afe1" providerId="ADAL" clId="{F907ACC7-C8F7-470E-B883-D49732EB787C}" dt="2024-02-22T11:40:41.351" v="42309"/>
          <ac:picMkLst>
            <pc:docMk/>
            <pc:sldMk cId="4171510167" sldId="2147483615"/>
            <ac:picMk id="58" creationId="{C1F2F6E9-69C6-4EE0-005C-6575DC41143C}"/>
          </ac:picMkLst>
        </pc:picChg>
        <pc:picChg chg="mod">
          <ac:chgData name="Hänninen, Lauri" userId="b62831d1-2046-40aa-b4b7-d67e2d73afe1" providerId="ADAL" clId="{F907ACC7-C8F7-470E-B883-D49732EB787C}" dt="2024-02-22T11:40:41.352" v="42310"/>
          <ac:picMkLst>
            <pc:docMk/>
            <pc:sldMk cId="4171510167" sldId="2147483615"/>
            <ac:picMk id="59" creationId="{55D6CFEF-B126-63CE-5659-AFEDEBF8351E}"/>
          </ac:picMkLst>
        </pc:picChg>
        <pc:picChg chg="mod">
          <ac:chgData name="Hänninen, Lauri" userId="b62831d1-2046-40aa-b4b7-d67e2d73afe1" providerId="ADAL" clId="{F907ACC7-C8F7-470E-B883-D49732EB787C}" dt="2024-02-22T11:40:41.353" v="42311"/>
          <ac:picMkLst>
            <pc:docMk/>
            <pc:sldMk cId="4171510167" sldId="2147483615"/>
            <ac:picMk id="60" creationId="{5A0F1E49-A902-EA7E-BBB0-2D42B2D83FE7}"/>
          </ac:picMkLst>
        </pc:picChg>
        <pc:picChg chg="mod">
          <ac:chgData name="Hänninen, Lauri" userId="b62831d1-2046-40aa-b4b7-d67e2d73afe1" providerId="ADAL" clId="{F907ACC7-C8F7-470E-B883-D49732EB787C}" dt="2024-02-22T11:40:41.304" v="42242"/>
          <ac:picMkLst>
            <pc:docMk/>
            <pc:sldMk cId="4171510167" sldId="2147483615"/>
            <ac:picMk id="106" creationId="{92AEEC6E-C126-41CA-529B-9B990FD87843}"/>
          </ac:picMkLst>
        </pc:picChg>
        <pc:picChg chg="mod">
          <ac:chgData name="Hänninen, Lauri" userId="b62831d1-2046-40aa-b4b7-d67e2d73afe1" providerId="ADAL" clId="{F907ACC7-C8F7-470E-B883-D49732EB787C}" dt="2024-02-22T11:40:41.322" v="42271"/>
          <ac:picMkLst>
            <pc:docMk/>
            <pc:sldMk cId="4171510167" sldId="2147483615"/>
            <ac:picMk id="129" creationId="{7CD6E342-C7BE-2494-D714-E842C263A33D}"/>
          </ac:picMkLst>
        </pc:picChg>
        <pc:picChg chg="mod">
          <ac:chgData name="Hänninen, Lauri" userId="b62831d1-2046-40aa-b4b7-d67e2d73afe1" providerId="ADAL" clId="{F907ACC7-C8F7-470E-B883-D49732EB787C}" dt="2024-02-22T11:40:41.323" v="42272"/>
          <ac:picMkLst>
            <pc:docMk/>
            <pc:sldMk cId="4171510167" sldId="2147483615"/>
            <ac:picMk id="167" creationId="{2E1CE657-9DA8-D066-CEF1-AEECB564A2D6}"/>
          </ac:picMkLst>
        </pc:picChg>
        <pc:picChg chg="mod">
          <ac:chgData name="Hänninen, Lauri" userId="b62831d1-2046-40aa-b4b7-d67e2d73afe1" providerId="ADAL" clId="{F907ACC7-C8F7-470E-B883-D49732EB787C}" dt="2024-02-22T11:40:41.310" v="42249"/>
          <ac:picMkLst>
            <pc:docMk/>
            <pc:sldMk cId="4171510167" sldId="2147483615"/>
            <ac:picMk id="169" creationId="{F34688AB-3301-76DB-3217-96DA529C5A13}"/>
          </ac:picMkLst>
        </pc:picChg>
        <pc:picChg chg="mod">
          <ac:chgData name="Hänninen, Lauri" userId="b62831d1-2046-40aa-b4b7-d67e2d73afe1" providerId="ADAL" clId="{F907ACC7-C8F7-470E-B883-D49732EB787C}" dt="2024-02-22T11:40:41.309" v="42248"/>
          <ac:picMkLst>
            <pc:docMk/>
            <pc:sldMk cId="4171510167" sldId="2147483615"/>
            <ac:picMk id="175" creationId="{84998F23-61D4-CF2C-A5F1-6CAC77F6B60D}"/>
          </ac:picMkLst>
        </pc:picChg>
        <pc:picChg chg="mod">
          <ac:chgData name="Hänninen, Lauri" userId="b62831d1-2046-40aa-b4b7-d67e2d73afe1" providerId="ADAL" clId="{F907ACC7-C8F7-470E-B883-D49732EB787C}" dt="2024-02-22T11:40:41.311" v="42250"/>
          <ac:picMkLst>
            <pc:docMk/>
            <pc:sldMk cId="4171510167" sldId="2147483615"/>
            <ac:picMk id="1034" creationId="{E876DF3D-B7AA-F8ED-26DD-010C7E1B42B6}"/>
          </ac:picMkLst>
        </pc:picChg>
        <pc:picChg chg="mod">
          <ac:chgData name="Hänninen, Lauri" userId="b62831d1-2046-40aa-b4b7-d67e2d73afe1" providerId="ADAL" clId="{F907ACC7-C8F7-470E-B883-D49732EB787C}" dt="2024-02-22T11:40:41.311" v="42251"/>
          <ac:picMkLst>
            <pc:docMk/>
            <pc:sldMk cId="4171510167" sldId="2147483615"/>
            <ac:picMk id="1036" creationId="{61350C6A-5C7C-7567-2D4F-10B01A060F81}"/>
          </ac:picMkLst>
        </pc:picChg>
        <pc:picChg chg="mod">
          <ac:chgData name="Hänninen, Lauri" userId="b62831d1-2046-40aa-b4b7-d67e2d73afe1" providerId="ADAL" clId="{F907ACC7-C8F7-470E-B883-D49732EB787C}" dt="2024-02-22T11:40:41.316" v="42258"/>
          <ac:picMkLst>
            <pc:docMk/>
            <pc:sldMk cId="4171510167" sldId="2147483615"/>
            <ac:picMk id="1045" creationId="{C336F53D-E40F-BC31-9935-40090A8C6A42}"/>
          </ac:picMkLst>
        </pc:picChg>
        <pc:picChg chg="mod">
          <ac:chgData name="Hänninen, Lauri" userId="b62831d1-2046-40aa-b4b7-d67e2d73afe1" providerId="ADAL" clId="{F907ACC7-C8F7-470E-B883-D49732EB787C}" dt="2024-02-22T11:40:41.313" v="42254"/>
          <ac:picMkLst>
            <pc:docMk/>
            <pc:sldMk cId="4171510167" sldId="2147483615"/>
            <ac:picMk id="1047" creationId="{D6299A9F-497A-6671-62EF-E0AA5D6C0DD2}"/>
          </ac:picMkLst>
        </pc:picChg>
        <pc:picChg chg="mod">
          <ac:chgData name="Hänninen, Lauri" userId="b62831d1-2046-40aa-b4b7-d67e2d73afe1" providerId="ADAL" clId="{F907ACC7-C8F7-470E-B883-D49732EB787C}" dt="2024-02-22T11:40:41.313" v="42253"/>
          <ac:picMkLst>
            <pc:docMk/>
            <pc:sldMk cId="4171510167" sldId="2147483615"/>
            <ac:picMk id="1051" creationId="{DC835167-3332-98E0-EE5C-9AA2B5CF4902}"/>
          </ac:picMkLst>
        </pc:picChg>
        <pc:picChg chg="mod">
          <ac:chgData name="Hänninen, Lauri" userId="b62831d1-2046-40aa-b4b7-d67e2d73afe1" providerId="ADAL" clId="{F907ACC7-C8F7-470E-B883-D49732EB787C}" dt="2024-02-22T11:40:41.314" v="42255"/>
          <ac:picMkLst>
            <pc:docMk/>
            <pc:sldMk cId="4171510167" sldId="2147483615"/>
            <ac:picMk id="1057" creationId="{74992C1A-76E9-2E0E-9DD6-5FC0A320E809}"/>
          </ac:picMkLst>
        </pc:picChg>
        <pc:picChg chg="mod">
          <ac:chgData name="Hänninen, Lauri" userId="b62831d1-2046-40aa-b4b7-d67e2d73afe1" providerId="ADAL" clId="{F907ACC7-C8F7-470E-B883-D49732EB787C}" dt="2024-02-22T11:40:41.315" v="42256"/>
          <ac:picMkLst>
            <pc:docMk/>
            <pc:sldMk cId="4171510167" sldId="2147483615"/>
            <ac:picMk id="1059" creationId="{3CF5D709-B471-F309-5838-771B9DE1E796}"/>
          </ac:picMkLst>
        </pc:picChg>
        <pc:picChg chg="mod">
          <ac:chgData name="Hänninen, Lauri" userId="b62831d1-2046-40aa-b4b7-d67e2d73afe1" providerId="ADAL" clId="{F907ACC7-C8F7-470E-B883-D49732EB787C}" dt="2024-02-22T11:40:41.321" v="42269"/>
          <ac:picMkLst>
            <pc:docMk/>
            <pc:sldMk cId="4171510167" sldId="2147483615"/>
            <ac:picMk id="1061" creationId="{A9BBE592-CE09-CA56-433F-3D264F4EC48C}"/>
          </ac:picMkLst>
        </pc:picChg>
        <pc:picChg chg="mod">
          <ac:chgData name="Hänninen, Lauri" userId="b62831d1-2046-40aa-b4b7-d67e2d73afe1" providerId="ADAL" clId="{F907ACC7-C8F7-470E-B883-D49732EB787C}" dt="2024-02-22T11:40:41.315" v="42257"/>
          <ac:picMkLst>
            <pc:docMk/>
            <pc:sldMk cId="4171510167" sldId="2147483615"/>
            <ac:picMk id="1065" creationId="{14D85C8E-AED8-7137-8D0F-F5771FADF041}"/>
          </ac:picMkLst>
        </pc:picChg>
        <pc:picChg chg="mod">
          <ac:chgData name="Hänninen, Lauri" userId="b62831d1-2046-40aa-b4b7-d67e2d73afe1" providerId="ADAL" clId="{F907ACC7-C8F7-470E-B883-D49732EB787C}" dt="2024-02-22T11:40:41.312" v="42252"/>
          <ac:picMkLst>
            <pc:docMk/>
            <pc:sldMk cId="4171510167" sldId="2147483615"/>
            <ac:picMk id="1066" creationId="{ADF7F0F8-3AB9-41C2-E39E-2C840BC45E98}"/>
          </ac:picMkLst>
        </pc:picChg>
        <pc:picChg chg="mod">
          <ac:chgData name="Hänninen, Lauri" userId="b62831d1-2046-40aa-b4b7-d67e2d73afe1" providerId="ADAL" clId="{F907ACC7-C8F7-470E-B883-D49732EB787C}" dt="2024-02-22T11:40:41.322" v="42270"/>
          <ac:picMkLst>
            <pc:docMk/>
            <pc:sldMk cId="4171510167" sldId="2147483615"/>
            <ac:picMk id="1258" creationId="{EEF38A9A-1848-F56A-7601-03A5ECCDCE72}"/>
          </ac:picMkLst>
        </pc:picChg>
        <pc:cxnChg chg="mod ord">
          <ac:chgData name="Hänninen, Lauri" userId="b62831d1-2046-40aa-b4b7-d67e2d73afe1" providerId="ADAL" clId="{F907ACC7-C8F7-470E-B883-D49732EB787C}" dt="2024-02-22T11:40:41.302" v="42241"/>
          <ac:cxnSpMkLst>
            <pc:docMk/>
            <pc:sldMk cId="4171510167" sldId="2147483615"/>
            <ac:cxnSpMk id="85" creationId="{7BFA9EF9-3D9A-B370-3D5C-81C8D24F1E35}"/>
          </ac:cxnSpMkLst>
        </pc:cxnChg>
        <pc:cxnChg chg="mod ord">
          <ac:chgData name="Hänninen, Lauri" userId="b62831d1-2046-40aa-b4b7-d67e2d73afe1" providerId="ADAL" clId="{F907ACC7-C8F7-470E-B883-D49732EB787C}" dt="2024-02-22T11:40:41.289" v="42220"/>
          <ac:cxnSpMkLst>
            <pc:docMk/>
            <pc:sldMk cId="4171510167" sldId="2147483615"/>
            <ac:cxnSpMk id="87" creationId="{81D71726-5BBF-49A7-AECF-8FD13E067B16}"/>
          </ac:cxnSpMkLst>
        </pc:cxnChg>
        <pc:cxnChg chg="mod ord">
          <ac:chgData name="Hänninen, Lauri" userId="b62831d1-2046-40aa-b4b7-d67e2d73afe1" providerId="ADAL" clId="{F907ACC7-C8F7-470E-B883-D49732EB787C}" dt="2024-02-22T11:40:41.287" v="42216"/>
          <ac:cxnSpMkLst>
            <pc:docMk/>
            <pc:sldMk cId="4171510167" sldId="2147483615"/>
            <ac:cxnSpMk id="94" creationId="{D115F4DA-040A-409E-8CD1-E4D3E5E496B9}"/>
          </ac:cxnSpMkLst>
        </pc:cxnChg>
        <pc:cxnChg chg="mod ord">
          <ac:chgData name="Hänninen, Lauri" userId="b62831d1-2046-40aa-b4b7-d67e2d73afe1" providerId="ADAL" clId="{F907ACC7-C8F7-470E-B883-D49732EB787C}" dt="2024-02-22T11:40:41.280" v="42207"/>
          <ac:cxnSpMkLst>
            <pc:docMk/>
            <pc:sldMk cId="4171510167" sldId="2147483615"/>
            <ac:cxnSpMk id="121" creationId="{A182D112-7BA4-8D8C-3C3B-3C130D37F5CE}"/>
          </ac:cxnSpMkLst>
        </pc:cxnChg>
        <pc:cxnChg chg="mod ord">
          <ac:chgData name="Hänninen, Lauri" userId="b62831d1-2046-40aa-b4b7-d67e2d73afe1" providerId="ADAL" clId="{F907ACC7-C8F7-470E-B883-D49732EB787C}" dt="2024-02-22T11:40:41.317" v="42260"/>
          <ac:cxnSpMkLst>
            <pc:docMk/>
            <pc:sldMk cId="4171510167" sldId="2147483615"/>
            <ac:cxnSpMk id="1068" creationId="{C063233F-A632-1D9F-1FF0-5BD212A5E587}"/>
          </ac:cxnSpMkLst>
        </pc:cxnChg>
        <pc:cxnChg chg="mod ord">
          <ac:chgData name="Hänninen, Lauri" userId="b62831d1-2046-40aa-b4b7-d67e2d73afe1" providerId="ADAL" clId="{F907ACC7-C8F7-470E-B883-D49732EB787C}" dt="2024-02-22T11:40:41.318" v="42262"/>
          <ac:cxnSpMkLst>
            <pc:docMk/>
            <pc:sldMk cId="4171510167" sldId="2147483615"/>
            <ac:cxnSpMk id="1069" creationId="{326F7AD6-D109-7BA4-6184-095BC7C493B4}"/>
          </ac:cxnSpMkLst>
        </pc:cxnChg>
        <pc:cxnChg chg="mod ord">
          <ac:chgData name="Hänninen, Lauri" userId="b62831d1-2046-40aa-b4b7-d67e2d73afe1" providerId="ADAL" clId="{F907ACC7-C8F7-470E-B883-D49732EB787C}" dt="2024-02-22T11:40:41.318" v="42264"/>
          <ac:cxnSpMkLst>
            <pc:docMk/>
            <pc:sldMk cId="4171510167" sldId="2147483615"/>
            <ac:cxnSpMk id="1072" creationId="{9DE98D2A-D3EE-CEE7-0BB5-B3AA86CD8706}"/>
          </ac:cxnSpMkLst>
        </pc:cxnChg>
        <pc:cxnChg chg="mod ord">
          <ac:chgData name="Hänninen, Lauri" userId="b62831d1-2046-40aa-b4b7-d67e2d73afe1" providerId="ADAL" clId="{F907ACC7-C8F7-470E-B883-D49732EB787C}" dt="2024-02-22T11:40:41.319" v="42266"/>
          <ac:cxnSpMkLst>
            <pc:docMk/>
            <pc:sldMk cId="4171510167" sldId="2147483615"/>
            <ac:cxnSpMk id="1079" creationId="{74F52100-29B8-7B53-F80F-495C26F196C9}"/>
          </ac:cxnSpMkLst>
        </pc:cxnChg>
        <pc:cxnChg chg="mod ord">
          <ac:chgData name="Hänninen, Lauri" userId="b62831d1-2046-40aa-b4b7-d67e2d73afe1" providerId="ADAL" clId="{F907ACC7-C8F7-470E-B883-D49732EB787C}" dt="2024-02-22T11:40:41.320" v="42268"/>
          <ac:cxnSpMkLst>
            <pc:docMk/>
            <pc:sldMk cId="4171510167" sldId="2147483615"/>
            <ac:cxnSpMk id="1084" creationId="{BAB7134C-ADB3-A352-A133-0844B7FA0350}"/>
          </ac:cxnSpMkLst>
        </pc:cxnChg>
      </pc:sldChg>
      <pc:sldChg chg="addSp delSp modSp add del mod">
        <pc:chgData name="Hänninen, Lauri" userId="b62831d1-2046-40aa-b4b7-d67e2d73afe1" providerId="ADAL" clId="{F907ACC7-C8F7-470E-B883-D49732EB787C}" dt="2024-02-22T08:34:40.819" v="32739" actId="478"/>
        <pc:sldMkLst>
          <pc:docMk/>
          <pc:sldMk cId="4205166027" sldId="2147483616"/>
        </pc:sldMkLst>
        <pc:spChg chg="add mod">
          <ac:chgData name="Hänninen, Lauri" userId="b62831d1-2046-40aa-b4b7-d67e2d73afe1" providerId="ADAL" clId="{F907ACC7-C8F7-470E-B883-D49732EB787C}" dt="2024-02-22T08:34:29.636" v="32735"/>
          <ac:spMkLst>
            <pc:docMk/>
            <pc:sldMk cId="4205166027" sldId="2147483616"/>
            <ac:spMk id="3" creationId="{0E4EE874-F523-0273-280A-827AA480A884}"/>
          </ac:spMkLst>
        </pc:spChg>
        <pc:spChg chg="del">
          <ac:chgData name="Hänninen, Lauri" userId="b62831d1-2046-40aa-b4b7-d67e2d73afe1" providerId="ADAL" clId="{F907ACC7-C8F7-470E-B883-D49732EB787C}" dt="2024-02-21T18:38:41.585" v="30753" actId="478"/>
          <ac:spMkLst>
            <pc:docMk/>
            <pc:sldMk cId="4205166027" sldId="2147483616"/>
            <ac:spMk id="3" creationId="{18FF0807-DAF8-B85E-04CD-C4F80F1262E3}"/>
          </ac:spMkLst>
        </pc:spChg>
        <pc:spChg chg="add mod">
          <ac:chgData name="Hänninen, Lauri" userId="b62831d1-2046-40aa-b4b7-d67e2d73afe1" providerId="ADAL" clId="{F907ACC7-C8F7-470E-B883-D49732EB787C}" dt="2024-02-22T08:34:38.936" v="32738"/>
          <ac:spMkLst>
            <pc:docMk/>
            <pc:sldMk cId="4205166027" sldId="2147483616"/>
            <ac:spMk id="4" creationId="{1ACE0363-4257-C076-AC52-76509DDD2E0C}"/>
          </ac:spMkLst>
        </pc:spChg>
        <pc:spChg chg="del">
          <ac:chgData name="Hänninen, Lauri" userId="b62831d1-2046-40aa-b4b7-d67e2d73afe1" providerId="ADAL" clId="{F907ACC7-C8F7-470E-B883-D49732EB787C}" dt="2024-02-21T18:38:41.585" v="30753" actId="478"/>
          <ac:spMkLst>
            <pc:docMk/>
            <pc:sldMk cId="4205166027" sldId="2147483616"/>
            <ac:spMk id="4" creationId="{D621C63B-DC3F-9AB3-994A-92E4128610F0}"/>
          </ac:spMkLst>
        </pc:spChg>
        <pc:spChg chg="mod">
          <ac:chgData name="Hänninen, Lauri" userId="b62831d1-2046-40aa-b4b7-d67e2d73afe1" providerId="ADAL" clId="{F907ACC7-C8F7-470E-B883-D49732EB787C}" dt="2024-02-21T18:37:56.260" v="30744" actId="121"/>
          <ac:spMkLst>
            <pc:docMk/>
            <pc:sldMk cId="4205166027" sldId="2147483616"/>
            <ac:spMk id="5" creationId="{38AD75EA-8C8C-60FA-AEBD-BC4729D23AF0}"/>
          </ac:spMkLst>
        </pc:spChg>
        <pc:spChg chg="add mod">
          <ac:chgData name="Hänninen, Lauri" userId="b62831d1-2046-40aa-b4b7-d67e2d73afe1" providerId="ADAL" clId="{F907ACC7-C8F7-470E-B883-D49732EB787C}" dt="2024-02-21T18:38:42.106" v="30754"/>
          <ac:spMkLst>
            <pc:docMk/>
            <pc:sldMk cId="4205166027" sldId="2147483616"/>
            <ac:spMk id="9" creationId="{8B906931-74A7-2CB0-052E-7823C807FEED}"/>
          </ac:spMkLst>
        </pc:spChg>
        <pc:spChg chg="add mod">
          <ac:chgData name="Hänninen, Lauri" userId="b62831d1-2046-40aa-b4b7-d67e2d73afe1" providerId="ADAL" clId="{F907ACC7-C8F7-470E-B883-D49732EB787C}" dt="2024-02-21T18:41:10.915" v="30802" actId="20577"/>
          <ac:spMkLst>
            <pc:docMk/>
            <pc:sldMk cId="4205166027" sldId="2147483616"/>
            <ac:spMk id="10" creationId="{A206C3BD-3FFF-0A34-08FF-0F16FF32F26F}"/>
          </ac:spMkLst>
        </pc:spChg>
        <pc:spChg chg="add mod">
          <ac:chgData name="Hänninen, Lauri" userId="b62831d1-2046-40aa-b4b7-d67e2d73afe1" providerId="ADAL" clId="{F907ACC7-C8F7-470E-B883-D49732EB787C}" dt="2024-02-21T18:40:57.339" v="30769"/>
          <ac:spMkLst>
            <pc:docMk/>
            <pc:sldMk cId="4205166027" sldId="2147483616"/>
            <ac:spMk id="11" creationId="{EAAEA272-92F5-8963-EAE4-B206602CAD91}"/>
          </ac:spMkLst>
        </pc:spChg>
        <pc:spChg chg="mod">
          <ac:chgData name="Hänninen, Lauri" userId="b62831d1-2046-40aa-b4b7-d67e2d73afe1" providerId="ADAL" clId="{F907ACC7-C8F7-470E-B883-D49732EB787C}" dt="2024-02-21T18:40:07.115" v="30767" actId="14100"/>
          <ac:spMkLst>
            <pc:docMk/>
            <pc:sldMk cId="4205166027" sldId="2147483616"/>
            <ac:spMk id="45" creationId="{4657879F-3BC5-6301-1001-5ED1AEE61328}"/>
          </ac:spMkLst>
        </pc:spChg>
        <pc:spChg chg="mod">
          <ac:chgData name="Hänninen, Lauri" userId="b62831d1-2046-40aa-b4b7-d67e2d73afe1" providerId="ADAL" clId="{F907ACC7-C8F7-470E-B883-D49732EB787C}" dt="2024-02-21T18:40:07.115" v="30767" actId="14100"/>
          <ac:spMkLst>
            <pc:docMk/>
            <pc:sldMk cId="4205166027" sldId="2147483616"/>
            <ac:spMk id="47" creationId="{C5496458-A953-531B-05A4-F5CC4D44D01C}"/>
          </ac:spMkLst>
        </pc:spChg>
        <pc:spChg chg="mod">
          <ac:chgData name="Hänninen, Lauri" userId="b62831d1-2046-40aa-b4b7-d67e2d73afe1" providerId="ADAL" clId="{F907ACC7-C8F7-470E-B883-D49732EB787C}" dt="2024-02-21T18:40:07.115" v="30767" actId="14100"/>
          <ac:spMkLst>
            <pc:docMk/>
            <pc:sldMk cId="4205166027" sldId="2147483616"/>
            <ac:spMk id="49" creationId="{DC3A8934-BC51-C1BD-9E37-3C01E30634A5}"/>
          </ac:spMkLst>
        </pc:spChg>
        <pc:spChg chg="mod">
          <ac:chgData name="Hänninen, Lauri" userId="b62831d1-2046-40aa-b4b7-d67e2d73afe1" providerId="ADAL" clId="{F907ACC7-C8F7-470E-B883-D49732EB787C}" dt="2024-02-21T18:40:07.115" v="30767" actId="14100"/>
          <ac:spMkLst>
            <pc:docMk/>
            <pc:sldMk cId="4205166027" sldId="2147483616"/>
            <ac:spMk id="51" creationId="{D19B4448-A9F7-C160-12D9-32F81019B264}"/>
          </ac:spMkLst>
        </pc:spChg>
        <pc:spChg chg="mod">
          <ac:chgData name="Hänninen, Lauri" userId="b62831d1-2046-40aa-b4b7-d67e2d73afe1" providerId="ADAL" clId="{F907ACC7-C8F7-470E-B883-D49732EB787C}" dt="2024-02-21T18:40:07.115" v="30767" actId="14100"/>
          <ac:spMkLst>
            <pc:docMk/>
            <pc:sldMk cId="4205166027" sldId="2147483616"/>
            <ac:spMk id="53" creationId="{A6F89742-99AE-4CE2-861F-863085C718ED}"/>
          </ac:spMkLst>
        </pc:spChg>
        <pc:spChg chg="mod">
          <ac:chgData name="Hänninen, Lauri" userId="b62831d1-2046-40aa-b4b7-d67e2d73afe1" providerId="ADAL" clId="{F907ACC7-C8F7-470E-B883-D49732EB787C}" dt="2024-02-21T18:41:20.879" v="30805" actId="947"/>
          <ac:spMkLst>
            <pc:docMk/>
            <pc:sldMk cId="4205166027" sldId="2147483616"/>
            <ac:spMk id="85" creationId="{60BECB16-66DC-ED92-B420-482909299A4E}"/>
          </ac:spMkLst>
        </pc:spChg>
        <pc:spChg chg="del mod">
          <ac:chgData name="Hänninen, Lauri" userId="b62831d1-2046-40aa-b4b7-d67e2d73afe1" providerId="ADAL" clId="{F907ACC7-C8F7-470E-B883-D49732EB787C}" dt="2024-02-22T08:34:40.819" v="32739" actId="478"/>
          <ac:spMkLst>
            <pc:docMk/>
            <pc:sldMk cId="4205166027" sldId="2147483616"/>
            <ac:spMk id="93" creationId="{8C41F1AD-D67F-FFAF-4C71-C09949D141B4}"/>
          </ac:spMkLst>
        </pc:spChg>
        <pc:spChg chg="mod">
          <ac:chgData name="Hänninen, Lauri" userId="b62831d1-2046-40aa-b4b7-d67e2d73afe1" providerId="ADAL" clId="{F907ACC7-C8F7-470E-B883-D49732EB787C}" dt="2024-02-22T07:48:18.228" v="31774" actId="1036"/>
          <ac:spMkLst>
            <pc:docMk/>
            <pc:sldMk cId="4205166027" sldId="2147483616"/>
            <ac:spMk id="144" creationId="{585C2921-D54B-6459-D57A-BE7FC3A1E194}"/>
          </ac:spMkLst>
        </pc:spChg>
        <pc:spChg chg="mod">
          <ac:chgData name="Hänninen, Lauri" userId="b62831d1-2046-40aa-b4b7-d67e2d73afe1" providerId="ADAL" clId="{F907ACC7-C8F7-470E-B883-D49732EB787C}" dt="2024-02-22T07:48:18.228" v="31774" actId="1036"/>
          <ac:spMkLst>
            <pc:docMk/>
            <pc:sldMk cId="4205166027" sldId="2147483616"/>
            <ac:spMk id="145" creationId="{C1828352-0B8A-B262-B6D9-72BC2346331D}"/>
          </ac:spMkLst>
        </pc:spChg>
        <pc:spChg chg="mod">
          <ac:chgData name="Hänninen, Lauri" userId="b62831d1-2046-40aa-b4b7-d67e2d73afe1" providerId="ADAL" clId="{F907ACC7-C8F7-470E-B883-D49732EB787C}" dt="2024-02-22T07:48:18.228" v="31774" actId="1036"/>
          <ac:spMkLst>
            <pc:docMk/>
            <pc:sldMk cId="4205166027" sldId="2147483616"/>
            <ac:spMk id="146" creationId="{2B885522-D562-99C4-7CEA-884456B277D6}"/>
          </ac:spMkLst>
        </pc:spChg>
        <pc:spChg chg="mod">
          <ac:chgData name="Hänninen, Lauri" userId="b62831d1-2046-40aa-b4b7-d67e2d73afe1" providerId="ADAL" clId="{F907ACC7-C8F7-470E-B883-D49732EB787C}" dt="2024-02-22T07:48:18.228" v="31774" actId="1036"/>
          <ac:spMkLst>
            <pc:docMk/>
            <pc:sldMk cId="4205166027" sldId="2147483616"/>
            <ac:spMk id="147" creationId="{B1EA97D1-161A-4F9A-A01E-0DEE447537A8}"/>
          </ac:spMkLst>
        </pc:spChg>
        <pc:spChg chg="mod">
          <ac:chgData name="Hänninen, Lauri" userId="b62831d1-2046-40aa-b4b7-d67e2d73afe1" providerId="ADAL" clId="{F907ACC7-C8F7-470E-B883-D49732EB787C}" dt="2024-02-22T07:48:18.228" v="31774" actId="1036"/>
          <ac:spMkLst>
            <pc:docMk/>
            <pc:sldMk cId="4205166027" sldId="2147483616"/>
            <ac:spMk id="148" creationId="{B87B077D-3F25-4113-1D8A-43E8A26F4A30}"/>
          </ac:spMkLst>
        </pc:spChg>
        <pc:spChg chg="mod">
          <ac:chgData name="Hänninen, Lauri" userId="b62831d1-2046-40aa-b4b7-d67e2d73afe1" providerId="ADAL" clId="{F907ACC7-C8F7-470E-B883-D49732EB787C}" dt="2024-02-22T07:48:18.228" v="31774" actId="1036"/>
          <ac:spMkLst>
            <pc:docMk/>
            <pc:sldMk cId="4205166027" sldId="2147483616"/>
            <ac:spMk id="149" creationId="{F366B6E6-75E8-37FB-DAD8-9620FAA010AF}"/>
          </ac:spMkLst>
        </pc:spChg>
        <pc:spChg chg="mod">
          <ac:chgData name="Hänninen, Lauri" userId="b62831d1-2046-40aa-b4b7-d67e2d73afe1" providerId="ADAL" clId="{F907ACC7-C8F7-470E-B883-D49732EB787C}" dt="2024-02-21T18:39:27.379" v="30760" actId="114"/>
          <ac:spMkLst>
            <pc:docMk/>
            <pc:sldMk cId="4205166027" sldId="2147483616"/>
            <ac:spMk id="159" creationId="{4CB969B4-BCCD-8357-268A-42B2483DE1FD}"/>
          </ac:spMkLst>
        </pc:spChg>
        <pc:spChg chg="mod">
          <ac:chgData name="Hänninen, Lauri" userId="b62831d1-2046-40aa-b4b7-d67e2d73afe1" providerId="ADAL" clId="{F907ACC7-C8F7-470E-B883-D49732EB787C}" dt="2024-02-21T18:39:27.379" v="30760" actId="114"/>
          <ac:spMkLst>
            <pc:docMk/>
            <pc:sldMk cId="4205166027" sldId="2147483616"/>
            <ac:spMk id="160" creationId="{737D5EB8-7E8A-25D9-E663-EE3A835665C3}"/>
          </ac:spMkLst>
        </pc:spChg>
        <pc:spChg chg="mod">
          <ac:chgData name="Hänninen, Lauri" userId="b62831d1-2046-40aa-b4b7-d67e2d73afe1" providerId="ADAL" clId="{F907ACC7-C8F7-470E-B883-D49732EB787C}" dt="2024-02-21T18:39:27.379" v="30760" actId="114"/>
          <ac:spMkLst>
            <pc:docMk/>
            <pc:sldMk cId="4205166027" sldId="2147483616"/>
            <ac:spMk id="161" creationId="{26DF77BC-495B-6CC0-135E-56F2F8D5E883}"/>
          </ac:spMkLst>
        </pc:spChg>
        <pc:spChg chg="mod">
          <ac:chgData name="Hänninen, Lauri" userId="b62831d1-2046-40aa-b4b7-d67e2d73afe1" providerId="ADAL" clId="{F907ACC7-C8F7-470E-B883-D49732EB787C}" dt="2024-02-21T18:39:27.379" v="30760" actId="114"/>
          <ac:spMkLst>
            <pc:docMk/>
            <pc:sldMk cId="4205166027" sldId="2147483616"/>
            <ac:spMk id="162" creationId="{952B5413-4A04-3F97-B903-BA6C10ECC22A}"/>
          </ac:spMkLst>
        </pc:spChg>
        <pc:spChg chg="mod">
          <ac:chgData name="Hänninen, Lauri" userId="b62831d1-2046-40aa-b4b7-d67e2d73afe1" providerId="ADAL" clId="{F907ACC7-C8F7-470E-B883-D49732EB787C}" dt="2024-02-21T18:39:27.379" v="30760" actId="114"/>
          <ac:spMkLst>
            <pc:docMk/>
            <pc:sldMk cId="4205166027" sldId="2147483616"/>
            <ac:spMk id="163" creationId="{C2BB9DA9-9A66-609A-AA01-86617CC687CC}"/>
          </ac:spMkLst>
        </pc:spChg>
        <pc:spChg chg="mod">
          <ac:chgData name="Hänninen, Lauri" userId="b62831d1-2046-40aa-b4b7-d67e2d73afe1" providerId="ADAL" clId="{F907ACC7-C8F7-470E-B883-D49732EB787C}" dt="2024-02-21T18:39:27.379" v="30760" actId="114"/>
          <ac:spMkLst>
            <pc:docMk/>
            <pc:sldMk cId="4205166027" sldId="2147483616"/>
            <ac:spMk id="164" creationId="{4C14A481-D19D-CB2E-372C-87B6EF9F18F1}"/>
          </ac:spMkLst>
        </pc:spChg>
        <pc:spChg chg="mod">
          <ac:chgData name="Hänninen, Lauri" userId="b62831d1-2046-40aa-b4b7-d67e2d73afe1" providerId="ADAL" clId="{F907ACC7-C8F7-470E-B883-D49732EB787C}" dt="2024-02-21T18:36:42.825" v="30706" actId="1035"/>
          <ac:spMkLst>
            <pc:docMk/>
            <pc:sldMk cId="4205166027" sldId="2147483616"/>
            <ac:spMk id="171" creationId="{6FA24F68-9266-B3DF-8A62-EDE790A60EC4}"/>
          </ac:spMkLst>
        </pc:spChg>
        <pc:spChg chg="mod">
          <ac:chgData name="Hänninen, Lauri" userId="b62831d1-2046-40aa-b4b7-d67e2d73afe1" providerId="ADAL" clId="{F907ACC7-C8F7-470E-B883-D49732EB787C}" dt="2024-02-21T18:36:42.825" v="30706" actId="1035"/>
          <ac:spMkLst>
            <pc:docMk/>
            <pc:sldMk cId="4205166027" sldId="2147483616"/>
            <ac:spMk id="173" creationId="{365FFD61-F1FA-94E8-D81A-5D80F71E5C59}"/>
          </ac:spMkLst>
        </pc:spChg>
        <pc:spChg chg="mod">
          <ac:chgData name="Hänninen, Lauri" userId="b62831d1-2046-40aa-b4b7-d67e2d73afe1" providerId="ADAL" clId="{F907ACC7-C8F7-470E-B883-D49732EB787C}" dt="2024-02-21T18:36:42.825" v="30706" actId="1035"/>
          <ac:spMkLst>
            <pc:docMk/>
            <pc:sldMk cId="4205166027" sldId="2147483616"/>
            <ac:spMk id="174" creationId="{88D20422-445D-B25A-3B86-AAB9546772E7}"/>
          </ac:spMkLst>
        </pc:spChg>
        <pc:spChg chg="mod">
          <ac:chgData name="Hänninen, Lauri" userId="b62831d1-2046-40aa-b4b7-d67e2d73afe1" providerId="ADAL" clId="{F907ACC7-C8F7-470E-B883-D49732EB787C}" dt="2024-02-21T18:36:42.825" v="30706" actId="1035"/>
          <ac:spMkLst>
            <pc:docMk/>
            <pc:sldMk cId="4205166027" sldId="2147483616"/>
            <ac:spMk id="175" creationId="{0FA37D84-DDD5-AF3B-454D-ADD1A11929B4}"/>
          </ac:spMkLst>
        </pc:spChg>
        <pc:spChg chg="mod">
          <ac:chgData name="Hänninen, Lauri" userId="b62831d1-2046-40aa-b4b7-d67e2d73afe1" providerId="ADAL" clId="{F907ACC7-C8F7-470E-B883-D49732EB787C}" dt="2024-02-21T18:36:42.825" v="30706" actId="1035"/>
          <ac:spMkLst>
            <pc:docMk/>
            <pc:sldMk cId="4205166027" sldId="2147483616"/>
            <ac:spMk id="176" creationId="{0636EC69-8F12-067D-8E1E-59A54F4A8DFB}"/>
          </ac:spMkLst>
        </pc:spChg>
        <pc:spChg chg="mod">
          <ac:chgData name="Hänninen, Lauri" userId="b62831d1-2046-40aa-b4b7-d67e2d73afe1" providerId="ADAL" clId="{F907ACC7-C8F7-470E-B883-D49732EB787C}" dt="2024-02-21T18:36:42.825" v="30706" actId="1035"/>
          <ac:spMkLst>
            <pc:docMk/>
            <pc:sldMk cId="4205166027" sldId="2147483616"/>
            <ac:spMk id="177" creationId="{B425E9E1-6311-6B7E-D6F0-0DEE242B0415}"/>
          </ac:spMkLst>
        </pc:spChg>
        <pc:graphicFrameChg chg="mod">
          <ac:chgData name="Hänninen, Lauri" userId="b62831d1-2046-40aa-b4b7-d67e2d73afe1" providerId="ADAL" clId="{F907ACC7-C8F7-470E-B883-D49732EB787C}" dt="2024-02-21T18:38:28.174" v="30751"/>
          <ac:graphicFrameMkLst>
            <pc:docMk/>
            <pc:sldMk cId="4205166027" sldId="2147483616"/>
            <ac:graphicFrameMk id="92" creationId="{701DF10B-BD15-1CC5-106E-42D7102AC1E6}"/>
          </ac:graphicFrameMkLst>
        </pc:graphicFrameChg>
        <pc:picChg chg="mod">
          <ac:chgData name="Hänninen, Lauri" userId="b62831d1-2046-40aa-b4b7-d67e2d73afe1" providerId="ADAL" clId="{F907ACC7-C8F7-470E-B883-D49732EB787C}" dt="2024-02-22T07:47:33.099" v="31751" actId="408"/>
          <ac:picMkLst>
            <pc:docMk/>
            <pc:sldMk cId="4205166027" sldId="2147483616"/>
            <ac:picMk id="150" creationId="{0FC92CCE-1BB0-AA76-9B0C-6F4C3A9DE997}"/>
          </ac:picMkLst>
        </pc:picChg>
        <pc:picChg chg="mod">
          <ac:chgData name="Hänninen, Lauri" userId="b62831d1-2046-40aa-b4b7-d67e2d73afe1" providerId="ADAL" clId="{F907ACC7-C8F7-470E-B883-D49732EB787C}" dt="2024-02-22T07:47:33.099" v="31751" actId="408"/>
          <ac:picMkLst>
            <pc:docMk/>
            <pc:sldMk cId="4205166027" sldId="2147483616"/>
            <ac:picMk id="151" creationId="{126CFF9B-946D-C268-D174-D3A82F8A545A}"/>
          </ac:picMkLst>
        </pc:picChg>
        <pc:picChg chg="mod">
          <ac:chgData name="Hänninen, Lauri" userId="b62831d1-2046-40aa-b4b7-d67e2d73afe1" providerId="ADAL" clId="{F907ACC7-C8F7-470E-B883-D49732EB787C}" dt="2024-02-22T07:47:33.099" v="31751" actId="408"/>
          <ac:picMkLst>
            <pc:docMk/>
            <pc:sldMk cId="4205166027" sldId="2147483616"/>
            <ac:picMk id="153" creationId="{DDFEF92C-DBB7-975A-8BB6-DB5ADCFAD09C}"/>
          </ac:picMkLst>
        </pc:picChg>
        <pc:picChg chg="mod">
          <ac:chgData name="Hänninen, Lauri" userId="b62831d1-2046-40aa-b4b7-d67e2d73afe1" providerId="ADAL" clId="{F907ACC7-C8F7-470E-B883-D49732EB787C}" dt="2024-02-22T07:47:33.099" v="31751" actId="408"/>
          <ac:picMkLst>
            <pc:docMk/>
            <pc:sldMk cId="4205166027" sldId="2147483616"/>
            <ac:picMk id="178" creationId="{E8EFCBE3-1176-04E7-1096-1C5FFA455A78}"/>
          </ac:picMkLst>
        </pc:picChg>
        <pc:cxnChg chg="add mod">
          <ac:chgData name="Hänninen, Lauri" userId="b62831d1-2046-40aa-b4b7-d67e2d73afe1" providerId="ADAL" clId="{F907ACC7-C8F7-470E-B883-D49732EB787C}" dt="2024-02-21T18:37:42.156" v="30741" actId="14100"/>
          <ac:cxnSpMkLst>
            <pc:docMk/>
            <pc:sldMk cId="4205166027" sldId="2147483616"/>
            <ac:cxnSpMk id="6" creationId="{A09EF56E-9608-350C-914B-254CC14B6286}"/>
          </ac:cxnSpMkLst>
        </pc:cxnChg>
        <pc:cxnChg chg="mod">
          <ac:chgData name="Hänninen, Lauri" userId="b62831d1-2046-40aa-b4b7-d67e2d73afe1" providerId="ADAL" clId="{F907ACC7-C8F7-470E-B883-D49732EB787C}" dt="2024-02-21T18:36:42.825" v="30706" actId="1035"/>
          <ac:cxnSpMkLst>
            <pc:docMk/>
            <pc:sldMk cId="4205166027" sldId="2147483616"/>
            <ac:cxnSpMk id="86" creationId="{FFF5CB0D-A2E1-B2B0-4E2D-9AD92449820C}"/>
          </ac:cxnSpMkLst>
        </pc:cxnChg>
        <pc:cxnChg chg="mod">
          <ac:chgData name="Hänninen, Lauri" userId="b62831d1-2046-40aa-b4b7-d67e2d73afe1" providerId="ADAL" clId="{F907ACC7-C8F7-470E-B883-D49732EB787C}" dt="2024-02-21T18:36:42.825" v="30706" actId="1035"/>
          <ac:cxnSpMkLst>
            <pc:docMk/>
            <pc:sldMk cId="4205166027" sldId="2147483616"/>
            <ac:cxnSpMk id="166" creationId="{46A93D87-B412-819F-712F-6E004866FA35}"/>
          </ac:cxnSpMkLst>
        </pc:cxnChg>
        <pc:cxnChg chg="mod">
          <ac:chgData name="Hänninen, Lauri" userId="b62831d1-2046-40aa-b4b7-d67e2d73afe1" providerId="ADAL" clId="{F907ACC7-C8F7-470E-B883-D49732EB787C}" dt="2024-02-21T18:36:42.825" v="30706" actId="1035"/>
          <ac:cxnSpMkLst>
            <pc:docMk/>
            <pc:sldMk cId="4205166027" sldId="2147483616"/>
            <ac:cxnSpMk id="167" creationId="{53B44BE2-9B69-40DA-D693-45DFB53DA678}"/>
          </ac:cxnSpMkLst>
        </pc:cxnChg>
        <pc:cxnChg chg="mod">
          <ac:chgData name="Hänninen, Lauri" userId="b62831d1-2046-40aa-b4b7-d67e2d73afe1" providerId="ADAL" clId="{F907ACC7-C8F7-470E-B883-D49732EB787C}" dt="2024-02-21T18:36:42.825" v="30706" actId="1035"/>
          <ac:cxnSpMkLst>
            <pc:docMk/>
            <pc:sldMk cId="4205166027" sldId="2147483616"/>
            <ac:cxnSpMk id="168" creationId="{94B3EEBE-311D-A777-FB77-949B535B1B4B}"/>
          </ac:cxnSpMkLst>
        </pc:cxnChg>
        <pc:cxnChg chg="mod">
          <ac:chgData name="Hänninen, Lauri" userId="b62831d1-2046-40aa-b4b7-d67e2d73afe1" providerId="ADAL" clId="{F907ACC7-C8F7-470E-B883-D49732EB787C}" dt="2024-02-21T18:36:42.825" v="30706" actId="1035"/>
          <ac:cxnSpMkLst>
            <pc:docMk/>
            <pc:sldMk cId="4205166027" sldId="2147483616"/>
            <ac:cxnSpMk id="169" creationId="{29F7AC04-702E-E1D0-B236-1DD8F24D723C}"/>
          </ac:cxnSpMkLst>
        </pc:cxnChg>
        <pc:cxnChg chg="mod">
          <ac:chgData name="Hänninen, Lauri" userId="b62831d1-2046-40aa-b4b7-d67e2d73afe1" providerId="ADAL" clId="{F907ACC7-C8F7-470E-B883-D49732EB787C}" dt="2024-02-21T18:36:42.825" v="30706" actId="1035"/>
          <ac:cxnSpMkLst>
            <pc:docMk/>
            <pc:sldMk cId="4205166027" sldId="2147483616"/>
            <ac:cxnSpMk id="170" creationId="{56ADE1F7-F101-FD1C-402D-CE9F77533349}"/>
          </ac:cxnSpMkLst>
        </pc:cxnChg>
      </pc:sldChg>
      <pc:sldChg chg="delSp modSp new del mod ord modShow">
        <pc:chgData name="Hänninen, Lauri" userId="b62831d1-2046-40aa-b4b7-d67e2d73afe1" providerId="ADAL" clId="{F907ACC7-C8F7-470E-B883-D49732EB787C}" dt="2024-02-23T10:57:28.983" v="42365" actId="2696"/>
        <pc:sldMkLst>
          <pc:docMk/>
          <pc:sldMk cId="2943834540" sldId="2147483617"/>
        </pc:sldMkLst>
        <pc:spChg chg="mod">
          <ac:chgData name="Hänninen, Lauri" userId="b62831d1-2046-40aa-b4b7-d67e2d73afe1" providerId="ADAL" clId="{F907ACC7-C8F7-470E-B883-D49732EB787C}" dt="2024-02-22T08:41:17.868" v="33094" actId="20577"/>
          <ac:spMkLst>
            <pc:docMk/>
            <pc:sldMk cId="2943834540" sldId="2147483617"/>
            <ac:spMk id="5" creationId="{B1612928-626D-D44E-6DE7-C1C2231CC148}"/>
          </ac:spMkLst>
        </pc:spChg>
        <pc:spChg chg="del">
          <ac:chgData name="Hänninen, Lauri" userId="b62831d1-2046-40aa-b4b7-d67e2d73afe1" providerId="ADAL" clId="{F907ACC7-C8F7-470E-B883-D49732EB787C}" dt="2024-02-22T08:40:00.773" v="32944" actId="478"/>
          <ac:spMkLst>
            <pc:docMk/>
            <pc:sldMk cId="2943834540" sldId="2147483617"/>
            <ac:spMk id="6" creationId="{FAC31834-FFE3-B42A-A05A-3733A84973B3}"/>
          </ac:spMkLst>
        </pc:spChg>
        <pc:spChg chg="del">
          <ac:chgData name="Hänninen, Lauri" userId="b62831d1-2046-40aa-b4b7-d67e2d73afe1" providerId="ADAL" clId="{F907ACC7-C8F7-470E-B883-D49732EB787C}" dt="2024-02-22T08:39:59.120" v="32943" actId="478"/>
          <ac:spMkLst>
            <pc:docMk/>
            <pc:sldMk cId="2943834540" sldId="2147483617"/>
            <ac:spMk id="7" creationId="{8A414A50-F565-9BFC-26CF-468A54031C16}"/>
          </ac:spMkLst>
        </pc:spChg>
        <pc:spChg chg="mod">
          <ac:chgData name="Hänninen, Lauri" userId="b62831d1-2046-40aa-b4b7-d67e2d73afe1" providerId="ADAL" clId="{F907ACC7-C8F7-470E-B883-D49732EB787C}" dt="2024-02-23T08:21:22.776" v="42363" actId="20577"/>
          <ac:spMkLst>
            <pc:docMk/>
            <pc:sldMk cId="2943834540" sldId="2147483617"/>
            <ac:spMk id="13" creationId="{AFFF1BD5-08F8-9EEC-22D7-CEBF26E0F90F}"/>
          </ac:spMkLst>
        </pc:spChg>
      </pc:sldChg>
      <pc:sldChg chg="addSp delSp modSp add mod">
        <pc:chgData name="Hänninen, Lauri" userId="b62831d1-2046-40aa-b4b7-d67e2d73afe1" providerId="ADAL" clId="{F907ACC7-C8F7-470E-B883-D49732EB787C}" dt="2024-02-23T15:29:12.967" v="42953" actId="465"/>
        <pc:sldMkLst>
          <pc:docMk/>
          <pc:sldMk cId="3540406656" sldId="2147483617"/>
        </pc:sldMkLst>
        <pc:spChg chg="mod ord">
          <ac:chgData name="Hänninen, Lauri" userId="b62831d1-2046-40aa-b4b7-d67e2d73afe1" providerId="ADAL" clId="{F907ACC7-C8F7-470E-B883-D49732EB787C}" dt="2024-02-23T15:08:06.063" v="42661"/>
          <ac:spMkLst>
            <pc:docMk/>
            <pc:sldMk cId="3540406656" sldId="2147483617"/>
            <ac:spMk id="2" creationId="{EB2E9218-CB60-9600-B3E9-6E5A1FD345D3}"/>
          </ac:spMkLst>
        </pc:spChg>
        <pc:spChg chg="mod ord">
          <ac:chgData name="Hänninen, Lauri" userId="b62831d1-2046-40aa-b4b7-d67e2d73afe1" providerId="ADAL" clId="{F907ACC7-C8F7-470E-B883-D49732EB787C}" dt="2024-02-23T15:08:06.064" v="42663"/>
          <ac:spMkLst>
            <pc:docMk/>
            <pc:sldMk cId="3540406656" sldId="2147483617"/>
            <ac:spMk id="3" creationId="{82671AEF-4E73-A754-FBBE-DE6BBB308B6B}"/>
          </ac:spMkLst>
        </pc:spChg>
        <pc:spChg chg="mod ord">
          <ac:chgData name="Hänninen, Lauri" userId="b62831d1-2046-40aa-b4b7-d67e2d73afe1" providerId="ADAL" clId="{F907ACC7-C8F7-470E-B883-D49732EB787C}" dt="2024-02-23T15:08:06.065" v="42665"/>
          <ac:spMkLst>
            <pc:docMk/>
            <pc:sldMk cId="3540406656" sldId="2147483617"/>
            <ac:spMk id="4" creationId="{02A718DA-5930-258E-7B27-FBC80A8DC238}"/>
          </ac:spMkLst>
        </pc:spChg>
        <pc:spChg chg="mod ord">
          <ac:chgData name="Hänninen, Lauri" userId="b62831d1-2046-40aa-b4b7-d67e2d73afe1" providerId="ADAL" clId="{F907ACC7-C8F7-470E-B883-D49732EB787C}" dt="2024-02-23T15:08:06.066" v="42667"/>
          <ac:spMkLst>
            <pc:docMk/>
            <pc:sldMk cId="3540406656" sldId="2147483617"/>
            <ac:spMk id="13" creationId="{AFFF1BD5-08F8-9EEC-22D7-CEBF26E0F90F}"/>
          </ac:spMkLst>
        </pc:spChg>
        <pc:spChg chg="add del mod modVis">
          <ac:chgData name="Hänninen, Lauri" userId="b62831d1-2046-40aa-b4b7-d67e2d73afe1" providerId="ADAL" clId="{F907ACC7-C8F7-470E-B883-D49732EB787C}" dt="2024-02-23T15:08:06.087" v="42721"/>
          <ac:spMkLst>
            <pc:docMk/>
            <pc:sldMk cId="3540406656" sldId="2147483617"/>
            <ac:spMk id="14" creationId="{0A72EF60-B00A-C33B-EB9F-FAE36072F636}"/>
          </ac:spMkLst>
        </pc:spChg>
        <pc:spChg chg="mod">
          <ac:chgData name="Hänninen, Lauri" userId="b62831d1-2046-40aa-b4b7-d67e2d73afe1" providerId="ADAL" clId="{F907ACC7-C8F7-470E-B883-D49732EB787C}" dt="2024-02-23T15:08:06.074" v="42684"/>
          <ac:spMkLst>
            <pc:docMk/>
            <pc:sldMk cId="3540406656" sldId="2147483617"/>
            <ac:spMk id="18" creationId="{DA67438F-6D79-736F-49FB-308EA5BBA8EE}"/>
          </ac:spMkLst>
        </pc:spChg>
        <pc:spChg chg="mod">
          <ac:chgData name="Hänninen, Lauri" userId="b62831d1-2046-40aa-b4b7-d67e2d73afe1" providerId="ADAL" clId="{F907ACC7-C8F7-470E-B883-D49732EB787C}" dt="2024-02-23T15:08:06.076" v="42687"/>
          <ac:spMkLst>
            <pc:docMk/>
            <pc:sldMk cId="3540406656" sldId="2147483617"/>
            <ac:spMk id="21" creationId="{6062892B-8947-21A6-6D21-1D4B26D833FE}"/>
          </ac:spMkLst>
        </pc:spChg>
        <pc:spChg chg="mod">
          <ac:chgData name="Hänninen, Lauri" userId="b62831d1-2046-40aa-b4b7-d67e2d73afe1" providerId="ADAL" clId="{F907ACC7-C8F7-470E-B883-D49732EB787C}" dt="2024-02-23T15:08:06.077" v="42688"/>
          <ac:spMkLst>
            <pc:docMk/>
            <pc:sldMk cId="3540406656" sldId="2147483617"/>
            <ac:spMk id="22" creationId="{9749088D-3808-94B6-332F-E8DA1ECDF3FB}"/>
          </ac:spMkLst>
        </pc:spChg>
        <pc:spChg chg="mod">
          <ac:chgData name="Hänninen, Lauri" userId="b62831d1-2046-40aa-b4b7-d67e2d73afe1" providerId="ADAL" clId="{F907ACC7-C8F7-470E-B883-D49732EB787C}" dt="2024-02-23T15:08:06.077" v="42689"/>
          <ac:spMkLst>
            <pc:docMk/>
            <pc:sldMk cId="3540406656" sldId="2147483617"/>
            <ac:spMk id="23" creationId="{440C9793-8B38-C632-8A71-63811F7254A7}"/>
          </ac:spMkLst>
        </pc:spChg>
        <pc:spChg chg="mod">
          <ac:chgData name="Hänninen, Lauri" userId="b62831d1-2046-40aa-b4b7-d67e2d73afe1" providerId="ADAL" clId="{F907ACC7-C8F7-470E-B883-D49732EB787C}" dt="2024-02-23T15:08:06.078" v="42690"/>
          <ac:spMkLst>
            <pc:docMk/>
            <pc:sldMk cId="3540406656" sldId="2147483617"/>
            <ac:spMk id="24" creationId="{4BCED682-F630-C427-44A2-605E2D21E78C}"/>
          </ac:spMkLst>
        </pc:spChg>
        <pc:spChg chg="mod">
          <ac:chgData name="Hänninen, Lauri" userId="b62831d1-2046-40aa-b4b7-d67e2d73afe1" providerId="ADAL" clId="{F907ACC7-C8F7-470E-B883-D49732EB787C}" dt="2024-02-23T15:08:06.078" v="42691"/>
          <ac:spMkLst>
            <pc:docMk/>
            <pc:sldMk cId="3540406656" sldId="2147483617"/>
            <ac:spMk id="25" creationId="{DC2441AD-9C16-1DCE-AD00-E826014D3311}"/>
          </ac:spMkLst>
        </pc:spChg>
        <pc:spChg chg="mod">
          <ac:chgData name="Hänninen, Lauri" userId="b62831d1-2046-40aa-b4b7-d67e2d73afe1" providerId="ADAL" clId="{F907ACC7-C8F7-470E-B883-D49732EB787C}" dt="2024-02-23T15:08:06.079" v="42692"/>
          <ac:spMkLst>
            <pc:docMk/>
            <pc:sldMk cId="3540406656" sldId="2147483617"/>
            <ac:spMk id="26" creationId="{A51F07DB-9A38-9C6C-7DF5-BF961A3D3A22}"/>
          </ac:spMkLst>
        </pc:spChg>
        <pc:spChg chg="mod">
          <ac:chgData name="Hänninen, Lauri" userId="b62831d1-2046-40aa-b4b7-d67e2d73afe1" providerId="ADAL" clId="{F907ACC7-C8F7-470E-B883-D49732EB787C}" dt="2024-02-23T15:08:06.079" v="42693"/>
          <ac:spMkLst>
            <pc:docMk/>
            <pc:sldMk cId="3540406656" sldId="2147483617"/>
            <ac:spMk id="27" creationId="{10558318-9A5B-129E-6F44-B6EAB5BBAED5}"/>
          </ac:spMkLst>
        </pc:spChg>
        <pc:spChg chg="mod">
          <ac:chgData name="Hänninen, Lauri" userId="b62831d1-2046-40aa-b4b7-d67e2d73afe1" providerId="ADAL" clId="{F907ACC7-C8F7-470E-B883-D49732EB787C}" dt="2024-02-23T15:08:06.079" v="42694"/>
          <ac:spMkLst>
            <pc:docMk/>
            <pc:sldMk cId="3540406656" sldId="2147483617"/>
            <ac:spMk id="28" creationId="{CCC872DC-4193-117D-1D2B-782704246CFA}"/>
          </ac:spMkLst>
        </pc:spChg>
        <pc:spChg chg="mod ord">
          <ac:chgData name="Hänninen, Lauri" userId="b62831d1-2046-40aa-b4b7-d67e2d73afe1" providerId="ADAL" clId="{F907ACC7-C8F7-470E-B883-D49732EB787C}" dt="2024-02-23T15:08:06.080" v="42696"/>
          <ac:spMkLst>
            <pc:docMk/>
            <pc:sldMk cId="3540406656" sldId="2147483617"/>
            <ac:spMk id="71" creationId="{EE992E18-1609-A45F-C55E-2F8EB9B43B4F}"/>
          </ac:spMkLst>
        </pc:spChg>
        <pc:spChg chg="mod">
          <ac:chgData name="Hänninen, Lauri" userId="b62831d1-2046-40aa-b4b7-d67e2d73afe1" providerId="ADAL" clId="{F907ACC7-C8F7-470E-B883-D49732EB787C}" dt="2024-02-23T15:24:17.695" v="42870" actId="408"/>
          <ac:spMkLst>
            <pc:docMk/>
            <pc:sldMk cId="3540406656" sldId="2147483617"/>
            <ac:spMk id="92" creationId="{6549695D-DB61-6B3E-3873-C2FAE8FA150D}"/>
          </ac:spMkLst>
        </pc:spChg>
        <pc:spChg chg="mod">
          <ac:chgData name="Hänninen, Lauri" userId="b62831d1-2046-40aa-b4b7-d67e2d73afe1" providerId="ADAL" clId="{F907ACC7-C8F7-470E-B883-D49732EB787C}" dt="2024-02-23T15:08:06.072" v="42681"/>
          <ac:spMkLst>
            <pc:docMk/>
            <pc:sldMk cId="3540406656" sldId="2147483617"/>
            <ac:spMk id="110" creationId="{38943964-F61D-F32E-B560-07010A69F31B}"/>
          </ac:spMkLst>
        </pc:spChg>
        <pc:spChg chg="mod">
          <ac:chgData name="Hänninen, Lauri" userId="b62831d1-2046-40aa-b4b7-d67e2d73afe1" providerId="ADAL" clId="{F907ACC7-C8F7-470E-B883-D49732EB787C}" dt="2024-02-23T15:08:06.072" v="42682"/>
          <ac:spMkLst>
            <pc:docMk/>
            <pc:sldMk cId="3540406656" sldId="2147483617"/>
            <ac:spMk id="111" creationId="{4829619A-C091-1060-0081-09BA7F24A7A5}"/>
          </ac:spMkLst>
        </pc:spChg>
        <pc:spChg chg="mod">
          <ac:chgData name="Hänninen, Lauri" userId="b62831d1-2046-40aa-b4b7-d67e2d73afe1" providerId="ADAL" clId="{F907ACC7-C8F7-470E-B883-D49732EB787C}" dt="2024-02-23T15:08:06.073" v="42683"/>
          <ac:spMkLst>
            <pc:docMk/>
            <pc:sldMk cId="3540406656" sldId="2147483617"/>
            <ac:spMk id="112" creationId="{7CD8E8D5-F06F-655B-5493-4110B566CDDB}"/>
          </ac:spMkLst>
        </pc:spChg>
        <pc:spChg chg="mod">
          <ac:chgData name="Hänninen, Lauri" userId="b62831d1-2046-40aa-b4b7-d67e2d73afe1" providerId="ADAL" clId="{F907ACC7-C8F7-470E-B883-D49732EB787C}" dt="2024-02-23T15:08:06.075" v="42685"/>
          <ac:spMkLst>
            <pc:docMk/>
            <pc:sldMk cId="3540406656" sldId="2147483617"/>
            <ac:spMk id="113" creationId="{FCD65EA2-3170-BB6E-B692-ADCABB1D69B0}"/>
          </ac:spMkLst>
        </pc:spChg>
        <pc:spChg chg="mod">
          <ac:chgData name="Hänninen, Lauri" userId="b62831d1-2046-40aa-b4b7-d67e2d73afe1" providerId="ADAL" clId="{F907ACC7-C8F7-470E-B883-D49732EB787C}" dt="2024-02-23T15:08:06.075" v="42686"/>
          <ac:spMkLst>
            <pc:docMk/>
            <pc:sldMk cId="3540406656" sldId="2147483617"/>
            <ac:spMk id="114" creationId="{649107F8-7132-1F71-1CED-83957C024B8C}"/>
          </ac:spMkLst>
        </pc:spChg>
        <pc:spChg chg="mod ord">
          <ac:chgData name="Hänninen, Lauri" userId="b62831d1-2046-40aa-b4b7-d67e2d73afe1" providerId="ADAL" clId="{F907ACC7-C8F7-470E-B883-D49732EB787C}" dt="2024-02-23T15:08:06.081" v="42698"/>
          <ac:spMkLst>
            <pc:docMk/>
            <pc:sldMk cId="3540406656" sldId="2147483617"/>
            <ac:spMk id="163" creationId="{56AFCB97-D87A-64F7-138A-00AD64EFEA83}"/>
          </ac:spMkLst>
        </pc:spChg>
        <pc:spChg chg="mod">
          <ac:chgData name="Hänninen, Lauri" userId="b62831d1-2046-40aa-b4b7-d67e2d73afe1" providerId="ADAL" clId="{F907ACC7-C8F7-470E-B883-D49732EB787C}" dt="2024-02-23T15:24:17.695" v="42870" actId="408"/>
          <ac:spMkLst>
            <pc:docMk/>
            <pc:sldMk cId="3540406656" sldId="2147483617"/>
            <ac:spMk id="165" creationId="{624C2A4D-D4AF-B92C-39C1-77C8531EEA14}"/>
          </ac:spMkLst>
        </pc:spChg>
        <pc:spChg chg="mod">
          <ac:chgData name="Hänninen, Lauri" userId="b62831d1-2046-40aa-b4b7-d67e2d73afe1" providerId="ADAL" clId="{F907ACC7-C8F7-470E-B883-D49732EB787C}" dt="2024-02-23T15:24:17.695" v="42870" actId="408"/>
          <ac:spMkLst>
            <pc:docMk/>
            <pc:sldMk cId="3540406656" sldId="2147483617"/>
            <ac:spMk id="166" creationId="{85E9EDE3-B5AA-C84B-C06D-265FA562F63E}"/>
          </ac:spMkLst>
        </pc:spChg>
        <pc:spChg chg="mod ord">
          <ac:chgData name="Hänninen, Lauri" userId="b62831d1-2046-40aa-b4b7-d67e2d73afe1" providerId="ADAL" clId="{F907ACC7-C8F7-470E-B883-D49732EB787C}" dt="2024-02-23T15:24:17.695" v="42870" actId="408"/>
          <ac:spMkLst>
            <pc:docMk/>
            <pc:sldMk cId="3540406656" sldId="2147483617"/>
            <ac:spMk id="180" creationId="{9248F7DF-EA88-DC15-52A0-3A9B216E4EFB}"/>
          </ac:spMkLst>
        </pc:spChg>
        <pc:spChg chg="mod ord">
          <ac:chgData name="Hänninen, Lauri" userId="b62831d1-2046-40aa-b4b7-d67e2d73afe1" providerId="ADAL" clId="{F907ACC7-C8F7-470E-B883-D49732EB787C}" dt="2024-02-23T15:26:51.242" v="42942"/>
          <ac:spMkLst>
            <pc:docMk/>
            <pc:sldMk cId="3540406656" sldId="2147483617"/>
            <ac:spMk id="181" creationId="{B90C14F6-DF1B-367D-C3FC-557A2E26378E}"/>
          </ac:spMkLst>
        </pc:spChg>
        <pc:grpChg chg="mod">
          <ac:chgData name="Hänninen, Lauri" userId="b62831d1-2046-40aa-b4b7-d67e2d73afe1" providerId="ADAL" clId="{F907ACC7-C8F7-470E-B883-D49732EB787C}" dt="2024-02-23T15:24:17.695" v="42870" actId="408"/>
          <ac:grpSpMkLst>
            <pc:docMk/>
            <pc:sldMk cId="3540406656" sldId="2147483617"/>
            <ac:grpSpMk id="90" creationId="{6E775289-05E4-CFBD-4877-234B1CB6F007}"/>
          </ac:grpSpMkLst>
        </pc:grpChg>
        <pc:grpChg chg="mod">
          <ac:chgData name="Hänninen, Lauri" userId="b62831d1-2046-40aa-b4b7-d67e2d73afe1" providerId="ADAL" clId="{F907ACC7-C8F7-470E-B883-D49732EB787C}" dt="2024-02-23T15:24:17.695" v="42870" actId="408"/>
          <ac:grpSpMkLst>
            <pc:docMk/>
            <pc:sldMk cId="3540406656" sldId="2147483617"/>
            <ac:grpSpMk id="164" creationId="{26EF0D1B-F0B5-93B4-9743-7198534EA873}"/>
          </ac:grpSpMkLst>
        </pc:grpChg>
        <pc:grpChg chg="mod">
          <ac:chgData name="Hänninen, Lauri" userId="b62831d1-2046-40aa-b4b7-d67e2d73afe1" providerId="ADAL" clId="{F907ACC7-C8F7-470E-B883-D49732EB787C}" dt="2024-02-23T15:24:17.695" v="42870" actId="408"/>
          <ac:grpSpMkLst>
            <pc:docMk/>
            <pc:sldMk cId="3540406656" sldId="2147483617"/>
            <ac:grpSpMk id="167" creationId="{BE0F7A1A-F75E-6944-5C53-C3B955940FCF}"/>
          </ac:grpSpMkLst>
        </pc:grpChg>
        <pc:graphicFrameChg chg="add mod replST">
          <ac:chgData name="Hänninen, Lauri" userId="b62831d1-2046-40aa-b4b7-d67e2d73afe1" providerId="ADAL" clId="{F907ACC7-C8F7-470E-B883-D49732EB787C}" dt="2024-02-23T15:08:06.071" v="42680"/>
          <ac:graphicFrameMkLst>
            <pc:docMk/>
            <pc:sldMk cId="3540406656" sldId="2147483617"/>
            <ac:graphicFrameMk id="15" creationId="{81BA1774-F118-EB8B-8816-C81523C8AB68}"/>
          </ac:graphicFrameMkLst>
        </pc:graphicFrameChg>
        <pc:graphicFrameChg chg="mod">
          <ac:chgData name="Hänninen, Lauri" userId="b62831d1-2046-40aa-b4b7-d67e2d73afe1" providerId="ADAL" clId="{F907ACC7-C8F7-470E-B883-D49732EB787C}" dt="2024-02-23T15:08:06.545" v="42723"/>
          <ac:graphicFrameMkLst>
            <pc:docMk/>
            <pc:sldMk cId="3540406656" sldId="2147483617"/>
            <ac:graphicFrameMk id="37" creationId="{F5F07971-76A7-DD18-A5BE-9C7ED42D9A89}"/>
          </ac:graphicFrameMkLst>
        </pc:graphicFrameChg>
        <pc:graphicFrameChg chg="del">
          <ac:chgData name="Hänninen, Lauri" userId="b62831d1-2046-40aa-b4b7-d67e2d73afe1" providerId="ADAL" clId="{F907ACC7-C8F7-470E-B883-D49732EB787C}" dt="2024-02-23T15:08:05.946" v="42653"/>
          <ac:graphicFrameMkLst>
            <pc:docMk/>
            <pc:sldMk cId="3540406656" sldId="2147483617"/>
            <ac:graphicFrameMk id="210" creationId="{2CCAAAFE-9007-081C-51F3-354DDE58AB8A}"/>
          </ac:graphicFrameMkLst>
        </pc:graphicFrameChg>
        <pc:picChg chg="add mod">
          <ac:chgData name="Hänninen, Lauri" userId="b62831d1-2046-40aa-b4b7-d67e2d73afe1" providerId="ADAL" clId="{F907ACC7-C8F7-470E-B883-D49732EB787C}" dt="2024-02-23T15:29:12.967" v="42953" actId="465"/>
          <ac:picMkLst>
            <pc:docMk/>
            <pc:sldMk cId="3540406656" sldId="2147483617"/>
            <ac:picMk id="17" creationId="{FBFFC2F6-8B2C-95E6-A6E5-73A135480EE1}"/>
          </ac:picMkLst>
        </pc:picChg>
        <pc:picChg chg="add mod">
          <ac:chgData name="Hänninen, Lauri" userId="b62831d1-2046-40aa-b4b7-d67e2d73afe1" providerId="ADAL" clId="{F907ACC7-C8F7-470E-B883-D49732EB787C}" dt="2024-02-23T15:29:12.967" v="42953" actId="465"/>
          <ac:picMkLst>
            <pc:docMk/>
            <pc:sldMk cId="3540406656" sldId="2147483617"/>
            <ac:picMk id="20" creationId="{AE8465C6-C16E-06B0-C1C0-884CCA13A707}"/>
          </ac:picMkLst>
        </pc:picChg>
        <pc:picChg chg="add mod ord">
          <ac:chgData name="Hänninen, Lauri" userId="b62831d1-2046-40aa-b4b7-d67e2d73afe1" providerId="ADAL" clId="{F907ACC7-C8F7-470E-B883-D49732EB787C}" dt="2024-02-23T15:28:55.902" v="42947" actId="1076"/>
          <ac:picMkLst>
            <pc:docMk/>
            <pc:sldMk cId="3540406656" sldId="2147483617"/>
            <ac:picMk id="36" creationId="{0E628D8B-9407-9955-1ED8-41E9AACED384}"/>
          </ac:picMkLst>
        </pc:picChg>
        <pc:picChg chg="mod ord">
          <ac:chgData name="Hänninen, Lauri" userId="b62831d1-2046-40aa-b4b7-d67e2d73afe1" providerId="ADAL" clId="{F907ACC7-C8F7-470E-B883-D49732EB787C}" dt="2024-02-23T15:29:12.967" v="42953" actId="465"/>
          <ac:picMkLst>
            <pc:docMk/>
            <pc:sldMk cId="3540406656" sldId="2147483617"/>
            <ac:picMk id="161" creationId="{A28D1A19-22B7-EFA3-EECE-29B7E50A72EB}"/>
          </ac:picMkLst>
        </pc:picChg>
        <pc:picChg chg="mod ord">
          <ac:chgData name="Hänninen, Lauri" userId="b62831d1-2046-40aa-b4b7-d67e2d73afe1" providerId="ADAL" clId="{F907ACC7-C8F7-470E-B883-D49732EB787C}" dt="2024-02-23T15:24:24.333" v="42871" actId="1076"/>
          <ac:picMkLst>
            <pc:docMk/>
            <pc:sldMk cId="3540406656" sldId="2147483617"/>
            <ac:picMk id="171" creationId="{C07D1D16-E76B-0685-C3EF-5FEF48FDFC47}"/>
          </ac:picMkLst>
        </pc:picChg>
        <pc:picChg chg="mod ord">
          <ac:chgData name="Hänninen, Lauri" userId="b62831d1-2046-40aa-b4b7-d67e2d73afe1" providerId="ADAL" clId="{F907ACC7-C8F7-470E-B883-D49732EB787C}" dt="2024-02-23T15:29:04.162" v="42951" actId="1076"/>
          <ac:picMkLst>
            <pc:docMk/>
            <pc:sldMk cId="3540406656" sldId="2147483617"/>
            <ac:picMk id="206" creationId="{D647D978-AD6A-425D-40D2-A88D899E5A37}"/>
          </ac:picMkLst>
        </pc:picChg>
        <pc:picChg chg="mod ord">
          <ac:chgData name="Hänninen, Lauri" userId="b62831d1-2046-40aa-b4b7-d67e2d73afe1" providerId="ADAL" clId="{F907ACC7-C8F7-470E-B883-D49732EB787C}" dt="2024-02-23T15:29:04.826" v="42952" actId="1076"/>
          <ac:picMkLst>
            <pc:docMk/>
            <pc:sldMk cId="3540406656" sldId="2147483617"/>
            <ac:picMk id="208" creationId="{DBE0DB47-862F-3E1E-C625-7A05D8AE23EF}"/>
          </ac:picMkLst>
        </pc:picChg>
        <pc:picChg chg="del mod ord">
          <ac:chgData name="Hänninen, Lauri" userId="b62831d1-2046-40aa-b4b7-d67e2d73afe1" providerId="ADAL" clId="{F907ACC7-C8F7-470E-B883-D49732EB787C}" dt="2024-02-23T15:24:42.444" v="42876" actId="478"/>
          <ac:picMkLst>
            <pc:docMk/>
            <pc:sldMk cId="3540406656" sldId="2147483617"/>
            <ac:picMk id="215" creationId="{3B000A68-2736-706C-32C8-AA2C599BE69A}"/>
          </ac:picMkLst>
        </pc:picChg>
        <pc:picChg chg="mod ord">
          <ac:chgData name="Hänninen, Lauri" userId="b62831d1-2046-40aa-b4b7-d67e2d73afe1" providerId="ADAL" clId="{F907ACC7-C8F7-470E-B883-D49732EB787C}" dt="2024-02-23T15:29:01.148" v="42949" actId="1076"/>
          <ac:picMkLst>
            <pc:docMk/>
            <pc:sldMk cId="3540406656" sldId="2147483617"/>
            <ac:picMk id="217" creationId="{35FE682E-4D09-15A2-A337-3A3DDB651BBF}"/>
          </ac:picMkLst>
        </pc:picChg>
        <pc:picChg chg="mod ord">
          <ac:chgData name="Hänninen, Lauri" userId="b62831d1-2046-40aa-b4b7-d67e2d73afe1" providerId="ADAL" clId="{F907ACC7-C8F7-470E-B883-D49732EB787C}" dt="2024-02-23T15:29:03.283" v="42950" actId="1076"/>
          <ac:picMkLst>
            <pc:docMk/>
            <pc:sldMk cId="3540406656" sldId="2147483617"/>
            <ac:picMk id="218" creationId="{999C99B5-CA09-304D-085F-700465424DC0}"/>
          </ac:picMkLst>
        </pc:picChg>
        <pc:cxnChg chg="mod ord">
          <ac:chgData name="Hänninen, Lauri" userId="b62831d1-2046-40aa-b4b7-d67e2d73afe1" providerId="ADAL" clId="{F907ACC7-C8F7-470E-B883-D49732EB787C}" dt="2024-02-23T15:08:06.069" v="42675"/>
          <ac:cxnSpMkLst>
            <pc:docMk/>
            <pc:sldMk cId="3540406656" sldId="2147483617"/>
            <ac:cxnSpMk id="9" creationId="{BECD55D3-BF0D-15A9-7584-9D17CCF535F3}"/>
          </ac:cxnSpMkLst>
        </pc:cxnChg>
        <pc:cxnChg chg="mod">
          <ac:chgData name="Hänninen, Lauri" userId="b62831d1-2046-40aa-b4b7-d67e2d73afe1" providerId="ADAL" clId="{F907ACC7-C8F7-470E-B883-D49732EB787C}" dt="2024-02-23T15:24:17.695" v="42870" actId="408"/>
          <ac:cxnSpMkLst>
            <pc:docMk/>
            <pc:sldMk cId="3540406656" sldId="2147483617"/>
            <ac:cxnSpMk id="91" creationId="{21C08121-9B9D-103A-9C10-F224B80573F7}"/>
          </ac:cxnSpMkLst>
        </pc:cxnChg>
        <pc:cxnChg chg="mod ord">
          <ac:chgData name="Hänninen, Lauri" userId="b62831d1-2046-40aa-b4b7-d67e2d73afe1" providerId="ADAL" clId="{F907ACC7-C8F7-470E-B883-D49732EB787C}" dt="2024-02-23T15:08:06.066" v="42669"/>
          <ac:cxnSpMkLst>
            <pc:docMk/>
            <pc:sldMk cId="3540406656" sldId="2147483617"/>
            <ac:cxnSpMk id="116" creationId="{CABE946D-7716-DA15-3A3F-9453F27B40D5}"/>
          </ac:cxnSpMkLst>
        </pc:cxnChg>
        <pc:cxnChg chg="mod ord">
          <ac:chgData name="Hänninen, Lauri" userId="b62831d1-2046-40aa-b4b7-d67e2d73afe1" providerId="ADAL" clId="{F907ACC7-C8F7-470E-B883-D49732EB787C}" dt="2024-02-23T15:08:06.067" v="42671"/>
          <ac:cxnSpMkLst>
            <pc:docMk/>
            <pc:sldMk cId="3540406656" sldId="2147483617"/>
            <ac:cxnSpMk id="117" creationId="{EE7FBFFD-57FA-103C-4AA2-8CF4BBBDB3D8}"/>
          </ac:cxnSpMkLst>
        </pc:cxnChg>
        <pc:cxnChg chg="mod ord">
          <ac:chgData name="Hänninen, Lauri" userId="b62831d1-2046-40aa-b4b7-d67e2d73afe1" providerId="ADAL" clId="{F907ACC7-C8F7-470E-B883-D49732EB787C}" dt="2024-02-23T15:08:06.068" v="42673"/>
          <ac:cxnSpMkLst>
            <pc:docMk/>
            <pc:sldMk cId="3540406656" sldId="2147483617"/>
            <ac:cxnSpMk id="118" creationId="{247E4565-28A3-288C-F4B5-5FC70D430C02}"/>
          </ac:cxnSpMkLst>
        </pc:cxnChg>
        <pc:cxnChg chg="mod ord">
          <ac:chgData name="Hänninen, Lauri" userId="b62831d1-2046-40aa-b4b7-d67e2d73afe1" providerId="ADAL" clId="{F907ACC7-C8F7-470E-B883-D49732EB787C}" dt="2024-02-23T15:08:06.069" v="42677"/>
          <ac:cxnSpMkLst>
            <pc:docMk/>
            <pc:sldMk cId="3540406656" sldId="2147483617"/>
            <ac:cxnSpMk id="119" creationId="{CBFE325D-8382-BC92-11D1-EC49C84B6543}"/>
          </ac:cxnSpMkLst>
        </pc:cxnChg>
        <pc:cxnChg chg="mod ord">
          <ac:chgData name="Hänninen, Lauri" userId="b62831d1-2046-40aa-b4b7-d67e2d73afe1" providerId="ADAL" clId="{F907ACC7-C8F7-470E-B883-D49732EB787C}" dt="2024-02-23T15:08:06.070" v="42679"/>
          <ac:cxnSpMkLst>
            <pc:docMk/>
            <pc:sldMk cId="3540406656" sldId="2147483617"/>
            <ac:cxnSpMk id="120" creationId="{8264C9C8-1F16-D427-D063-7AE172AA9EE8}"/>
          </ac:cxnSpMkLst>
        </pc:cxnChg>
      </pc:sldChg>
      <pc:sldChg chg="addSp delSp modSp new del mod modShow">
        <pc:chgData name="Hänninen, Lauri" userId="b62831d1-2046-40aa-b4b7-d67e2d73afe1" providerId="ADAL" clId="{F907ACC7-C8F7-470E-B883-D49732EB787C}" dt="2024-02-22T11:37:20.046" v="42190" actId="47"/>
        <pc:sldMkLst>
          <pc:docMk/>
          <pc:sldMk cId="3117143624" sldId="2147483618"/>
        </pc:sldMkLst>
        <pc:spChg chg="del mod">
          <ac:chgData name="Hänninen, Lauri" userId="b62831d1-2046-40aa-b4b7-d67e2d73afe1" providerId="ADAL" clId="{F907ACC7-C8F7-470E-B883-D49732EB787C}" dt="2024-02-22T11:13:42.039" v="38642" actId="478"/>
          <ac:spMkLst>
            <pc:docMk/>
            <pc:sldMk cId="3117143624" sldId="2147483618"/>
            <ac:spMk id="5" creationId="{20CC3389-7209-19AF-44E4-E250FE99E442}"/>
          </ac:spMkLst>
        </pc:spChg>
        <pc:spChg chg="del">
          <ac:chgData name="Hänninen, Lauri" userId="b62831d1-2046-40aa-b4b7-d67e2d73afe1" providerId="ADAL" clId="{F907ACC7-C8F7-470E-B883-D49732EB787C}" dt="2024-02-22T11:13:52.775" v="38648" actId="478"/>
          <ac:spMkLst>
            <pc:docMk/>
            <pc:sldMk cId="3117143624" sldId="2147483618"/>
            <ac:spMk id="6" creationId="{6677276C-F437-6677-071F-19B9304E1A23}"/>
          </ac:spMkLst>
        </pc:spChg>
        <pc:spChg chg="del">
          <ac:chgData name="Hänninen, Lauri" userId="b62831d1-2046-40aa-b4b7-d67e2d73afe1" providerId="ADAL" clId="{F907ACC7-C8F7-470E-B883-D49732EB787C}" dt="2024-02-22T11:13:52.775" v="38648" actId="478"/>
          <ac:spMkLst>
            <pc:docMk/>
            <pc:sldMk cId="3117143624" sldId="2147483618"/>
            <ac:spMk id="7" creationId="{094E0218-7DED-28C4-CD9F-EA55C6A54A0C}"/>
          </ac:spMkLst>
        </pc:spChg>
        <pc:spChg chg="add del mod">
          <ac:chgData name="Hänninen, Lauri" userId="b62831d1-2046-40aa-b4b7-d67e2d73afe1" providerId="ADAL" clId="{F907ACC7-C8F7-470E-B883-D49732EB787C}" dt="2024-02-22T11:13:50.565" v="38647" actId="478"/>
          <ac:spMkLst>
            <pc:docMk/>
            <pc:sldMk cId="3117143624" sldId="2147483618"/>
            <ac:spMk id="9" creationId="{2E897411-B51D-9A87-1DE3-242CF9442858}"/>
          </ac:spMkLst>
        </pc:spChg>
        <pc:spChg chg="add mod">
          <ac:chgData name="Hänninen, Lauri" userId="b62831d1-2046-40aa-b4b7-d67e2d73afe1" providerId="ADAL" clId="{F907ACC7-C8F7-470E-B883-D49732EB787C}" dt="2024-02-22T11:13:48.767" v="38646"/>
          <ac:spMkLst>
            <pc:docMk/>
            <pc:sldMk cId="3117143624" sldId="2147483618"/>
            <ac:spMk id="10" creationId="{2EE4F94F-57E7-C51E-FEDA-DF0ACAA3E554}"/>
          </ac:spMkLst>
        </pc:spChg>
        <pc:spChg chg="add mod">
          <ac:chgData name="Hänninen, Lauri" userId="b62831d1-2046-40aa-b4b7-d67e2d73afe1" providerId="ADAL" clId="{F907ACC7-C8F7-470E-B883-D49732EB787C}" dt="2024-02-22T11:17:01.124" v="38664" actId="20577"/>
          <ac:spMkLst>
            <pc:docMk/>
            <pc:sldMk cId="3117143624" sldId="2147483618"/>
            <ac:spMk id="11" creationId="{545F5CDC-B572-1715-DD39-F091650B387A}"/>
          </ac:spMkLst>
        </pc:spChg>
        <pc:spChg chg="add mod">
          <ac:chgData name="Hänninen, Lauri" userId="b62831d1-2046-40aa-b4b7-d67e2d73afe1" providerId="ADAL" clId="{F907ACC7-C8F7-470E-B883-D49732EB787C}" dt="2024-02-22T11:21:04.288" v="38668" actId="255"/>
          <ac:spMkLst>
            <pc:docMk/>
            <pc:sldMk cId="3117143624" sldId="2147483618"/>
            <ac:spMk id="13" creationId="{06DEDC78-8B3B-3925-6475-0C17BAE72070}"/>
          </ac:spMkLst>
        </pc:spChg>
        <pc:spChg chg="add mod">
          <ac:chgData name="Hänninen, Lauri" userId="b62831d1-2046-40aa-b4b7-d67e2d73afe1" providerId="ADAL" clId="{F907ACC7-C8F7-470E-B883-D49732EB787C}" dt="2024-02-22T11:21:58.884" v="38673" actId="1076"/>
          <ac:spMkLst>
            <pc:docMk/>
            <pc:sldMk cId="3117143624" sldId="2147483618"/>
            <ac:spMk id="15" creationId="{C1D3C9A4-A3A9-2630-8337-8A84913C1696}"/>
          </ac:spMkLst>
        </pc:spChg>
      </pc:sldChg>
      <pc:sldChg chg="addSp delSp modSp add mod ord">
        <pc:chgData name="Hänninen, Lauri" userId="b62831d1-2046-40aa-b4b7-d67e2d73afe1" providerId="ADAL" clId="{F907ACC7-C8F7-470E-B883-D49732EB787C}" dt="2024-02-22T11:14:38.233" v="38652"/>
        <pc:sldMkLst>
          <pc:docMk/>
          <pc:sldMk cId="195621216" sldId="2147483619"/>
        </pc:sldMkLst>
        <pc:spChg chg="mod ord">
          <ac:chgData name="Hänninen, Lauri" userId="b62831d1-2046-40aa-b4b7-d67e2d73afe1" providerId="ADAL" clId="{F907ACC7-C8F7-470E-B883-D49732EB787C}" dt="2024-02-22T11:12:38.069" v="38464"/>
          <ac:spMkLst>
            <pc:docMk/>
            <pc:sldMk cId="195621216" sldId="2147483619"/>
            <ac:spMk id="2" creationId="{551A0760-76B6-B0DA-473F-4F9BCE390A30}"/>
          </ac:spMkLst>
        </pc:spChg>
        <pc:spChg chg="mod ord">
          <ac:chgData name="Hänninen, Lauri" userId="b62831d1-2046-40aa-b4b7-d67e2d73afe1" providerId="ADAL" clId="{F907ACC7-C8F7-470E-B883-D49732EB787C}" dt="2024-02-22T11:12:38.070" v="38466"/>
          <ac:spMkLst>
            <pc:docMk/>
            <pc:sldMk cId="195621216" sldId="2147483619"/>
            <ac:spMk id="3" creationId="{18FF0807-DAF8-B85E-04CD-C4F80F1262E3}"/>
          </ac:spMkLst>
        </pc:spChg>
        <pc:spChg chg="add del mod modVis">
          <ac:chgData name="Hänninen, Lauri" userId="b62831d1-2046-40aa-b4b7-d67e2d73afe1" providerId="ADAL" clId="{F907ACC7-C8F7-470E-B883-D49732EB787C}" dt="2024-02-22T11:12:35.755" v="38357"/>
          <ac:spMkLst>
            <pc:docMk/>
            <pc:sldMk cId="195621216" sldId="2147483619"/>
            <ac:spMk id="4" creationId="{3767C188-CFD7-6D09-BBB1-1C9D56CB5DBE}"/>
          </ac:spMkLst>
        </pc:spChg>
        <pc:spChg chg="mod ord">
          <ac:chgData name="Hänninen, Lauri" userId="b62831d1-2046-40aa-b4b7-d67e2d73afe1" providerId="ADAL" clId="{F907ACC7-C8F7-470E-B883-D49732EB787C}" dt="2024-02-22T11:12:38.071" v="38468"/>
          <ac:spMkLst>
            <pc:docMk/>
            <pc:sldMk cId="195621216" sldId="2147483619"/>
            <ac:spMk id="5" creationId="{904AF0DD-C736-641B-E724-FB2A35E7801D}"/>
          </ac:spMkLst>
        </pc:spChg>
        <pc:spChg chg="mod">
          <ac:chgData name="Hänninen, Lauri" userId="b62831d1-2046-40aa-b4b7-d67e2d73afe1" providerId="ADAL" clId="{F907ACC7-C8F7-470E-B883-D49732EB787C}" dt="2024-02-22T11:12:38.071" v="38469"/>
          <ac:spMkLst>
            <pc:docMk/>
            <pc:sldMk cId="195621216" sldId="2147483619"/>
            <ac:spMk id="6" creationId="{7E624B2B-6B3A-A95A-9FB1-955A0F155E43}"/>
          </ac:spMkLst>
        </pc:spChg>
        <pc:spChg chg="mod">
          <ac:chgData name="Hänninen, Lauri" userId="b62831d1-2046-40aa-b4b7-d67e2d73afe1" providerId="ADAL" clId="{F907ACC7-C8F7-470E-B883-D49732EB787C}" dt="2024-02-22T11:12:38.072" v="38470"/>
          <ac:spMkLst>
            <pc:docMk/>
            <pc:sldMk cId="195621216" sldId="2147483619"/>
            <ac:spMk id="7" creationId="{C7EBDFB9-CDDA-A163-084A-A2FDD8481202}"/>
          </ac:spMkLst>
        </pc:spChg>
        <pc:spChg chg="mod">
          <ac:chgData name="Hänninen, Lauri" userId="b62831d1-2046-40aa-b4b7-d67e2d73afe1" providerId="ADAL" clId="{F907ACC7-C8F7-470E-B883-D49732EB787C}" dt="2024-02-22T11:12:38.073" v="38471"/>
          <ac:spMkLst>
            <pc:docMk/>
            <pc:sldMk cId="195621216" sldId="2147483619"/>
            <ac:spMk id="8" creationId="{509CA467-F98E-715A-FF85-069C4B346E94}"/>
          </ac:spMkLst>
        </pc:spChg>
        <pc:spChg chg="mod">
          <ac:chgData name="Hänninen, Lauri" userId="b62831d1-2046-40aa-b4b7-d67e2d73afe1" providerId="ADAL" clId="{F907ACC7-C8F7-470E-B883-D49732EB787C}" dt="2024-02-22T11:12:38.073" v="38472"/>
          <ac:spMkLst>
            <pc:docMk/>
            <pc:sldMk cId="195621216" sldId="2147483619"/>
            <ac:spMk id="9" creationId="{AC40E903-33AA-3C51-F348-AF542B46194F}"/>
          </ac:spMkLst>
        </pc:spChg>
        <pc:spChg chg="mod">
          <ac:chgData name="Hänninen, Lauri" userId="b62831d1-2046-40aa-b4b7-d67e2d73afe1" providerId="ADAL" clId="{F907ACC7-C8F7-470E-B883-D49732EB787C}" dt="2024-02-22T11:12:38.074" v="38473"/>
          <ac:spMkLst>
            <pc:docMk/>
            <pc:sldMk cId="195621216" sldId="2147483619"/>
            <ac:spMk id="10" creationId="{AED3C9AB-BB1A-A2BF-2DCF-C7B8E59ED87A}"/>
          </ac:spMkLst>
        </pc:spChg>
        <pc:spChg chg="mod ord">
          <ac:chgData name="Hänninen, Lauri" userId="b62831d1-2046-40aa-b4b7-d67e2d73afe1" providerId="ADAL" clId="{F907ACC7-C8F7-470E-B883-D49732EB787C}" dt="2024-02-22T11:12:38.074" v="38475"/>
          <ac:spMkLst>
            <pc:docMk/>
            <pc:sldMk cId="195621216" sldId="2147483619"/>
            <ac:spMk id="12" creationId="{0F6EC2C8-148E-08D4-83D4-9AA37827B597}"/>
          </ac:spMkLst>
        </pc:spChg>
        <pc:spChg chg="add del mod modVis">
          <ac:chgData name="Hänninen, Lauri" userId="b62831d1-2046-40aa-b4b7-d67e2d73afe1" providerId="ADAL" clId="{F907ACC7-C8F7-470E-B883-D49732EB787C}" dt="2024-02-22T11:12:38.126" v="38603"/>
          <ac:spMkLst>
            <pc:docMk/>
            <pc:sldMk cId="195621216" sldId="2147483619"/>
            <ac:spMk id="13" creationId="{6715756B-F841-65A7-908E-68BC05D770DB}"/>
          </ac:spMkLst>
        </pc:spChg>
        <pc:spChg chg="mod">
          <ac:chgData name="Hänninen, Lauri" userId="b62831d1-2046-40aa-b4b7-d67e2d73afe1" providerId="ADAL" clId="{F907ACC7-C8F7-470E-B883-D49732EB787C}" dt="2024-02-22T11:12:38.075" v="38477"/>
          <ac:spMkLst>
            <pc:docMk/>
            <pc:sldMk cId="195621216" sldId="2147483619"/>
            <ac:spMk id="14" creationId="{042DD343-6B62-B921-B582-087610584A52}"/>
          </ac:spMkLst>
        </pc:spChg>
        <pc:spChg chg="mod">
          <ac:chgData name="Hänninen, Lauri" userId="b62831d1-2046-40aa-b4b7-d67e2d73afe1" providerId="ADAL" clId="{F907ACC7-C8F7-470E-B883-D49732EB787C}" dt="2024-02-22T11:12:38.076" v="38478"/>
          <ac:spMkLst>
            <pc:docMk/>
            <pc:sldMk cId="195621216" sldId="2147483619"/>
            <ac:spMk id="15" creationId="{7D9C0861-AE06-53FA-92EC-0BEFE2F70AFE}"/>
          </ac:spMkLst>
        </pc:spChg>
        <pc:spChg chg="mod">
          <ac:chgData name="Hänninen, Lauri" userId="b62831d1-2046-40aa-b4b7-d67e2d73afe1" providerId="ADAL" clId="{F907ACC7-C8F7-470E-B883-D49732EB787C}" dt="2024-02-22T11:12:38.077" v="38479"/>
          <ac:spMkLst>
            <pc:docMk/>
            <pc:sldMk cId="195621216" sldId="2147483619"/>
            <ac:spMk id="16" creationId="{7EE98975-ACF9-60EA-7A8D-4F86FAC6CC37}"/>
          </ac:spMkLst>
        </pc:spChg>
        <pc:spChg chg="mod">
          <ac:chgData name="Hänninen, Lauri" userId="b62831d1-2046-40aa-b4b7-d67e2d73afe1" providerId="ADAL" clId="{F907ACC7-C8F7-470E-B883-D49732EB787C}" dt="2024-02-22T11:12:38.077" v="38480"/>
          <ac:spMkLst>
            <pc:docMk/>
            <pc:sldMk cId="195621216" sldId="2147483619"/>
            <ac:spMk id="17" creationId="{20CBCBEC-C02C-210C-82F7-12C0821CC5C4}"/>
          </ac:spMkLst>
        </pc:spChg>
        <pc:spChg chg="mod">
          <ac:chgData name="Hänninen, Lauri" userId="b62831d1-2046-40aa-b4b7-d67e2d73afe1" providerId="ADAL" clId="{F907ACC7-C8F7-470E-B883-D49732EB787C}" dt="2024-02-22T11:12:38.078" v="38481"/>
          <ac:spMkLst>
            <pc:docMk/>
            <pc:sldMk cId="195621216" sldId="2147483619"/>
            <ac:spMk id="18" creationId="{21296A22-1473-7F56-FACA-1CB8E5B11E4C}"/>
          </ac:spMkLst>
        </pc:spChg>
        <pc:spChg chg="mod">
          <ac:chgData name="Hänninen, Lauri" userId="b62831d1-2046-40aa-b4b7-d67e2d73afe1" providerId="ADAL" clId="{F907ACC7-C8F7-470E-B883-D49732EB787C}" dt="2024-02-22T11:12:38.078" v="38482"/>
          <ac:spMkLst>
            <pc:docMk/>
            <pc:sldMk cId="195621216" sldId="2147483619"/>
            <ac:spMk id="19" creationId="{6FA4D75D-36C1-157A-E638-34FA99E7A321}"/>
          </ac:spMkLst>
        </pc:spChg>
        <pc:spChg chg="mod">
          <ac:chgData name="Hänninen, Lauri" userId="b62831d1-2046-40aa-b4b7-d67e2d73afe1" providerId="ADAL" clId="{F907ACC7-C8F7-470E-B883-D49732EB787C}" dt="2024-02-22T11:12:38.079" v="38483"/>
          <ac:spMkLst>
            <pc:docMk/>
            <pc:sldMk cId="195621216" sldId="2147483619"/>
            <ac:spMk id="20" creationId="{53EB66FB-5A6E-BD62-2F8B-104E969CA30A}"/>
          </ac:spMkLst>
        </pc:spChg>
        <pc:spChg chg="mod">
          <ac:chgData name="Hänninen, Lauri" userId="b62831d1-2046-40aa-b4b7-d67e2d73afe1" providerId="ADAL" clId="{F907ACC7-C8F7-470E-B883-D49732EB787C}" dt="2024-02-22T11:12:38.079" v="38484"/>
          <ac:spMkLst>
            <pc:docMk/>
            <pc:sldMk cId="195621216" sldId="2147483619"/>
            <ac:spMk id="21" creationId="{0075642A-7690-EDE1-68F7-01C3C22FA03C}"/>
          </ac:spMkLst>
        </pc:spChg>
        <pc:spChg chg="mod">
          <ac:chgData name="Hänninen, Lauri" userId="b62831d1-2046-40aa-b4b7-d67e2d73afe1" providerId="ADAL" clId="{F907ACC7-C8F7-470E-B883-D49732EB787C}" dt="2024-02-22T11:12:38.080" v="38485"/>
          <ac:spMkLst>
            <pc:docMk/>
            <pc:sldMk cId="195621216" sldId="2147483619"/>
            <ac:spMk id="22" creationId="{7DF98394-00F8-44C9-554D-90022B99CCD5}"/>
          </ac:spMkLst>
        </pc:spChg>
        <pc:spChg chg="mod ord">
          <ac:chgData name="Hänninen, Lauri" userId="b62831d1-2046-40aa-b4b7-d67e2d73afe1" providerId="ADAL" clId="{F907ACC7-C8F7-470E-B883-D49732EB787C}" dt="2024-02-22T11:12:38.081" v="38489"/>
          <ac:spMkLst>
            <pc:docMk/>
            <pc:sldMk cId="195621216" sldId="2147483619"/>
            <ac:spMk id="24" creationId="{A45F945A-6A24-C366-4F58-34061E6914B7}"/>
          </ac:spMkLst>
        </pc:spChg>
        <pc:spChg chg="mod">
          <ac:chgData name="Hänninen, Lauri" userId="b62831d1-2046-40aa-b4b7-d67e2d73afe1" providerId="ADAL" clId="{F907ACC7-C8F7-470E-B883-D49732EB787C}" dt="2024-02-22T11:12:38.082" v="38491"/>
          <ac:spMkLst>
            <pc:docMk/>
            <pc:sldMk cId="195621216" sldId="2147483619"/>
            <ac:spMk id="26" creationId="{DE7E6193-0153-E1A0-489A-602DAA1F76BA}"/>
          </ac:spMkLst>
        </pc:spChg>
        <pc:spChg chg="mod">
          <ac:chgData name="Hänninen, Lauri" userId="b62831d1-2046-40aa-b4b7-d67e2d73afe1" providerId="ADAL" clId="{F907ACC7-C8F7-470E-B883-D49732EB787C}" dt="2024-02-22T11:12:38.082" v="38492"/>
          <ac:spMkLst>
            <pc:docMk/>
            <pc:sldMk cId="195621216" sldId="2147483619"/>
            <ac:spMk id="27" creationId="{1AD693D0-35F9-41A2-BC6D-7EC121F69963}"/>
          </ac:spMkLst>
        </pc:spChg>
        <pc:spChg chg="mod">
          <ac:chgData name="Hänninen, Lauri" userId="b62831d1-2046-40aa-b4b7-d67e2d73afe1" providerId="ADAL" clId="{F907ACC7-C8F7-470E-B883-D49732EB787C}" dt="2024-02-22T11:12:38.082" v="38493"/>
          <ac:spMkLst>
            <pc:docMk/>
            <pc:sldMk cId="195621216" sldId="2147483619"/>
            <ac:spMk id="28" creationId="{BBADFD8D-4D40-7D6D-5429-A631B375E464}"/>
          </ac:spMkLst>
        </pc:spChg>
        <pc:spChg chg="mod">
          <ac:chgData name="Hänninen, Lauri" userId="b62831d1-2046-40aa-b4b7-d67e2d73afe1" providerId="ADAL" clId="{F907ACC7-C8F7-470E-B883-D49732EB787C}" dt="2024-02-22T11:12:38.083" v="38494"/>
          <ac:spMkLst>
            <pc:docMk/>
            <pc:sldMk cId="195621216" sldId="2147483619"/>
            <ac:spMk id="29" creationId="{C8BCCA10-D4A7-8D35-8411-7BFA4512619D}"/>
          </ac:spMkLst>
        </pc:spChg>
        <pc:spChg chg="mod">
          <ac:chgData name="Hänninen, Lauri" userId="b62831d1-2046-40aa-b4b7-d67e2d73afe1" providerId="ADAL" clId="{F907ACC7-C8F7-470E-B883-D49732EB787C}" dt="2024-02-22T11:12:38.083" v="38495"/>
          <ac:spMkLst>
            <pc:docMk/>
            <pc:sldMk cId="195621216" sldId="2147483619"/>
            <ac:spMk id="30" creationId="{981184D8-D7DD-E55C-E318-91D5BA7615E9}"/>
          </ac:spMkLst>
        </pc:spChg>
        <pc:spChg chg="mod">
          <ac:chgData name="Hänninen, Lauri" userId="b62831d1-2046-40aa-b4b7-d67e2d73afe1" providerId="ADAL" clId="{F907ACC7-C8F7-470E-B883-D49732EB787C}" dt="2024-02-22T11:12:38.084" v="38496"/>
          <ac:spMkLst>
            <pc:docMk/>
            <pc:sldMk cId="195621216" sldId="2147483619"/>
            <ac:spMk id="31" creationId="{6B27CC7B-ED07-71A5-912F-1A8560921E65}"/>
          </ac:spMkLst>
        </pc:spChg>
        <pc:spChg chg="mod">
          <ac:chgData name="Hänninen, Lauri" userId="b62831d1-2046-40aa-b4b7-d67e2d73afe1" providerId="ADAL" clId="{F907ACC7-C8F7-470E-B883-D49732EB787C}" dt="2024-02-22T11:12:38.084" v="38497"/>
          <ac:spMkLst>
            <pc:docMk/>
            <pc:sldMk cId="195621216" sldId="2147483619"/>
            <ac:spMk id="32" creationId="{30BFB511-3FE8-5200-979E-3C4AD1BB2FB4}"/>
          </ac:spMkLst>
        </pc:spChg>
        <pc:spChg chg="mod">
          <ac:chgData name="Hänninen, Lauri" userId="b62831d1-2046-40aa-b4b7-d67e2d73afe1" providerId="ADAL" clId="{F907ACC7-C8F7-470E-B883-D49732EB787C}" dt="2024-02-22T11:12:38.085" v="38498"/>
          <ac:spMkLst>
            <pc:docMk/>
            <pc:sldMk cId="195621216" sldId="2147483619"/>
            <ac:spMk id="33" creationId="{2E9EF003-9908-D7E6-D0D3-91EAB0667C3E}"/>
          </ac:spMkLst>
        </pc:spChg>
        <pc:spChg chg="mod">
          <ac:chgData name="Hänninen, Lauri" userId="b62831d1-2046-40aa-b4b7-d67e2d73afe1" providerId="ADAL" clId="{F907ACC7-C8F7-470E-B883-D49732EB787C}" dt="2024-02-22T11:12:38.085" v="38499"/>
          <ac:spMkLst>
            <pc:docMk/>
            <pc:sldMk cId="195621216" sldId="2147483619"/>
            <ac:spMk id="34" creationId="{6A1C4E45-74E8-6558-3070-8A1BB63E7B63}"/>
          </ac:spMkLst>
        </pc:spChg>
        <pc:spChg chg="mod">
          <ac:chgData name="Hänninen, Lauri" userId="b62831d1-2046-40aa-b4b7-d67e2d73afe1" providerId="ADAL" clId="{F907ACC7-C8F7-470E-B883-D49732EB787C}" dt="2024-02-22T11:12:38.086" v="38500"/>
          <ac:spMkLst>
            <pc:docMk/>
            <pc:sldMk cId="195621216" sldId="2147483619"/>
            <ac:spMk id="35" creationId="{2DB89FBB-1679-B05B-3118-780FABA99724}"/>
          </ac:spMkLst>
        </pc:spChg>
        <pc:spChg chg="mod">
          <ac:chgData name="Hänninen, Lauri" userId="b62831d1-2046-40aa-b4b7-d67e2d73afe1" providerId="ADAL" clId="{F907ACC7-C8F7-470E-B883-D49732EB787C}" dt="2024-02-22T11:12:38.086" v="38501"/>
          <ac:spMkLst>
            <pc:docMk/>
            <pc:sldMk cId="195621216" sldId="2147483619"/>
            <ac:spMk id="36" creationId="{4AC12EE4-AAE0-600C-5B34-A2D1A5622BAE}"/>
          </ac:spMkLst>
        </pc:spChg>
        <pc:spChg chg="mod">
          <ac:chgData name="Hänninen, Lauri" userId="b62831d1-2046-40aa-b4b7-d67e2d73afe1" providerId="ADAL" clId="{F907ACC7-C8F7-470E-B883-D49732EB787C}" dt="2024-02-22T11:12:38.087" v="38502"/>
          <ac:spMkLst>
            <pc:docMk/>
            <pc:sldMk cId="195621216" sldId="2147483619"/>
            <ac:spMk id="37" creationId="{35052140-8C82-2F66-AC8E-DDF823272006}"/>
          </ac:spMkLst>
        </pc:spChg>
        <pc:spChg chg="mod">
          <ac:chgData name="Hänninen, Lauri" userId="b62831d1-2046-40aa-b4b7-d67e2d73afe1" providerId="ADAL" clId="{F907ACC7-C8F7-470E-B883-D49732EB787C}" dt="2024-02-22T11:12:38.090" v="38513"/>
          <ac:spMkLst>
            <pc:docMk/>
            <pc:sldMk cId="195621216" sldId="2147483619"/>
            <ac:spMk id="43" creationId="{0554625D-7C6E-62D2-65F3-422532503E2B}"/>
          </ac:spMkLst>
        </pc:spChg>
        <pc:spChg chg="mod ord">
          <ac:chgData name="Hänninen, Lauri" userId="b62831d1-2046-40aa-b4b7-d67e2d73afe1" providerId="ADAL" clId="{F907ACC7-C8F7-470E-B883-D49732EB787C}" dt="2024-02-22T11:12:38.090" v="38515"/>
          <ac:spMkLst>
            <pc:docMk/>
            <pc:sldMk cId="195621216" sldId="2147483619"/>
            <ac:spMk id="44" creationId="{2F53C558-95A0-4A38-769F-47657E73CFAB}"/>
          </ac:spMkLst>
        </pc:spChg>
        <pc:spChg chg="mod">
          <ac:chgData name="Hänninen, Lauri" userId="b62831d1-2046-40aa-b4b7-d67e2d73afe1" providerId="ADAL" clId="{F907ACC7-C8F7-470E-B883-D49732EB787C}" dt="2024-02-22T11:12:38.091" v="38516"/>
          <ac:spMkLst>
            <pc:docMk/>
            <pc:sldMk cId="195621216" sldId="2147483619"/>
            <ac:spMk id="45" creationId="{805A1461-642D-563D-1518-A73DC58BC6A5}"/>
          </ac:spMkLst>
        </pc:spChg>
        <pc:spChg chg="mod">
          <ac:chgData name="Hänninen, Lauri" userId="b62831d1-2046-40aa-b4b7-d67e2d73afe1" providerId="ADAL" clId="{F907ACC7-C8F7-470E-B883-D49732EB787C}" dt="2024-02-22T11:12:38.091" v="38517"/>
          <ac:spMkLst>
            <pc:docMk/>
            <pc:sldMk cId="195621216" sldId="2147483619"/>
            <ac:spMk id="46" creationId="{5EED3477-B67B-0FA6-E0C6-CA3B4D5561A4}"/>
          </ac:spMkLst>
        </pc:spChg>
        <pc:spChg chg="mod">
          <ac:chgData name="Hänninen, Lauri" userId="b62831d1-2046-40aa-b4b7-d67e2d73afe1" providerId="ADAL" clId="{F907ACC7-C8F7-470E-B883-D49732EB787C}" dt="2024-02-22T11:12:38.092" v="38518"/>
          <ac:spMkLst>
            <pc:docMk/>
            <pc:sldMk cId="195621216" sldId="2147483619"/>
            <ac:spMk id="47" creationId="{A3D86680-6949-E7B7-69B6-D46C6E9BFA1F}"/>
          </ac:spMkLst>
        </pc:spChg>
        <pc:spChg chg="mod">
          <ac:chgData name="Hänninen, Lauri" userId="b62831d1-2046-40aa-b4b7-d67e2d73afe1" providerId="ADAL" clId="{F907ACC7-C8F7-470E-B883-D49732EB787C}" dt="2024-02-22T11:12:38.092" v="38519"/>
          <ac:spMkLst>
            <pc:docMk/>
            <pc:sldMk cId="195621216" sldId="2147483619"/>
            <ac:spMk id="48" creationId="{9D1EB512-173B-BEA9-1C49-3647099823AD}"/>
          </ac:spMkLst>
        </pc:spChg>
        <pc:spChg chg="mod">
          <ac:chgData name="Hänninen, Lauri" userId="b62831d1-2046-40aa-b4b7-d67e2d73afe1" providerId="ADAL" clId="{F907ACC7-C8F7-470E-B883-D49732EB787C}" dt="2024-02-22T11:12:38.092" v="38520"/>
          <ac:spMkLst>
            <pc:docMk/>
            <pc:sldMk cId="195621216" sldId="2147483619"/>
            <ac:spMk id="49" creationId="{98BDB999-CE36-81D6-39F9-75631658FF89}"/>
          </ac:spMkLst>
        </pc:spChg>
        <pc:spChg chg="mod ord">
          <ac:chgData name="Hänninen, Lauri" userId="b62831d1-2046-40aa-b4b7-d67e2d73afe1" providerId="ADAL" clId="{F907ACC7-C8F7-470E-B883-D49732EB787C}" dt="2024-02-22T11:12:38.093" v="38522"/>
          <ac:spMkLst>
            <pc:docMk/>
            <pc:sldMk cId="195621216" sldId="2147483619"/>
            <ac:spMk id="50" creationId="{BA4CA0EB-846C-78CD-0FC5-4BC4385A1732}"/>
          </ac:spMkLst>
        </pc:spChg>
        <pc:spChg chg="mod">
          <ac:chgData name="Hänninen, Lauri" userId="b62831d1-2046-40aa-b4b7-d67e2d73afe1" providerId="ADAL" clId="{F907ACC7-C8F7-470E-B883-D49732EB787C}" dt="2024-02-22T11:12:38.093" v="38523"/>
          <ac:spMkLst>
            <pc:docMk/>
            <pc:sldMk cId="195621216" sldId="2147483619"/>
            <ac:spMk id="51" creationId="{6A4480EA-0783-867A-F314-2FB3F2334C1C}"/>
          </ac:spMkLst>
        </pc:spChg>
        <pc:spChg chg="mod">
          <ac:chgData name="Hänninen, Lauri" userId="b62831d1-2046-40aa-b4b7-d67e2d73afe1" providerId="ADAL" clId="{F907ACC7-C8F7-470E-B883-D49732EB787C}" dt="2024-02-22T11:12:38.094" v="38524"/>
          <ac:spMkLst>
            <pc:docMk/>
            <pc:sldMk cId="195621216" sldId="2147483619"/>
            <ac:spMk id="52" creationId="{7B80E7D0-3786-ECDC-3BDE-52E7D73BC0FB}"/>
          </ac:spMkLst>
        </pc:spChg>
        <pc:spChg chg="mod">
          <ac:chgData name="Hänninen, Lauri" userId="b62831d1-2046-40aa-b4b7-d67e2d73afe1" providerId="ADAL" clId="{F907ACC7-C8F7-470E-B883-D49732EB787C}" dt="2024-02-22T11:12:38.095" v="38525"/>
          <ac:spMkLst>
            <pc:docMk/>
            <pc:sldMk cId="195621216" sldId="2147483619"/>
            <ac:spMk id="53" creationId="{549FE3A0-1B08-7B40-A513-38052FF461ED}"/>
          </ac:spMkLst>
        </pc:spChg>
        <pc:spChg chg="mod">
          <ac:chgData name="Hänninen, Lauri" userId="b62831d1-2046-40aa-b4b7-d67e2d73afe1" providerId="ADAL" clId="{F907ACC7-C8F7-470E-B883-D49732EB787C}" dt="2024-02-22T11:12:38.096" v="38526"/>
          <ac:spMkLst>
            <pc:docMk/>
            <pc:sldMk cId="195621216" sldId="2147483619"/>
            <ac:spMk id="54" creationId="{FEFCCCDD-77E0-5253-0C42-7BD199E9B215}"/>
          </ac:spMkLst>
        </pc:spChg>
        <pc:spChg chg="mod">
          <ac:chgData name="Hänninen, Lauri" userId="b62831d1-2046-40aa-b4b7-d67e2d73afe1" providerId="ADAL" clId="{F907ACC7-C8F7-470E-B883-D49732EB787C}" dt="2024-02-22T11:12:38.096" v="38527"/>
          <ac:spMkLst>
            <pc:docMk/>
            <pc:sldMk cId="195621216" sldId="2147483619"/>
            <ac:spMk id="55" creationId="{443C3E15-0B2D-3F9E-0829-060167045147}"/>
          </ac:spMkLst>
        </pc:spChg>
        <pc:spChg chg="mod ord">
          <ac:chgData name="Hänninen, Lauri" userId="b62831d1-2046-40aa-b4b7-d67e2d73afe1" providerId="ADAL" clId="{F907ACC7-C8F7-470E-B883-D49732EB787C}" dt="2024-02-22T11:12:38.097" v="38529"/>
          <ac:spMkLst>
            <pc:docMk/>
            <pc:sldMk cId="195621216" sldId="2147483619"/>
            <ac:spMk id="56" creationId="{DEB97388-511B-BB6F-8086-930880E5F1BE}"/>
          </ac:spMkLst>
        </pc:spChg>
        <pc:spChg chg="mod">
          <ac:chgData name="Hänninen, Lauri" userId="b62831d1-2046-40aa-b4b7-d67e2d73afe1" providerId="ADAL" clId="{F907ACC7-C8F7-470E-B883-D49732EB787C}" dt="2024-02-22T11:12:38.098" v="38530"/>
          <ac:spMkLst>
            <pc:docMk/>
            <pc:sldMk cId="195621216" sldId="2147483619"/>
            <ac:spMk id="57" creationId="{A40C8CF1-2AA1-25BD-B394-4905BDD9FD53}"/>
          </ac:spMkLst>
        </pc:spChg>
        <pc:spChg chg="mod">
          <ac:chgData name="Hänninen, Lauri" userId="b62831d1-2046-40aa-b4b7-d67e2d73afe1" providerId="ADAL" clId="{F907ACC7-C8F7-470E-B883-D49732EB787C}" dt="2024-02-22T11:12:38.098" v="38531"/>
          <ac:spMkLst>
            <pc:docMk/>
            <pc:sldMk cId="195621216" sldId="2147483619"/>
            <ac:spMk id="58" creationId="{7ADEA06C-B3C7-CB0F-9763-70EFF2C73B76}"/>
          </ac:spMkLst>
        </pc:spChg>
        <pc:spChg chg="mod">
          <ac:chgData name="Hänninen, Lauri" userId="b62831d1-2046-40aa-b4b7-d67e2d73afe1" providerId="ADAL" clId="{F907ACC7-C8F7-470E-B883-D49732EB787C}" dt="2024-02-22T11:12:38.098" v="38532"/>
          <ac:spMkLst>
            <pc:docMk/>
            <pc:sldMk cId="195621216" sldId="2147483619"/>
            <ac:spMk id="59" creationId="{E2F34B3D-B50C-7A29-A411-FBABA2897AF0}"/>
          </ac:spMkLst>
        </pc:spChg>
        <pc:spChg chg="mod">
          <ac:chgData name="Hänninen, Lauri" userId="b62831d1-2046-40aa-b4b7-d67e2d73afe1" providerId="ADAL" clId="{F907ACC7-C8F7-470E-B883-D49732EB787C}" dt="2024-02-22T11:12:38.099" v="38533"/>
          <ac:spMkLst>
            <pc:docMk/>
            <pc:sldMk cId="195621216" sldId="2147483619"/>
            <ac:spMk id="60" creationId="{09118D09-58EB-9742-A59F-1204757A54FB}"/>
          </ac:spMkLst>
        </pc:spChg>
        <pc:spChg chg="mod">
          <ac:chgData name="Hänninen, Lauri" userId="b62831d1-2046-40aa-b4b7-d67e2d73afe1" providerId="ADAL" clId="{F907ACC7-C8F7-470E-B883-D49732EB787C}" dt="2024-02-22T11:12:38.099" v="38534"/>
          <ac:spMkLst>
            <pc:docMk/>
            <pc:sldMk cId="195621216" sldId="2147483619"/>
            <ac:spMk id="61" creationId="{7883F257-DF5A-B4EE-54BF-53387BE32A8D}"/>
          </ac:spMkLst>
        </pc:spChg>
        <pc:spChg chg="mod ord">
          <ac:chgData name="Hänninen, Lauri" userId="b62831d1-2046-40aa-b4b7-d67e2d73afe1" providerId="ADAL" clId="{F907ACC7-C8F7-470E-B883-D49732EB787C}" dt="2024-02-22T11:12:38.100" v="38536"/>
          <ac:spMkLst>
            <pc:docMk/>
            <pc:sldMk cId="195621216" sldId="2147483619"/>
            <ac:spMk id="62" creationId="{8C941C6D-E56B-D8FD-F36F-F3E2EECCF26C}"/>
          </ac:spMkLst>
        </pc:spChg>
        <pc:spChg chg="mod">
          <ac:chgData name="Hänninen, Lauri" userId="b62831d1-2046-40aa-b4b7-d67e2d73afe1" providerId="ADAL" clId="{F907ACC7-C8F7-470E-B883-D49732EB787C}" dt="2024-02-22T11:12:38.100" v="38537"/>
          <ac:spMkLst>
            <pc:docMk/>
            <pc:sldMk cId="195621216" sldId="2147483619"/>
            <ac:spMk id="63" creationId="{F6DD9591-4703-CCB7-8215-052A8F1E50C8}"/>
          </ac:spMkLst>
        </pc:spChg>
        <pc:spChg chg="mod">
          <ac:chgData name="Hänninen, Lauri" userId="b62831d1-2046-40aa-b4b7-d67e2d73afe1" providerId="ADAL" clId="{F907ACC7-C8F7-470E-B883-D49732EB787C}" dt="2024-02-22T11:12:38.101" v="38538"/>
          <ac:spMkLst>
            <pc:docMk/>
            <pc:sldMk cId="195621216" sldId="2147483619"/>
            <ac:spMk id="64" creationId="{34306094-62E5-4A20-4861-F13203EFFF6B}"/>
          </ac:spMkLst>
        </pc:spChg>
        <pc:spChg chg="mod">
          <ac:chgData name="Hänninen, Lauri" userId="b62831d1-2046-40aa-b4b7-d67e2d73afe1" providerId="ADAL" clId="{F907ACC7-C8F7-470E-B883-D49732EB787C}" dt="2024-02-22T11:12:38.101" v="38539"/>
          <ac:spMkLst>
            <pc:docMk/>
            <pc:sldMk cId="195621216" sldId="2147483619"/>
            <ac:spMk id="65" creationId="{A6BECFA4-9E16-920C-6956-A69A4FC03220}"/>
          </ac:spMkLst>
        </pc:spChg>
        <pc:spChg chg="mod">
          <ac:chgData name="Hänninen, Lauri" userId="b62831d1-2046-40aa-b4b7-d67e2d73afe1" providerId="ADAL" clId="{F907ACC7-C8F7-470E-B883-D49732EB787C}" dt="2024-02-22T11:12:38.102" v="38540"/>
          <ac:spMkLst>
            <pc:docMk/>
            <pc:sldMk cId="195621216" sldId="2147483619"/>
            <ac:spMk id="66" creationId="{5B624E33-F6A0-C26B-F725-3E2B37742EE0}"/>
          </ac:spMkLst>
        </pc:spChg>
        <pc:spChg chg="mod">
          <ac:chgData name="Hänninen, Lauri" userId="b62831d1-2046-40aa-b4b7-d67e2d73afe1" providerId="ADAL" clId="{F907ACC7-C8F7-470E-B883-D49732EB787C}" dt="2024-02-22T11:12:38.102" v="38541"/>
          <ac:spMkLst>
            <pc:docMk/>
            <pc:sldMk cId="195621216" sldId="2147483619"/>
            <ac:spMk id="67" creationId="{C263D87A-6899-553D-DE5E-7E7FF095FACB}"/>
          </ac:spMkLst>
        </pc:spChg>
        <pc:spChg chg="mod ord">
          <ac:chgData name="Hänninen, Lauri" userId="b62831d1-2046-40aa-b4b7-d67e2d73afe1" providerId="ADAL" clId="{F907ACC7-C8F7-470E-B883-D49732EB787C}" dt="2024-02-22T11:12:38.103" v="38543"/>
          <ac:spMkLst>
            <pc:docMk/>
            <pc:sldMk cId="195621216" sldId="2147483619"/>
            <ac:spMk id="68" creationId="{60A6EDEB-79C2-8D39-2A76-E3D80831AA9D}"/>
          </ac:spMkLst>
        </pc:spChg>
        <pc:spChg chg="mod">
          <ac:chgData name="Hänninen, Lauri" userId="b62831d1-2046-40aa-b4b7-d67e2d73afe1" providerId="ADAL" clId="{F907ACC7-C8F7-470E-B883-D49732EB787C}" dt="2024-02-22T11:12:38.103" v="38544"/>
          <ac:spMkLst>
            <pc:docMk/>
            <pc:sldMk cId="195621216" sldId="2147483619"/>
            <ac:spMk id="69" creationId="{520F6DB1-F836-692D-CECD-F4B7B29CB482}"/>
          </ac:spMkLst>
        </pc:spChg>
        <pc:spChg chg="mod">
          <ac:chgData name="Hänninen, Lauri" userId="b62831d1-2046-40aa-b4b7-d67e2d73afe1" providerId="ADAL" clId="{F907ACC7-C8F7-470E-B883-D49732EB787C}" dt="2024-02-22T11:12:38.104" v="38545"/>
          <ac:spMkLst>
            <pc:docMk/>
            <pc:sldMk cId="195621216" sldId="2147483619"/>
            <ac:spMk id="70" creationId="{C2C8256C-C46C-3C97-88D1-942A72D1CBF9}"/>
          </ac:spMkLst>
        </pc:spChg>
        <pc:spChg chg="mod">
          <ac:chgData name="Hänninen, Lauri" userId="b62831d1-2046-40aa-b4b7-d67e2d73afe1" providerId="ADAL" clId="{F907ACC7-C8F7-470E-B883-D49732EB787C}" dt="2024-02-22T11:12:38.104" v="38546"/>
          <ac:spMkLst>
            <pc:docMk/>
            <pc:sldMk cId="195621216" sldId="2147483619"/>
            <ac:spMk id="71" creationId="{9534C55F-0096-111B-010E-6DAD16F3FED8}"/>
          </ac:spMkLst>
        </pc:spChg>
        <pc:spChg chg="mod">
          <ac:chgData name="Hänninen, Lauri" userId="b62831d1-2046-40aa-b4b7-d67e2d73afe1" providerId="ADAL" clId="{F907ACC7-C8F7-470E-B883-D49732EB787C}" dt="2024-02-22T11:12:38.105" v="38547"/>
          <ac:spMkLst>
            <pc:docMk/>
            <pc:sldMk cId="195621216" sldId="2147483619"/>
            <ac:spMk id="72" creationId="{94FCB038-9062-C84A-8F51-59989B819371}"/>
          </ac:spMkLst>
        </pc:spChg>
        <pc:spChg chg="mod">
          <ac:chgData name="Hänninen, Lauri" userId="b62831d1-2046-40aa-b4b7-d67e2d73afe1" providerId="ADAL" clId="{F907ACC7-C8F7-470E-B883-D49732EB787C}" dt="2024-02-22T11:12:38.105" v="38548"/>
          <ac:spMkLst>
            <pc:docMk/>
            <pc:sldMk cId="195621216" sldId="2147483619"/>
            <ac:spMk id="73" creationId="{4FBC1306-2951-E284-FB2C-0534E16488E5}"/>
          </ac:spMkLst>
        </pc:spChg>
        <pc:spChg chg="mod ord">
          <ac:chgData name="Hänninen, Lauri" userId="b62831d1-2046-40aa-b4b7-d67e2d73afe1" providerId="ADAL" clId="{F907ACC7-C8F7-470E-B883-D49732EB787C}" dt="2024-02-22T11:12:38.106" v="38550"/>
          <ac:spMkLst>
            <pc:docMk/>
            <pc:sldMk cId="195621216" sldId="2147483619"/>
            <ac:spMk id="74" creationId="{95C366A9-6862-81B5-088F-6F57D48E9E3D}"/>
          </ac:spMkLst>
        </pc:spChg>
        <pc:spChg chg="mod">
          <ac:chgData name="Hänninen, Lauri" userId="b62831d1-2046-40aa-b4b7-d67e2d73afe1" providerId="ADAL" clId="{F907ACC7-C8F7-470E-B883-D49732EB787C}" dt="2024-02-22T11:12:38.106" v="38551"/>
          <ac:spMkLst>
            <pc:docMk/>
            <pc:sldMk cId="195621216" sldId="2147483619"/>
            <ac:spMk id="75" creationId="{DB9B4F68-D404-BE3D-5C0A-7D527B76FD5F}"/>
          </ac:spMkLst>
        </pc:spChg>
        <pc:spChg chg="mod">
          <ac:chgData name="Hänninen, Lauri" userId="b62831d1-2046-40aa-b4b7-d67e2d73afe1" providerId="ADAL" clId="{F907ACC7-C8F7-470E-B883-D49732EB787C}" dt="2024-02-22T11:12:38.107" v="38552"/>
          <ac:spMkLst>
            <pc:docMk/>
            <pc:sldMk cId="195621216" sldId="2147483619"/>
            <ac:spMk id="76" creationId="{0391D58F-BB98-6FE8-9975-4F9960B975FB}"/>
          </ac:spMkLst>
        </pc:spChg>
        <pc:spChg chg="mod">
          <ac:chgData name="Hänninen, Lauri" userId="b62831d1-2046-40aa-b4b7-d67e2d73afe1" providerId="ADAL" clId="{F907ACC7-C8F7-470E-B883-D49732EB787C}" dt="2024-02-22T11:12:38.107" v="38553"/>
          <ac:spMkLst>
            <pc:docMk/>
            <pc:sldMk cId="195621216" sldId="2147483619"/>
            <ac:spMk id="77" creationId="{59F25E7F-1FFB-7230-7A20-6524FC236038}"/>
          </ac:spMkLst>
        </pc:spChg>
        <pc:spChg chg="mod">
          <ac:chgData name="Hänninen, Lauri" userId="b62831d1-2046-40aa-b4b7-d67e2d73afe1" providerId="ADAL" clId="{F907ACC7-C8F7-470E-B883-D49732EB787C}" dt="2024-02-22T11:12:38.108" v="38554"/>
          <ac:spMkLst>
            <pc:docMk/>
            <pc:sldMk cId="195621216" sldId="2147483619"/>
            <ac:spMk id="78" creationId="{02A37BCD-B733-06C0-AB78-B5B1CC7C4A0E}"/>
          </ac:spMkLst>
        </pc:spChg>
        <pc:spChg chg="mod">
          <ac:chgData name="Hänninen, Lauri" userId="b62831d1-2046-40aa-b4b7-d67e2d73afe1" providerId="ADAL" clId="{F907ACC7-C8F7-470E-B883-D49732EB787C}" dt="2024-02-22T11:12:38.108" v="38555"/>
          <ac:spMkLst>
            <pc:docMk/>
            <pc:sldMk cId="195621216" sldId="2147483619"/>
            <ac:spMk id="79" creationId="{529E8FB9-6374-32E5-1A95-F0A0F5760D0C}"/>
          </ac:spMkLst>
        </pc:spChg>
        <pc:spChg chg="mod ord">
          <ac:chgData name="Hänninen, Lauri" userId="b62831d1-2046-40aa-b4b7-d67e2d73afe1" providerId="ADAL" clId="{F907ACC7-C8F7-470E-B883-D49732EB787C}" dt="2024-02-22T11:12:38.109" v="38557"/>
          <ac:spMkLst>
            <pc:docMk/>
            <pc:sldMk cId="195621216" sldId="2147483619"/>
            <ac:spMk id="80" creationId="{BC68EAE7-8F55-2729-8CCB-2E42DFC2335F}"/>
          </ac:spMkLst>
        </pc:spChg>
        <pc:spChg chg="mod">
          <ac:chgData name="Hänninen, Lauri" userId="b62831d1-2046-40aa-b4b7-d67e2d73afe1" providerId="ADAL" clId="{F907ACC7-C8F7-470E-B883-D49732EB787C}" dt="2024-02-22T11:12:38.110" v="38558"/>
          <ac:spMkLst>
            <pc:docMk/>
            <pc:sldMk cId="195621216" sldId="2147483619"/>
            <ac:spMk id="81" creationId="{95E316D7-F5CE-B329-E73F-8BCABCE2AB46}"/>
          </ac:spMkLst>
        </pc:spChg>
        <pc:spChg chg="mod">
          <ac:chgData name="Hänninen, Lauri" userId="b62831d1-2046-40aa-b4b7-d67e2d73afe1" providerId="ADAL" clId="{F907ACC7-C8F7-470E-B883-D49732EB787C}" dt="2024-02-22T11:12:38.111" v="38559"/>
          <ac:spMkLst>
            <pc:docMk/>
            <pc:sldMk cId="195621216" sldId="2147483619"/>
            <ac:spMk id="82" creationId="{1762F242-28CC-C769-6395-5B36FEE9D5FD}"/>
          </ac:spMkLst>
        </pc:spChg>
        <pc:spChg chg="mod">
          <ac:chgData name="Hänninen, Lauri" userId="b62831d1-2046-40aa-b4b7-d67e2d73afe1" providerId="ADAL" clId="{F907ACC7-C8F7-470E-B883-D49732EB787C}" dt="2024-02-22T11:12:38.111" v="38560"/>
          <ac:spMkLst>
            <pc:docMk/>
            <pc:sldMk cId="195621216" sldId="2147483619"/>
            <ac:spMk id="83" creationId="{6A517DB3-A259-ACF8-5ACD-A483AEBDD5B5}"/>
          </ac:spMkLst>
        </pc:spChg>
        <pc:spChg chg="mod">
          <ac:chgData name="Hänninen, Lauri" userId="b62831d1-2046-40aa-b4b7-d67e2d73afe1" providerId="ADAL" clId="{F907ACC7-C8F7-470E-B883-D49732EB787C}" dt="2024-02-22T11:12:38.111" v="38561"/>
          <ac:spMkLst>
            <pc:docMk/>
            <pc:sldMk cId="195621216" sldId="2147483619"/>
            <ac:spMk id="84" creationId="{CA243931-827C-0B6C-D517-00B7512CB0F0}"/>
          </ac:spMkLst>
        </pc:spChg>
        <pc:spChg chg="mod">
          <ac:chgData name="Hänninen, Lauri" userId="b62831d1-2046-40aa-b4b7-d67e2d73afe1" providerId="ADAL" clId="{F907ACC7-C8F7-470E-B883-D49732EB787C}" dt="2024-02-22T11:12:38.112" v="38562"/>
          <ac:spMkLst>
            <pc:docMk/>
            <pc:sldMk cId="195621216" sldId="2147483619"/>
            <ac:spMk id="85" creationId="{77475196-C8D5-E87F-1DA6-17578D3009FB}"/>
          </ac:spMkLst>
        </pc:spChg>
        <pc:spChg chg="mod ord">
          <ac:chgData name="Hänninen, Lauri" userId="b62831d1-2046-40aa-b4b7-d67e2d73afe1" providerId="ADAL" clId="{F907ACC7-C8F7-470E-B883-D49732EB787C}" dt="2024-02-22T11:12:38.113" v="38564"/>
          <ac:spMkLst>
            <pc:docMk/>
            <pc:sldMk cId="195621216" sldId="2147483619"/>
            <ac:spMk id="86" creationId="{8B5E83E2-378A-6D21-2DFF-90909FEA66E4}"/>
          </ac:spMkLst>
        </pc:spChg>
        <pc:spChg chg="mod ord">
          <ac:chgData name="Hänninen, Lauri" userId="b62831d1-2046-40aa-b4b7-d67e2d73afe1" providerId="ADAL" clId="{F907ACC7-C8F7-470E-B883-D49732EB787C}" dt="2024-02-22T11:12:38.113" v="38566"/>
          <ac:spMkLst>
            <pc:docMk/>
            <pc:sldMk cId="195621216" sldId="2147483619"/>
            <ac:spMk id="87" creationId="{8BB88D57-110F-971E-4158-171CD829D728}"/>
          </ac:spMkLst>
        </pc:spChg>
        <pc:spChg chg="mod">
          <ac:chgData name="Hänninen, Lauri" userId="b62831d1-2046-40aa-b4b7-d67e2d73afe1" providerId="ADAL" clId="{F907ACC7-C8F7-470E-B883-D49732EB787C}" dt="2024-02-22T11:12:38.114" v="38567"/>
          <ac:spMkLst>
            <pc:docMk/>
            <pc:sldMk cId="195621216" sldId="2147483619"/>
            <ac:spMk id="88" creationId="{BDF5670E-C596-ECFC-D41B-130E719A3AE2}"/>
          </ac:spMkLst>
        </pc:spChg>
        <pc:spChg chg="mod">
          <ac:chgData name="Hänninen, Lauri" userId="b62831d1-2046-40aa-b4b7-d67e2d73afe1" providerId="ADAL" clId="{F907ACC7-C8F7-470E-B883-D49732EB787C}" dt="2024-02-22T11:12:38.114" v="38568"/>
          <ac:spMkLst>
            <pc:docMk/>
            <pc:sldMk cId="195621216" sldId="2147483619"/>
            <ac:spMk id="89" creationId="{D38B9884-44EC-93E5-2C0F-2A565EC41283}"/>
          </ac:spMkLst>
        </pc:spChg>
        <pc:spChg chg="mod">
          <ac:chgData name="Hänninen, Lauri" userId="b62831d1-2046-40aa-b4b7-d67e2d73afe1" providerId="ADAL" clId="{F907ACC7-C8F7-470E-B883-D49732EB787C}" dt="2024-02-22T11:12:38.115" v="38569"/>
          <ac:spMkLst>
            <pc:docMk/>
            <pc:sldMk cId="195621216" sldId="2147483619"/>
            <ac:spMk id="90" creationId="{78863797-8572-5656-F97C-61776E4FAAAD}"/>
          </ac:spMkLst>
        </pc:spChg>
        <pc:spChg chg="mod">
          <ac:chgData name="Hänninen, Lauri" userId="b62831d1-2046-40aa-b4b7-d67e2d73afe1" providerId="ADAL" clId="{F907ACC7-C8F7-470E-B883-D49732EB787C}" dt="2024-02-22T11:12:38.115" v="38570"/>
          <ac:spMkLst>
            <pc:docMk/>
            <pc:sldMk cId="195621216" sldId="2147483619"/>
            <ac:spMk id="91" creationId="{E39B64DF-EE1E-07A4-2BCF-2B36A0D0B117}"/>
          </ac:spMkLst>
        </pc:spChg>
        <pc:spChg chg="mod">
          <ac:chgData name="Hänninen, Lauri" userId="b62831d1-2046-40aa-b4b7-d67e2d73afe1" providerId="ADAL" clId="{F907ACC7-C8F7-470E-B883-D49732EB787C}" dt="2024-02-22T11:12:38.115" v="38571"/>
          <ac:spMkLst>
            <pc:docMk/>
            <pc:sldMk cId="195621216" sldId="2147483619"/>
            <ac:spMk id="92" creationId="{4D2B1ED1-0296-2E94-9463-D7AB4904761C}"/>
          </ac:spMkLst>
        </pc:spChg>
        <pc:spChg chg="mod">
          <ac:chgData name="Hänninen, Lauri" userId="b62831d1-2046-40aa-b4b7-d67e2d73afe1" providerId="ADAL" clId="{F907ACC7-C8F7-470E-B883-D49732EB787C}" dt="2024-02-22T11:12:38.116" v="38572"/>
          <ac:spMkLst>
            <pc:docMk/>
            <pc:sldMk cId="195621216" sldId="2147483619"/>
            <ac:spMk id="93" creationId="{4FB86E16-4977-20EA-6FF5-1CC61313937F}"/>
          </ac:spMkLst>
        </pc:spChg>
        <pc:spChg chg="mod">
          <ac:chgData name="Hänninen, Lauri" userId="b62831d1-2046-40aa-b4b7-d67e2d73afe1" providerId="ADAL" clId="{F907ACC7-C8F7-470E-B883-D49732EB787C}" dt="2024-02-22T11:12:38.116" v="38573"/>
          <ac:spMkLst>
            <pc:docMk/>
            <pc:sldMk cId="195621216" sldId="2147483619"/>
            <ac:spMk id="94" creationId="{68AB1EB9-144C-DEDB-E0C8-FF7A25DF6427}"/>
          </ac:spMkLst>
        </pc:spChg>
        <pc:spChg chg="mod">
          <ac:chgData name="Hänninen, Lauri" userId="b62831d1-2046-40aa-b4b7-d67e2d73afe1" providerId="ADAL" clId="{F907ACC7-C8F7-470E-B883-D49732EB787C}" dt="2024-02-22T11:12:38.117" v="38574"/>
          <ac:spMkLst>
            <pc:docMk/>
            <pc:sldMk cId="195621216" sldId="2147483619"/>
            <ac:spMk id="95" creationId="{D092AD21-9F4F-3DFD-20D2-2437D082C016}"/>
          </ac:spMkLst>
        </pc:spChg>
        <pc:spChg chg="mod">
          <ac:chgData name="Hänninen, Lauri" userId="b62831d1-2046-40aa-b4b7-d67e2d73afe1" providerId="ADAL" clId="{F907ACC7-C8F7-470E-B883-D49732EB787C}" dt="2024-02-22T11:12:38.117" v="38575"/>
          <ac:spMkLst>
            <pc:docMk/>
            <pc:sldMk cId="195621216" sldId="2147483619"/>
            <ac:spMk id="96" creationId="{65A5F7AD-DDD2-7CAA-532A-2E2A3507F048}"/>
          </ac:spMkLst>
        </pc:spChg>
        <pc:spChg chg="mod">
          <ac:chgData name="Hänninen, Lauri" userId="b62831d1-2046-40aa-b4b7-d67e2d73afe1" providerId="ADAL" clId="{F907ACC7-C8F7-470E-B883-D49732EB787C}" dt="2024-02-22T11:12:38.118" v="38576"/>
          <ac:spMkLst>
            <pc:docMk/>
            <pc:sldMk cId="195621216" sldId="2147483619"/>
            <ac:spMk id="97" creationId="{0A6CF955-9201-909D-9DA8-B29C814A9082}"/>
          </ac:spMkLst>
        </pc:spChg>
        <pc:spChg chg="mod">
          <ac:chgData name="Hänninen, Lauri" userId="b62831d1-2046-40aa-b4b7-d67e2d73afe1" providerId="ADAL" clId="{F907ACC7-C8F7-470E-B883-D49732EB787C}" dt="2024-02-22T11:12:38.118" v="38577"/>
          <ac:spMkLst>
            <pc:docMk/>
            <pc:sldMk cId="195621216" sldId="2147483619"/>
            <ac:spMk id="98" creationId="{24173BF2-CAF8-4D1D-BE61-65C3A91DFAEA}"/>
          </ac:spMkLst>
        </pc:spChg>
        <pc:spChg chg="mod">
          <ac:chgData name="Hänninen, Lauri" userId="b62831d1-2046-40aa-b4b7-d67e2d73afe1" providerId="ADAL" clId="{F907ACC7-C8F7-470E-B883-D49732EB787C}" dt="2024-02-22T11:12:38.119" v="38578"/>
          <ac:spMkLst>
            <pc:docMk/>
            <pc:sldMk cId="195621216" sldId="2147483619"/>
            <ac:spMk id="99" creationId="{15B2BE1D-7D8D-F3FB-893C-8643964E3964}"/>
          </ac:spMkLst>
        </pc:spChg>
        <pc:spChg chg="mod">
          <ac:chgData name="Hänninen, Lauri" userId="b62831d1-2046-40aa-b4b7-d67e2d73afe1" providerId="ADAL" clId="{F907ACC7-C8F7-470E-B883-D49732EB787C}" dt="2024-02-22T11:12:38.119" v="38579"/>
          <ac:spMkLst>
            <pc:docMk/>
            <pc:sldMk cId="195621216" sldId="2147483619"/>
            <ac:spMk id="100" creationId="{361F27D7-FB91-4C86-5FC6-7FEF9706C429}"/>
          </ac:spMkLst>
        </pc:spChg>
        <pc:spChg chg="mod ord">
          <ac:chgData name="Hänninen, Lauri" userId="b62831d1-2046-40aa-b4b7-d67e2d73afe1" providerId="ADAL" clId="{F907ACC7-C8F7-470E-B883-D49732EB787C}" dt="2024-02-22T11:12:38.120" v="38581"/>
          <ac:spMkLst>
            <pc:docMk/>
            <pc:sldMk cId="195621216" sldId="2147483619"/>
            <ac:spMk id="101" creationId="{40CAAA70-F467-0126-1C4B-55F8FF0D3C11}"/>
          </ac:spMkLst>
        </pc:spChg>
        <pc:spChg chg="mod ord">
          <ac:chgData name="Hänninen, Lauri" userId="b62831d1-2046-40aa-b4b7-d67e2d73afe1" providerId="ADAL" clId="{F907ACC7-C8F7-470E-B883-D49732EB787C}" dt="2024-02-22T11:12:38.120" v="38583"/>
          <ac:spMkLst>
            <pc:docMk/>
            <pc:sldMk cId="195621216" sldId="2147483619"/>
            <ac:spMk id="102" creationId="{A4F5A3E5-16B2-EF77-F554-DF0EBF9AEF3B}"/>
          </ac:spMkLst>
        </pc:spChg>
        <pc:spChg chg="mod ord">
          <ac:chgData name="Hänninen, Lauri" userId="b62831d1-2046-40aa-b4b7-d67e2d73afe1" providerId="ADAL" clId="{F907ACC7-C8F7-470E-B883-D49732EB787C}" dt="2024-02-22T11:12:38.121" v="38585"/>
          <ac:spMkLst>
            <pc:docMk/>
            <pc:sldMk cId="195621216" sldId="2147483619"/>
            <ac:spMk id="103" creationId="{43FCD4BF-8D6E-C310-ADD5-80F92CEFAC3A}"/>
          </ac:spMkLst>
        </pc:spChg>
        <pc:spChg chg="mod ord">
          <ac:chgData name="Hänninen, Lauri" userId="b62831d1-2046-40aa-b4b7-d67e2d73afe1" providerId="ADAL" clId="{F907ACC7-C8F7-470E-B883-D49732EB787C}" dt="2024-02-22T11:12:38.121" v="38587"/>
          <ac:spMkLst>
            <pc:docMk/>
            <pc:sldMk cId="195621216" sldId="2147483619"/>
            <ac:spMk id="104" creationId="{0C98A232-B4DD-E488-7027-CDEB1A73A5EA}"/>
          </ac:spMkLst>
        </pc:spChg>
        <pc:spChg chg="mod ord">
          <ac:chgData name="Hänninen, Lauri" userId="b62831d1-2046-40aa-b4b7-d67e2d73afe1" providerId="ADAL" clId="{F907ACC7-C8F7-470E-B883-D49732EB787C}" dt="2024-02-22T11:12:38.122" v="38589"/>
          <ac:spMkLst>
            <pc:docMk/>
            <pc:sldMk cId="195621216" sldId="2147483619"/>
            <ac:spMk id="105" creationId="{E36E6096-926D-AB85-19AD-9CA74FB3A36A}"/>
          </ac:spMkLst>
        </pc:spChg>
        <pc:spChg chg="mod ord">
          <ac:chgData name="Hänninen, Lauri" userId="b62831d1-2046-40aa-b4b7-d67e2d73afe1" providerId="ADAL" clId="{F907ACC7-C8F7-470E-B883-D49732EB787C}" dt="2024-02-22T11:12:38.122" v="38591"/>
          <ac:spMkLst>
            <pc:docMk/>
            <pc:sldMk cId="195621216" sldId="2147483619"/>
            <ac:spMk id="106" creationId="{4A377679-16C9-B091-3292-41B0BEB8FAFA}"/>
          </ac:spMkLst>
        </pc:spChg>
        <pc:spChg chg="mod ord">
          <ac:chgData name="Hänninen, Lauri" userId="b62831d1-2046-40aa-b4b7-d67e2d73afe1" providerId="ADAL" clId="{F907ACC7-C8F7-470E-B883-D49732EB787C}" dt="2024-02-22T11:12:38.123" v="38593"/>
          <ac:spMkLst>
            <pc:docMk/>
            <pc:sldMk cId="195621216" sldId="2147483619"/>
            <ac:spMk id="107" creationId="{9D58C52E-06D1-2D2E-0FFE-57463B8BE400}"/>
          </ac:spMkLst>
        </pc:spChg>
        <pc:spChg chg="mod ord">
          <ac:chgData name="Hänninen, Lauri" userId="b62831d1-2046-40aa-b4b7-d67e2d73afe1" providerId="ADAL" clId="{F907ACC7-C8F7-470E-B883-D49732EB787C}" dt="2024-02-22T11:13:27.461" v="38641" actId="20577"/>
          <ac:spMkLst>
            <pc:docMk/>
            <pc:sldMk cId="195621216" sldId="2147483619"/>
            <ac:spMk id="108" creationId="{728407F1-35EC-F8C6-DC9A-207C5C61E3DB}"/>
          </ac:spMkLst>
        </pc:spChg>
        <pc:spChg chg="mod ord">
          <ac:chgData name="Hänninen, Lauri" userId="b62831d1-2046-40aa-b4b7-d67e2d73afe1" providerId="ADAL" clId="{F907ACC7-C8F7-470E-B883-D49732EB787C}" dt="2024-02-22T11:12:38.124" v="38597"/>
          <ac:spMkLst>
            <pc:docMk/>
            <pc:sldMk cId="195621216" sldId="2147483619"/>
            <ac:spMk id="109" creationId="{FEFDDD24-76A9-BDB0-95FB-5D787D61631F}"/>
          </ac:spMkLst>
        </pc:spChg>
        <pc:spChg chg="mod ord">
          <ac:chgData name="Hänninen, Lauri" userId="b62831d1-2046-40aa-b4b7-d67e2d73afe1" providerId="ADAL" clId="{F907ACC7-C8F7-470E-B883-D49732EB787C}" dt="2024-02-22T11:12:38.124" v="38599"/>
          <ac:spMkLst>
            <pc:docMk/>
            <pc:sldMk cId="195621216" sldId="2147483619"/>
            <ac:spMk id="117" creationId="{0E6AD056-2923-FF2A-C0FD-8AB2C6E62685}"/>
          </ac:spMkLst>
        </pc:spChg>
        <pc:spChg chg="mod ord">
          <ac:chgData name="Hänninen, Lauri" userId="b62831d1-2046-40aa-b4b7-d67e2d73afe1" providerId="ADAL" clId="{F907ACC7-C8F7-470E-B883-D49732EB787C}" dt="2024-02-22T11:12:38.088" v="38506"/>
          <ac:spMkLst>
            <pc:docMk/>
            <pc:sldMk cId="195621216" sldId="2147483619"/>
            <ac:spMk id="135" creationId="{C97869E3-07F7-5993-2E1B-19E50CDF5416}"/>
          </ac:spMkLst>
        </pc:spChg>
        <pc:spChg chg="mod ord">
          <ac:chgData name="Hänninen, Lauri" userId="b62831d1-2046-40aa-b4b7-d67e2d73afe1" providerId="ADAL" clId="{F907ACC7-C8F7-470E-B883-D49732EB787C}" dt="2024-02-22T11:12:38.088" v="38508"/>
          <ac:spMkLst>
            <pc:docMk/>
            <pc:sldMk cId="195621216" sldId="2147483619"/>
            <ac:spMk id="136" creationId="{546C8BF3-5EF2-CD7B-8628-7AF12989B90C}"/>
          </ac:spMkLst>
        </pc:spChg>
        <pc:spChg chg="mod ord">
          <ac:chgData name="Hänninen, Lauri" userId="b62831d1-2046-40aa-b4b7-d67e2d73afe1" providerId="ADAL" clId="{F907ACC7-C8F7-470E-B883-D49732EB787C}" dt="2024-02-22T11:12:38.087" v="38504"/>
          <ac:spMkLst>
            <pc:docMk/>
            <pc:sldMk cId="195621216" sldId="2147483619"/>
            <ac:spMk id="137" creationId="{45130CD5-D8D8-5878-900A-6BB420CCC4CC}"/>
          </ac:spMkLst>
        </pc:spChg>
        <pc:graphicFrameChg chg="add del mod replST">
          <ac:chgData name="Hänninen, Lauri" userId="b62831d1-2046-40aa-b4b7-d67e2d73afe1" providerId="ADAL" clId="{F907ACC7-C8F7-470E-B883-D49732EB787C}" dt="2024-02-22T11:12:37.980" v="38399"/>
          <ac:graphicFrameMkLst>
            <pc:docMk/>
            <pc:sldMk cId="195621216" sldId="2147483619"/>
            <ac:graphicFrameMk id="11" creationId="{69793D98-0CC2-6B57-4909-66D6EEE07A33}"/>
          </ac:graphicFrameMkLst>
        </pc:graphicFrameChg>
        <pc:graphicFrameChg chg="add mod replST">
          <ac:chgData name="Hänninen, Lauri" userId="b62831d1-2046-40aa-b4b7-d67e2d73afe1" providerId="ADAL" clId="{F907ACC7-C8F7-470E-B883-D49732EB787C}" dt="2024-02-22T11:12:38.075" v="38476"/>
          <ac:graphicFrameMkLst>
            <pc:docMk/>
            <pc:sldMk cId="195621216" sldId="2147483619"/>
            <ac:graphicFrameMk id="25" creationId="{1A382649-19EB-73BC-8565-A84FA45FBC76}"/>
          </ac:graphicFrameMkLst>
        </pc:graphicFrameChg>
        <pc:graphicFrameChg chg="del">
          <ac:chgData name="Hänninen, Lauri" userId="b62831d1-2046-40aa-b4b7-d67e2d73afe1" providerId="ADAL" clId="{F907ACC7-C8F7-470E-B883-D49732EB787C}" dt="2024-02-22T11:12:35.230" v="38039"/>
          <ac:graphicFrameMkLst>
            <pc:docMk/>
            <pc:sldMk cId="195621216" sldId="2147483619"/>
            <ac:graphicFrameMk id="39" creationId="{6FC673D6-7CB6-966F-89F6-E5BF6C344652}"/>
          </ac:graphicFrameMkLst>
        </pc:graphicFrameChg>
        <pc:graphicFrameChg chg="mod">
          <ac:chgData name="Hänninen, Lauri" userId="b62831d1-2046-40aa-b4b7-d67e2d73afe1" providerId="ADAL" clId="{F907ACC7-C8F7-470E-B883-D49732EB787C}" dt="2024-02-22T11:12:38.143" v="38605"/>
          <ac:graphicFrameMkLst>
            <pc:docMk/>
            <pc:sldMk cId="195621216" sldId="2147483619"/>
            <ac:graphicFrameMk id="114" creationId="{E2D98394-C65C-A290-5DA9-6A9FB98B123B}"/>
          </ac:graphicFrameMkLst>
        </pc:graphicFrameChg>
        <pc:graphicFrameChg chg="mod">
          <ac:chgData name="Hänninen, Lauri" userId="b62831d1-2046-40aa-b4b7-d67e2d73afe1" providerId="ADAL" clId="{F907ACC7-C8F7-470E-B883-D49732EB787C}" dt="2024-02-22T11:12:38.081" v="38490"/>
          <ac:graphicFrameMkLst>
            <pc:docMk/>
            <pc:sldMk cId="195621216" sldId="2147483619"/>
            <ac:graphicFrameMk id="138" creationId="{95E2E17C-E0EA-EA59-F2E1-A487F4120636}"/>
          </ac:graphicFrameMkLst>
        </pc:graphicFrameChg>
        <pc:cxnChg chg="mod ord">
          <ac:chgData name="Hänninen, Lauri" userId="b62831d1-2046-40aa-b4b7-d67e2d73afe1" providerId="ADAL" clId="{F907ACC7-C8F7-470E-B883-D49732EB787C}" dt="2024-02-22T11:12:38.080" v="38487"/>
          <ac:cxnSpMkLst>
            <pc:docMk/>
            <pc:sldMk cId="195621216" sldId="2147483619"/>
            <ac:cxnSpMk id="23" creationId="{002FE36B-C6D1-798C-E926-2E8B3CFB926D}"/>
          </ac:cxnSpMkLst>
        </pc:cxnChg>
        <pc:cxnChg chg="mod ord">
          <ac:chgData name="Hänninen, Lauri" userId="b62831d1-2046-40aa-b4b7-d67e2d73afe1" providerId="ADAL" clId="{F907ACC7-C8F7-470E-B883-D49732EB787C}" dt="2024-02-22T11:12:38.089" v="38510"/>
          <ac:cxnSpMkLst>
            <pc:docMk/>
            <pc:sldMk cId="195621216" sldId="2147483619"/>
            <ac:cxnSpMk id="41" creationId="{FEDE17CA-9AEE-5D92-9727-EE284FD05B14}"/>
          </ac:cxnSpMkLst>
        </pc:cxnChg>
        <pc:cxnChg chg="mod ord">
          <ac:chgData name="Hänninen, Lauri" userId="b62831d1-2046-40aa-b4b7-d67e2d73afe1" providerId="ADAL" clId="{F907ACC7-C8F7-470E-B883-D49732EB787C}" dt="2024-02-22T11:12:38.089" v="38512"/>
          <ac:cxnSpMkLst>
            <pc:docMk/>
            <pc:sldMk cId="195621216" sldId="2147483619"/>
            <ac:cxnSpMk id="42" creationId="{A195E535-01DA-1C6E-2AAF-F66406850CEF}"/>
          </ac:cxnSpMkLst>
        </pc:cxnChg>
      </pc:sldChg>
      <pc:sldChg chg="delSp modSp add del mod">
        <pc:chgData name="Hänninen, Lauri" userId="b62831d1-2046-40aa-b4b7-d67e2d73afe1" providerId="ADAL" clId="{F907ACC7-C8F7-470E-B883-D49732EB787C}" dt="2024-02-22T11:09:41.562" v="37922" actId="47"/>
        <pc:sldMkLst>
          <pc:docMk/>
          <pc:sldMk cId="1781760788" sldId="2147483619"/>
        </pc:sldMkLst>
        <pc:spChg chg="mod">
          <ac:chgData name="Hänninen, Lauri" userId="b62831d1-2046-40aa-b4b7-d67e2d73afe1" providerId="ADAL" clId="{F907ACC7-C8F7-470E-B883-D49732EB787C}" dt="2024-02-22T11:09:21.204" v="37921" actId="20577"/>
          <ac:spMkLst>
            <pc:docMk/>
            <pc:sldMk cId="1781760788" sldId="2147483619"/>
            <ac:spMk id="12" creationId="{0F6EC2C8-148E-08D4-83D4-9AA37827B597}"/>
          </ac:spMkLst>
        </pc:spChg>
        <pc:spChg chg="del">
          <ac:chgData name="Hänninen, Lauri" userId="b62831d1-2046-40aa-b4b7-d67e2d73afe1" providerId="ADAL" clId="{F907ACC7-C8F7-470E-B883-D49732EB787C}" dt="2024-02-22T11:09:00.134" v="37906"/>
          <ac:spMkLst>
            <pc:docMk/>
            <pc:sldMk cId="1781760788" sldId="2147483619"/>
            <ac:spMk id="14" creationId="{042DD343-6B62-B921-B582-087610584A52}"/>
          </ac:spMkLst>
        </pc:spChg>
        <pc:spChg chg="del">
          <ac:chgData name="Hänninen, Lauri" userId="b62831d1-2046-40aa-b4b7-d67e2d73afe1" providerId="ADAL" clId="{F907ACC7-C8F7-470E-B883-D49732EB787C}" dt="2024-02-22T11:09:00.133" v="37905"/>
          <ac:spMkLst>
            <pc:docMk/>
            <pc:sldMk cId="1781760788" sldId="2147483619"/>
            <ac:spMk id="15" creationId="{7D9C0861-AE06-53FA-92EC-0BEFE2F70AFE}"/>
          </ac:spMkLst>
        </pc:spChg>
        <pc:spChg chg="del">
          <ac:chgData name="Hänninen, Lauri" userId="b62831d1-2046-40aa-b4b7-d67e2d73afe1" providerId="ADAL" clId="{F907ACC7-C8F7-470E-B883-D49732EB787C}" dt="2024-02-22T11:09:00.133" v="37904"/>
          <ac:spMkLst>
            <pc:docMk/>
            <pc:sldMk cId="1781760788" sldId="2147483619"/>
            <ac:spMk id="16" creationId="{7EE98975-ACF9-60EA-7A8D-4F86FAC6CC37}"/>
          </ac:spMkLst>
        </pc:spChg>
        <pc:spChg chg="del">
          <ac:chgData name="Hänninen, Lauri" userId="b62831d1-2046-40aa-b4b7-d67e2d73afe1" providerId="ADAL" clId="{F907ACC7-C8F7-470E-B883-D49732EB787C}" dt="2024-02-22T11:09:00.132" v="37903"/>
          <ac:spMkLst>
            <pc:docMk/>
            <pc:sldMk cId="1781760788" sldId="2147483619"/>
            <ac:spMk id="17" creationId="{20CBCBEC-C02C-210C-82F7-12C0821CC5C4}"/>
          </ac:spMkLst>
        </pc:spChg>
        <pc:spChg chg="del">
          <ac:chgData name="Hänninen, Lauri" userId="b62831d1-2046-40aa-b4b7-d67e2d73afe1" providerId="ADAL" clId="{F907ACC7-C8F7-470E-B883-D49732EB787C}" dt="2024-02-22T11:09:00.131" v="37902"/>
          <ac:spMkLst>
            <pc:docMk/>
            <pc:sldMk cId="1781760788" sldId="2147483619"/>
            <ac:spMk id="18" creationId="{21296A22-1473-7F56-FACA-1CB8E5B11E4C}"/>
          </ac:spMkLst>
        </pc:spChg>
        <pc:spChg chg="del">
          <ac:chgData name="Hänninen, Lauri" userId="b62831d1-2046-40aa-b4b7-d67e2d73afe1" providerId="ADAL" clId="{F907ACC7-C8F7-470E-B883-D49732EB787C}" dt="2024-02-22T11:09:00.130" v="37901"/>
          <ac:spMkLst>
            <pc:docMk/>
            <pc:sldMk cId="1781760788" sldId="2147483619"/>
            <ac:spMk id="19" creationId="{6FA4D75D-36C1-157A-E638-34FA99E7A321}"/>
          </ac:spMkLst>
        </pc:spChg>
        <pc:spChg chg="del">
          <ac:chgData name="Hänninen, Lauri" userId="b62831d1-2046-40aa-b4b7-d67e2d73afe1" providerId="ADAL" clId="{F907ACC7-C8F7-470E-B883-D49732EB787C}" dt="2024-02-22T11:09:00.129" v="37900"/>
          <ac:spMkLst>
            <pc:docMk/>
            <pc:sldMk cId="1781760788" sldId="2147483619"/>
            <ac:spMk id="20" creationId="{53EB66FB-5A6E-BD62-2F8B-104E969CA30A}"/>
          </ac:spMkLst>
        </pc:spChg>
        <pc:spChg chg="del">
          <ac:chgData name="Hänninen, Lauri" userId="b62831d1-2046-40aa-b4b7-d67e2d73afe1" providerId="ADAL" clId="{F907ACC7-C8F7-470E-B883-D49732EB787C}" dt="2024-02-22T11:09:00.128" v="37899"/>
          <ac:spMkLst>
            <pc:docMk/>
            <pc:sldMk cId="1781760788" sldId="2147483619"/>
            <ac:spMk id="21" creationId="{0075642A-7690-EDE1-68F7-01C3C22FA03C}"/>
          </ac:spMkLst>
        </pc:spChg>
        <pc:spChg chg="del">
          <ac:chgData name="Hänninen, Lauri" userId="b62831d1-2046-40aa-b4b7-d67e2d73afe1" providerId="ADAL" clId="{F907ACC7-C8F7-470E-B883-D49732EB787C}" dt="2024-02-22T11:09:00.127" v="37898"/>
          <ac:spMkLst>
            <pc:docMk/>
            <pc:sldMk cId="1781760788" sldId="2147483619"/>
            <ac:spMk id="22" creationId="{7DF98394-00F8-44C9-554D-90022B99CCD5}"/>
          </ac:spMkLst>
        </pc:spChg>
        <pc:spChg chg="del">
          <ac:chgData name="Hänninen, Lauri" userId="b62831d1-2046-40aa-b4b7-d67e2d73afe1" providerId="ADAL" clId="{F907ACC7-C8F7-470E-B883-D49732EB787C}" dt="2024-02-22T11:09:02.311" v="37913" actId="478"/>
          <ac:spMkLst>
            <pc:docMk/>
            <pc:sldMk cId="1781760788" sldId="2147483619"/>
            <ac:spMk id="24" creationId="{A45F945A-6A24-C366-4F58-34061E6914B7}"/>
          </ac:spMkLst>
        </pc:spChg>
        <pc:graphicFrameChg chg="del">
          <ac:chgData name="Hänninen, Lauri" userId="b62831d1-2046-40aa-b4b7-d67e2d73afe1" providerId="ADAL" clId="{F907ACC7-C8F7-470E-B883-D49732EB787C}" dt="2024-02-22T11:09:00.140" v="37908"/>
          <ac:graphicFrameMkLst>
            <pc:docMk/>
            <pc:sldMk cId="1781760788" sldId="2147483619"/>
            <ac:graphicFrameMk id="39" creationId="{6FC673D6-7CB6-966F-89F6-E5BF6C344652}"/>
          </ac:graphicFrameMkLst>
        </pc:graphicFrameChg>
        <pc:graphicFrameChg chg="mod">
          <ac:chgData name="Hänninen, Lauri" userId="b62831d1-2046-40aa-b4b7-d67e2d73afe1" providerId="ADAL" clId="{F907ACC7-C8F7-470E-B883-D49732EB787C}" dt="2024-02-22T11:09:00.232" v="37912"/>
          <ac:graphicFrameMkLst>
            <pc:docMk/>
            <pc:sldMk cId="1781760788" sldId="2147483619"/>
            <ac:graphicFrameMk id="114" creationId="{E2D98394-C65C-A290-5DA9-6A9FB98B123B}"/>
          </ac:graphicFrameMkLst>
        </pc:graphicFrameChg>
        <pc:cxnChg chg="del">
          <ac:chgData name="Hänninen, Lauri" userId="b62831d1-2046-40aa-b4b7-d67e2d73afe1" providerId="ADAL" clId="{F907ACC7-C8F7-470E-B883-D49732EB787C}" dt="2024-02-22T11:09:00.122" v="37897"/>
          <ac:cxnSpMkLst>
            <pc:docMk/>
            <pc:sldMk cId="1781760788" sldId="2147483619"/>
            <ac:cxnSpMk id="23" creationId="{002FE36B-C6D1-798C-E926-2E8B3CFB926D}"/>
          </ac:cxnSpMkLst>
        </pc:cxnChg>
      </pc:sldChg>
      <pc:sldChg chg="addSp delSp modSp new del mod modShow">
        <pc:chgData name="Hänninen, Lauri" userId="b62831d1-2046-40aa-b4b7-d67e2d73afe1" providerId="ADAL" clId="{F907ACC7-C8F7-470E-B883-D49732EB787C}" dt="2024-02-23T10:57:34.639" v="42367" actId="2696"/>
        <pc:sldMkLst>
          <pc:docMk/>
          <pc:sldMk cId="562939316" sldId="2147483620"/>
        </pc:sldMkLst>
        <pc:spChg chg="del mod ord">
          <ac:chgData name="Hänninen, Lauri" userId="b62831d1-2046-40aa-b4b7-d67e2d73afe1" providerId="ADAL" clId="{F907ACC7-C8F7-470E-B883-D49732EB787C}" dt="2024-02-22T11:28:02.900" v="39682" actId="478"/>
          <ac:spMkLst>
            <pc:docMk/>
            <pc:sldMk cId="562939316" sldId="2147483620"/>
            <ac:spMk id="2" creationId="{DCE575D3-8E1C-EC53-FC62-DD13CCBC9F33}"/>
          </ac:spMkLst>
        </pc:spChg>
        <pc:spChg chg="mod ord">
          <ac:chgData name="Hänninen, Lauri" userId="b62831d1-2046-40aa-b4b7-d67e2d73afe1" providerId="ADAL" clId="{F907ACC7-C8F7-470E-B883-D49732EB787C}" dt="2024-02-22T11:30:14.378" v="42142"/>
          <ac:spMkLst>
            <pc:docMk/>
            <pc:sldMk cId="562939316" sldId="2147483620"/>
            <ac:spMk id="3" creationId="{4DD4874D-B24E-A234-82E1-895C939E3BB6}"/>
          </ac:spMkLst>
        </pc:spChg>
        <pc:spChg chg="mod ord">
          <ac:chgData name="Hänninen, Lauri" userId="b62831d1-2046-40aa-b4b7-d67e2d73afe1" providerId="ADAL" clId="{F907ACC7-C8F7-470E-B883-D49732EB787C}" dt="2024-02-22T11:30:14.379" v="42144"/>
          <ac:spMkLst>
            <pc:docMk/>
            <pc:sldMk cId="562939316" sldId="2147483620"/>
            <ac:spMk id="4" creationId="{842E4718-9F0E-FA93-C355-31021A2634F8}"/>
          </ac:spMkLst>
        </pc:spChg>
        <pc:spChg chg="del mod ord">
          <ac:chgData name="Hänninen, Lauri" userId="b62831d1-2046-40aa-b4b7-d67e2d73afe1" providerId="ADAL" clId="{F907ACC7-C8F7-470E-B883-D49732EB787C}" dt="2024-02-22T11:29:49.852" v="41875" actId="478"/>
          <ac:spMkLst>
            <pc:docMk/>
            <pc:sldMk cId="562939316" sldId="2147483620"/>
            <ac:spMk id="5" creationId="{FCFE7E3F-718F-260A-6EC4-FCAD8CA9DB3C}"/>
          </ac:spMkLst>
        </pc:spChg>
        <pc:spChg chg="del">
          <ac:chgData name="Hänninen, Lauri" userId="b62831d1-2046-40aa-b4b7-d67e2d73afe1" providerId="ADAL" clId="{F907ACC7-C8F7-470E-B883-D49732EB787C}" dt="2024-02-22T11:27:33.762" v="38675" actId="478"/>
          <ac:spMkLst>
            <pc:docMk/>
            <pc:sldMk cId="562939316" sldId="2147483620"/>
            <ac:spMk id="6" creationId="{B308A0B5-AD7D-9C73-CD91-6884BC0301C7}"/>
          </ac:spMkLst>
        </pc:spChg>
        <pc:spChg chg="del">
          <ac:chgData name="Hänninen, Lauri" userId="b62831d1-2046-40aa-b4b7-d67e2d73afe1" providerId="ADAL" clId="{F907ACC7-C8F7-470E-B883-D49732EB787C}" dt="2024-02-22T11:27:33.762" v="38675" actId="478"/>
          <ac:spMkLst>
            <pc:docMk/>
            <pc:sldMk cId="562939316" sldId="2147483620"/>
            <ac:spMk id="7" creationId="{02C44A94-A3D3-65DB-C879-AF20543299B5}"/>
          </ac:spMkLst>
        </pc:spChg>
        <pc:spChg chg="add del mod">
          <ac:chgData name="Hänninen, Lauri" userId="b62831d1-2046-40aa-b4b7-d67e2d73afe1" providerId="ADAL" clId="{F907ACC7-C8F7-470E-B883-D49732EB787C}" dt="2024-02-22T11:29:10.971" v="41492" actId="478"/>
          <ac:spMkLst>
            <pc:docMk/>
            <pc:sldMk cId="562939316" sldId="2147483620"/>
            <ac:spMk id="8" creationId="{56459682-8CF8-6E89-6FFD-4428F35939DF}"/>
          </ac:spMkLst>
        </pc:spChg>
        <pc:spChg chg="add del mod">
          <ac:chgData name="Hänninen, Lauri" userId="b62831d1-2046-40aa-b4b7-d67e2d73afe1" providerId="ADAL" clId="{F907ACC7-C8F7-470E-B883-D49732EB787C}" dt="2024-02-22T11:29:10.971" v="41492" actId="478"/>
          <ac:spMkLst>
            <pc:docMk/>
            <pc:sldMk cId="562939316" sldId="2147483620"/>
            <ac:spMk id="9" creationId="{92DC5BCC-6848-9035-D013-670651C77B33}"/>
          </ac:spMkLst>
        </pc:spChg>
        <pc:spChg chg="add mod replST">
          <ac:chgData name="Hänninen, Lauri" userId="b62831d1-2046-40aa-b4b7-d67e2d73afe1" providerId="ADAL" clId="{F907ACC7-C8F7-470E-B883-D49732EB787C}" dt="2024-02-22T11:30:14.380" v="42146"/>
          <ac:spMkLst>
            <pc:docMk/>
            <pc:sldMk cId="562939316" sldId="2147483620"/>
            <ac:spMk id="11" creationId="{E676DFC5-DD8C-95D8-BC01-7FC118CE7F29}"/>
          </ac:spMkLst>
        </pc:spChg>
        <pc:spChg chg="add mod replST">
          <ac:chgData name="Hänninen, Lauri" userId="b62831d1-2046-40aa-b4b7-d67e2d73afe1" providerId="ADAL" clId="{F907ACC7-C8F7-470E-B883-D49732EB787C}" dt="2024-02-22T11:30:14.380" v="42147"/>
          <ac:spMkLst>
            <pc:docMk/>
            <pc:sldMk cId="562939316" sldId="2147483620"/>
            <ac:spMk id="12" creationId="{093F95FC-D3E6-AA97-BFB9-CFA75DA3B74E}"/>
          </ac:spMkLst>
        </pc:spChg>
        <pc:spChg chg="add mod replST">
          <ac:chgData name="Hänninen, Lauri" userId="b62831d1-2046-40aa-b4b7-d67e2d73afe1" providerId="ADAL" clId="{F907ACC7-C8F7-470E-B883-D49732EB787C}" dt="2024-02-22T11:30:14.380" v="42148"/>
          <ac:spMkLst>
            <pc:docMk/>
            <pc:sldMk cId="562939316" sldId="2147483620"/>
            <ac:spMk id="13" creationId="{5DDB5555-7E9A-E408-0D87-617CD5EB6EE0}"/>
          </ac:spMkLst>
        </pc:spChg>
        <pc:spChg chg="add mod replST">
          <ac:chgData name="Hänninen, Lauri" userId="b62831d1-2046-40aa-b4b7-d67e2d73afe1" providerId="ADAL" clId="{F907ACC7-C8F7-470E-B883-D49732EB787C}" dt="2024-02-22T11:30:14.381" v="42149"/>
          <ac:spMkLst>
            <pc:docMk/>
            <pc:sldMk cId="562939316" sldId="2147483620"/>
            <ac:spMk id="14" creationId="{80C75D3B-4EF5-52F3-0A7E-20A35B54A492}"/>
          </ac:spMkLst>
        </pc:spChg>
        <pc:spChg chg="add mod replST">
          <ac:chgData name="Hänninen, Lauri" userId="b62831d1-2046-40aa-b4b7-d67e2d73afe1" providerId="ADAL" clId="{F907ACC7-C8F7-470E-B883-D49732EB787C}" dt="2024-02-22T11:30:14.381" v="42150"/>
          <ac:spMkLst>
            <pc:docMk/>
            <pc:sldMk cId="562939316" sldId="2147483620"/>
            <ac:spMk id="15" creationId="{C23E2A76-F869-69A5-D674-30193DC0AAD5}"/>
          </ac:spMkLst>
        </pc:spChg>
        <pc:spChg chg="add mod replST">
          <ac:chgData name="Hänninen, Lauri" userId="b62831d1-2046-40aa-b4b7-d67e2d73afe1" providerId="ADAL" clId="{F907ACC7-C8F7-470E-B883-D49732EB787C}" dt="2024-02-22T11:30:14.381" v="42151"/>
          <ac:spMkLst>
            <pc:docMk/>
            <pc:sldMk cId="562939316" sldId="2147483620"/>
            <ac:spMk id="16" creationId="{01B125B5-3E0E-4C5C-A735-5FDBB154C81B}"/>
          </ac:spMkLst>
        </pc:spChg>
        <pc:spChg chg="add mod replST">
          <ac:chgData name="Hänninen, Lauri" userId="b62831d1-2046-40aa-b4b7-d67e2d73afe1" providerId="ADAL" clId="{F907ACC7-C8F7-470E-B883-D49732EB787C}" dt="2024-02-22T11:30:14.382" v="42152"/>
          <ac:spMkLst>
            <pc:docMk/>
            <pc:sldMk cId="562939316" sldId="2147483620"/>
            <ac:spMk id="17" creationId="{F3B0F551-69CB-7CD0-6B5D-7EBB9A58B550}"/>
          </ac:spMkLst>
        </pc:spChg>
        <pc:spChg chg="add mod replST">
          <ac:chgData name="Hänninen, Lauri" userId="b62831d1-2046-40aa-b4b7-d67e2d73afe1" providerId="ADAL" clId="{F907ACC7-C8F7-470E-B883-D49732EB787C}" dt="2024-02-22T11:30:14.382" v="42153"/>
          <ac:spMkLst>
            <pc:docMk/>
            <pc:sldMk cId="562939316" sldId="2147483620"/>
            <ac:spMk id="18" creationId="{8D81F385-9264-BBEE-5930-86E340602B87}"/>
          </ac:spMkLst>
        </pc:spChg>
        <pc:spChg chg="add mod replST">
          <ac:chgData name="Hänninen, Lauri" userId="b62831d1-2046-40aa-b4b7-d67e2d73afe1" providerId="ADAL" clId="{F907ACC7-C8F7-470E-B883-D49732EB787C}" dt="2024-02-22T11:30:14.383" v="42154"/>
          <ac:spMkLst>
            <pc:docMk/>
            <pc:sldMk cId="562939316" sldId="2147483620"/>
            <ac:spMk id="19" creationId="{20B5738B-10F5-20E8-350A-45E71D2A4E22}"/>
          </ac:spMkLst>
        </pc:spChg>
        <pc:spChg chg="add mod replST">
          <ac:chgData name="Hänninen, Lauri" userId="b62831d1-2046-40aa-b4b7-d67e2d73afe1" providerId="ADAL" clId="{F907ACC7-C8F7-470E-B883-D49732EB787C}" dt="2024-02-22T11:30:14.383" v="42155"/>
          <ac:spMkLst>
            <pc:docMk/>
            <pc:sldMk cId="562939316" sldId="2147483620"/>
            <ac:spMk id="20" creationId="{E06EDE1D-0F89-E950-D990-F190D91E1E59}"/>
          </ac:spMkLst>
        </pc:spChg>
        <pc:spChg chg="add mod replST">
          <ac:chgData name="Hänninen, Lauri" userId="b62831d1-2046-40aa-b4b7-d67e2d73afe1" providerId="ADAL" clId="{F907ACC7-C8F7-470E-B883-D49732EB787C}" dt="2024-02-22T11:30:14.384" v="42156"/>
          <ac:spMkLst>
            <pc:docMk/>
            <pc:sldMk cId="562939316" sldId="2147483620"/>
            <ac:spMk id="21" creationId="{968CE64E-087E-2E5D-145A-FD8BE41042BD}"/>
          </ac:spMkLst>
        </pc:spChg>
        <pc:spChg chg="add mod replST">
          <ac:chgData name="Hänninen, Lauri" userId="b62831d1-2046-40aa-b4b7-d67e2d73afe1" providerId="ADAL" clId="{F907ACC7-C8F7-470E-B883-D49732EB787C}" dt="2024-02-22T11:30:14.384" v="42157"/>
          <ac:spMkLst>
            <pc:docMk/>
            <pc:sldMk cId="562939316" sldId="2147483620"/>
            <ac:spMk id="22" creationId="{1CE13F31-2DAC-58CC-07BA-2CB96B874BAE}"/>
          </ac:spMkLst>
        </pc:spChg>
        <pc:spChg chg="add mod replST">
          <ac:chgData name="Hänninen, Lauri" userId="b62831d1-2046-40aa-b4b7-d67e2d73afe1" providerId="ADAL" clId="{F907ACC7-C8F7-470E-B883-D49732EB787C}" dt="2024-02-22T11:30:14.384" v="42158"/>
          <ac:spMkLst>
            <pc:docMk/>
            <pc:sldMk cId="562939316" sldId="2147483620"/>
            <ac:spMk id="23" creationId="{D10F7F37-D676-FBD9-07FE-8F98FDE15658}"/>
          </ac:spMkLst>
        </pc:spChg>
        <pc:spChg chg="add mod replST">
          <ac:chgData name="Hänninen, Lauri" userId="b62831d1-2046-40aa-b4b7-d67e2d73afe1" providerId="ADAL" clId="{F907ACC7-C8F7-470E-B883-D49732EB787C}" dt="2024-02-22T11:30:14.385" v="42159"/>
          <ac:spMkLst>
            <pc:docMk/>
            <pc:sldMk cId="562939316" sldId="2147483620"/>
            <ac:spMk id="24" creationId="{BAF4A2B3-F847-E4AA-F935-2977262F43A5}"/>
          </ac:spMkLst>
        </pc:spChg>
        <pc:spChg chg="add mod replST">
          <ac:chgData name="Hänninen, Lauri" userId="b62831d1-2046-40aa-b4b7-d67e2d73afe1" providerId="ADAL" clId="{F907ACC7-C8F7-470E-B883-D49732EB787C}" dt="2024-02-22T11:30:14.385" v="42160"/>
          <ac:spMkLst>
            <pc:docMk/>
            <pc:sldMk cId="562939316" sldId="2147483620"/>
            <ac:spMk id="25" creationId="{D5DEB59C-853D-161C-EB3E-F3DCE21AF6BA}"/>
          </ac:spMkLst>
        </pc:spChg>
        <pc:spChg chg="add mod replST">
          <ac:chgData name="Hänninen, Lauri" userId="b62831d1-2046-40aa-b4b7-d67e2d73afe1" providerId="ADAL" clId="{F907ACC7-C8F7-470E-B883-D49732EB787C}" dt="2024-02-22T11:30:14.386" v="42161"/>
          <ac:spMkLst>
            <pc:docMk/>
            <pc:sldMk cId="562939316" sldId="2147483620"/>
            <ac:spMk id="26" creationId="{F6277A3E-E760-C8A7-112C-251FBF735686}"/>
          </ac:spMkLst>
        </pc:spChg>
        <pc:spChg chg="add mod replST">
          <ac:chgData name="Hänninen, Lauri" userId="b62831d1-2046-40aa-b4b7-d67e2d73afe1" providerId="ADAL" clId="{F907ACC7-C8F7-470E-B883-D49732EB787C}" dt="2024-02-22T11:30:14.386" v="42162"/>
          <ac:spMkLst>
            <pc:docMk/>
            <pc:sldMk cId="562939316" sldId="2147483620"/>
            <ac:spMk id="27" creationId="{764B204E-F147-7A9B-A4D2-2276D2168F07}"/>
          </ac:spMkLst>
        </pc:spChg>
        <pc:spChg chg="add mod replST">
          <ac:chgData name="Hänninen, Lauri" userId="b62831d1-2046-40aa-b4b7-d67e2d73afe1" providerId="ADAL" clId="{F907ACC7-C8F7-470E-B883-D49732EB787C}" dt="2024-02-22T11:30:14.386" v="42163"/>
          <ac:spMkLst>
            <pc:docMk/>
            <pc:sldMk cId="562939316" sldId="2147483620"/>
            <ac:spMk id="28" creationId="{C8852E3A-AC43-DBBB-2BDF-8307761C442C}"/>
          </ac:spMkLst>
        </pc:spChg>
        <pc:spChg chg="add mod replST">
          <ac:chgData name="Hänninen, Lauri" userId="b62831d1-2046-40aa-b4b7-d67e2d73afe1" providerId="ADAL" clId="{F907ACC7-C8F7-470E-B883-D49732EB787C}" dt="2024-02-22T11:30:14.387" v="42164"/>
          <ac:spMkLst>
            <pc:docMk/>
            <pc:sldMk cId="562939316" sldId="2147483620"/>
            <ac:spMk id="29" creationId="{728BA5F3-FC3E-D544-D110-F4DA9B177D8D}"/>
          </ac:spMkLst>
        </pc:spChg>
        <pc:spChg chg="add mod replST">
          <ac:chgData name="Hänninen, Lauri" userId="b62831d1-2046-40aa-b4b7-d67e2d73afe1" providerId="ADAL" clId="{F907ACC7-C8F7-470E-B883-D49732EB787C}" dt="2024-02-22T11:30:14.387" v="42165"/>
          <ac:spMkLst>
            <pc:docMk/>
            <pc:sldMk cId="562939316" sldId="2147483620"/>
            <ac:spMk id="30" creationId="{8910F6BE-B7BF-0E31-E9ED-C82D4F4FF90D}"/>
          </ac:spMkLst>
        </pc:spChg>
        <pc:spChg chg="add mod replST">
          <ac:chgData name="Hänninen, Lauri" userId="b62831d1-2046-40aa-b4b7-d67e2d73afe1" providerId="ADAL" clId="{F907ACC7-C8F7-470E-B883-D49732EB787C}" dt="2024-02-22T11:30:14.387" v="42166"/>
          <ac:spMkLst>
            <pc:docMk/>
            <pc:sldMk cId="562939316" sldId="2147483620"/>
            <ac:spMk id="31" creationId="{6B348867-B733-CEF9-A860-5FB326E530C6}"/>
          </ac:spMkLst>
        </pc:spChg>
        <pc:spChg chg="add mod replST">
          <ac:chgData name="Hänninen, Lauri" userId="b62831d1-2046-40aa-b4b7-d67e2d73afe1" providerId="ADAL" clId="{F907ACC7-C8F7-470E-B883-D49732EB787C}" dt="2024-02-22T11:30:14.388" v="42167"/>
          <ac:spMkLst>
            <pc:docMk/>
            <pc:sldMk cId="562939316" sldId="2147483620"/>
            <ac:spMk id="32" creationId="{62F630B8-33B0-C797-3B1E-6B3DE4C37983}"/>
          </ac:spMkLst>
        </pc:spChg>
        <pc:spChg chg="add del mod ord">
          <ac:chgData name="Hänninen, Lauri" userId="b62831d1-2046-40aa-b4b7-d67e2d73afe1" providerId="ADAL" clId="{F907ACC7-C8F7-470E-B883-D49732EB787C}" dt="2024-02-22T11:29:34.623" v="41612" actId="478"/>
          <ac:spMkLst>
            <pc:docMk/>
            <pc:sldMk cId="562939316" sldId="2147483620"/>
            <ac:spMk id="33" creationId="{6B703095-7D92-DA7B-D393-E6E8B68D3898}"/>
          </ac:spMkLst>
        </pc:spChg>
        <pc:spChg chg="add del mod">
          <ac:chgData name="Hänninen, Lauri" userId="b62831d1-2046-40aa-b4b7-d67e2d73afe1" providerId="ADAL" clId="{F907ACC7-C8F7-470E-B883-D49732EB787C}" dt="2024-02-22T11:28:48.498" v="41283" actId="478"/>
          <ac:spMkLst>
            <pc:docMk/>
            <pc:sldMk cId="562939316" sldId="2147483620"/>
            <ac:spMk id="34" creationId="{C476AA03-E874-9DA5-3226-ED91E9D12534}"/>
          </ac:spMkLst>
        </pc:spChg>
        <pc:spChg chg="add del mod">
          <ac:chgData name="Hänninen, Lauri" userId="b62831d1-2046-40aa-b4b7-d67e2d73afe1" providerId="ADAL" clId="{F907ACC7-C8F7-470E-B883-D49732EB787C}" dt="2024-02-22T11:28:48.498" v="41283" actId="478"/>
          <ac:spMkLst>
            <pc:docMk/>
            <pc:sldMk cId="562939316" sldId="2147483620"/>
            <ac:spMk id="35" creationId="{6B77BBDC-B233-3076-48A7-54875E464D0F}"/>
          </ac:spMkLst>
        </pc:spChg>
        <pc:spChg chg="add del mod">
          <ac:chgData name="Hänninen, Lauri" userId="b62831d1-2046-40aa-b4b7-d67e2d73afe1" providerId="ADAL" clId="{F907ACC7-C8F7-470E-B883-D49732EB787C}" dt="2024-02-22T11:28:48.498" v="41283" actId="478"/>
          <ac:spMkLst>
            <pc:docMk/>
            <pc:sldMk cId="562939316" sldId="2147483620"/>
            <ac:spMk id="36" creationId="{15A73471-BF28-08AB-6334-088C1EC6548F}"/>
          </ac:spMkLst>
        </pc:spChg>
        <pc:spChg chg="add del mod">
          <ac:chgData name="Hänninen, Lauri" userId="b62831d1-2046-40aa-b4b7-d67e2d73afe1" providerId="ADAL" clId="{F907ACC7-C8F7-470E-B883-D49732EB787C}" dt="2024-02-22T11:28:48.498" v="41283" actId="478"/>
          <ac:spMkLst>
            <pc:docMk/>
            <pc:sldMk cId="562939316" sldId="2147483620"/>
            <ac:spMk id="37" creationId="{7025F4F8-0A97-81AE-4A0E-815D1F39A571}"/>
          </ac:spMkLst>
        </pc:spChg>
        <pc:spChg chg="add del mod">
          <ac:chgData name="Hänninen, Lauri" userId="b62831d1-2046-40aa-b4b7-d67e2d73afe1" providerId="ADAL" clId="{F907ACC7-C8F7-470E-B883-D49732EB787C}" dt="2024-02-22T11:28:48.498" v="41283" actId="478"/>
          <ac:spMkLst>
            <pc:docMk/>
            <pc:sldMk cId="562939316" sldId="2147483620"/>
            <ac:spMk id="38" creationId="{2AEDBE5E-6381-2CF3-6FB7-2B55135FBA69}"/>
          </ac:spMkLst>
        </pc:spChg>
        <pc:spChg chg="add del mod">
          <ac:chgData name="Hänninen, Lauri" userId="b62831d1-2046-40aa-b4b7-d67e2d73afe1" providerId="ADAL" clId="{F907ACC7-C8F7-470E-B883-D49732EB787C}" dt="2024-02-22T11:28:48.498" v="41283" actId="478"/>
          <ac:spMkLst>
            <pc:docMk/>
            <pc:sldMk cId="562939316" sldId="2147483620"/>
            <ac:spMk id="39" creationId="{A916C6A9-E306-AEB5-1E1D-B6A3E20BD2E3}"/>
          </ac:spMkLst>
        </pc:spChg>
        <pc:spChg chg="add del mod">
          <ac:chgData name="Hänninen, Lauri" userId="b62831d1-2046-40aa-b4b7-d67e2d73afe1" providerId="ADAL" clId="{F907ACC7-C8F7-470E-B883-D49732EB787C}" dt="2024-02-22T11:28:48.498" v="41283" actId="478"/>
          <ac:spMkLst>
            <pc:docMk/>
            <pc:sldMk cId="562939316" sldId="2147483620"/>
            <ac:spMk id="40" creationId="{1F778E92-8BB8-3E6E-8482-75AB5C8C0933}"/>
          </ac:spMkLst>
        </pc:spChg>
        <pc:spChg chg="add del mod">
          <ac:chgData name="Hänninen, Lauri" userId="b62831d1-2046-40aa-b4b7-d67e2d73afe1" providerId="ADAL" clId="{F907ACC7-C8F7-470E-B883-D49732EB787C}" dt="2024-02-22T11:29:10.971" v="41492" actId="478"/>
          <ac:spMkLst>
            <pc:docMk/>
            <pc:sldMk cId="562939316" sldId="2147483620"/>
            <ac:spMk id="41" creationId="{70CD575F-E4A2-3C91-8377-FCFC570CAAF5}"/>
          </ac:spMkLst>
        </pc:spChg>
        <pc:spChg chg="add del mod">
          <ac:chgData name="Hänninen, Lauri" userId="b62831d1-2046-40aa-b4b7-d67e2d73afe1" providerId="ADAL" clId="{F907ACC7-C8F7-470E-B883-D49732EB787C}" dt="2024-02-22T11:29:10.971" v="41492" actId="478"/>
          <ac:spMkLst>
            <pc:docMk/>
            <pc:sldMk cId="562939316" sldId="2147483620"/>
            <ac:spMk id="42" creationId="{7B84CA42-48D9-E1A0-DA31-92D3D662447E}"/>
          </ac:spMkLst>
        </pc:spChg>
        <pc:spChg chg="add del mod">
          <ac:chgData name="Hänninen, Lauri" userId="b62831d1-2046-40aa-b4b7-d67e2d73afe1" providerId="ADAL" clId="{F907ACC7-C8F7-470E-B883-D49732EB787C}" dt="2024-02-22T11:29:10.971" v="41492" actId="478"/>
          <ac:spMkLst>
            <pc:docMk/>
            <pc:sldMk cId="562939316" sldId="2147483620"/>
            <ac:spMk id="43" creationId="{9E99D225-225C-A6C7-C806-236D15DF5F2C}"/>
          </ac:spMkLst>
        </pc:spChg>
        <pc:spChg chg="add del mod">
          <ac:chgData name="Hänninen, Lauri" userId="b62831d1-2046-40aa-b4b7-d67e2d73afe1" providerId="ADAL" clId="{F907ACC7-C8F7-470E-B883-D49732EB787C}" dt="2024-02-22T11:29:10.971" v="41492" actId="478"/>
          <ac:spMkLst>
            <pc:docMk/>
            <pc:sldMk cId="562939316" sldId="2147483620"/>
            <ac:spMk id="44" creationId="{339E0E0E-5E8D-64EC-354C-95DEA596290E}"/>
          </ac:spMkLst>
        </pc:spChg>
        <pc:spChg chg="add del mod">
          <ac:chgData name="Hänninen, Lauri" userId="b62831d1-2046-40aa-b4b7-d67e2d73afe1" providerId="ADAL" clId="{F907ACC7-C8F7-470E-B883-D49732EB787C}" dt="2024-02-22T11:29:10.971" v="41492" actId="478"/>
          <ac:spMkLst>
            <pc:docMk/>
            <pc:sldMk cId="562939316" sldId="2147483620"/>
            <ac:spMk id="45" creationId="{936941E7-BB02-E439-8CF5-5513A4EBFA37}"/>
          </ac:spMkLst>
        </pc:spChg>
        <pc:spChg chg="add del mod">
          <ac:chgData name="Hänninen, Lauri" userId="b62831d1-2046-40aa-b4b7-d67e2d73afe1" providerId="ADAL" clId="{F907ACC7-C8F7-470E-B883-D49732EB787C}" dt="2024-02-22T11:29:10.971" v="41492" actId="478"/>
          <ac:spMkLst>
            <pc:docMk/>
            <pc:sldMk cId="562939316" sldId="2147483620"/>
            <ac:spMk id="46" creationId="{04D12AD0-04C8-C6F1-FF4E-F9FE04EA3047}"/>
          </ac:spMkLst>
        </pc:spChg>
        <pc:spChg chg="add del mod">
          <ac:chgData name="Hänninen, Lauri" userId="b62831d1-2046-40aa-b4b7-d67e2d73afe1" providerId="ADAL" clId="{F907ACC7-C8F7-470E-B883-D49732EB787C}" dt="2024-02-22T11:29:10.971" v="41492" actId="478"/>
          <ac:spMkLst>
            <pc:docMk/>
            <pc:sldMk cId="562939316" sldId="2147483620"/>
            <ac:spMk id="47" creationId="{E4349D81-C814-F65C-DD65-673EB82C47C7}"/>
          </ac:spMkLst>
        </pc:spChg>
        <pc:spChg chg="add del mod">
          <ac:chgData name="Hänninen, Lauri" userId="b62831d1-2046-40aa-b4b7-d67e2d73afe1" providerId="ADAL" clId="{F907ACC7-C8F7-470E-B883-D49732EB787C}" dt="2024-02-22T11:29:10.971" v="41492" actId="478"/>
          <ac:spMkLst>
            <pc:docMk/>
            <pc:sldMk cId="562939316" sldId="2147483620"/>
            <ac:spMk id="48" creationId="{0A6C6B44-A559-61ED-B924-39F6C192D108}"/>
          </ac:spMkLst>
        </pc:spChg>
        <pc:spChg chg="add del mod">
          <ac:chgData name="Hänninen, Lauri" userId="b62831d1-2046-40aa-b4b7-d67e2d73afe1" providerId="ADAL" clId="{F907ACC7-C8F7-470E-B883-D49732EB787C}" dt="2024-02-22T11:29:10.971" v="41492" actId="478"/>
          <ac:spMkLst>
            <pc:docMk/>
            <pc:sldMk cId="562939316" sldId="2147483620"/>
            <ac:spMk id="49" creationId="{878E0239-A426-BF96-76DE-9E33A511F08D}"/>
          </ac:spMkLst>
        </pc:spChg>
        <pc:spChg chg="add del mod">
          <ac:chgData name="Hänninen, Lauri" userId="b62831d1-2046-40aa-b4b7-d67e2d73afe1" providerId="ADAL" clId="{F907ACC7-C8F7-470E-B883-D49732EB787C}" dt="2024-02-22T11:29:10.971" v="41492" actId="478"/>
          <ac:spMkLst>
            <pc:docMk/>
            <pc:sldMk cId="562939316" sldId="2147483620"/>
            <ac:spMk id="50" creationId="{CDF28E42-2278-38E9-580E-A366311E95F7}"/>
          </ac:spMkLst>
        </pc:spChg>
        <pc:spChg chg="add del mod">
          <ac:chgData name="Hänninen, Lauri" userId="b62831d1-2046-40aa-b4b7-d67e2d73afe1" providerId="ADAL" clId="{F907ACC7-C8F7-470E-B883-D49732EB787C}" dt="2024-02-22T11:28:06.883" v="39683" actId="478"/>
          <ac:spMkLst>
            <pc:docMk/>
            <pc:sldMk cId="562939316" sldId="2147483620"/>
            <ac:spMk id="51" creationId="{69412A35-7C39-4055-BA5A-090934951BCE}"/>
          </ac:spMkLst>
        </pc:spChg>
        <pc:spChg chg="add del mod">
          <ac:chgData name="Hänninen, Lauri" userId="b62831d1-2046-40aa-b4b7-d67e2d73afe1" providerId="ADAL" clId="{F907ACC7-C8F7-470E-B883-D49732EB787C}" dt="2024-02-22T11:28:06.883" v="39683" actId="478"/>
          <ac:spMkLst>
            <pc:docMk/>
            <pc:sldMk cId="562939316" sldId="2147483620"/>
            <ac:spMk id="52" creationId="{EE0B13DD-812D-8929-2324-013A4E40C9E1}"/>
          </ac:spMkLst>
        </pc:spChg>
        <pc:spChg chg="add del mod">
          <ac:chgData name="Hänninen, Lauri" userId="b62831d1-2046-40aa-b4b7-d67e2d73afe1" providerId="ADAL" clId="{F907ACC7-C8F7-470E-B883-D49732EB787C}" dt="2024-02-22T11:28:02.900" v="39682" actId="478"/>
          <ac:spMkLst>
            <pc:docMk/>
            <pc:sldMk cId="562939316" sldId="2147483620"/>
            <ac:spMk id="53" creationId="{D97B8FF2-D237-95E6-F5FF-A20F465BB333}"/>
          </ac:spMkLst>
        </pc:spChg>
        <pc:spChg chg="mod">
          <ac:chgData name="Hänninen, Lauri" userId="b62831d1-2046-40aa-b4b7-d67e2d73afe1" providerId="ADAL" clId="{F907ACC7-C8F7-470E-B883-D49732EB787C}" dt="2024-02-22T11:27:40.784" v="39227"/>
          <ac:spMkLst>
            <pc:docMk/>
            <pc:sldMk cId="562939316" sldId="2147483620"/>
            <ac:spMk id="55" creationId="{AB98A8B2-E9D9-78FB-5631-33E35C2425BF}"/>
          </ac:spMkLst>
        </pc:spChg>
        <pc:spChg chg="mod">
          <ac:chgData name="Hänninen, Lauri" userId="b62831d1-2046-40aa-b4b7-d67e2d73afe1" providerId="ADAL" clId="{F907ACC7-C8F7-470E-B883-D49732EB787C}" dt="2024-02-22T11:27:40.784" v="39227"/>
          <ac:spMkLst>
            <pc:docMk/>
            <pc:sldMk cId="562939316" sldId="2147483620"/>
            <ac:spMk id="56" creationId="{31CA8F4E-A802-BC79-F385-5DC77299F881}"/>
          </ac:spMkLst>
        </pc:spChg>
        <pc:spChg chg="mod">
          <ac:chgData name="Hänninen, Lauri" userId="b62831d1-2046-40aa-b4b7-d67e2d73afe1" providerId="ADAL" clId="{F907ACC7-C8F7-470E-B883-D49732EB787C}" dt="2024-02-22T11:27:40.784" v="39227"/>
          <ac:spMkLst>
            <pc:docMk/>
            <pc:sldMk cId="562939316" sldId="2147483620"/>
            <ac:spMk id="57" creationId="{323303ED-0EDA-391C-ACD0-B7AB102D0621}"/>
          </ac:spMkLst>
        </pc:spChg>
        <pc:spChg chg="add del mod">
          <ac:chgData name="Hänninen, Lauri" userId="b62831d1-2046-40aa-b4b7-d67e2d73afe1" providerId="ADAL" clId="{F907ACC7-C8F7-470E-B883-D49732EB787C}" dt="2024-02-22T11:29:10.971" v="41492" actId="478"/>
          <ac:spMkLst>
            <pc:docMk/>
            <pc:sldMk cId="562939316" sldId="2147483620"/>
            <ac:spMk id="58" creationId="{B9C84E1C-9517-EF96-9ED1-692D395559EA}"/>
          </ac:spMkLst>
        </pc:spChg>
        <pc:spChg chg="add del mod">
          <ac:chgData name="Hänninen, Lauri" userId="b62831d1-2046-40aa-b4b7-d67e2d73afe1" providerId="ADAL" clId="{F907ACC7-C8F7-470E-B883-D49732EB787C}" dt="2024-02-22T11:29:10.971" v="41492" actId="478"/>
          <ac:spMkLst>
            <pc:docMk/>
            <pc:sldMk cId="562939316" sldId="2147483620"/>
            <ac:spMk id="59" creationId="{58FB45A9-E400-B879-888C-34A1C00ACE86}"/>
          </ac:spMkLst>
        </pc:spChg>
        <pc:spChg chg="add del mod">
          <ac:chgData name="Hänninen, Lauri" userId="b62831d1-2046-40aa-b4b7-d67e2d73afe1" providerId="ADAL" clId="{F907ACC7-C8F7-470E-B883-D49732EB787C}" dt="2024-02-22T11:29:10.971" v="41492" actId="478"/>
          <ac:spMkLst>
            <pc:docMk/>
            <pc:sldMk cId="562939316" sldId="2147483620"/>
            <ac:spMk id="60" creationId="{5840D7C3-FE27-DD0D-F231-15C0A175DA27}"/>
          </ac:spMkLst>
        </pc:spChg>
        <pc:spChg chg="add del mod">
          <ac:chgData name="Hänninen, Lauri" userId="b62831d1-2046-40aa-b4b7-d67e2d73afe1" providerId="ADAL" clId="{F907ACC7-C8F7-470E-B883-D49732EB787C}" dt="2024-02-22T11:29:10.971" v="41492" actId="478"/>
          <ac:spMkLst>
            <pc:docMk/>
            <pc:sldMk cId="562939316" sldId="2147483620"/>
            <ac:spMk id="61" creationId="{D7050327-F59D-6D39-6526-16C484DD68CC}"/>
          </ac:spMkLst>
        </pc:spChg>
        <pc:spChg chg="add del mod">
          <ac:chgData name="Hänninen, Lauri" userId="b62831d1-2046-40aa-b4b7-d67e2d73afe1" providerId="ADAL" clId="{F907ACC7-C8F7-470E-B883-D49732EB787C}" dt="2024-02-22T11:29:10.971" v="41492" actId="478"/>
          <ac:spMkLst>
            <pc:docMk/>
            <pc:sldMk cId="562939316" sldId="2147483620"/>
            <ac:spMk id="62" creationId="{DD6B1615-66C7-2475-5EE5-3542699E82F9}"/>
          </ac:spMkLst>
        </pc:spChg>
        <pc:spChg chg="add del mod">
          <ac:chgData name="Hänninen, Lauri" userId="b62831d1-2046-40aa-b4b7-d67e2d73afe1" providerId="ADAL" clId="{F907ACC7-C8F7-470E-B883-D49732EB787C}" dt="2024-02-22T11:29:10.971" v="41492" actId="478"/>
          <ac:spMkLst>
            <pc:docMk/>
            <pc:sldMk cId="562939316" sldId="2147483620"/>
            <ac:spMk id="63" creationId="{B1CE5452-4C0D-1B4A-DCC6-CD4F6774F80A}"/>
          </ac:spMkLst>
        </pc:spChg>
        <pc:spChg chg="add del mod">
          <ac:chgData name="Hänninen, Lauri" userId="b62831d1-2046-40aa-b4b7-d67e2d73afe1" providerId="ADAL" clId="{F907ACC7-C8F7-470E-B883-D49732EB787C}" dt="2024-02-22T11:29:10.971" v="41492" actId="478"/>
          <ac:spMkLst>
            <pc:docMk/>
            <pc:sldMk cId="562939316" sldId="2147483620"/>
            <ac:spMk id="64" creationId="{8198303D-3557-B553-0507-4EC7E6E209E8}"/>
          </ac:spMkLst>
        </pc:spChg>
        <pc:spChg chg="add mod">
          <ac:chgData name="Hänninen, Lauri" userId="b62831d1-2046-40aa-b4b7-d67e2d73afe1" providerId="ADAL" clId="{F907ACC7-C8F7-470E-B883-D49732EB787C}" dt="2024-02-22T11:30:14.388" v="42168"/>
          <ac:spMkLst>
            <pc:docMk/>
            <pc:sldMk cId="562939316" sldId="2147483620"/>
            <ac:spMk id="65" creationId="{8DF33E55-9A50-4DD5-D3A0-F11F70D869FF}"/>
          </ac:spMkLst>
        </pc:spChg>
        <pc:spChg chg="add del mod">
          <ac:chgData name="Hänninen, Lauri" userId="b62831d1-2046-40aa-b4b7-d67e2d73afe1" providerId="ADAL" clId="{F907ACC7-C8F7-470E-B883-D49732EB787C}" dt="2024-02-22T11:29:10.971" v="41492" actId="478"/>
          <ac:spMkLst>
            <pc:docMk/>
            <pc:sldMk cId="562939316" sldId="2147483620"/>
            <ac:spMk id="66" creationId="{601B7B12-5CBA-08CF-D2B5-E97A18CE0E4C}"/>
          </ac:spMkLst>
        </pc:spChg>
        <pc:spChg chg="add del mod">
          <ac:chgData name="Hänninen, Lauri" userId="b62831d1-2046-40aa-b4b7-d67e2d73afe1" providerId="ADAL" clId="{F907ACC7-C8F7-470E-B883-D49732EB787C}" dt="2024-02-22T11:29:10.971" v="41492" actId="478"/>
          <ac:spMkLst>
            <pc:docMk/>
            <pc:sldMk cId="562939316" sldId="2147483620"/>
            <ac:spMk id="67" creationId="{43986621-E4CE-F24F-2883-A415E8ACF55D}"/>
          </ac:spMkLst>
        </pc:spChg>
        <pc:spChg chg="add del mod">
          <ac:chgData name="Hänninen, Lauri" userId="b62831d1-2046-40aa-b4b7-d67e2d73afe1" providerId="ADAL" clId="{F907ACC7-C8F7-470E-B883-D49732EB787C}" dt="2024-02-22T11:29:10.971" v="41492" actId="478"/>
          <ac:spMkLst>
            <pc:docMk/>
            <pc:sldMk cId="562939316" sldId="2147483620"/>
            <ac:spMk id="68" creationId="{EAF063ED-0AFC-C1B9-EAEE-163EAA50E7F3}"/>
          </ac:spMkLst>
        </pc:spChg>
        <pc:spChg chg="add del mod">
          <ac:chgData name="Hänninen, Lauri" userId="b62831d1-2046-40aa-b4b7-d67e2d73afe1" providerId="ADAL" clId="{F907ACC7-C8F7-470E-B883-D49732EB787C}" dt="2024-02-22T11:29:10.971" v="41492" actId="478"/>
          <ac:spMkLst>
            <pc:docMk/>
            <pc:sldMk cId="562939316" sldId="2147483620"/>
            <ac:spMk id="69" creationId="{025D7852-0357-12FD-D75B-DF605234B63C}"/>
          </ac:spMkLst>
        </pc:spChg>
        <pc:spChg chg="add del mod">
          <ac:chgData name="Hänninen, Lauri" userId="b62831d1-2046-40aa-b4b7-d67e2d73afe1" providerId="ADAL" clId="{F907ACC7-C8F7-470E-B883-D49732EB787C}" dt="2024-02-22T11:29:10.971" v="41492" actId="478"/>
          <ac:spMkLst>
            <pc:docMk/>
            <pc:sldMk cId="562939316" sldId="2147483620"/>
            <ac:spMk id="70" creationId="{668D4BFE-E4A7-2C5C-B71B-C55AA14F0F04}"/>
          </ac:spMkLst>
        </pc:spChg>
        <pc:spChg chg="add del mod">
          <ac:chgData name="Hänninen, Lauri" userId="b62831d1-2046-40aa-b4b7-d67e2d73afe1" providerId="ADAL" clId="{F907ACC7-C8F7-470E-B883-D49732EB787C}" dt="2024-02-22T11:28:02.900" v="39682" actId="478"/>
          <ac:spMkLst>
            <pc:docMk/>
            <pc:sldMk cId="562939316" sldId="2147483620"/>
            <ac:spMk id="71" creationId="{179D065A-8E04-4727-87C4-9F86ECA156B7}"/>
          </ac:spMkLst>
        </pc:spChg>
        <pc:spChg chg="add mod">
          <ac:chgData name="Hänninen, Lauri" userId="b62831d1-2046-40aa-b4b7-d67e2d73afe1" providerId="ADAL" clId="{F907ACC7-C8F7-470E-B883-D49732EB787C}" dt="2024-02-22T11:30:14.389" v="42169"/>
          <ac:spMkLst>
            <pc:docMk/>
            <pc:sldMk cId="562939316" sldId="2147483620"/>
            <ac:spMk id="72" creationId="{68D0B6F8-54A2-8921-5288-CF492CD6E786}"/>
          </ac:spMkLst>
        </pc:spChg>
        <pc:spChg chg="add del mod">
          <ac:chgData name="Hänninen, Lauri" userId="b62831d1-2046-40aa-b4b7-d67e2d73afe1" providerId="ADAL" clId="{F907ACC7-C8F7-470E-B883-D49732EB787C}" dt="2024-02-22T11:28:02.900" v="39682" actId="478"/>
          <ac:spMkLst>
            <pc:docMk/>
            <pc:sldMk cId="562939316" sldId="2147483620"/>
            <ac:spMk id="73" creationId="{7DB52DCB-06D8-E6A0-5741-316180025D46}"/>
          </ac:spMkLst>
        </pc:spChg>
        <pc:spChg chg="add del mod">
          <ac:chgData name="Hänninen, Lauri" userId="b62831d1-2046-40aa-b4b7-d67e2d73afe1" providerId="ADAL" clId="{F907ACC7-C8F7-470E-B883-D49732EB787C}" dt="2024-02-22T11:28:02.900" v="39682" actId="478"/>
          <ac:spMkLst>
            <pc:docMk/>
            <pc:sldMk cId="562939316" sldId="2147483620"/>
            <ac:spMk id="74" creationId="{0B17C6F5-E604-93EC-4AEE-835B3F1D922C}"/>
          </ac:spMkLst>
        </pc:spChg>
        <pc:spChg chg="add mod ord">
          <ac:chgData name="Hänninen, Lauri" userId="b62831d1-2046-40aa-b4b7-d67e2d73afe1" providerId="ADAL" clId="{F907ACC7-C8F7-470E-B883-D49732EB787C}" dt="2024-02-22T11:30:14.389" v="42171"/>
          <ac:spMkLst>
            <pc:docMk/>
            <pc:sldMk cId="562939316" sldId="2147483620"/>
            <ac:spMk id="75" creationId="{4197401C-48D4-122B-419F-8961CC7AA15B}"/>
          </ac:spMkLst>
        </pc:spChg>
        <pc:spChg chg="add mod ord">
          <ac:chgData name="Hänninen, Lauri" userId="b62831d1-2046-40aa-b4b7-d67e2d73afe1" providerId="ADAL" clId="{F907ACC7-C8F7-470E-B883-D49732EB787C}" dt="2024-02-22T11:30:14.390" v="42173"/>
          <ac:spMkLst>
            <pc:docMk/>
            <pc:sldMk cId="562939316" sldId="2147483620"/>
            <ac:spMk id="76" creationId="{DC2ED2A8-0451-26DB-B7A0-4B478C7584A8}"/>
          </ac:spMkLst>
        </pc:spChg>
        <pc:spChg chg="add mod ord">
          <ac:chgData name="Hänninen, Lauri" userId="b62831d1-2046-40aa-b4b7-d67e2d73afe1" providerId="ADAL" clId="{F907ACC7-C8F7-470E-B883-D49732EB787C}" dt="2024-02-22T11:30:14.390" v="42175"/>
          <ac:spMkLst>
            <pc:docMk/>
            <pc:sldMk cId="562939316" sldId="2147483620"/>
            <ac:spMk id="77" creationId="{85AF0572-89CE-4AEF-41C5-5FD79C52ECBD}"/>
          </ac:spMkLst>
        </pc:spChg>
        <pc:spChg chg="add del mod modVis">
          <ac:chgData name="Hänninen, Lauri" userId="b62831d1-2046-40aa-b4b7-d67e2d73afe1" providerId="ADAL" clId="{F907ACC7-C8F7-470E-B883-D49732EB787C}" dt="2024-02-22T11:27:40.864" v="39402"/>
          <ac:spMkLst>
            <pc:docMk/>
            <pc:sldMk cId="562939316" sldId="2147483620"/>
            <ac:spMk id="78" creationId="{43081BFB-A0A0-B4F6-1ABB-250F78692CBF}"/>
          </ac:spMkLst>
        </pc:spChg>
        <pc:spChg chg="add del mod modVis">
          <ac:chgData name="Hänninen, Lauri" userId="b62831d1-2046-40aa-b4b7-d67e2d73afe1" providerId="ADAL" clId="{F907ACC7-C8F7-470E-B883-D49732EB787C}" dt="2024-02-22T11:27:53.447" v="39678"/>
          <ac:spMkLst>
            <pc:docMk/>
            <pc:sldMk cId="562939316" sldId="2147483620"/>
            <ac:spMk id="81" creationId="{C12C5B44-9756-A2EB-1C68-FCAF35CDBADA}"/>
          </ac:spMkLst>
        </pc:spChg>
        <pc:spChg chg="add del mod modVis">
          <ac:chgData name="Hänninen, Lauri" userId="b62831d1-2046-40aa-b4b7-d67e2d73afe1" providerId="ADAL" clId="{F907ACC7-C8F7-470E-B883-D49732EB787C}" dt="2024-02-22T11:28:13.156" v="39850"/>
          <ac:spMkLst>
            <pc:docMk/>
            <pc:sldMk cId="562939316" sldId="2147483620"/>
            <ac:spMk id="83" creationId="{2F44D423-F57D-DB90-48D7-6FB955C1156B}"/>
          </ac:spMkLst>
        </pc:spChg>
        <pc:spChg chg="add del mod modVis">
          <ac:chgData name="Hänninen, Lauri" userId="b62831d1-2046-40aa-b4b7-d67e2d73afe1" providerId="ADAL" clId="{F907ACC7-C8F7-470E-B883-D49732EB787C}" dt="2024-02-22T11:28:14.902" v="40016"/>
          <ac:spMkLst>
            <pc:docMk/>
            <pc:sldMk cId="562939316" sldId="2147483620"/>
            <ac:spMk id="85" creationId="{E0FB3DEE-F91C-C3E3-717D-6D01213C6B72}"/>
          </ac:spMkLst>
        </pc:spChg>
        <pc:spChg chg="add del mod modVis">
          <ac:chgData name="Hänninen, Lauri" userId="b62831d1-2046-40aa-b4b7-d67e2d73afe1" providerId="ADAL" clId="{F907ACC7-C8F7-470E-B883-D49732EB787C}" dt="2024-02-22T11:28:16.500" v="40184"/>
          <ac:spMkLst>
            <pc:docMk/>
            <pc:sldMk cId="562939316" sldId="2147483620"/>
            <ac:spMk id="87" creationId="{A0B42413-A1EF-1CF9-98E4-5F5ACE852911}"/>
          </ac:spMkLst>
        </pc:spChg>
        <pc:spChg chg="add del mod modVis">
          <ac:chgData name="Hänninen, Lauri" userId="b62831d1-2046-40aa-b4b7-d67e2d73afe1" providerId="ADAL" clId="{F907ACC7-C8F7-470E-B883-D49732EB787C}" dt="2024-02-22T11:28:19.097" v="40410"/>
          <ac:spMkLst>
            <pc:docMk/>
            <pc:sldMk cId="562939316" sldId="2147483620"/>
            <ac:spMk id="89" creationId="{8B95F23A-B37C-275F-67E8-E312100A98A0}"/>
          </ac:spMkLst>
        </pc:spChg>
        <pc:spChg chg="add del mod modVis">
          <ac:chgData name="Hänninen, Lauri" userId="b62831d1-2046-40aa-b4b7-d67e2d73afe1" providerId="ADAL" clId="{F907ACC7-C8F7-470E-B883-D49732EB787C}" dt="2024-02-22T11:28:25.932" v="40548"/>
          <ac:spMkLst>
            <pc:docMk/>
            <pc:sldMk cId="562939316" sldId="2147483620"/>
            <ac:spMk id="91" creationId="{D99E7E81-F237-0380-68E8-6C8A493F171B}"/>
          </ac:spMkLst>
        </pc:spChg>
        <pc:spChg chg="add del mod modVis">
          <ac:chgData name="Hänninen, Lauri" userId="b62831d1-2046-40aa-b4b7-d67e2d73afe1" providerId="ADAL" clId="{F907ACC7-C8F7-470E-B883-D49732EB787C}" dt="2024-02-22T11:28:29.109" v="40686"/>
          <ac:spMkLst>
            <pc:docMk/>
            <pc:sldMk cId="562939316" sldId="2147483620"/>
            <ac:spMk id="93" creationId="{495C878D-63C8-8ADB-C20B-40F0DE2A68FA}"/>
          </ac:spMkLst>
        </pc:spChg>
        <pc:spChg chg="add del mod modVis">
          <ac:chgData name="Hänninen, Lauri" userId="b62831d1-2046-40aa-b4b7-d67e2d73afe1" providerId="ADAL" clId="{F907ACC7-C8F7-470E-B883-D49732EB787C}" dt="2024-02-22T11:28:32.964" v="40912"/>
          <ac:spMkLst>
            <pc:docMk/>
            <pc:sldMk cId="562939316" sldId="2147483620"/>
            <ac:spMk id="95" creationId="{46CB0448-C1C3-E4B7-9A34-8066A287654B}"/>
          </ac:spMkLst>
        </pc:spChg>
        <pc:spChg chg="add del mod modVis">
          <ac:chgData name="Hänninen, Lauri" userId="b62831d1-2046-40aa-b4b7-d67e2d73afe1" providerId="ADAL" clId="{F907ACC7-C8F7-470E-B883-D49732EB787C}" dt="2024-02-22T11:28:37.969" v="41050"/>
          <ac:spMkLst>
            <pc:docMk/>
            <pc:sldMk cId="562939316" sldId="2147483620"/>
            <ac:spMk id="97" creationId="{D938A04F-FBA6-B6F7-C7C9-3A2CC00E0C40}"/>
          </ac:spMkLst>
        </pc:spChg>
        <pc:spChg chg="add del mod modVis">
          <ac:chgData name="Hänninen, Lauri" userId="b62831d1-2046-40aa-b4b7-d67e2d73afe1" providerId="ADAL" clId="{F907ACC7-C8F7-470E-B883-D49732EB787C}" dt="2024-02-22T11:28:43.340" v="41280"/>
          <ac:spMkLst>
            <pc:docMk/>
            <pc:sldMk cId="562939316" sldId="2147483620"/>
            <ac:spMk id="99" creationId="{314A19CE-37FA-4106-A7ED-B83DB1A85455}"/>
          </ac:spMkLst>
        </pc:spChg>
        <pc:spChg chg="add del mod modVis">
          <ac:chgData name="Hänninen, Lauri" userId="b62831d1-2046-40aa-b4b7-d67e2d73afe1" providerId="ADAL" clId="{F907ACC7-C8F7-470E-B883-D49732EB787C}" dt="2024-02-22T11:28:58.920" v="41489"/>
          <ac:spMkLst>
            <pc:docMk/>
            <pc:sldMk cId="562939316" sldId="2147483620"/>
            <ac:spMk id="101" creationId="{9CEC5641-5C82-07BD-CC25-23C01FC0BA91}"/>
          </ac:spMkLst>
        </pc:spChg>
        <pc:spChg chg="add del mod modVis">
          <ac:chgData name="Hänninen, Lauri" userId="b62831d1-2046-40aa-b4b7-d67e2d73afe1" providerId="ADAL" clId="{F907ACC7-C8F7-470E-B883-D49732EB787C}" dt="2024-02-22T11:29:18.736" v="41606"/>
          <ac:spMkLst>
            <pc:docMk/>
            <pc:sldMk cId="562939316" sldId="2147483620"/>
            <ac:spMk id="103" creationId="{D5E138A9-7166-26EE-4347-838A9162D659}"/>
          </ac:spMkLst>
        </pc:spChg>
        <pc:spChg chg="add mod ord">
          <ac:chgData name="Hänninen, Lauri" userId="b62831d1-2046-40aa-b4b7-d67e2d73afe1" providerId="ADAL" clId="{F907ACC7-C8F7-470E-B883-D49732EB787C}" dt="2024-02-22T11:30:14.391" v="42177"/>
          <ac:spMkLst>
            <pc:docMk/>
            <pc:sldMk cId="562939316" sldId="2147483620"/>
            <ac:spMk id="105" creationId="{F6273616-B40F-C773-E8E5-5F871494B513}"/>
          </ac:spMkLst>
        </pc:spChg>
        <pc:spChg chg="add del mod modVis">
          <ac:chgData name="Hänninen, Lauri" userId="b62831d1-2046-40aa-b4b7-d67e2d73afe1" providerId="ADAL" clId="{F907ACC7-C8F7-470E-B883-D49732EB787C}" dt="2024-02-22T11:29:38.029" v="41741"/>
          <ac:spMkLst>
            <pc:docMk/>
            <pc:sldMk cId="562939316" sldId="2147483620"/>
            <ac:spMk id="106" creationId="{DD5149B0-4CC8-C791-D0D5-EC07836EF9B5}"/>
          </ac:spMkLst>
        </pc:spChg>
        <pc:spChg chg="add del mod modVis">
          <ac:chgData name="Hänninen, Lauri" userId="b62831d1-2046-40aa-b4b7-d67e2d73afe1" providerId="ADAL" clId="{F907ACC7-C8F7-470E-B883-D49732EB787C}" dt="2024-02-22T11:29:43.640" v="41872"/>
          <ac:spMkLst>
            <pc:docMk/>
            <pc:sldMk cId="562939316" sldId="2147483620"/>
            <ac:spMk id="108" creationId="{206A58D0-B56F-577A-D7AE-DB94047AB562}"/>
          </ac:spMkLst>
        </pc:spChg>
        <pc:spChg chg="add mod ord">
          <ac:chgData name="Hänninen, Lauri" userId="b62831d1-2046-40aa-b4b7-d67e2d73afe1" providerId="ADAL" clId="{F907ACC7-C8F7-470E-B883-D49732EB787C}" dt="2024-02-22T11:30:14.391" v="42179"/>
          <ac:spMkLst>
            <pc:docMk/>
            <pc:sldMk cId="562939316" sldId="2147483620"/>
            <ac:spMk id="110" creationId="{8CB3C35D-9708-3FA1-0E81-F1D2BB86A117}"/>
          </ac:spMkLst>
        </pc:spChg>
        <pc:spChg chg="add mod ord">
          <ac:chgData name="Hänninen, Lauri" userId="b62831d1-2046-40aa-b4b7-d67e2d73afe1" providerId="ADAL" clId="{F907ACC7-C8F7-470E-B883-D49732EB787C}" dt="2024-02-22T11:38:12.357" v="42193" actId="1076"/>
          <ac:spMkLst>
            <pc:docMk/>
            <pc:sldMk cId="562939316" sldId="2147483620"/>
            <ac:spMk id="111" creationId="{C1ACA344-1CD6-FFEF-019E-3CB174776F69}"/>
          </ac:spMkLst>
        </pc:spChg>
        <pc:spChg chg="add mod ord">
          <ac:chgData name="Hänninen, Lauri" userId="b62831d1-2046-40aa-b4b7-d67e2d73afe1" providerId="ADAL" clId="{F907ACC7-C8F7-470E-B883-D49732EB787C}" dt="2024-02-22T11:38:15.031" v="42194" actId="1076"/>
          <ac:spMkLst>
            <pc:docMk/>
            <pc:sldMk cId="562939316" sldId="2147483620"/>
            <ac:spMk id="112" creationId="{D34D15BE-211F-1286-CAE1-30498C795445}"/>
          </ac:spMkLst>
        </pc:spChg>
        <pc:spChg chg="add del mod modVis">
          <ac:chgData name="Hänninen, Lauri" userId="b62831d1-2046-40aa-b4b7-d67e2d73afe1" providerId="ADAL" clId="{F907ACC7-C8F7-470E-B883-D49732EB787C}" dt="2024-02-22T11:30:11.147" v="41988"/>
          <ac:spMkLst>
            <pc:docMk/>
            <pc:sldMk cId="562939316" sldId="2147483620"/>
            <ac:spMk id="113" creationId="{76B0CD69-0EAF-5D07-9CD6-2B3F425F2675}"/>
          </ac:spMkLst>
        </pc:spChg>
        <pc:spChg chg="add del mod modVis">
          <ac:chgData name="Hänninen, Lauri" userId="b62831d1-2046-40aa-b4b7-d67e2d73afe1" providerId="ADAL" clId="{F907ACC7-C8F7-470E-B883-D49732EB787C}" dt="2024-02-22T11:30:14.393" v="42187"/>
          <ac:spMkLst>
            <pc:docMk/>
            <pc:sldMk cId="562939316" sldId="2147483620"/>
            <ac:spMk id="115" creationId="{4955FB99-E822-CC2E-0911-E7E186BD1960}"/>
          </ac:spMkLst>
        </pc:spChg>
        <pc:grpChg chg="add del mod">
          <ac:chgData name="Hänninen, Lauri" userId="b62831d1-2046-40aa-b4b7-d67e2d73afe1" providerId="ADAL" clId="{F907ACC7-C8F7-470E-B883-D49732EB787C}" dt="2024-02-22T11:28:09.047" v="39684" actId="478"/>
          <ac:grpSpMkLst>
            <pc:docMk/>
            <pc:sldMk cId="562939316" sldId="2147483620"/>
            <ac:grpSpMk id="54" creationId="{794DB871-7583-FC07-73C7-57C24D2A58C6}"/>
          </ac:grpSpMkLst>
        </pc:grpChg>
        <pc:graphicFrameChg chg="add del mod replST">
          <ac:chgData name="Hänninen, Lauri" userId="b62831d1-2046-40aa-b4b7-d67e2d73afe1" providerId="ADAL" clId="{F907ACC7-C8F7-470E-B883-D49732EB787C}" dt="2024-02-22T11:27:40.706" v="39127"/>
          <ac:graphicFrameMkLst>
            <pc:docMk/>
            <pc:sldMk cId="562939316" sldId="2147483620"/>
            <ac:graphicFrameMk id="10" creationId="{D099CE0D-ADDB-54BF-1437-DF9CBD423E80}"/>
          </ac:graphicFrameMkLst>
        </pc:graphicFrameChg>
        <pc:graphicFrameChg chg="add del mod replST">
          <ac:chgData name="Hänninen, Lauri" userId="b62831d1-2046-40aa-b4b7-d67e2d73afe1" providerId="ADAL" clId="{F907ACC7-C8F7-470E-B883-D49732EB787C}" dt="2024-02-22T11:27:53.374" v="39589"/>
          <ac:graphicFrameMkLst>
            <pc:docMk/>
            <pc:sldMk cId="562939316" sldId="2147483620"/>
            <ac:graphicFrameMk id="79" creationId="{DF55D6B5-C37B-4D00-3561-53436D30836E}"/>
          </ac:graphicFrameMkLst>
        </pc:graphicFrameChg>
        <pc:graphicFrameChg chg="add mod ord modVis replST">
          <ac:chgData name="Hänninen, Lauri" userId="b62831d1-2046-40aa-b4b7-d67e2d73afe1" providerId="ADAL" clId="{F907ACC7-C8F7-470E-B883-D49732EB787C}" dt="2024-02-22T11:30:14.414" v="42189"/>
          <ac:graphicFrameMkLst>
            <pc:docMk/>
            <pc:sldMk cId="562939316" sldId="2147483620"/>
            <ac:graphicFrameMk id="80" creationId="{F3F4821B-1983-7338-DF56-E611BA998E73}"/>
          </ac:graphicFrameMkLst>
        </pc:graphicFrameChg>
        <pc:graphicFrameChg chg="add del mod replST">
          <ac:chgData name="Hänninen, Lauri" userId="b62831d1-2046-40aa-b4b7-d67e2d73afe1" providerId="ADAL" clId="{F907ACC7-C8F7-470E-B883-D49732EB787C}" dt="2024-02-22T11:28:13.091" v="39770"/>
          <ac:graphicFrameMkLst>
            <pc:docMk/>
            <pc:sldMk cId="562939316" sldId="2147483620"/>
            <ac:graphicFrameMk id="82" creationId="{ECB9E4F9-FBC3-6604-CAA3-648E07521900}"/>
          </ac:graphicFrameMkLst>
        </pc:graphicFrameChg>
        <pc:graphicFrameChg chg="add del mod replST">
          <ac:chgData name="Hänninen, Lauri" userId="b62831d1-2046-40aa-b4b7-d67e2d73afe1" providerId="ADAL" clId="{F907ACC7-C8F7-470E-B883-D49732EB787C}" dt="2024-02-22T11:28:14.826" v="39936"/>
          <ac:graphicFrameMkLst>
            <pc:docMk/>
            <pc:sldMk cId="562939316" sldId="2147483620"/>
            <ac:graphicFrameMk id="84" creationId="{E96C8CDB-4EB2-F4F1-B56E-9703A3825CD8}"/>
          </ac:graphicFrameMkLst>
        </pc:graphicFrameChg>
        <pc:graphicFrameChg chg="add del mod replST">
          <ac:chgData name="Hänninen, Lauri" userId="b62831d1-2046-40aa-b4b7-d67e2d73afe1" providerId="ADAL" clId="{F907ACC7-C8F7-470E-B883-D49732EB787C}" dt="2024-02-22T11:28:16.445" v="40104"/>
          <ac:graphicFrameMkLst>
            <pc:docMk/>
            <pc:sldMk cId="562939316" sldId="2147483620"/>
            <ac:graphicFrameMk id="86" creationId="{CBB1B86F-EDDC-176B-8DB6-503B356E207E}"/>
          </ac:graphicFrameMkLst>
        </pc:graphicFrameChg>
        <pc:graphicFrameChg chg="add del mod replST">
          <ac:chgData name="Hänninen, Lauri" userId="b62831d1-2046-40aa-b4b7-d67e2d73afe1" providerId="ADAL" clId="{F907ACC7-C8F7-470E-B883-D49732EB787C}" dt="2024-02-22T11:28:19.045" v="40330"/>
          <ac:graphicFrameMkLst>
            <pc:docMk/>
            <pc:sldMk cId="562939316" sldId="2147483620"/>
            <ac:graphicFrameMk id="88" creationId="{F3C86E34-0B0F-E543-2543-168DC8A40641}"/>
          </ac:graphicFrameMkLst>
        </pc:graphicFrameChg>
        <pc:graphicFrameChg chg="add del mod replST">
          <ac:chgData name="Hänninen, Lauri" userId="b62831d1-2046-40aa-b4b7-d67e2d73afe1" providerId="ADAL" clId="{F907ACC7-C8F7-470E-B883-D49732EB787C}" dt="2024-02-22T11:28:25.877" v="40468"/>
          <ac:graphicFrameMkLst>
            <pc:docMk/>
            <pc:sldMk cId="562939316" sldId="2147483620"/>
            <ac:graphicFrameMk id="90" creationId="{EA28A751-3BC4-3226-4BB0-27A6F844B5A6}"/>
          </ac:graphicFrameMkLst>
        </pc:graphicFrameChg>
        <pc:graphicFrameChg chg="add del mod replST">
          <ac:chgData name="Hänninen, Lauri" userId="b62831d1-2046-40aa-b4b7-d67e2d73afe1" providerId="ADAL" clId="{F907ACC7-C8F7-470E-B883-D49732EB787C}" dt="2024-02-22T11:28:29.036" v="40606"/>
          <ac:graphicFrameMkLst>
            <pc:docMk/>
            <pc:sldMk cId="562939316" sldId="2147483620"/>
            <ac:graphicFrameMk id="92" creationId="{74F1B69B-002A-1CB3-1BB3-0647DD020288}"/>
          </ac:graphicFrameMkLst>
        </pc:graphicFrameChg>
        <pc:graphicFrameChg chg="add del mod replST">
          <ac:chgData name="Hänninen, Lauri" userId="b62831d1-2046-40aa-b4b7-d67e2d73afe1" providerId="ADAL" clId="{F907ACC7-C8F7-470E-B883-D49732EB787C}" dt="2024-02-22T11:28:32.875" v="40832"/>
          <ac:graphicFrameMkLst>
            <pc:docMk/>
            <pc:sldMk cId="562939316" sldId="2147483620"/>
            <ac:graphicFrameMk id="94" creationId="{12BE0B5D-E1CB-ECCA-2E32-4B83B67547A1}"/>
          </ac:graphicFrameMkLst>
        </pc:graphicFrameChg>
        <pc:graphicFrameChg chg="add del mod replST">
          <ac:chgData name="Hänninen, Lauri" userId="b62831d1-2046-40aa-b4b7-d67e2d73afe1" providerId="ADAL" clId="{F907ACC7-C8F7-470E-B883-D49732EB787C}" dt="2024-02-22T11:28:37.871" v="40970"/>
          <ac:graphicFrameMkLst>
            <pc:docMk/>
            <pc:sldMk cId="562939316" sldId="2147483620"/>
            <ac:graphicFrameMk id="96" creationId="{0CA84574-153E-F7FE-E55D-A8C1B64658DE}"/>
          </ac:graphicFrameMkLst>
        </pc:graphicFrameChg>
        <pc:graphicFrameChg chg="add del mod replST">
          <ac:chgData name="Hänninen, Lauri" userId="b62831d1-2046-40aa-b4b7-d67e2d73afe1" providerId="ADAL" clId="{F907ACC7-C8F7-470E-B883-D49732EB787C}" dt="2024-02-22T11:28:43.243" v="41200"/>
          <ac:graphicFrameMkLst>
            <pc:docMk/>
            <pc:sldMk cId="562939316" sldId="2147483620"/>
            <ac:graphicFrameMk id="98" creationId="{48A2D621-A66E-D8E2-A686-32C7E0A94295}"/>
          </ac:graphicFrameMkLst>
        </pc:graphicFrameChg>
        <pc:graphicFrameChg chg="add del mod replST">
          <ac:chgData name="Hänninen, Lauri" userId="b62831d1-2046-40aa-b4b7-d67e2d73afe1" providerId="ADAL" clId="{F907ACC7-C8F7-470E-B883-D49732EB787C}" dt="2024-02-22T11:28:58.848" v="41416"/>
          <ac:graphicFrameMkLst>
            <pc:docMk/>
            <pc:sldMk cId="562939316" sldId="2147483620"/>
            <ac:graphicFrameMk id="100" creationId="{DFF5F976-8E8A-CBDB-CA9B-437BDA361360}"/>
          </ac:graphicFrameMkLst>
        </pc:graphicFrameChg>
        <pc:graphicFrameChg chg="add del mod replST">
          <ac:chgData name="Hänninen, Lauri" userId="b62831d1-2046-40aa-b4b7-d67e2d73afe1" providerId="ADAL" clId="{F907ACC7-C8F7-470E-B883-D49732EB787C}" dt="2024-02-22T11:29:18.688" v="41557"/>
          <ac:graphicFrameMkLst>
            <pc:docMk/>
            <pc:sldMk cId="562939316" sldId="2147483620"/>
            <ac:graphicFrameMk id="102" creationId="{9B8921CB-A2B9-6A30-6EBE-BFBA62FB7AEC}"/>
          </ac:graphicFrameMkLst>
        </pc:graphicFrameChg>
        <pc:graphicFrameChg chg="add del mod replST">
          <ac:chgData name="Hänninen, Lauri" userId="b62831d1-2046-40aa-b4b7-d67e2d73afe1" providerId="ADAL" clId="{F907ACC7-C8F7-470E-B883-D49732EB787C}" dt="2024-02-22T11:29:37.951" v="41692"/>
          <ac:graphicFrameMkLst>
            <pc:docMk/>
            <pc:sldMk cId="562939316" sldId="2147483620"/>
            <ac:graphicFrameMk id="104" creationId="{4951F369-86DD-B719-C978-7F451198B4F7}"/>
          </ac:graphicFrameMkLst>
        </pc:graphicFrameChg>
        <pc:graphicFrameChg chg="add del mod replST">
          <ac:chgData name="Hänninen, Lauri" userId="b62831d1-2046-40aa-b4b7-d67e2d73afe1" providerId="ADAL" clId="{F907ACC7-C8F7-470E-B883-D49732EB787C}" dt="2024-02-22T11:29:43.571" v="41823"/>
          <ac:graphicFrameMkLst>
            <pc:docMk/>
            <pc:sldMk cId="562939316" sldId="2147483620"/>
            <ac:graphicFrameMk id="107" creationId="{7AFD232E-4177-9998-F1E9-1CA5F38C736C}"/>
          </ac:graphicFrameMkLst>
        </pc:graphicFrameChg>
        <pc:graphicFrameChg chg="add del mod replST">
          <ac:chgData name="Hänninen, Lauri" userId="b62831d1-2046-40aa-b4b7-d67e2d73afe1" providerId="ADAL" clId="{F907ACC7-C8F7-470E-B883-D49732EB787C}" dt="2024-02-22T11:30:11.105" v="41935"/>
          <ac:graphicFrameMkLst>
            <pc:docMk/>
            <pc:sldMk cId="562939316" sldId="2147483620"/>
            <ac:graphicFrameMk id="109" creationId="{D9584F9C-7FD0-F8A6-D2F9-58514CE99AFD}"/>
          </ac:graphicFrameMkLst>
        </pc:graphicFrameChg>
        <pc:graphicFrameChg chg="add del mod replST">
          <ac:chgData name="Hänninen, Lauri" userId="b62831d1-2046-40aa-b4b7-d67e2d73afe1" providerId="ADAL" clId="{F907ACC7-C8F7-470E-B883-D49732EB787C}" dt="2024-02-22T11:30:14.355" v="42134"/>
          <ac:graphicFrameMkLst>
            <pc:docMk/>
            <pc:sldMk cId="562939316" sldId="2147483620"/>
            <ac:graphicFrameMk id="114" creationId="{C4F8E8C8-CB40-7758-C956-D83FBCDF2D30}"/>
          </ac:graphicFrameMkLst>
        </pc:graphicFrameChg>
        <pc:graphicFrameChg chg="add mod replST">
          <ac:chgData name="Hänninen, Lauri" userId="b62831d1-2046-40aa-b4b7-d67e2d73afe1" providerId="ADAL" clId="{F907ACC7-C8F7-470E-B883-D49732EB787C}" dt="2024-02-22T11:30:14.379" v="42145"/>
          <ac:graphicFrameMkLst>
            <pc:docMk/>
            <pc:sldMk cId="562939316" sldId="2147483620"/>
            <ac:graphicFrameMk id="116" creationId="{2C06AF69-0690-6C61-D07B-7C2A83B49C11}"/>
          </ac:graphicFrameMkLst>
        </pc:graphicFrameChg>
      </pc:sldChg>
      <pc:sldChg chg="add">
        <pc:chgData name="Hänninen, Lauri" userId="b62831d1-2046-40aa-b4b7-d67e2d73afe1" providerId="ADAL" clId="{F907ACC7-C8F7-470E-B883-D49732EB787C}" dt="2024-02-23T10:57:36.638" v="42368"/>
        <pc:sldMkLst>
          <pc:docMk/>
          <pc:sldMk cId="2276466764" sldId="2147483620"/>
        </pc:sldMkLst>
      </pc:sldChg>
      <pc:sldMasterChg chg="delSldLayout">
        <pc:chgData name="Hänninen, Lauri" userId="b62831d1-2046-40aa-b4b7-d67e2d73afe1" providerId="ADAL" clId="{F907ACC7-C8F7-470E-B883-D49732EB787C}" dt="2024-02-21T14:34:50.608" v="29169" actId="2696"/>
        <pc:sldMasterMkLst>
          <pc:docMk/>
          <pc:sldMasterMk cId="729942253" sldId="2147483648"/>
        </pc:sldMasterMkLst>
        <pc:sldLayoutChg chg="del">
          <pc:chgData name="Hänninen, Lauri" userId="b62831d1-2046-40aa-b4b7-d67e2d73afe1" providerId="ADAL" clId="{F907ACC7-C8F7-470E-B883-D49732EB787C}" dt="2024-02-19T19:18:21.483" v="2805" actId="2696"/>
          <pc:sldLayoutMkLst>
            <pc:docMk/>
            <pc:sldMasterMk cId="729942253" sldId="2147483648"/>
            <pc:sldLayoutMk cId="3454375302" sldId="2147483778"/>
          </pc:sldLayoutMkLst>
        </pc:sldLayoutChg>
        <pc:sldLayoutChg chg="del">
          <pc:chgData name="Hänninen, Lauri" userId="b62831d1-2046-40aa-b4b7-d67e2d73afe1" providerId="ADAL" clId="{F907ACC7-C8F7-470E-B883-D49732EB787C}" dt="2024-02-21T14:34:50.608" v="29169" actId="2696"/>
          <pc:sldLayoutMkLst>
            <pc:docMk/>
            <pc:sldMasterMk cId="729942253" sldId="2147483648"/>
            <pc:sldLayoutMk cId="1092257691" sldId="2147483779"/>
          </pc:sldLayoutMkLst>
        </pc:sldLayoutChg>
      </pc:sldMasterChg>
    </pc:docChg>
  </pc:docChgLst>
  <pc:docChgLst>
    <pc:chgData name="Abdi, Adnan" userId="503e002c-9b3b-4180-87fb-acabeb2b158a" providerId="ADAL" clId="{5C2CD6D4-C7A9-4CEF-AA9C-BC2977F70622}"/>
    <pc:docChg chg="undo redo custSel addSld delSld modSld sldOrd modMainMaster replTag modNotesMaster">
      <pc:chgData name="Abdi, Adnan" userId="503e002c-9b3b-4180-87fb-acabeb2b158a" providerId="ADAL" clId="{5C2CD6D4-C7A9-4CEF-AA9C-BC2977F70622}" dt="2024-02-27T18:47:43.118" v="73594" actId="478"/>
      <pc:docMkLst>
        <pc:docMk/>
      </pc:docMkLst>
      <pc:sldChg chg="modSp mod modNotes">
        <pc:chgData name="Abdi, Adnan" userId="503e002c-9b3b-4180-87fb-acabeb2b158a" providerId="ADAL" clId="{5C2CD6D4-C7A9-4CEF-AA9C-BC2977F70622}" dt="2024-02-26T08:05:15.987" v="73091" actId="1076"/>
        <pc:sldMkLst>
          <pc:docMk/>
          <pc:sldMk cId="480159982" sldId="260"/>
        </pc:sldMkLst>
        <pc:picChg chg="mod">
          <ac:chgData name="Abdi, Adnan" userId="503e002c-9b3b-4180-87fb-acabeb2b158a" providerId="ADAL" clId="{5C2CD6D4-C7A9-4CEF-AA9C-BC2977F70622}" dt="2024-02-26T08:05:15.987" v="73091" actId="1076"/>
          <ac:picMkLst>
            <pc:docMk/>
            <pc:sldMk cId="480159982" sldId="260"/>
            <ac:picMk id="8" creationId="{00000000-0000-0000-0000-000000000000}"/>
          </ac:picMkLst>
        </pc:picChg>
      </pc:sldChg>
      <pc:sldChg chg="addSp delSp modSp mod modNotes">
        <pc:chgData name="Abdi, Adnan" userId="503e002c-9b3b-4180-87fb-acabeb2b158a" providerId="ADAL" clId="{5C2CD6D4-C7A9-4CEF-AA9C-BC2977F70622}" dt="2024-02-26T09:09:34.888" v="73092"/>
        <pc:sldMkLst>
          <pc:docMk/>
          <pc:sldMk cId="2455817319" sldId="264"/>
        </pc:sldMkLst>
        <pc:spChg chg="mod">
          <ac:chgData name="Abdi, Adnan" userId="503e002c-9b3b-4180-87fb-acabeb2b158a" providerId="ADAL" clId="{5C2CD6D4-C7A9-4CEF-AA9C-BC2977F70622}" dt="2024-02-20T12:52:59.413" v="17531" actId="947"/>
          <ac:spMkLst>
            <pc:docMk/>
            <pc:sldMk cId="2455817319" sldId="264"/>
            <ac:spMk id="2" creationId="{001CE8E0-3002-6540-AB4A-44A213CCD16D}"/>
          </ac:spMkLst>
        </pc:spChg>
        <pc:spChg chg="mod">
          <ac:chgData name="Abdi, Adnan" userId="503e002c-9b3b-4180-87fb-acabeb2b158a" providerId="ADAL" clId="{5C2CD6D4-C7A9-4CEF-AA9C-BC2977F70622}" dt="2024-02-20T12:52:59.413" v="17533" actId="947"/>
          <ac:spMkLst>
            <pc:docMk/>
            <pc:sldMk cId="2455817319" sldId="264"/>
            <ac:spMk id="3" creationId="{C10B4546-3353-FD47-A7A9-0CAD02106343}"/>
          </ac:spMkLst>
        </pc:spChg>
        <pc:spChg chg="add del mod">
          <ac:chgData name="Abdi, Adnan" userId="503e002c-9b3b-4180-87fb-acabeb2b158a" providerId="ADAL" clId="{5C2CD6D4-C7A9-4CEF-AA9C-BC2977F70622}" dt="2024-02-23T18:38:40.163" v="71560" actId="478"/>
          <ac:spMkLst>
            <pc:docMk/>
            <pc:sldMk cId="2455817319" sldId="264"/>
            <ac:spMk id="4" creationId="{7F938129-1BFB-EE43-877B-C251030C0CEF}"/>
          </ac:spMkLst>
        </pc:spChg>
        <pc:spChg chg="add mod">
          <ac:chgData name="Abdi, Adnan" userId="503e002c-9b3b-4180-87fb-acabeb2b158a" providerId="ADAL" clId="{5C2CD6D4-C7A9-4CEF-AA9C-BC2977F70622}" dt="2024-02-23T15:32:09.917" v="71465"/>
          <ac:spMkLst>
            <pc:docMk/>
            <pc:sldMk cId="2455817319" sldId="264"/>
            <ac:spMk id="5" creationId="{605993C4-190E-3143-88DA-769C2A43EF43}"/>
          </ac:spMkLst>
        </pc:spChg>
        <pc:spChg chg="add mod">
          <ac:chgData name="Abdi, Adnan" userId="503e002c-9b3b-4180-87fb-acabeb2b158a" providerId="ADAL" clId="{5C2CD6D4-C7A9-4CEF-AA9C-BC2977F70622}" dt="2024-02-26T09:09:34.888" v="73092"/>
          <ac:spMkLst>
            <pc:docMk/>
            <pc:sldMk cId="2455817319" sldId="264"/>
            <ac:spMk id="7" creationId="{8068E101-E14C-260A-9BBA-B04B2F142C9F}"/>
          </ac:spMkLst>
        </pc:spChg>
        <pc:graphicFrameChg chg="mod ord modVis replST">
          <ac:chgData name="Abdi, Adnan" userId="503e002c-9b3b-4180-87fb-acabeb2b158a" providerId="ADAL" clId="{5C2CD6D4-C7A9-4CEF-AA9C-BC2977F70622}" dt="2024-02-20T12:53:06.308" v="20983"/>
          <ac:graphicFrameMkLst>
            <pc:docMk/>
            <pc:sldMk cId="2455817319" sldId="264"/>
            <ac:graphicFrameMk id="6" creationId="{DAF33CD0-B35F-F7B5-1716-BAEAF8B9FF6E}"/>
          </ac:graphicFrameMkLst>
        </pc:graphicFrameChg>
      </pc:sldChg>
      <pc:sldChg chg="addSp delSp modSp add del mod">
        <pc:chgData name="Abdi, Adnan" userId="503e002c-9b3b-4180-87fb-acabeb2b158a" providerId="ADAL" clId="{5C2CD6D4-C7A9-4CEF-AA9C-BC2977F70622}" dt="2024-02-20T15:38:23.211" v="31058" actId="2696"/>
        <pc:sldMkLst>
          <pc:docMk/>
          <pc:sldMk cId="3226808422" sldId="2147483100"/>
        </pc:sldMkLst>
        <pc:spChg chg="mod">
          <ac:chgData name="Abdi, Adnan" userId="503e002c-9b3b-4180-87fb-acabeb2b158a" providerId="ADAL" clId="{5C2CD6D4-C7A9-4CEF-AA9C-BC2977F70622}" dt="2024-02-20T15:30:58.036" v="30629" actId="948"/>
          <ac:spMkLst>
            <pc:docMk/>
            <pc:sldMk cId="3226808422" sldId="2147483100"/>
            <ac:spMk id="2" creationId="{E0F8E4DB-5ABB-4CDD-9B85-E097FF279DC4}"/>
          </ac:spMkLst>
        </pc:spChg>
        <pc:spChg chg="add del mod modVis">
          <ac:chgData name="Abdi, Adnan" userId="503e002c-9b3b-4180-87fb-acabeb2b158a" providerId="ADAL" clId="{5C2CD6D4-C7A9-4CEF-AA9C-BC2977F70622}" dt="2024-02-20T15:30:58.152" v="30712"/>
          <ac:spMkLst>
            <pc:docMk/>
            <pc:sldMk cId="3226808422" sldId="2147483100"/>
            <ac:spMk id="3" creationId="{6D8E4C12-EB65-D4A1-7329-A433CCBFDD39}"/>
          </ac:spMkLst>
        </pc:spChg>
        <pc:spChg chg="mod">
          <ac:chgData name="Abdi, Adnan" userId="503e002c-9b3b-4180-87fb-acabeb2b158a" providerId="ADAL" clId="{5C2CD6D4-C7A9-4CEF-AA9C-BC2977F70622}" dt="2024-02-20T15:30:58.136" v="30704"/>
          <ac:spMkLst>
            <pc:docMk/>
            <pc:sldMk cId="3226808422" sldId="2147483100"/>
            <ac:spMk id="30" creationId="{54D84078-B389-1A18-AC56-0690CDD8805A}"/>
          </ac:spMkLst>
        </pc:spChg>
        <pc:spChg chg="mod">
          <ac:chgData name="Abdi, Adnan" userId="503e002c-9b3b-4180-87fb-acabeb2b158a" providerId="ADAL" clId="{5C2CD6D4-C7A9-4CEF-AA9C-BC2977F70622}" dt="2024-02-20T15:30:58.136" v="30688"/>
          <ac:spMkLst>
            <pc:docMk/>
            <pc:sldMk cId="3226808422" sldId="2147483100"/>
            <ac:spMk id="31" creationId="{91302173-4888-1026-D3CC-EA81DEBD7233}"/>
          </ac:spMkLst>
        </pc:spChg>
        <pc:spChg chg="mod">
          <ac:chgData name="Abdi, Adnan" userId="503e002c-9b3b-4180-87fb-acabeb2b158a" providerId="ADAL" clId="{5C2CD6D4-C7A9-4CEF-AA9C-BC2977F70622}" dt="2024-02-20T15:30:58.136" v="30696"/>
          <ac:spMkLst>
            <pc:docMk/>
            <pc:sldMk cId="3226808422" sldId="2147483100"/>
            <ac:spMk id="33" creationId="{2DF9D5D8-E8AF-6C02-7C87-4606D1CAF4FB}"/>
          </ac:spMkLst>
        </pc:spChg>
        <pc:spChg chg="mod">
          <ac:chgData name="Abdi, Adnan" userId="503e002c-9b3b-4180-87fb-acabeb2b158a" providerId="ADAL" clId="{5C2CD6D4-C7A9-4CEF-AA9C-BC2977F70622}" dt="2024-02-20T15:30:58.136" v="30692"/>
          <ac:spMkLst>
            <pc:docMk/>
            <pc:sldMk cId="3226808422" sldId="2147483100"/>
            <ac:spMk id="34" creationId="{63C65970-E854-7E4E-2DDC-666ADD763AAA}"/>
          </ac:spMkLst>
        </pc:spChg>
        <pc:spChg chg="mod">
          <ac:chgData name="Abdi, Adnan" userId="503e002c-9b3b-4180-87fb-acabeb2b158a" providerId="ADAL" clId="{5C2CD6D4-C7A9-4CEF-AA9C-BC2977F70622}" dt="2024-02-20T15:30:58.136" v="30708"/>
          <ac:spMkLst>
            <pc:docMk/>
            <pc:sldMk cId="3226808422" sldId="2147483100"/>
            <ac:spMk id="35" creationId="{4F9969EC-728D-AFDF-0491-29BB7A4D566F}"/>
          </ac:spMkLst>
        </pc:spChg>
        <pc:spChg chg="mod">
          <ac:chgData name="Abdi, Adnan" userId="503e002c-9b3b-4180-87fb-acabeb2b158a" providerId="ADAL" clId="{5C2CD6D4-C7A9-4CEF-AA9C-BC2977F70622}" dt="2024-02-20T15:30:58.136" v="30684"/>
          <ac:spMkLst>
            <pc:docMk/>
            <pc:sldMk cId="3226808422" sldId="2147483100"/>
            <ac:spMk id="36" creationId="{EEADD857-0A7C-F287-205C-FF78C295AD98}"/>
          </ac:spMkLst>
        </pc:spChg>
        <pc:graphicFrameChg chg="mod">
          <ac:chgData name="Abdi, Adnan" userId="503e002c-9b3b-4180-87fb-acabeb2b158a" providerId="ADAL" clId="{5C2CD6D4-C7A9-4CEF-AA9C-BC2977F70622}" dt="2024-02-20T15:30:58.152" v="30714"/>
          <ac:graphicFrameMkLst>
            <pc:docMk/>
            <pc:sldMk cId="3226808422" sldId="2147483100"/>
            <ac:graphicFrameMk id="7" creationId="{74B07611-33CC-ADA7-4E39-9C56F85ABE32}"/>
          </ac:graphicFrameMkLst>
        </pc:graphicFrameChg>
        <pc:cxnChg chg="mod">
          <ac:chgData name="Abdi, Adnan" userId="503e002c-9b3b-4180-87fb-acabeb2b158a" providerId="ADAL" clId="{5C2CD6D4-C7A9-4CEF-AA9C-BC2977F70622}" dt="2024-02-20T15:30:58.136" v="30680"/>
          <ac:cxnSpMkLst>
            <pc:docMk/>
            <pc:sldMk cId="3226808422" sldId="2147483100"/>
            <ac:cxnSpMk id="32" creationId="{4283113B-FDB4-2575-15DB-773BB891AFC4}"/>
          </ac:cxnSpMkLst>
        </pc:cxnChg>
      </pc:sldChg>
      <pc:sldChg chg="addSp delSp modSp add mod modShow">
        <pc:chgData name="Abdi, Adnan" userId="503e002c-9b3b-4180-87fb-acabeb2b158a" providerId="ADAL" clId="{5C2CD6D4-C7A9-4CEF-AA9C-BC2977F70622}" dt="2024-02-19T15:21:46.499" v="5118" actId="14100"/>
        <pc:sldMkLst>
          <pc:docMk/>
          <pc:sldMk cId="1387823582" sldId="2147483414"/>
        </pc:sldMkLst>
        <pc:spChg chg="mod">
          <ac:chgData name="Abdi, Adnan" userId="503e002c-9b3b-4180-87fb-acabeb2b158a" providerId="ADAL" clId="{5C2CD6D4-C7A9-4CEF-AA9C-BC2977F70622}" dt="2024-02-19T13:54:46.840" v="4962" actId="948"/>
          <ac:spMkLst>
            <pc:docMk/>
            <pc:sldMk cId="1387823582" sldId="2147483414"/>
            <ac:spMk id="3" creationId="{86EF716D-C802-D078-BEED-C56909AB870E}"/>
          </ac:spMkLst>
        </pc:spChg>
        <pc:spChg chg="mod">
          <ac:chgData name="Abdi, Adnan" userId="503e002c-9b3b-4180-87fb-acabeb2b158a" providerId="ADAL" clId="{5C2CD6D4-C7A9-4CEF-AA9C-BC2977F70622}" dt="2024-02-19T15:21:46.499" v="5118" actId="14100"/>
          <ac:spMkLst>
            <pc:docMk/>
            <pc:sldMk cId="1387823582" sldId="2147483414"/>
            <ac:spMk id="8" creationId="{74CD71B4-F26E-45F6-7ED4-71BD8E21D59D}"/>
          </ac:spMkLst>
        </pc:spChg>
        <pc:spChg chg="add del mod modVis">
          <ac:chgData name="Abdi, Adnan" userId="503e002c-9b3b-4180-87fb-acabeb2b158a" providerId="ADAL" clId="{5C2CD6D4-C7A9-4CEF-AA9C-BC2977F70622}" dt="2024-02-19T13:54:46.930" v="4987"/>
          <ac:spMkLst>
            <pc:docMk/>
            <pc:sldMk cId="1387823582" sldId="2147483414"/>
            <ac:spMk id="9" creationId="{25259EA9-C120-362A-A598-BFA3511212A1}"/>
          </ac:spMkLst>
        </pc:spChg>
        <pc:graphicFrameChg chg="mod">
          <ac:chgData name="Abdi, Adnan" userId="503e002c-9b3b-4180-87fb-acabeb2b158a" providerId="ADAL" clId="{5C2CD6D4-C7A9-4CEF-AA9C-BC2977F70622}" dt="2024-02-19T13:54:46.934" v="4989"/>
          <ac:graphicFrameMkLst>
            <pc:docMk/>
            <pc:sldMk cId="1387823582" sldId="2147483414"/>
            <ac:graphicFrameMk id="4" creationId="{F149FF3E-AFFF-CB23-F3AB-BA3AA51D103F}"/>
          </ac:graphicFrameMkLst>
        </pc:graphicFrameChg>
      </pc:sldChg>
      <pc:sldChg chg="delSp modSp mod modNotes">
        <pc:chgData name="Abdi, Adnan" userId="503e002c-9b3b-4180-87fb-acabeb2b158a" providerId="ADAL" clId="{5C2CD6D4-C7A9-4CEF-AA9C-BC2977F70622}" dt="2024-02-20T12:53:06.603" v="21055" actId="1076"/>
        <pc:sldMkLst>
          <pc:docMk/>
          <pc:sldMk cId="2555337822" sldId="2147483414"/>
        </pc:sldMkLst>
        <pc:spChg chg="mod">
          <ac:chgData name="Abdi, Adnan" userId="503e002c-9b3b-4180-87fb-acabeb2b158a" providerId="ADAL" clId="{5C2CD6D4-C7A9-4CEF-AA9C-BC2977F70622}" dt="2024-02-20T12:53:00.403" v="18208" actId="947"/>
          <ac:spMkLst>
            <pc:docMk/>
            <pc:sldMk cId="2555337822" sldId="2147483414"/>
            <ac:spMk id="2" creationId="{C9BE2817-DCC6-EE30-BF02-319E24F70D91}"/>
          </ac:spMkLst>
        </pc:spChg>
        <pc:spChg chg="mod">
          <ac:chgData name="Abdi, Adnan" userId="503e002c-9b3b-4180-87fb-acabeb2b158a" providerId="ADAL" clId="{5C2CD6D4-C7A9-4CEF-AA9C-BC2977F70622}" dt="2024-02-20T12:53:03.257" v="19979" actId="948"/>
          <ac:spMkLst>
            <pc:docMk/>
            <pc:sldMk cId="2555337822" sldId="2147483414"/>
            <ac:spMk id="3" creationId="{86EF716D-C802-D078-BEED-C56909AB870E}"/>
          </ac:spMkLst>
        </pc:spChg>
        <pc:spChg chg="mod">
          <ac:chgData name="Abdi, Adnan" userId="503e002c-9b3b-4180-87fb-acabeb2b158a" providerId="ADAL" clId="{5C2CD6D4-C7A9-4CEF-AA9C-BC2977F70622}" dt="2024-02-20T12:53:00.403" v="18210" actId="947"/>
          <ac:spMkLst>
            <pc:docMk/>
            <pc:sldMk cId="2555337822" sldId="2147483414"/>
            <ac:spMk id="6" creationId="{A4A60410-B00F-1C32-38C7-6A2902EA411D}"/>
          </ac:spMkLst>
        </pc:spChg>
        <pc:spChg chg="del mod modVis">
          <ac:chgData name="Abdi, Adnan" userId="503e002c-9b3b-4180-87fb-acabeb2b158a" providerId="ADAL" clId="{5C2CD6D4-C7A9-4CEF-AA9C-BC2977F70622}" dt="2024-02-20T12:53:06.599" v="21054" actId="478"/>
          <ac:spMkLst>
            <pc:docMk/>
            <pc:sldMk cId="2555337822" sldId="2147483414"/>
            <ac:spMk id="9" creationId="{B96430CB-3CC8-40F8-E5AB-A477A13C6D7C}"/>
          </ac:spMkLst>
        </pc:spChg>
        <pc:spChg chg="mod">
          <ac:chgData name="Abdi, Adnan" userId="503e002c-9b3b-4180-87fb-acabeb2b158a" providerId="ADAL" clId="{5C2CD6D4-C7A9-4CEF-AA9C-BC2977F70622}" dt="2024-02-20T12:53:00.450" v="18231" actId="947"/>
          <ac:spMkLst>
            <pc:docMk/>
            <pc:sldMk cId="2555337822" sldId="2147483414"/>
            <ac:spMk id="13" creationId="{55D08AD1-BDD6-2073-781F-50DB61F46740}"/>
          </ac:spMkLst>
        </pc:spChg>
        <pc:spChg chg="mod">
          <ac:chgData name="Abdi, Adnan" userId="503e002c-9b3b-4180-87fb-acabeb2b158a" providerId="ADAL" clId="{5C2CD6D4-C7A9-4CEF-AA9C-BC2977F70622}" dt="2024-02-20T12:53:00.450" v="18229" actId="947"/>
          <ac:spMkLst>
            <pc:docMk/>
            <pc:sldMk cId="2555337822" sldId="2147483414"/>
            <ac:spMk id="14" creationId="{9A756C64-3A0E-4E6C-B2FA-D59092616E81}"/>
          </ac:spMkLst>
        </pc:spChg>
        <pc:spChg chg="mod">
          <ac:chgData name="Abdi, Adnan" userId="503e002c-9b3b-4180-87fb-acabeb2b158a" providerId="ADAL" clId="{5C2CD6D4-C7A9-4CEF-AA9C-BC2977F70622}" dt="2024-02-20T12:53:00.471" v="18235" actId="947"/>
          <ac:spMkLst>
            <pc:docMk/>
            <pc:sldMk cId="2555337822" sldId="2147483414"/>
            <ac:spMk id="16" creationId="{07201F07-2C36-2EA8-A016-218197FD0719}"/>
          </ac:spMkLst>
        </pc:spChg>
        <pc:spChg chg="mod">
          <ac:chgData name="Abdi, Adnan" userId="503e002c-9b3b-4180-87fb-acabeb2b158a" providerId="ADAL" clId="{5C2CD6D4-C7A9-4CEF-AA9C-BC2977F70622}" dt="2024-02-20T12:53:00.468" v="18233" actId="947"/>
          <ac:spMkLst>
            <pc:docMk/>
            <pc:sldMk cId="2555337822" sldId="2147483414"/>
            <ac:spMk id="17" creationId="{F2457757-7763-6B49-A522-219DF9F3E6EE}"/>
          </ac:spMkLst>
        </pc:spChg>
        <pc:spChg chg="mod">
          <ac:chgData name="Abdi, Adnan" userId="503e002c-9b3b-4180-87fb-acabeb2b158a" providerId="ADAL" clId="{5C2CD6D4-C7A9-4CEF-AA9C-BC2977F70622}" dt="2024-02-20T12:53:00.474" v="18239" actId="947"/>
          <ac:spMkLst>
            <pc:docMk/>
            <pc:sldMk cId="2555337822" sldId="2147483414"/>
            <ac:spMk id="21" creationId="{AE4F2D3F-1FE5-2765-6E0D-1F658ABE7B15}"/>
          </ac:spMkLst>
        </pc:spChg>
        <pc:spChg chg="mod">
          <ac:chgData name="Abdi, Adnan" userId="503e002c-9b3b-4180-87fb-acabeb2b158a" providerId="ADAL" clId="{5C2CD6D4-C7A9-4CEF-AA9C-BC2977F70622}" dt="2024-02-20T12:53:00.472" v="18237" actId="947"/>
          <ac:spMkLst>
            <pc:docMk/>
            <pc:sldMk cId="2555337822" sldId="2147483414"/>
            <ac:spMk id="22" creationId="{A91ADEFA-EF23-99EF-16C6-EB5072A9FEE3}"/>
          </ac:spMkLst>
        </pc:spChg>
        <pc:spChg chg="mod">
          <ac:chgData name="Abdi, Adnan" userId="503e002c-9b3b-4180-87fb-acabeb2b158a" providerId="ADAL" clId="{5C2CD6D4-C7A9-4CEF-AA9C-BC2977F70622}" dt="2024-02-20T12:53:00.478" v="18243" actId="947"/>
          <ac:spMkLst>
            <pc:docMk/>
            <pc:sldMk cId="2555337822" sldId="2147483414"/>
            <ac:spMk id="24" creationId="{6E711059-4481-433C-3076-18D89B75EC97}"/>
          </ac:spMkLst>
        </pc:spChg>
        <pc:spChg chg="mod">
          <ac:chgData name="Abdi, Adnan" userId="503e002c-9b3b-4180-87fb-acabeb2b158a" providerId="ADAL" clId="{5C2CD6D4-C7A9-4CEF-AA9C-BC2977F70622}" dt="2024-02-20T12:53:00.419" v="18212" actId="947"/>
          <ac:spMkLst>
            <pc:docMk/>
            <pc:sldMk cId="2555337822" sldId="2147483414"/>
            <ac:spMk id="25" creationId="{77D0E8BA-1307-666A-823B-9751E3FFDC63}"/>
          </ac:spMkLst>
        </pc:spChg>
        <pc:spChg chg="mod">
          <ac:chgData name="Abdi, Adnan" userId="503e002c-9b3b-4180-87fb-acabeb2b158a" providerId="ADAL" clId="{5C2CD6D4-C7A9-4CEF-AA9C-BC2977F70622}" dt="2024-02-20T12:53:00.476" v="18241" actId="947"/>
          <ac:spMkLst>
            <pc:docMk/>
            <pc:sldMk cId="2555337822" sldId="2147483414"/>
            <ac:spMk id="26" creationId="{6E8F8EE7-1C5A-1EEC-BE1C-164191DAE81E}"/>
          </ac:spMkLst>
        </pc:spChg>
        <pc:spChg chg="mod">
          <ac:chgData name="Abdi, Adnan" userId="503e002c-9b3b-4180-87fb-acabeb2b158a" providerId="ADAL" clId="{5C2CD6D4-C7A9-4CEF-AA9C-BC2977F70622}" dt="2024-02-20T12:53:00.434" v="18224" actId="947"/>
          <ac:spMkLst>
            <pc:docMk/>
            <pc:sldMk cId="2555337822" sldId="2147483414"/>
            <ac:spMk id="30" creationId="{30B4DDED-809F-03B2-1589-AE6D0AF13AD4}"/>
          </ac:spMkLst>
        </pc:spChg>
        <pc:spChg chg="mod">
          <ac:chgData name="Abdi, Adnan" userId="503e002c-9b3b-4180-87fb-acabeb2b158a" providerId="ADAL" clId="{5C2CD6D4-C7A9-4CEF-AA9C-BC2977F70622}" dt="2024-02-20T12:53:00.419" v="18220" actId="947"/>
          <ac:spMkLst>
            <pc:docMk/>
            <pc:sldMk cId="2555337822" sldId="2147483414"/>
            <ac:spMk id="31" creationId="{EEC40588-1022-F866-A90A-89BE9A37F1B7}"/>
          </ac:spMkLst>
        </pc:spChg>
        <pc:spChg chg="mod">
          <ac:chgData name="Abdi, Adnan" userId="503e002c-9b3b-4180-87fb-acabeb2b158a" providerId="ADAL" clId="{5C2CD6D4-C7A9-4CEF-AA9C-BC2977F70622}" dt="2024-02-20T12:53:00.419" v="18216" actId="947"/>
          <ac:spMkLst>
            <pc:docMk/>
            <pc:sldMk cId="2555337822" sldId="2147483414"/>
            <ac:spMk id="32" creationId="{FEC9C04B-7F19-5DE4-5D8A-A1F307052E45}"/>
          </ac:spMkLst>
        </pc:spChg>
        <pc:spChg chg="mod">
          <ac:chgData name="Abdi, Adnan" userId="503e002c-9b3b-4180-87fb-acabeb2b158a" providerId="ADAL" clId="{5C2CD6D4-C7A9-4CEF-AA9C-BC2977F70622}" dt="2024-02-20T12:53:00.419" v="18214" actId="947"/>
          <ac:spMkLst>
            <pc:docMk/>
            <pc:sldMk cId="2555337822" sldId="2147483414"/>
            <ac:spMk id="33" creationId="{EEBD663B-153C-E9A6-F812-9A0A3371A5DE}"/>
          </ac:spMkLst>
        </pc:spChg>
        <pc:spChg chg="mod">
          <ac:chgData name="Abdi, Adnan" userId="503e002c-9b3b-4180-87fb-acabeb2b158a" providerId="ADAL" clId="{5C2CD6D4-C7A9-4CEF-AA9C-BC2977F70622}" dt="2024-02-20T12:53:00.419" v="18218" actId="947"/>
          <ac:spMkLst>
            <pc:docMk/>
            <pc:sldMk cId="2555337822" sldId="2147483414"/>
            <ac:spMk id="34" creationId="{84FBAB87-5FE2-3D01-0D40-2B32951F4E23}"/>
          </ac:spMkLst>
        </pc:spChg>
        <pc:spChg chg="mod">
          <ac:chgData name="Abdi, Adnan" userId="503e002c-9b3b-4180-87fb-acabeb2b158a" providerId="ADAL" clId="{5C2CD6D4-C7A9-4CEF-AA9C-BC2977F70622}" dt="2024-02-20T12:53:00.434" v="18222" actId="947"/>
          <ac:spMkLst>
            <pc:docMk/>
            <pc:sldMk cId="2555337822" sldId="2147483414"/>
            <ac:spMk id="35" creationId="{BD77D467-5ABB-BF9F-6D69-679ACCA81386}"/>
          </ac:spMkLst>
        </pc:spChg>
        <pc:spChg chg="mod">
          <ac:chgData name="Abdi, Adnan" userId="503e002c-9b3b-4180-87fb-acabeb2b158a" providerId="ADAL" clId="{5C2CD6D4-C7A9-4CEF-AA9C-BC2977F70622}" dt="2024-02-20T12:53:00.481" v="18247" actId="947"/>
          <ac:spMkLst>
            <pc:docMk/>
            <pc:sldMk cId="2555337822" sldId="2147483414"/>
            <ac:spMk id="36" creationId="{7CAAD6A9-1FB1-420B-F0DD-44973E7DB6DF}"/>
          </ac:spMkLst>
        </pc:spChg>
        <pc:spChg chg="mod">
          <ac:chgData name="Abdi, Adnan" userId="503e002c-9b3b-4180-87fb-acabeb2b158a" providerId="ADAL" clId="{5C2CD6D4-C7A9-4CEF-AA9C-BC2977F70622}" dt="2024-02-20T12:53:00.479" v="18245" actId="947"/>
          <ac:spMkLst>
            <pc:docMk/>
            <pc:sldMk cId="2555337822" sldId="2147483414"/>
            <ac:spMk id="37" creationId="{3A8227AD-A575-4CB5-5F92-33BE990C5DF1}"/>
          </ac:spMkLst>
        </pc:spChg>
        <pc:spChg chg="mod">
          <ac:chgData name="Abdi, Adnan" userId="503e002c-9b3b-4180-87fb-acabeb2b158a" providerId="ADAL" clId="{5C2CD6D4-C7A9-4CEF-AA9C-BC2977F70622}" dt="2024-02-20T12:53:00.484" v="18251" actId="947"/>
          <ac:spMkLst>
            <pc:docMk/>
            <pc:sldMk cId="2555337822" sldId="2147483414"/>
            <ac:spMk id="39" creationId="{51BE0501-8043-32F8-2BE0-EF0D01A4DA89}"/>
          </ac:spMkLst>
        </pc:spChg>
        <pc:spChg chg="mod">
          <ac:chgData name="Abdi, Adnan" userId="503e002c-9b3b-4180-87fb-acabeb2b158a" providerId="ADAL" clId="{5C2CD6D4-C7A9-4CEF-AA9C-BC2977F70622}" dt="2024-02-20T12:53:00.483" v="18249" actId="947"/>
          <ac:spMkLst>
            <pc:docMk/>
            <pc:sldMk cId="2555337822" sldId="2147483414"/>
            <ac:spMk id="40" creationId="{3205FE33-4B77-2D9C-F800-F1E7FB61BDCF}"/>
          </ac:spMkLst>
        </pc:spChg>
        <pc:spChg chg="mod">
          <ac:chgData name="Abdi, Adnan" userId="503e002c-9b3b-4180-87fb-acabeb2b158a" providerId="ADAL" clId="{5C2CD6D4-C7A9-4CEF-AA9C-BC2977F70622}" dt="2024-02-20T12:53:00.488" v="18255" actId="947"/>
          <ac:spMkLst>
            <pc:docMk/>
            <pc:sldMk cId="2555337822" sldId="2147483414"/>
            <ac:spMk id="42" creationId="{2BDA6F6D-6019-FD4B-18C5-779209C84FAC}"/>
          </ac:spMkLst>
        </pc:spChg>
        <pc:spChg chg="mod">
          <ac:chgData name="Abdi, Adnan" userId="503e002c-9b3b-4180-87fb-acabeb2b158a" providerId="ADAL" clId="{5C2CD6D4-C7A9-4CEF-AA9C-BC2977F70622}" dt="2024-02-20T12:53:00.450" v="18226" actId="947"/>
          <ac:spMkLst>
            <pc:docMk/>
            <pc:sldMk cId="2555337822" sldId="2147483414"/>
            <ac:spMk id="65" creationId="{C3350DF0-A790-85BB-794C-F26EB2475B1E}"/>
          </ac:spMkLst>
        </pc:spChg>
        <pc:spChg chg="mod">
          <ac:chgData name="Abdi, Adnan" userId="503e002c-9b3b-4180-87fb-acabeb2b158a" providerId="ADAL" clId="{5C2CD6D4-C7A9-4CEF-AA9C-BC2977F70622}" dt="2024-02-20T12:53:00.450" v="18227" actId="34136"/>
          <ac:spMkLst>
            <pc:docMk/>
            <pc:sldMk cId="2555337822" sldId="2147483414"/>
            <ac:spMk id="75" creationId="{F29471D8-2730-61B5-19FA-E0051BB52D93}"/>
          </ac:spMkLst>
        </pc:spChg>
        <pc:spChg chg="mod">
          <ac:chgData name="Abdi, Adnan" userId="503e002c-9b3b-4180-87fb-acabeb2b158a" providerId="ADAL" clId="{5C2CD6D4-C7A9-4CEF-AA9C-BC2977F70622}" dt="2024-02-20T12:53:00.450" v="18227" actId="34136"/>
          <ac:spMkLst>
            <pc:docMk/>
            <pc:sldMk cId="2555337822" sldId="2147483414"/>
            <ac:spMk id="76" creationId="{7264DD83-AEAA-CBEC-25AE-EE64F06F9DF2}"/>
          </ac:spMkLst>
        </pc:spChg>
        <pc:spChg chg="mod">
          <ac:chgData name="Abdi, Adnan" userId="503e002c-9b3b-4180-87fb-acabeb2b158a" providerId="ADAL" clId="{5C2CD6D4-C7A9-4CEF-AA9C-BC2977F70622}" dt="2024-02-20T12:53:00.486" v="18253" actId="947"/>
          <ac:spMkLst>
            <pc:docMk/>
            <pc:sldMk cId="2555337822" sldId="2147483414"/>
            <ac:spMk id="79" creationId="{450DD122-4751-F701-E649-8F5196549DF2}"/>
          </ac:spMkLst>
        </pc:spChg>
        <pc:spChg chg="mod">
          <ac:chgData name="Abdi, Adnan" userId="503e002c-9b3b-4180-87fb-acabeb2b158a" providerId="ADAL" clId="{5C2CD6D4-C7A9-4CEF-AA9C-BC2977F70622}" dt="2024-02-20T12:53:00.491" v="18259" actId="947"/>
          <ac:spMkLst>
            <pc:docMk/>
            <pc:sldMk cId="2555337822" sldId="2147483414"/>
            <ac:spMk id="81" creationId="{E9980509-052C-A999-634F-597837F36D9A}"/>
          </ac:spMkLst>
        </pc:spChg>
        <pc:spChg chg="mod">
          <ac:chgData name="Abdi, Adnan" userId="503e002c-9b3b-4180-87fb-acabeb2b158a" providerId="ADAL" clId="{5C2CD6D4-C7A9-4CEF-AA9C-BC2977F70622}" dt="2024-02-20T12:53:00.489" v="18257" actId="947"/>
          <ac:spMkLst>
            <pc:docMk/>
            <pc:sldMk cId="2555337822" sldId="2147483414"/>
            <ac:spMk id="82" creationId="{F81D10A8-72AC-878B-9536-EB91A58CC2A6}"/>
          </ac:spMkLst>
        </pc:spChg>
        <pc:spChg chg="mod">
          <ac:chgData name="Abdi, Adnan" userId="503e002c-9b3b-4180-87fb-acabeb2b158a" providerId="ADAL" clId="{5C2CD6D4-C7A9-4CEF-AA9C-BC2977F70622}" dt="2024-02-20T12:53:00.493" v="18261" actId="947"/>
          <ac:spMkLst>
            <pc:docMk/>
            <pc:sldMk cId="2555337822" sldId="2147483414"/>
            <ac:spMk id="92" creationId="{DEF88E70-A4B4-2018-D037-A1764EBFCAEB}"/>
          </ac:spMkLst>
        </pc:spChg>
        <pc:spChg chg="mod">
          <ac:chgData name="Abdi, Adnan" userId="503e002c-9b3b-4180-87fb-acabeb2b158a" providerId="ADAL" clId="{5C2CD6D4-C7A9-4CEF-AA9C-BC2977F70622}" dt="2024-02-20T12:53:00.495" v="18263" actId="947"/>
          <ac:spMkLst>
            <pc:docMk/>
            <pc:sldMk cId="2555337822" sldId="2147483414"/>
            <ac:spMk id="101" creationId="{8329F06F-D5C2-AE33-A431-E964A1FDCD68}"/>
          </ac:spMkLst>
        </pc:spChg>
        <pc:grpChg chg="mod">
          <ac:chgData name="Abdi, Adnan" userId="503e002c-9b3b-4180-87fb-acabeb2b158a" providerId="ADAL" clId="{5C2CD6D4-C7A9-4CEF-AA9C-BC2977F70622}" dt="2024-02-20T12:53:00.450" v="18227" actId="34136"/>
          <ac:grpSpMkLst>
            <pc:docMk/>
            <pc:sldMk cId="2555337822" sldId="2147483414"/>
            <ac:grpSpMk id="71" creationId="{A1089B10-3B58-0A98-14E3-90DE094BFE6A}"/>
          </ac:grpSpMkLst>
        </pc:grpChg>
        <pc:graphicFrameChg chg="mod">
          <ac:chgData name="Abdi, Adnan" userId="503e002c-9b3b-4180-87fb-acabeb2b158a" providerId="ADAL" clId="{5C2CD6D4-C7A9-4CEF-AA9C-BC2977F70622}" dt="2024-02-20T12:53:06.603" v="21055" actId="1076"/>
          <ac:graphicFrameMkLst>
            <pc:docMk/>
            <pc:sldMk cId="2555337822" sldId="2147483414"/>
            <ac:graphicFrameMk id="4" creationId="{F149FF3E-AFFF-CB23-F3AB-BA3AA51D103F}"/>
          </ac:graphicFrameMkLst>
        </pc:graphicFrameChg>
      </pc:sldChg>
      <pc:sldChg chg="addSp delSp modSp mod modNotes">
        <pc:chgData name="Abdi, Adnan" userId="503e002c-9b3b-4180-87fb-acabeb2b158a" providerId="ADAL" clId="{5C2CD6D4-C7A9-4CEF-AA9C-BC2977F70622}" dt="2024-02-20T12:53:06.376" v="20998"/>
        <pc:sldMkLst>
          <pc:docMk/>
          <pc:sldMk cId="775851775" sldId="2147483544"/>
        </pc:sldMkLst>
        <pc:spChg chg="mod">
          <ac:chgData name="Abdi, Adnan" userId="503e002c-9b3b-4180-87fb-acabeb2b158a" providerId="ADAL" clId="{5C2CD6D4-C7A9-4CEF-AA9C-BC2977F70622}" dt="2024-02-20T12:52:59.445" v="17567" actId="947"/>
          <ac:spMkLst>
            <pc:docMk/>
            <pc:sldMk cId="775851775" sldId="2147483544"/>
            <ac:spMk id="2" creationId="{6A1A04A5-28CC-6345-D822-13070F454792}"/>
          </ac:spMkLst>
        </pc:spChg>
        <pc:spChg chg="mod">
          <ac:chgData name="Abdi, Adnan" userId="503e002c-9b3b-4180-87fb-acabeb2b158a" providerId="ADAL" clId="{5C2CD6D4-C7A9-4CEF-AA9C-BC2977F70622}" dt="2024-02-20T12:52:59.445" v="17569" actId="947"/>
          <ac:spMkLst>
            <pc:docMk/>
            <pc:sldMk cId="775851775" sldId="2147483544"/>
            <ac:spMk id="3" creationId="{8028E2A8-50AF-D68E-EA0B-C07F42BB2700}"/>
          </ac:spMkLst>
        </pc:spChg>
        <pc:spChg chg="mod">
          <ac:chgData name="Abdi, Adnan" userId="503e002c-9b3b-4180-87fb-acabeb2b158a" providerId="ADAL" clId="{5C2CD6D4-C7A9-4CEF-AA9C-BC2977F70622}" dt="2024-02-20T12:52:59.445" v="17571" actId="947"/>
          <ac:spMkLst>
            <pc:docMk/>
            <pc:sldMk cId="775851775" sldId="2147483544"/>
            <ac:spMk id="4" creationId="{0EA2068B-7A5B-3528-CDE4-F3EA57DB2D14}"/>
          </ac:spMkLst>
        </pc:spChg>
        <pc:spChg chg="add del mod">
          <ac:chgData name="Abdi, Adnan" userId="503e002c-9b3b-4180-87fb-acabeb2b158a" providerId="ADAL" clId="{5C2CD6D4-C7A9-4CEF-AA9C-BC2977F70622}" dt="2024-02-19T10:11:08.279" v="167" actId="478"/>
          <ac:spMkLst>
            <pc:docMk/>
            <pc:sldMk cId="775851775" sldId="2147483544"/>
            <ac:spMk id="5" creationId="{78ACD021-44A8-A237-F7B0-FAF9FF14C097}"/>
          </ac:spMkLst>
        </pc:spChg>
        <pc:spChg chg="add mod ord">
          <ac:chgData name="Abdi, Adnan" userId="503e002c-9b3b-4180-87fb-acabeb2b158a" providerId="ADAL" clId="{5C2CD6D4-C7A9-4CEF-AA9C-BC2977F70622}" dt="2024-02-20T12:52:59.466" v="17581" actId="947"/>
          <ac:spMkLst>
            <pc:docMk/>
            <pc:sldMk cId="775851775" sldId="2147483544"/>
            <ac:spMk id="5" creationId="{B58EE5ED-7569-E30B-AB77-400D5AB394D8}"/>
          </ac:spMkLst>
        </pc:spChg>
        <pc:spChg chg="add mod ord">
          <ac:chgData name="Abdi, Adnan" userId="503e002c-9b3b-4180-87fb-acabeb2b158a" providerId="ADAL" clId="{5C2CD6D4-C7A9-4CEF-AA9C-BC2977F70622}" dt="2024-02-20T12:52:59.466" v="17583" actId="947"/>
          <ac:spMkLst>
            <pc:docMk/>
            <pc:sldMk cId="775851775" sldId="2147483544"/>
            <ac:spMk id="6" creationId="{11898E05-18E4-1FD3-B1BA-6F33B7A0A40E}"/>
          </ac:spMkLst>
        </pc:spChg>
        <pc:spChg chg="add mod ord">
          <ac:chgData name="Abdi, Adnan" userId="503e002c-9b3b-4180-87fb-acabeb2b158a" providerId="ADAL" clId="{5C2CD6D4-C7A9-4CEF-AA9C-BC2977F70622}" dt="2024-02-20T12:52:59.495" v="17609" actId="947"/>
          <ac:spMkLst>
            <pc:docMk/>
            <pc:sldMk cId="775851775" sldId="2147483544"/>
            <ac:spMk id="7" creationId="{39247654-D1FF-C016-477D-A3BDC09C087B}"/>
          </ac:spMkLst>
        </pc:spChg>
        <pc:spChg chg="mod">
          <ac:chgData name="Abdi, Adnan" userId="503e002c-9b3b-4180-87fb-acabeb2b158a" providerId="ADAL" clId="{5C2CD6D4-C7A9-4CEF-AA9C-BC2977F70622}" dt="2024-02-20T12:52:59.460" v="17573" actId="947"/>
          <ac:spMkLst>
            <pc:docMk/>
            <pc:sldMk cId="775851775" sldId="2147483544"/>
            <ac:spMk id="8" creationId="{C492EEE9-F935-A5B1-50F4-3A309582F685}"/>
          </ac:spMkLst>
        </pc:spChg>
        <pc:spChg chg="add mod">
          <ac:chgData name="Abdi, Adnan" userId="503e002c-9b3b-4180-87fb-acabeb2b158a" providerId="ADAL" clId="{5C2CD6D4-C7A9-4CEF-AA9C-BC2977F70622}" dt="2024-02-19T10:29:54.121" v="254" actId="571"/>
          <ac:spMkLst>
            <pc:docMk/>
            <pc:sldMk cId="775851775" sldId="2147483544"/>
            <ac:spMk id="9" creationId="{140E4DCA-02E0-AB19-1898-FCB664C52FF7}"/>
          </ac:spMkLst>
        </pc:spChg>
        <pc:spChg chg="add mod ord">
          <ac:chgData name="Abdi, Adnan" userId="503e002c-9b3b-4180-87fb-acabeb2b158a" providerId="ADAL" clId="{5C2CD6D4-C7A9-4CEF-AA9C-BC2977F70622}" dt="2024-02-20T12:52:59.493" v="17607" actId="947"/>
          <ac:spMkLst>
            <pc:docMk/>
            <pc:sldMk cId="775851775" sldId="2147483544"/>
            <ac:spMk id="9" creationId="{3440410A-426A-CB7C-FD55-34A4DFA4671D}"/>
          </ac:spMkLst>
        </pc:spChg>
        <pc:spChg chg="add del mod">
          <ac:chgData name="Abdi, Adnan" userId="503e002c-9b3b-4180-87fb-acabeb2b158a" providerId="ADAL" clId="{5C2CD6D4-C7A9-4CEF-AA9C-BC2977F70622}" dt="2024-02-19T10:32:34.139" v="294" actId="478"/>
          <ac:spMkLst>
            <pc:docMk/>
            <pc:sldMk cId="775851775" sldId="2147483544"/>
            <ac:spMk id="10" creationId="{C1EE056D-874A-80DD-1778-DC2CDB4E87CB}"/>
          </ac:spMkLst>
        </pc:spChg>
        <pc:spChg chg="add del mod">
          <ac:chgData name="Abdi, Adnan" userId="503e002c-9b3b-4180-87fb-acabeb2b158a" providerId="ADAL" clId="{5C2CD6D4-C7A9-4CEF-AA9C-BC2977F70622}" dt="2024-02-19T10:48:55.254" v="656" actId="478"/>
          <ac:spMkLst>
            <pc:docMk/>
            <pc:sldMk cId="775851775" sldId="2147483544"/>
            <ac:spMk id="10" creationId="{E7A7C4E8-6EC2-22DF-1F5A-4CF5F8EEE924}"/>
          </ac:spMkLst>
        </pc:spChg>
        <pc:spChg chg="mod">
          <ac:chgData name="Abdi, Adnan" userId="503e002c-9b3b-4180-87fb-acabeb2b158a" providerId="ADAL" clId="{5C2CD6D4-C7A9-4CEF-AA9C-BC2977F70622}" dt="2024-02-20T12:52:59.460" v="17575" actId="947"/>
          <ac:spMkLst>
            <pc:docMk/>
            <pc:sldMk cId="775851775" sldId="2147483544"/>
            <ac:spMk id="12" creationId="{09396687-ED15-7D64-D26E-C3FEDCF49B18}"/>
          </ac:spMkLst>
        </pc:spChg>
        <pc:spChg chg="add del mod">
          <ac:chgData name="Abdi, Adnan" userId="503e002c-9b3b-4180-87fb-acabeb2b158a" providerId="ADAL" clId="{5C2CD6D4-C7A9-4CEF-AA9C-BC2977F70622}" dt="2024-02-20T12:52:59.460" v="17577" actId="947"/>
          <ac:spMkLst>
            <pc:docMk/>
            <pc:sldMk cId="775851775" sldId="2147483544"/>
            <ac:spMk id="13" creationId="{58744A61-4D2E-AE35-2ADD-F4A4B677EA8A}"/>
          </ac:spMkLst>
        </pc:spChg>
        <pc:spChg chg="add del mod">
          <ac:chgData name="Abdi, Adnan" userId="503e002c-9b3b-4180-87fb-acabeb2b158a" providerId="ADAL" clId="{5C2CD6D4-C7A9-4CEF-AA9C-BC2977F70622}" dt="2024-02-20T12:52:59.466" v="17579" actId="947"/>
          <ac:spMkLst>
            <pc:docMk/>
            <pc:sldMk cId="775851775" sldId="2147483544"/>
            <ac:spMk id="14" creationId="{6685142D-967D-4D72-F306-C8E8205B542B}"/>
          </ac:spMkLst>
        </pc:spChg>
        <pc:spChg chg="del mod">
          <ac:chgData name="Abdi, Adnan" userId="503e002c-9b3b-4180-87fb-acabeb2b158a" providerId="ADAL" clId="{5C2CD6D4-C7A9-4CEF-AA9C-BC2977F70622}" dt="2024-02-19T10:11:08.279" v="167" actId="478"/>
          <ac:spMkLst>
            <pc:docMk/>
            <pc:sldMk cId="775851775" sldId="2147483544"/>
            <ac:spMk id="15" creationId="{4D03E102-A364-52BC-D6F7-48D9964B011C}"/>
          </ac:spMkLst>
        </pc:spChg>
        <pc:spChg chg="add mod">
          <ac:chgData name="Abdi, Adnan" userId="503e002c-9b3b-4180-87fb-acabeb2b158a" providerId="ADAL" clId="{5C2CD6D4-C7A9-4CEF-AA9C-BC2977F70622}" dt="2024-02-19T10:50:07.661" v="689" actId="571"/>
          <ac:spMkLst>
            <pc:docMk/>
            <pc:sldMk cId="775851775" sldId="2147483544"/>
            <ac:spMk id="15" creationId="{E8126BA0-1101-02E5-2FC3-FB5918ACA4F6}"/>
          </ac:spMkLst>
        </pc:spChg>
        <pc:spChg chg="del mod ord">
          <ac:chgData name="Abdi, Adnan" userId="503e002c-9b3b-4180-87fb-acabeb2b158a" providerId="ADAL" clId="{5C2CD6D4-C7A9-4CEF-AA9C-BC2977F70622}" dt="2024-02-19T10:32:45.096" v="357" actId="478"/>
          <ac:spMkLst>
            <pc:docMk/>
            <pc:sldMk cId="775851775" sldId="2147483544"/>
            <ac:spMk id="16" creationId="{77794F7A-9BA9-4C83-61A4-17084A580F70}"/>
          </ac:spMkLst>
        </pc:spChg>
        <pc:spChg chg="add mod">
          <ac:chgData name="Abdi, Adnan" userId="503e002c-9b3b-4180-87fb-acabeb2b158a" providerId="ADAL" clId="{5C2CD6D4-C7A9-4CEF-AA9C-BC2977F70622}" dt="2024-02-20T12:52:59.497" v="17611" actId="947"/>
          <ac:spMkLst>
            <pc:docMk/>
            <pc:sldMk cId="775851775" sldId="2147483544"/>
            <ac:spMk id="16" creationId="{7A1F41C2-AF77-9DAB-007C-5188641E86CC}"/>
          </ac:spMkLst>
        </pc:spChg>
        <pc:spChg chg="del mod ord">
          <ac:chgData name="Abdi, Adnan" userId="503e002c-9b3b-4180-87fb-acabeb2b158a" providerId="ADAL" clId="{5C2CD6D4-C7A9-4CEF-AA9C-BC2977F70622}" dt="2024-02-20T10:07:06.035" v="15766" actId="478"/>
          <ac:spMkLst>
            <pc:docMk/>
            <pc:sldMk cId="775851775" sldId="2147483544"/>
            <ac:spMk id="17" creationId="{1C935F09-AB0F-2973-3182-D6307F9960F7}"/>
          </ac:spMkLst>
        </pc:spChg>
        <pc:spChg chg="mod">
          <ac:chgData name="Abdi, Adnan" userId="503e002c-9b3b-4180-87fb-acabeb2b158a" providerId="ADAL" clId="{5C2CD6D4-C7A9-4CEF-AA9C-BC2977F70622}" dt="2024-02-20T12:52:59.466" v="17585" actId="947"/>
          <ac:spMkLst>
            <pc:docMk/>
            <pc:sldMk cId="775851775" sldId="2147483544"/>
            <ac:spMk id="18" creationId="{EFE167F6-3879-8160-F8DF-A1A08970A49C}"/>
          </ac:spMkLst>
        </pc:spChg>
        <pc:spChg chg="add del mod">
          <ac:chgData name="Abdi, Adnan" userId="503e002c-9b3b-4180-87fb-acabeb2b158a" providerId="ADAL" clId="{5C2CD6D4-C7A9-4CEF-AA9C-BC2977F70622}" dt="2024-02-20T12:52:59.466" v="17587" actId="947"/>
          <ac:spMkLst>
            <pc:docMk/>
            <pc:sldMk cId="775851775" sldId="2147483544"/>
            <ac:spMk id="19" creationId="{EA7F93A3-E9C1-B0BE-E9C3-8666C05AE366}"/>
          </ac:spMkLst>
        </pc:spChg>
        <pc:spChg chg="add del mod">
          <ac:chgData name="Abdi, Adnan" userId="503e002c-9b3b-4180-87fb-acabeb2b158a" providerId="ADAL" clId="{5C2CD6D4-C7A9-4CEF-AA9C-BC2977F70622}" dt="2024-02-20T12:52:59.466" v="17589" actId="947"/>
          <ac:spMkLst>
            <pc:docMk/>
            <pc:sldMk cId="775851775" sldId="2147483544"/>
            <ac:spMk id="20" creationId="{F10BFCE2-CDED-3BF5-B858-465D751DE71E}"/>
          </ac:spMkLst>
        </pc:spChg>
        <pc:spChg chg="add del mod">
          <ac:chgData name="Abdi, Adnan" userId="503e002c-9b3b-4180-87fb-acabeb2b158a" providerId="ADAL" clId="{5C2CD6D4-C7A9-4CEF-AA9C-BC2977F70622}" dt="2024-02-20T12:52:59.466" v="17591" actId="947"/>
          <ac:spMkLst>
            <pc:docMk/>
            <pc:sldMk cId="775851775" sldId="2147483544"/>
            <ac:spMk id="21" creationId="{575450BD-260D-7D06-F2A2-29898CE184FE}"/>
          </ac:spMkLst>
        </pc:spChg>
        <pc:spChg chg="mod">
          <ac:chgData name="Abdi, Adnan" userId="503e002c-9b3b-4180-87fb-acabeb2b158a" providerId="ADAL" clId="{5C2CD6D4-C7A9-4CEF-AA9C-BC2977F70622}" dt="2024-02-20T12:52:59.466" v="17593" actId="947"/>
          <ac:spMkLst>
            <pc:docMk/>
            <pc:sldMk cId="775851775" sldId="2147483544"/>
            <ac:spMk id="22" creationId="{10AF3427-A5FF-7CDC-1BE3-E94379D861E6}"/>
          </ac:spMkLst>
        </pc:spChg>
        <pc:spChg chg="mod">
          <ac:chgData name="Abdi, Adnan" userId="503e002c-9b3b-4180-87fb-acabeb2b158a" providerId="ADAL" clId="{5C2CD6D4-C7A9-4CEF-AA9C-BC2977F70622}" dt="2024-02-20T12:52:59.483" v="17595" actId="947"/>
          <ac:spMkLst>
            <pc:docMk/>
            <pc:sldMk cId="775851775" sldId="2147483544"/>
            <ac:spMk id="23" creationId="{35E1907E-55E6-ABDF-8CFA-3294012BE5E7}"/>
          </ac:spMkLst>
        </pc:spChg>
        <pc:spChg chg="mod">
          <ac:chgData name="Abdi, Adnan" userId="503e002c-9b3b-4180-87fb-acabeb2b158a" providerId="ADAL" clId="{5C2CD6D4-C7A9-4CEF-AA9C-BC2977F70622}" dt="2024-02-20T12:52:59.485" v="17597" actId="947"/>
          <ac:spMkLst>
            <pc:docMk/>
            <pc:sldMk cId="775851775" sldId="2147483544"/>
            <ac:spMk id="24" creationId="{347FF0B4-EF0C-1D60-1136-24673218CB79}"/>
          </ac:spMkLst>
        </pc:spChg>
        <pc:spChg chg="add del mod">
          <ac:chgData name="Abdi, Adnan" userId="503e002c-9b3b-4180-87fb-acabeb2b158a" providerId="ADAL" clId="{5C2CD6D4-C7A9-4CEF-AA9C-BC2977F70622}" dt="2024-02-20T12:52:59.487" v="17599" actId="947"/>
          <ac:spMkLst>
            <pc:docMk/>
            <pc:sldMk cId="775851775" sldId="2147483544"/>
            <ac:spMk id="25" creationId="{1F0B7929-CC54-715F-93FA-74ACF8A3A75E}"/>
          </ac:spMkLst>
        </pc:spChg>
        <pc:spChg chg="add del mod">
          <ac:chgData name="Abdi, Adnan" userId="503e002c-9b3b-4180-87fb-acabeb2b158a" providerId="ADAL" clId="{5C2CD6D4-C7A9-4CEF-AA9C-BC2977F70622}" dt="2024-02-20T12:52:59.488" v="17601" actId="947"/>
          <ac:spMkLst>
            <pc:docMk/>
            <pc:sldMk cId="775851775" sldId="2147483544"/>
            <ac:spMk id="26" creationId="{9AEAB4F8-7EA3-0E60-E5B1-1FB36F91268D}"/>
          </ac:spMkLst>
        </pc:spChg>
        <pc:spChg chg="mod">
          <ac:chgData name="Abdi, Adnan" userId="503e002c-9b3b-4180-87fb-acabeb2b158a" providerId="ADAL" clId="{5C2CD6D4-C7A9-4CEF-AA9C-BC2977F70622}" dt="2024-02-20T12:52:59.490" v="17603" actId="947"/>
          <ac:spMkLst>
            <pc:docMk/>
            <pc:sldMk cId="775851775" sldId="2147483544"/>
            <ac:spMk id="27" creationId="{81091CDF-B3A5-A327-79BD-58C867D1327B}"/>
          </ac:spMkLst>
        </pc:spChg>
        <pc:spChg chg="add del mod">
          <ac:chgData name="Abdi, Adnan" userId="503e002c-9b3b-4180-87fb-acabeb2b158a" providerId="ADAL" clId="{5C2CD6D4-C7A9-4CEF-AA9C-BC2977F70622}" dt="2024-02-20T12:52:59.492" v="17605" actId="947"/>
          <ac:spMkLst>
            <pc:docMk/>
            <pc:sldMk cId="775851775" sldId="2147483544"/>
            <ac:spMk id="28" creationId="{7A79ADC1-CA41-B18B-881F-E4C80C1C2255}"/>
          </ac:spMkLst>
        </pc:spChg>
        <pc:spChg chg="add del mod">
          <ac:chgData name="Abdi, Adnan" userId="503e002c-9b3b-4180-87fb-acabeb2b158a" providerId="ADAL" clId="{5C2CD6D4-C7A9-4CEF-AA9C-BC2977F70622}" dt="2024-02-19T10:48:17.252" v="601" actId="478"/>
          <ac:spMkLst>
            <pc:docMk/>
            <pc:sldMk cId="775851775" sldId="2147483544"/>
            <ac:spMk id="29" creationId="{89CAED26-A8AF-E5EA-6A0C-CE34611154AC}"/>
          </ac:spMkLst>
        </pc:spChg>
        <pc:spChg chg="add mod">
          <ac:chgData name="Abdi, Adnan" userId="503e002c-9b3b-4180-87fb-acabeb2b158a" providerId="ADAL" clId="{5C2CD6D4-C7A9-4CEF-AA9C-BC2977F70622}" dt="2024-02-20T12:52:59.499" v="17613" actId="947"/>
          <ac:spMkLst>
            <pc:docMk/>
            <pc:sldMk cId="775851775" sldId="2147483544"/>
            <ac:spMk id="30" creationId="{3F492A99-AB07-97BA-FBC1-A51D50DDCEAD}"/>
          </ac:spMkLst>
        </pc:spChg>
        <pc:spChg chg="add mod">
          <ac:chgData name="Abdi, Adnan" userId="503e002c-9b3b-4180-87fb-acabeb2b158a" providerId="ADAL" clId="{5C2CD6D4-C7A9-4CEF-AA9C-BC2977F70622}" dt="2024-02-20T12:52:59.501" v="17615" actId="947"/>
          <ac:spMkLst>
            <pc:docMk/>
            <pc:sldMk cId="775851775" sldId="2147483544"/>
            <ac:spMk id="31" creationId="{7297431C-D3EC-B986-678D-05C8CAC22416}"/>
          </ac:spMkLst>
        </pc:spChg>
        <pc:spChg chg="add mod">
          <ac:chgData name="Abdi, Adnan" userId="503e002c-9b3b-4180-87fb-acabeb2b158a" providerId="ADAL" clId="{5C2CD6D4-C7A9-4CEF-AA9C-BC2977F70622}" dt="2024-02-20T12:52:59.503" v="17617" actId="947"/>
          <ac:spMkLst>
            <pc:docMk/>
            <pc:sldMk cId="775851775" sldId="2147483544"/>
            <ac:spMk id="32" creationId="{F0CFA48C-5DC4-0FF9-E2D5-116A782A6669}"/>
          </ac:spMkLst>
        </pc:spChg>
        <pc:spChg chg="add mod">
          <ac:chgData name="Abdi, Adnan" userId="503e002c-9b3b-4180-87fb-acabeb2b158a" providerId="ADAL" clId="{5C2CD6D4-C7A9-4CEF-AA9C-BC2977F70622}" dt="2024-02-20T12:52:59.504" v="17619" actId="947"/>
          <ac:spMkLst>
            <pc:docMk/>
            <pc:sldMk cId="775851775" sldId="2147483544"/>
            <ac:spMk id="33" creationId="{27819C10-49E2-16A4-C70D-FA349E371711}"/>
          </ac:spMkLst>
        </pc:spChg>
        <pc:spChg chg="add mod">
          <ac:chgData name="Abdi, Adnan" userId="503e002c-9b3b-4180-87fb-acabeb2b158a" providerId="ADAL" clId="{5C2CD6D4-C7A9-4CEF-AA9C-BC2977F70622}" dt="2024-02-20T12:52:59.506" v="17621" actId="947"/>
          <ac:spMkLst>
            <pc:docMk/>
            <pc:sldMk cId="775851775" sldId="2147483544"/>
            <ac:spMk id="34" creationId="{A468FA9A-80D8-63D0-1867-96B54D73F199}"/>
          </ac:spMkLst>
        </pc:spChg>
        <pc:spChg chg="add del mod">
          <ac:chgData name="Abdi, Adnan" userId="503e002c-9b3b-4180-87fb-acabeb2b158a" providerId="ADAL" clId="{5C2CD6D4-C7A9-4CEF-AA9C-BC2977F70622}" dt="2024-02-19T11:22:15.663" v="1287" actId="478"/>
          <ac:spMkLst>
            <pc:docMk/>
            <pc:sldMk cId="775851775" sldId="2147483544"/>
            <ac:spMk id="35" creationId="{86F24E4D-B876-21A8-F22B-4C690F605DCC}"/>
          </ac:spMkLst>
        </pc:spChg>
        <pc:spChg chg="add mod">
          <ac:chgData name="Abdi, Adnan" userId="503e002c-9b3b-4180-87fb-acabeb2b158a" providerId="ADAL" clId="{5C2CD6D4-C7A9-4CEF-AA9C-BC2977F70622}" dt="2024-02-20T12:52:59.507" v="17623" actId="947"/>
          <ac:spMkLst>
            <pc:docMk/>
            <pc:sldMk cId="775851775" sldId="2147483544"/>
            <ac:spMk id="36" creationId="{E68B7A32-C21C-2352-5A48-B597E29B2DDF}"/>
          </ac:spMkLst>
        </pc:spChg>
        <pc:graphicFrameChg chg="mod ord modVis replST">
          <ac:chgData name="Abdi, Adnan" userId="503e002c-9b3b-4180-87fb-acabeb2b158a" providerId="ADAL" clId="{5C2CD6D4-C7A9-4CEF-AA9C-BC2977F70622}" dt="2024-02-20T12:53:06.376" v="20998"/>
          <ac:graphicFrameMkLst>
            <pc:docMk/>
            <pc:sldMk cId="775851775" sldId="2147483544"/>
            <ac:graphicFrameMk id="10" creationId="{D62F1385-FBE5-90F4-8BCA-AB46233EB297}"/>
          </ac:graphicFrameMkLst>
        </pc:graphicFrameChg>
        <pc:picChg chg="add del">
          <ac:chgData name="Abdi, Adnan" userId="503e002c-9b3b-4180-87fb-acabeb2b158a" providerId="ADAL" clId="{5C2CD6D4-C7A9-4CEF-AA9C-BC2977F70622}" dt="2024-02-19T10:20:29.895" v="174" actId="478"/>
          <ac:picMkLst>
            <pc:docMk/>
            <pc:sldMk cId="775851775" sldId="2147483544"/>
            <ac:picMk id="11" creationId="{974337F8-536A-0CF9-CBB5-E3A346CB1B06}"/>
          </ac:picMkLst>
        </pc:picChg>
      </pc:sldChg>
      <pc:sldChg chg="addSp">
        <pc:chgData name="Abdi, Adnan" userId="503e002c-9b3b-4180-87fb-acabeb2b158a" providerId="ADAL" clId="{5C2CD6D4-C7A9-4CEF-AA9C-BC2977F70622}" dt="2024-02-23T15:32:09.917" v="71465"/>
        <pc:sldMkLst>
          <pc:docMk/>
          <pc:sldMk cId="1220377637" sldId="2147483544"/>
        </pc:sldMkLst>
        <pc:spChg chg="add">
          <ac:chgData name="Abdi, Adnan" userId="503e002c-9b3b-4180-87fb-acabeb2b158a" providerId="ADAL" clId="{5C2CD6D4-C7A9-4CEF-AA9C-BC2977F70622}" dt="2024-02-23T15:32:09.917" v="71465"/>
          <ac:spMkLst>
            <pc:docMk/>
            <pc:sldMk cId="1220377637" sldId="2147483544"/>
            <ac:spMk id="4" creationId="{0EA2068B-7A5B-3528-CDE4-F3EA57DB2D14}"/>
          </ac:spMkLst>
        </pc:spChg>
      </pc:sldChg>
      <pc:sldChg chg="addSp delSp modSp del mod modNotes">
        <pc:chgData name="Abdi, Adnan" userId="503e002c-9b3b-4180-87fb-acabeb2b158a" providerId="ADAL" clId="{5C2CD6D4-C7A9-4CEF-AA9C-BC2977F70622}" dt="2024-02-26T09:10:15.695" v="73108"/>
        <pc:sldMkLst>
          <pc:docMk/>
          <pc:sldMk cId="1205465817" sldId="2147483545"/>
        </pc:sldMkLst>
        <pc:spChg chg="mod">
          <ac:chgData name="Abdi, Adnan" userId="503e002c-9b3b-4180-87fb-acabeb2b158a" providerId="ADAL" clId="{5C2CD6D4-C7A9-4CEF-AA9C-BC2977F70622}" dt="2024-02-20T12:52:59.429" v="17549" actId="947"/>
          <ac:spMkLst>
            <pc:docMk/>
            <pc:sldMk cId="1205465817" sldId="2147483545"/>
            <ac:spMk id="2" creationId="{42E61B1A-B912-7B7A-4554-ECED51E59DAA}"/>
          </ac:spMkLst>
        </pc:spChg>
        <pc:spChg chg="mod">
          <ac:chgData name="Abdi, Adnan" userId="503e002c-9b3b-4180-87fb-acabeb2b158a" providerId="ADAL" clId="{5C2CD6D4-C7A9-4CEF-AA9C-BC2977F70622}" dt="2024-02-26T09:10:15.695" v="73108"/>
          <ac:spMkLst>
            <pc:docMk/>
            <pc:sldMk cId="1205465817" sldId="2147483545"/>
            <ac:spMk id="3" creationId="{7733BD07-A5C9-38A8-252B-50EEEC9791B6}"/>
          </ac:spMkLst>
        </pc:spChg>
        <pc:spChg chg="add mod">
          <ac:chgData name="Abdi, Adnan" userId="503e002c-9b3b-4180-87fb-acabeb2b158a" providerId="ADAL" clId="{5C2CD6D4-C7A9-4CEF-AA9C-BC2977F70622}" dt="2024-02-23T15:32:09.917" v="71465"/>
          <ac:spMkLst>
            <pc:docMk/>
            <pc:sldMk cId="1205465817" sldId="2147483545"/>
            <ac:spMk id="4" creationId="{41A210D3-E90F-38B6-8E5F-B6B669998383}"/>
          </ac:spMkLst>
        </pc:spChg>
        <pc:spChg chg="mod">
          <ac:chgData name="Abdi, Adnan" userId="503e002c-9b3b-4180-87fb-acabeb2b158a" providerId="ADAL" clId="{5C2CD6D4-C7A9-4CEF-AA9C-BC2977F70622}" dt="2024-02-20T12:52:59.445" v="17563" actId="947"/>
          <ac:spMkLst>
            <pc:docMk/>
            <pc:sldMk cId="1205465817" sldId="2147483545"/>
            <ac:spMk id="5" creationId="{27ECD9F2-EE12-A1F5-FBDE-734AEBE5D72E}"/>
          </ac:spMkLst>
        </pc:spChg>
        <pc:spChg chg="add del mod">
          <ac:chgData name="Abdi, Adnan" userId="503e002c-9b3b-4180-87fb-acabeb2b158a" providerId="ADAL" clId="{5C2CD6D4-C7A9-4CEF-AA9C-BC2977F70622}" dt="2024-02-23T14:40:13.433" v="71073" actId="478"/>
          <ac:spMkLst>
            <pc:docMk/>
            <pc:sldMk cId="1205465817" sldId="2147483545"/>
            <ac:spMk id="6" creationId="{0754B108-F5DD-612A-0554-B7E13B4E4432}"/>
          </ac:spMkLst>
        </pc:spChg>
        <pc:spChg chg="add mod">
          <ac:chgData name="Abdi, Adnan" userId="503e002c-9b3b-4180-87fb-acabeb2b158a" providerId="ADAL" clId="{5C2CD6D4-C7A9-4CEF-AA9C-BC2977F70622}" dt="2024-02-23T18:39:33.575" v="71576"/>
          <ac:spMkLst>
            <pc:docMk/>
            <pc:sldMk cId="1205465817" sldId="2147483545"/>
            <ac:spMk id="7" creationId="{18FF0807-DAF8-B85E-04CD-C4F80F1262E3}"/>
          </ac:spMkLst>
        </pc:spChg>
        <pc:spChg chg="mod">
          <ac:chgData name="Abdi, Adnan" userId="503e002c-9b3b-4180-87fb-acabeb2b158a" providerId="ADAL" clId="{5C2CD6D4-C7A9-4CEF-AA9C-BC2977F70622}" dt="2024-02-20T12:52:59.429" v="17551" actId="947"/>
          <ac:spMkLst>
            <pc:docMk/>
            <pc:sldMk cId="1205465817" sldId="2147483545"/>
            <ac:spMk id="9" creationId="{AD648EFE-79D5-035A-24C8-86E2C3C05F44}"/>
          </ac:spMkLst>
        </pc:spChg>
        <pc:spChg chg="mod">
          <ac:chgData name="Abdi, Adnan" userId="503e002c-9b3b-4180-87fb-acabeb2b158a" providerId="ADAL" clId="{5C2CD6D4-C7A9-4CEF-AA9C-BC2977F70622}" dt="2024-02-22T14:45:14.443" v="58273" actId="14100"/>
          <ac:spMkLst>
            <pc:docMk/>
            <pc:sldMk cId="1205465817" sldId="2147483545"/>
            <ac:spMk id="10" creationId="{AC80CF7A-54F5-ACCE-7182-BE26BEBF34D3}"/>
          </ac:spMkLst>
        </pc:spChg>
        <pc:spChg chg="mod">
          <ac:chgData name="Abdi, Adnan" userId="503e002c-9b3b-4180-87fb-acabeb2b158a" providerId="ADAL" clId="{5C2CD6D4-C7A9-4CEF-AA9C-BC2977F70622}" dt="2024-02-23T14:40:42.175" v="71079" actId="14100"/>
          <ac:spMkLst>
            <pc:docMk/>
            <pc:sldMk cId="1205465817" sldId="2147483545"/>
            <ac:spMk id="16" creationId="{0A651DAC-C789-8291-AED6-89676A1EA53B}"/>
          </ac:spMkLst>
        </pc:spChg>
        <pc:spChg chg="mod">
          <ac:chgData name="Abdi, Adnan" userId="503e002c-9b3b-4180-87fb-acabeb2b158a" providerId="ADAL" clId="{5C2CD6D4-C7A9-4CEF-AA9C-BC2977F70622}" dt="2024-02-23T19:02:56.913" v="72978" actId="20577"/>
          <ac:spMkLst>
            <pc:docMk/>
            <pc:sldMk cId="1205465817" sldId="2147483545"/>
            <ac:spMk id="18" creationId="{BEED88C6-BEF2-D5F4-446F-21BB4D2DB470}"/>
          </ac:spMkLst>
        </pc:spChg>
        <pc:spChg chg="mod">
          <ac:chgData name="Abdi, Adnan" userId="503e002c-9b3b-4180-87fb-acabeb2b158a" providerId="ADAL" clId="{5C2CD6D4-C7A9-4CEF-AA9C-BC2977F70622}" dt="2024-02-23T19:03:05.864" v="72980" actId="20577"/>
          <ac:spMkLst>
            <pc:docMk/>
            <pc:sldMk cId="1205465817" sldId="2147483545"/>
            <ac:spMk id="23" creationId="{5FA3478B-EE12-E61F-6829-0E31EFDFFA61}"/>
          </ac:spMkLst>
        </pc:spChg>
        <pc:graphicFrameChg chg="mod">
          <ac:chgData name="Abdi, Adnan" userId="503e002c-9b3b-4180-87fb-acabeb2b158a" providerId="ADAL" clId="{5C2CD6D4-C7A9-4CEF-AA9C-BC2977F70622}" dt="2024-02-20T12:53:06.339" v="20991" actId="1076"/>
          <ac:graphicFrameMkLst>
            <pc:docMk/>
            <pc:sldMk cId="1205465817" sldId="2147483545"/>
            <ac:graphicFrameMk id="17" creationId="{22851849-4C10-96E2-BD6C-6F8E110DBBDE}"/>
          </ac:graphicFrameMkLst>
        </pc:graphicFrameChg>
      </pc:sldChg>
      <pc:sldChg chg="addSp modSp mod">
        <pc:chgData name="Abdi, Adnan" userId="503e002c-9b3b-4180-87fb-acabeb2b158a" providerId="ADAL" clId="{5C2CD6D4-C7A9-4CEF-AA9C-BC2977F70622}" dt="2024-02-26T09:10:28.169" v="73113"/>
        <pc:sldMkLst>
          <pc:docMk/>
          <pc:sldMk cId="3721981857" sldId="2147483546"/>
        </pc:sldMkLst>
        <pc:spChg chg="mod">
          <ac:chgData name="Abdi, Adnan" userId="503e002c-9b3b-4180-87fb-acabeb2b158a" providerId="ADAL" clId="{5C2CD6D4-C7A9-4CEF-AA9C-BC2977F70622}" dt="2024-02-26T09:10:28.169" v="73113"/>
          <ac:spMkLst>
            <pc:docMk/>
            <pc:sldMk cId="3721981857" sldId="2147483546"/>
            <ac:spMk id="3" creationId="{18FF0807-DAF8-B85E-04CD-C4F80F1262E3}"/>
          </ac:spMkLst>
        </pc:spChg>
        <pc:spChg chg="add">
          <ac:chgData name="Abdi, Adnan" userId="503e002c-9b3b-4180-87fb-acabeb2b158a" providerId="ADAL" clId="{5C2CD6D4-C7A9-4CEF-AA9C-BC2977F70622}" dt="2024-02-23T15:32:09.917" v="71465"/>
          <ac:spMkLst>
            <pc:docMk/>
            <pc:sldMk cId="3721981857" sldId="2147483546"/>
            <ac:spMk id="4" creationId="{D621C63B-DC3F-9AB3-994A-92E4128610F0}"/>
          </ac:spMkLst>
        </pc:spChg>
        <pc:spChg chg="add mod">
          <ac:chgData name="Abdi, Adnan" userId="503e002c-9b3b-4180-87fb-acabeb2b158a" providerId="ADAL" clId="{5C2CD6D4-C7A9-4CEF-AA9C-BC2977F70622}" dt="2024-02-23T18:39:44.046" v="71584"/>
          <ac:spMkLst>
            <pc:docMk/>
            <pc:sldMk cId="3721981857" sldId="2147483546"/>
            <ac:spMk id="5" creationId="{9D6C85D5-345D-0C9C-91B9-6028CC929B8D}"/>
          </ac:spMkLst>
        </pc:spChg>
        <pc:spChg chg="mod">
          <ac:chgData name="Abdi, Adnan" userId="503e002c-9b3b-4180-87fb-acabeb2b158a" providerId="ADAL" clId="{5C2CD6D4-C7A9-4CEF-AA9C-BC2977F70622}" dt="2024-02-22T14:46:17.638" v="58280" actId="14100"/>
          <ac:spMkLst>
            <pc:docMk/>
            <pc:sldMk cId="3721981857" sldId="2147483546"/>
            <ac:spMk id="8" creationId="{BD9A78C3-88E5-0727-8E4B-1F395F302DB6}"/>
          </ac:spMkLst>
        </pc:spChg>
      </pc:sldChg>
      <pc:sldChg chg="addSp modSp add del mod modNotes">
        <pc:chgData name="Abdi, Adnan" userId="503e002c-9b3b-4180-87fb-acabeb2b158a" providerId="ADAL" clId="{5C2CD6D4-C7A9-4CEF-AA9C-BC2977F70622}" dt="2024-02-20T12:53:06.686" v="21077"/>
        <pc:sldMkLst>
          <pc:docMk/>
          <pc:sldMk cId="4249455525" sldId="2147483546"/>
        </pc:sldMkLst>
        <pc:spChg chg="mod">
          <ac:chgData name="Abdi, Adnan" userId="503e002c-9b3b-4180-87fb-acabeb2b158a" providerId="ADAL" clId="{5C2CD6D4-C7A9-4CEF-AA9C-BC2977F70622}" dt="2024-02-20T12:53:00.695" v="18419" actId="947"/>
          <ac:spMkLst>
            <pc:docMk/>
            <pc:sldMk cId="4249455525" sldId="2147483546"/>
            <ac:spMk id="2" creationId="{551A0760-76B6-B0DA-473F-4F9BCE390A30}"/>
          </ac:spMkLst>
        </pc:spChg>
        <pc:spChg chg="mod">
          <ac:chgData name="Abdi, Adnan" userId="503e002c-9b3b-4180-87fb-acabeb2b158a" providerId="ADAL" clId="{5C2CD6D4-C7A9-4CEF-AA9C-BC2977F70622}" dt="2024-02-20T12:53:00.697" v="18421" actId="947"/>
          <ac:spMkLst>
            <pc:docMk/>
            <pc:sldMk cId="4249455525" sldId="2147483546"/>
            <ac:spMk id="3" creationId="{18FF0807-DAF8-B85E-04CD-C4F80F1262E3}"/>
          </ac:spMkLst>
        </pc:spChg>
        <pc:spChg chg="mod">
          <ac:chgData name="Abdi, Adnan" userId="503e002c-9b3b-4180-87fb-acabeb2b158a" providerId="ADAL" clId="{5C2CD6D4-C7A9-4CEF-AA9C-BC2977F70622}" dt="2024-02-20T12:53:00.698" v="18423" actId="947"/>
          <ac:spMkLst>
            <pc:docMk/>
            <pc:sldMk cId="4249455525" sldId="2147483546"/>
            <ac:spMk id="4" creationId="{D621C63B-DC3F-9AB3-994A-92E4128610F0}"/>
          </ac:spMkLst>
        </pc:spChg>
        <pc:spChg chg="add mod">
          <ac:chgData name="Abdi, Adnan" userId="503e002c-9b3b-4180-87fb-acabeb2b158a" providerId="ADAL" clId="{5C2CD6D4-C7A9-4CEF-AA9C-BC2977F70622}" dt="2024-02-20T12:53:00.761" v="18491" actId="947"/>
          <ac:spMkLst>
            <pc:docMk/>
            <pc:sldMk cId="4249455525" sldId="2147483546"/>
            <ac:spMk id="5" creationId="{222B0CCE-F1F8-4CDE-E833-BD023ED15E55}"/>
          </ac:spMkLst>
        </pc:spChg>
        <pc:spChg chg="mod">
          <ac:chgData name="Abdi, Adnan" userId="503e002c-9b3b-4180-87fb-acabeb2b158a" providerId="ADAL" clId="{5C2CD6D4-C7A9-4CEF-AA9C-BC2977F70622}" dt="2024-02-20T12:53:00.698" v="18425" actId="947"/>
          <ac:spMkLst>
            <pc:docMk/>
            <pc:sldMk cId="4249455525" sldId="2147483546"/>
            <ac:spMk id="8" creationId="{BD9A78C3-88E5-0727-8E4B-1F395F302DB6}"/>
          </ac:spMkLst>
        </pc:spChg>
        <pc:spChg chg="mod">
          <ac:chgData name="Abdi, Adnan" userId="503e002c-9b3b-4180-87fb-acabeb2b158a" providerId="ADAL" clId="{5C2CD6D4-C7A9-4CEF-AA9C-BC2977F70622}" dt="2024-02-20T12:53:00.761" v="18489" actId="947"/>
          <ac:spMkLst>
            <pc:docMk/>
            <pc:sldMk cId="4249455525" sldId="2147483546"/>
            <ac:spMk id="11" creationId="{DE1F1572-064F-E071-41D6-49E2DC09E607}"/>
          </ac:spMkLst>
        </pc:spChg>
        <pc:spChg chg="mod">
          <ac:chgData name="Abdi, Adnan" userId="503e002c-9b3b-4180-87fb-acabeb2b158a" providerId="ADAL" clId="{5C2CD6D4-C7A9-4CEF-AA9C-BC2977F70622}" dt="2024-02-20T12:53:00.745" v="18487" actId="947"/>
          <ac:spMkLst>
            <pc:docMk/>
            <pc:sldMk cId="4249455525" sldId="2147483546"/>
            <ac:spMk id="12" creationId="{A0A921FC-BA3F-1069-DB2F-ED38C55FFC2B}"/>
          </ac:spMkLst>
        </pc:spChg>
        <pc:spChg chg="mod">
          <ac:chgData name="Abdi, Adnan" userId="503e002c-9b3b-4180-87fb-acabeb2b158a" providerId="ADAL" clId="{5C2CD6D4-C7A9-4CEF-AA9C-BC2977F70622}" dt="2024-02-20T12:53:00.745" v="18485" actId="947"/>
          <ac:spMkLst>
            <pc:docMk/>
            <pc:sldMk cId="4249455525" sldId="2147483546"/>
            <ac:spMk id="13" creationId="{719CD9FE-3471-8FD0-499B-D0DA53480F95}"/>
          </ac:spMkLst>
        </pc:spChg>
        <pc:spChg chg="mod">
          <ac:chgData name="Abdi, Adnan" userId="503e002c-9b3b-4180-87fb-acabeb2b158a" providerId="ADAL" clId="{5C2CD6D4-C7A9-4CEF-AA9C-BC2977F70622}" dt="2024-02-20T12:53:00.745" v="18483" actId="947"/>
          <ac:spMkLst>
            <pc:docMk/>
            <pc:sldMk cId="4249455525" sldId="2147483546"/>
            <ac:spMk id="14" creationId="{7104474E-19F0-F050-4ABA-6CFE1B817644}"/>
          </ac:spMkLst>
        </pc:spChg>
        <pc:spChg chg="mod">
          <ac:chgData name="Abdi, Adnan" userId="503e002c-9b3b-4180-87fb-acabeb2b158a" providerId="ADAL" clId="{5C2CD6D4-C7A9-4CEF-AA9C-BC2977F70622}" dt="2024-02-20T12:53:00.745" v="18481" actId="947"/>
          <ac:spMkLst>
            <pc:docMk/>
            <pc:sldMk cId="4249455525" sldId="2147483546"/>
            <ac:spMk id="15" creationId="{0DAC7C64-DC6F-DF96-3C2C-C909ACCDDCC0}"/>
          </ac:spMkLst>
        </pc:spChg>
        <pc:graphicFrameChg chg="mod ord modVis replST">
          <ac:chgData name="Abdi, Adnan" userId="503e002c-9b3b-4180-87fb-acabeb2b158a" providerId="ADAL" clId="{5C2CD6D4-C7A9-4CEF-AA9C-BC2977F70622}" dt="2024-02-20T12:53:06.686" v="21077"/>
          <ac:graphicFrameMkLst>
            <pc:docMk/>
            <pc:sldMk cId="4249455525" sldId="2147483546"/>
            <ac:graphicFrameMk id="6" creationId="{9C54D8AB-61CD-409A-F5D8-7EB72108CAE3}"/>
          </ac:graphicFrameMkLst>
        </pc:graphicFrameChg>
        <pc:graphicFrameChg chg="modGraphic">
          <ac:chgData name="Abdi, Adnan" userId="503e002c-9b3b-4180-87fb-acabeb2b158a" providerId="ADAL" clId="{5C2CD6D4-C7A9-4CEF-AA9C-BC2977F70622}" dt="2024-02-20T12:53:00.745" v="18479" actId="947"/>
          <ac:graphicFrameMkLst>
            <pc:docMk/>
            <pc:sldMk cId="4249455525" sldId="2147483546"/>
            <ac:graphicFrameMk id="9" creationId="{ABC06D4E-302D-E39D-61E0-3DDC1AD7B6C6}"/>
          </ac:graphicFrameMkLst>
        </pc:graphicFrameChg>
      </pc:sldChg>
      <pc:sldChg chg="addSp modSp mod">
        <pc:chgData name="Abdi, Adnan" userId="503e002c-9b3b-4180-87fb-acabeb2b158a" providerId="ADAL" clId="{5C2CD6D4-C7A9-4CEF-AA9C-BC2977F70622}" dt="2024-02-26T09:10:29.333" v="73114"/>
        <pc:sldMkLst>
          <pc:docMk/>
          <pc:sldMk cId="909291825" sldId="2147483547"/>
        </pc:sldMkLst>
        <pc:spChg chg="mod">
          <ac:chgData name="Abdi, Adnan" userId="503e002c-9b3b-4180-87fb-acabeb2b158a" providerId="ADAL" clId="{5C2CD6D4-C7A9-4CEF-AA9C-BC2977F70622}" dt="2024-02-26T09:10:29.333" v="73114"/>
          <ac:spMkLst>
            <pc:docMk/>
            <pc:sldMk cId="909291825" sldId="2147483547"/>
            <ac:spMk id="3" creationId="{18FF0807-DAF8-B85E-04CD-C4F80F1262E3}"/>
          </ac:spMkLst>
        </pc:spChg>
        <pc:spChg chg="add">
          <ac:chgData name="Abdi, Adnan" userId="503e002c-9b3b-4180-87fb-acabeb2b158a" providerId="ADAL" clId="{5C2CD6D4-C7A9-4CEF-AA9C-BC2977F70622}" dt="2024-02-23T15:32:09.917" v="71465"/>
          <ac:spMkLst>
            <pc:docMk/>
            <pc:sldMk cId="909291825" sldId="2147483547"/>
            <ac:spMk id="4" creationId="{D621C63B-DC3F-9AB3-994A-92E4128610F0}"/>
          </ac:spMkLst>
        </pc:spChg>
        <pc:spChg chg="mod">
          <ac:chgData name="Abdi, Adnan" userId="503e002c-9b3b-4180-87fb-acabeb2b158a" providerId="ADAL" clId="{5C2CD6D4-C7A9-4CEF-AA9C-BC2977F70622}" dt="2024-02-22T14:46:23.983" v="58282" actId="14100"/>
          <ac:spMkLst>
            <pc:docMk/>
            <pc:sldMk cId="909291825" sldId="2147483547"/>
            <ac:spMk id="5" creationId="{C34933D2-8E6C-9341-754A-8FA5B9C652F2}"/>
          </ac:spMkLst>
        </pc:spChg>
        <pc:spChg chg="add mod">
          <ac:chgData name="Abdi, Adnan" userId="503e002c-9b3b-4180-87fb-acabeb2b158a" providerId="ADAL" clId="{5C2CD6D4-C7A9-4CEF-AA9C-BC2977F70622}" dt="2024-02-23T18:39:46.140" v="71586"/>
          <ac:spMkLst>
            <pc:docMk/>
            <pc:sldMk cId="909291825" sldId="2147483547"/>
            <ac:spMk id="7" creationId="{DF91C98A-E563-ED6E-EE0A-75DA99EA42C3}"/>
          </ac:spMkLst>
        </pc:spChg>
      </pc:sldChg>
      <pc:sldChg chg="addSp modSp add del mod modNotes">
        <pc:chgData name="Abdi, Adnan" userId="503e002c-9b3b-4180-87fb-acabeb2b158a" providerId="ADAL" clId="{5C2CD6D4-C7A9-4CEF-AA9C-BC2977F70622}" dt="2024-02-20T12:53:06.702" v="21084"/>
        <pc:sldMkLst>
          <pc:docMk/>
          <pc:sldMk cId="1194696002" sldId="2147483547"/>
        </pc:sldMkLst>
        <pc:spChg chg="mod">
          <ac:chgData name="Abdi, Adnan" userId="503e002c-9b3b-4180-87fb-acabeb2b158a" providerId="ADAL" clId="{5C2CD6D4-C7A9-4CEF-AA9C-BC2977F70622}" dt="2024-02-20T12:53:00.770" v="18493" actId="947"/>
          <ac:spMkLst>
            <pc:docMk/>
            <pc:sldMk cId="1194696002" sldId="2147483547"/>
            <ac:spMk id="2" creationId="{551A0760-76B6-B0DA-473F-4F9BCE390A30}"/>
          </ac:spMkLst>
        </pc:spChg>
        <pc:spChg chg="mod">
          <ac:chgData name="Abdi, Adnan" userId="503e002c-9b3b-4180-87fb-acabeb2b158a" providerId="ADAL" clId="{5C2CD6D4-C7A9-4CEF-AA9C-BC2977F70622}" dt="2024-02-20T12:53:00.770" v="18495" actId="947"/>
          <ac:spMkLst>
            <pc:docMk/>
            <pc:sldMk cId="1194696002" sldId="2147483547"/>
            <ac:spMk id="3" creationId="{18FF0807-DAF8-B85E-04CD-C4F80F1262E3}"/>
          </ac:spMkLst>
        </pc:spChg>
        <pc:spChg chg="mod">
          <ac:chgData name="Abdi, Adnan" userId="503e002c-9b3b-4180-87fb-acabeb2b158a" providerId="ADAL" clId="{5C2CD6D4-C7A9-4CEF-AA9C-BC2977F70622}" dt="2024-02-20T12:53:00.770" v="18497" actId="947"/>
          <ac:spMkLst>
            <pc:docMk/>
            <pc:sldMk cId="1194696002" sldId="2147483547"/>
            <ac:spMk id="4" creationId="{D621C63B-DC3F-9AB3-994A-92E4128610F0}"/>
          </ac:spMkLst>
        </pc:spChg>
        <pc:spChg chg="mod">
          <ac:chgData name="Abdi, Adnan" userId="503e002c-9b3b-4180-87fb-acabeb2b158a" providerId="ADAL" clId="{5C2CD6D4-C7A9-4CEF-AA9C-BC2977F70622}" dt="2024-02-20T12:53:00.770" v="18499" actId="947"/>
          <ac:spMkLst>
            <pc:docMk/>
            <pc:sldMk cId="1194696002" sldId="2147483547"/>
            <ac:spMk id="5" creationId="{C34933D2-8E6C-9341-754A-8FA5B9C652F2}"/>
          </ac:spMkLst>
        </pc:spChg>
        <pc:spChg chg="mod">
          <ac:chgData name="Abdi, Adnan" userId="503e002c-9b3b-4180-87fb-acabeb2b158a" providerId="ADAL" clId="{5C2CD6D4-C7A9-4CEF-AA9C-BC2977F70622}" dt="2024-02-20T12:53:00.821" v="18551" actId="947"/>
          <ac:spMkLst>
            <pc:docMk/>
            <pc:sldMk cId="1194696002" sldId="2147483547"/>
            <ac:spMk id="8" creationId="{F1E959F9-C305-52BD-2FB6-39C107BB65C3}"/>
          </ac:spMkLst>
        </pc:spChg>
        <pc:spChg chg="mod">
          <ac:chgData name="Abdi, Adnan" userId="503e002c-9b3b-4180-87fb-acabeb2b158a" providerId="ADAL" clId="{5C2CD6D4-C7A9-4CEF-AA9C-BC2977F70622}" dt="2024-02-20T12:53:00.821" v="18549" actId="947"/>
          <ac:spMkLst>
            <pc:docMk/>
            <pc:sldMk cId="1194696002" sldId="2147483547"/>
            <ac:spMk id="9" creationId="{EF4CAF56-C684-263D-F5DB-B24CB35CAF09}"/>
          </ac:spMkLst>
        </pc:spChg>
        <pc:spChg chg="mod">
          <ac:chgData name="Abdi, Adnan" userId="503e002c-9b3b-4180-87fb-acabeb2b158a" providerId="ADAL" clId="{5C2CD6D4-C7A9-4CEF-AA9C-BC2977F70622}" dt="2024-02-20T12:53:00.821" v="18547" actId="947"/>
          <ac:spMkLst>
            <pc:docMk/>
            <pc:sldMk cId="1194696002" sldId="2147483547"/>
            <ac:spMk id="10" creationId="{F0A9BD9F-D6D6-462D-6F65-C9F93B81A178}"/>
          </ac:spMkLst>
        </pc:spChg>
        <pc:spChg chg="mod">
          <ac:chgData name="Abdi, Adnan" userId="503e002c-9b3b-4180-87fb-acabeb2b158a" providerId="ADAL" clId="{5C2CD6D4-C7A9-4CEF-AA9C-BC2977F70622}" dt="2024-02-20T12:53:00.819" v="18545" actId="947"/>
          <ac:spMkLst>
            <pc:docMk/>
            <pc:sldMk cId="1194696002" sldId="2147483547"/>
            <ac:spMk id="11" creationId="{566550F7-389F-7DC4-128D-1AEB37F38402}"/>
          </ac:spMkLst>
        </pc:spChg>
        <pc:spChg chg="mod">
          <ac:chgData name="Abdi, Adnan" userId="503e002c-9b3b-4180-87fb-acabeb2b158a" providerId="ADAL" clId="{5C2CD6D4-C7A9-4CEF-AA9C-BC2977F70622}" dt="2024-02-20T12:53:00.817" v="18543" actId="947"/>
          <ac:spMkLst>
            <pc:docMk/>
            <pc:sldMk cId="1194696002" sldId="2147483547"/>
            <ac:spMk id="12" creationId="{9F33FBA9-26C6-222C-7420-871AB0F0E379}"/>
          </ac:spMkLst>
        </pc:spChg>
        <pc:spChg chg="add mod">
          <ac:chgData name="Abdi, Adnan" userId="503e002c-9b3b-4180-87fb-acabeb2b158a" providerId="ADAL" clId="{5C2CD6D4-C7A9-4CEF-AA9C-BC2977F70622}" dt="2024-02-20T12:53:00.821" v="18553" actId="947"/>
          <ac:spMkLst>
            <pc:docMk/>
            <pc:sldMk cId="1194696002" sldId="2147483547"/>
            <ac:spMk id="13" creationId="{462A15B5-7E3E-BB91-D26F-41FB9190EF02}"/>
          </ac:spMkLst>
        </pc:spChg>
        <pc:graphicFrameChg chg="modGraphic">
          <ac:chgData name="Abdi, Adnan" userId="503e002c-9b3b-4180-87fb-acabeb2b158a" providerId="ADAL" clId="{5C2CD6D4-C7A9-4CEF-AA9C-BC2977F70622}" dt="2024-02-20T12:53:00.814" v="18541" actId="947"/>
          <ac:graphicFrameMkLst>
            <pc:docMk/>
            <pc:sldMk cId="1194696002" sldId="2147483547"/>
            <ac:graphicFrameMk id="6" creationId="{132B2D70-CACF-EFDF-04AE-3B90D176E4D6}"/>
          </ac:graphicFrameMkLst>
        </pc:graphicFrameChg>
        <pc:graphicFrameChg chg="mod ord modVis replST">
          <ac:chgData name="Abdi, Adnan" userId="503e002c-9b3b-4180-87fb-acabeb2b158a" providerId="ADAL" clId="{5C2CD6D4-C7A9-4CEF-AA9C-BC2977F70622}" dt="2024-02-20T12:53:06.702" v="21084"/>
          <ac:graphicFrameMkLst>
            <pc:docMk/>
            <pc:sldMk cId="1194696002" sldId="2147483547"/>
            <ac:graphicFrameMk id="14" creationId="{37789786-1C02-5541-7451-6327DFA00006}"/>
          </ac:graphicFrameMkLst>
        </pc:graphicFrameChg>
      </pc:sldChg>
      <pc:sldChg chg="addSp modSp mod">
        <pc:chgData name="Abdi, Adnan" userId="503e002c-9b3b-4180-87fb-acabeb2b158a" providerId="ADAL" clId="{5C2CD6D4-C7A9-4CEF-AA9C-BC2977F70622}" dt="2024-02-26T09:10:30.738" v="73115"/>
        <pc:sldMkLst>
          <pc:docMk/>
          <pc:sldMk cId="1583266516" sldId="2147483548"/>
        </pc:sldMkLst>
        <pc:spChg chg="mod">
          <ac:chgData name="Abdi, Adnan" userId="503e002c-9b3b-4180-87fb-acabeb2b158a" providerId="ADAL" clId="{5C2CD6D4-C7A9-4CEF-AA9C-BC2977F70622}" dt="2024-02-26T09:10:30.738" v="73115"/>
          <ac:spMkLst>
            <pc:docMk/>
            <pc:sldMk cId="1583266516" sldId="2147483548"/>
            <ac:spMk id="3" creationId="{18FF0807-DAF8-B85E-04CD-C4F80F1262E3}"/>
          </ac:spMkLst>
        </pc:spChg>
        <pc:spChg chg="add">
          <ac:chgData name="Abdi, Adnan" userId="503e002c-9b3b-4180-87fb-acabeb2b158a" providerId="ADAL" clId="{5C2CD6D4-C7A9-4CEF-AA9C-BC2977F70622}" dt="2024-02-23T15:32:09.917" v="71465"/>
          <ac:spMkLst>
            <pc:docMk/>
            <pc:sldMk cId="1583266516" sldId="2147483548"/>
            <ac:spMk id="4" creationId="{D621C63B-DC3F-9AB3-994A-92E4128610F0}"/>
          </ac:spMkLst>
        </pc:spChg>
        <pc:spChg chg="mod">
          <ac:chgData name="Abdi, Adnan" userId="503e002c-9b3b-4180-87fb-acabeb2b158a" providerId="ADAL" clId="{5C2CD6D4-C7A9-4CEF-AA9C-BC2977F70622}" dt="2024-02-22T14:46:32.018" v="58284" actId="14100"/>
          <ac:spMkLst>
            <pc:docMk/>
            <pc:sldMk cId="1583266516" sldId="2147483548"/>
            <ac:spMk id="5" creationId="{735CDA07-BBD4-3C57-AE1F-603BF981E88C}"/>
          </ac:spMkLst>
        </pc:spChg>
        <pc:spChg chg="add mod">
          <ac:chgData name="Abdi, Adnan" userId="503e002c-9b3b-4180-87fb-acabeb2b158a" providerId="ADAL" clId="{5C2CD6D4-C7A9-4CEF-AA9C-BC2977F70622}" dt="2024-02-23T18:39:47.851" v="71588"/>
          <ac:spMkLst>
            <pc:docMk/>
            <pc:sldMk cId="1583266516" sldId="2147483548"/>
            <ac:spMk id="7" creationId="{611AEDBA-5E37-1E96-30CF-26C227ADAEFC}"/>
          </ac:spMkLst>
        </pc:spChg>
      </pc:sldChg>
      <pc:sldChg chg="addSp modSp add del mod modNotes">
        <pc:chgData name="Abdi, Adnan" userId="503e002c-9b3b-4180-87fb-acabeb2b158a" providerId="ADAL" clId="{5C2CD6D4-C7A9-4CEF-AA9C-BC2977F70622}" dt="2024-02-20T12:53:06.782" v="21102"/>
        <pc:sldMkLst>
          <pc:docMk/>
          <pc:sldMk cId="3893138527" sldId="2147483548"/>
        </pc:sldMkLst>
        <pc:spChg chg="mod">
          <ac:chgData name="Abdi, Adnan" userId="503e002c-9b3b-4180-87fb-acabeb2b158a" providerId="ADAL" clId="{5C2CD6D4-C7A9-4CEF-AA9C-BC2977F70622}" dt="2024-02-20T12:53:01.037" v="18657" actId="947"/>
          <ac:spMkLst>
            <pc:docMk/>
            <pc:sldMk cId="3893138527" sldId="2147483548"/>
            <ac:spMk id="2" creationId="{551A0760-76B6-B0DA-473F-4F9BCE390A30}"/>
          </ac:spMkLst>
        </pc:spChg>
        <pc:spChg chg="mod">
          <ac:chgData name="Abdi, Adnan" userId="503e002c-9b3b-4180-87fb-acabeb2b158a" providerId="ADAL" clId="{5C2CD6D4-C7A9-4CEF-AA9C-BC2977F70622}" dt="2024-02-20T12:53:01.037" v="18659" actId="947"/>
          <ac:spMkLst>
            <pc:docMk/>
            <pc:sldMk cId="3893138527" sldId="2147483548"/>
            <ac:spMk id="3" creationId="{18FF0807-DAF8-B85E-04CD-C4F80F1262E3}"/>
          </ac:spMkLst>
        </pc:spChg>
        <pc:spChg chg="mod">
          <ac:chgData name="Abdi, Adnan" userId="503e002c-9b3b-4180-87fb-acabeb2b158a" providerId="ADAL" clId="{5C2CD6D4-C7A9-4CEF-AA9C-BC2977F70622}" dt="2024-02-20T12:53:01.037" v="18661" actId="947"/>
          <ac:spMkLst>
            <pc:docMk/>
            <pc:sldMk cId="3893138527" sldId="2147483548"/>
            <ac:spMk id="4" creationId="{D621C63B-DC3F-9AB3-994A-92E4128610F0}"/>
          </ac:spMkLst>
        </pc:spChg>
        <pc:spChg chg="mod">
          <ac:chgData name="Abdi, Adnan" userId="503e002c-9b3b-4180-87fb-acabeb2b158a" providerId="ADAL" clId="{5C2CD6D4-C7A9-4CEF-AA9C-BC2977F70622}" dt="2024-02-20T12:53:01.037" v="18663" actId="947"/>
          <ac:spMkLst>
            <pc:docMk/>
            <pc:sldMk cId="3893138527" sldId="2147483548"/>
            <ac:spMk id="5" creationId="{735CDA07-BBD4-3C57-AE1F-603BF981E88C}"/>
          </ac:spMkLst>
        </pc:spChg>
        <pc:spChg chg="mod">
          <ac:chgData name="Abdi, Adnan" userId="503e002c-9b3b-4180-87fb-acabeb2b158a" providerId="ADAL" clId="{5C2CD6D4-C7A9-4CEF-AA9C-BC2977F70622}" dt="2024-02-20T12:53:01.089" v="18709" actId="947"/>
          <ac:spMkLst>
            <pc:docMk/>
            <pc:sldMk cId="3893138527" sldId="2147483548"/>
            <ac:spMk id="8" creationId="{D31CF460-B9EB-D81A-01C5-D02E140CEE4E}"/>
          </ac:spMkLst>
        </pc:spChg>
        <pc:spChg chg="mod">
          <ac:chgData name="Abdi, Adnan" userId="503e002c-9b3b-4180-87fb-acabeb2b158a" providerId="ADAL" clId="{5C2CD6D4-C7A9-4CEF-AA9C-BC2977F70622}" dt="2024-02-20T12:53:01.087" v="18707" actId="947"/>
          <ac:spMkLst>
            <pc:docMk/>
            <pc:sldMk cId="3893138527" sldId="2147483548"/>
            <ac:spMk id="9" creationId="{4F31502D-A724-7754-B025-D6C6E34B9500}"/>
          </ac:spMkLst>
        </pc:spChg>
        <pc:spChg chg="mod">
          <ac:chgData name="Abdi, Adnan" userId="503e002c-9b3b-4180-87fb-acabeb2b158a" providerId="ADAL" clId="{5C2CD6D4-C7A9-4CEF-AA9C-BC2977F70622}" dt="2024-02-20T12:53:01.084" v="18705" actId="947"/>
          <ac:spMkLst>
            <pc:docMk/>
            <pc:sldMk cId="3893138527" sldId="2147483548"/>
            <ac:spMk id="10" creationId="{F16053E6-A28F-9840-5A99-CA2B4C3706B0}"/>
          </ac:spMkLst>
        </pc:spChg>
        <pc:spChg chg="mod">
          <ac:chgData name="Abdi, Adnan" userId="503e002c-9b3b-4180-87fb-acabeb2b158a" providerId="ADAL" clId="{5C2CD6D4-C7A9-4CEF-AA9C-BC2977F70622}" dt="2024-02-20T12:53:01.082" v="18703" actId="947"/>
          <ac:spMkLst>
            <pc:docMk/>
            <pc:sldMk cId="3893138527" sldId="2147483548"/>
            <ac:spMk id="11" creationId="{1B285780-C243-50D6-1443-5BD536E2F741}"/>
          </ac:spMkLst>
        </pc:spChg>
        <pc:spChg chg="mod">
          <ac:chgData name="Abdi, Adnan" userId="503e002c-9b3b-4180-87fb-acabeb2b158a" providerId="ADAL" clId="{5C2CD6D4-C7A9-4CEF-AA9C-BC2977F70622}" dt="2024-02-20T12:53:01.080" v="18701" actId="947"/>
          <ac:spMkLst>
            <pc:docMk/>
            <pc:sldMk cId="3893138527" sldId="2147483548"/>
            <ac:spMk id="12" creationId="{897E5A91-D625-FA91-F440-86DB50A0D0EE}"/>
          </ac:spMkLst>
        </pc:spChg>
        <pc:spChg chg="add mod">
          <ac:chgData name="Abdi, Adnan" userId="503e002c-9b3b-4180-87fb-acabeb2b158a" providerId="ADAL" clId="{5C2CD6D4-C7A9-4CEF-AA9C-BC2977F70622}" dt="2024-02-20T12:53:01.091" v="18711" actId="947"/>
          <ac:spMkLst>
            <pc:docMk/>
            <pc:sldMk cId="3893138527" sldId="2147483548"/>
            <ac:spMk id="13" creationId="{6B49339E-DA2A-37EF-C830-3F5D42923F51}"/>
          </ac:spMkLst>
        </pc:spChg>
        <pc:graphicFrameChg chg="modGraphic">
          <ac:chgData name="Abdi, Adnan" userId="503e002c-9b3b-4180-87fb-acabeb2b158a" providerId="ADAL" clId="{5C2CD6D4-C7A9-4CEF-AA9C-BC2977F70622}" dt="2024-02-20T12:53:01.077" v="18699" actId="947"/>
          <ac:graphicFrameMkLst>
            <pc:docMk/>
            <pc:sldMk cId="3893138527" sldId="2147483548"/>
            <ac:graphicFrameMk id="6" creationId="{E78D727D-6124-D4BD-8081-F3F02F6C30A0}"/>
          </ac:graphicFrameMkLst>
        </pc:graphicFrameChg>
        <pc:graphicFrameChg chg="mod ord modVis replST">
          <ac:chgData name="Abdi, Adnan" userId="503e002c-9b3b-4180-87fb-acabeb2b158a" providerId="ADAL" clId="{5C2CD6D4-C7A9-4CEF-AA9C-BC2977F70622}" dt="2024-02-20T12:53:06.782" v="21102"/>
          <ac:graphicFrameMkLst>
            <pc:docMk/>
            <pc:sldMk cId="3893138527" sldId="2147483548"/>
            <ac:graphicFrameMk id="14" creationId="{9B597BA4-F4CB-D5CE-9D8F-EFF22082973E}"/>
          </ac:graphicFrameMkLst>
        </pc:graphicFrameChg>
      </pc:sldChg>
      <pc:sldChg chg="addSp modSp add del mod ord modNotes">
        <pc:chgData name="Abdi, Adnan" userId="503e002c-9b3b-4180-87fb-acabeb2b158a" providerId="ADAL" clId="{5C2CD6D4-C7A9-4CEF-AA9C-BC2977F70622}" dt="2024-02-23T15:32:09.917" v="71465"/>
        <pc:sldMkLst>
          <pc:docMk/>
          <pc:sldMk cId="881438303" sldId="2147483549"/>
        </pc:sldMkLst>
        <pc:spChg chg="mod">
          <ac:chgData name="Abdi, Adnan" userId="503e002c-9b3b-4180-87fb-acabeb2b158a" providerId="ADAL" clId="{5C2CD6D4-C7A9-4CEF-AA9C-BC2977F70622}" dt="2024-02-20T12:53:00.335" v="18172" actId="947"/>
          <ac:spMkLst>
            <pc:docMk/>
            <pc:sldMk cId="881438303" sldId="2147483549"/>
            <ac:spMk id="2" creationId="{551A0760-76B6-B0DA-473F-4F9BCE390A30}"/>
          </ac:spMkLst>
        </pc:spChg>
        <pc:spChg chg="mod">
          <ac:chgData name="Abdi, Adnan" userId="503e002c-9b3b-4180-87fb-acabeb2b158a" providerId="ADAL" clId="{5C2CD6D4-C7A9-4CEF-AA9C-BC2977F70622}" dt="2024-02-20T12:53:00.335" v="18174" actId="947"/>
          <ac:spMkLst>
            <pc:docMk/>
            <pc:sldMk cId="881438303" sldId="2147483549"/>
            <ac:spMk id="3" creationId="{18FF0807-DAF8-B85E-04CD-C4F80F1262E3}"/>
          </ac:spMkLst>
        </pc:spChg>
        <pc:spChg chg="add mod">
          <ac:chgData name="Abdi, Adnan" userId="503e002c-9b3b-4180-87fb-acabeb2b158a" providerId="ADAL" clId="{5C2CD6D4-C7A9-4CEF-AA9C-BC2977F70622}" dt="2024-02-23T15:32:09.917" v="71465"/>
          <ac:spMkLst>
            <pc:docMk/>
            <pc:sldMk cId="881438303" sldId="2147483549"/>
            <ac:spMk id="4" creationId="{D621C63B-DC3F-9AB3-994A-92E4128610F0}"/>
          </ac:spMkLst>
        </pc:spChg>
        <pc:spChg chg="mod">
          <ac:chgData name="Abdi, Adnan" userId="503e002c-9b3b-4180-87fb-acabeb2b158a" providerId="ADAL" clId="{5C2CD6D4-C7A9-4CEF-AA9C-BC2977F70622}" dt="2024-02-20T12:53:00.335" v="18176" actId="947"/>
          <ac:spMkLst>
            <pc:docMk/>
            <pc:sldMk cId="881438303" sldId="2147483549"/>
            <ac:spMk id="6" creationId="{61799F6B-2F1C-D2CF-506D-950CE08F9792}"/>
          </ac:spMkLst>
        </pc:spChg>
        <pc:spChg chg="mod">
          <ac:chgData name="Abdi, Adnan" userId="503e002c-9b3b-4180-87fb-acabeb2b158a" providerId="ADAL" clId="{5C2CD6D4-C7A9-4CEF-AA9C-BC2977F70622}" dt="2024-02-20T12:53:00.351" v="18178" actId="947"/>
          <ac:spMkLst>
            <pc:docMk/>
            <pc:sldMk cId="881438303" sldId="2147483549"/>
            <ac:spMk id="7" creationId="{662CAB21-6D45-B391-170F-469FE0A64245}"/>
          </ac:spMkLst>
        </pc:spChg>
        <pc:spChg chg="mod">
          <ac:chgData name="Abdi, Adnan" userId="503e002c-9b3b-4180-87fb-acabeb2b158a" providerId="ADAL" clId="{5C2CD6D4-C7A9-4CEF-AA9C-BC2977F70622}" dt="2024-02-20T12:53:00.351" v="18180" actId="947"/>
          <ac:spMkLst>
            <pc:docMk/>
            <pc:sldMk cId="881438303" sldId="2147483549"/>
            <ac:spMk id="8" creationId="{14FF434B-48AC-9C83-7483-A64B2B4C7A20}"/>
          </ac:spMkLst>
        </pc:spChg>
        <pc:spChg chg="mod">
          <ac:chgData name="Abdi, Adnan" userId="503e002c-9b3b-4180-87fb-acabeb2b158a" providerId="ADAL" clId="{5C2CD6D4-C7A9-4CEF-AA9C-BC2977F70622}" dt="2024-02-20T12:53:00.351" v="18182" actId="947"/>
          <ac:spMkLst>
            <pc:docMk/>
            <pc:sldMk cId="881438303" sldId="2147483549"/>
            <ac:spMk id="9" creationId="{DCA9EE17-A63F-07D2-84EA-34CD67CEC5B1}"/>
          </ac:spMkLst>
        </pc:spChg>
        <pc:spChg chg="mod">
          <ac:chgData name="Abdi, Adnan" userId="503e002c-9b3b-4180-87fb-acabeb2b158a" providerId="ADAL" clId="{5C2CD6D4-C7A9-4CEF-AA9C-BC2977F70622}" dt="2024-02-20T12:53:00.367" v="18184" actId="947"/>
          <ac:spMkLst>
            <pc:docMk/>
            <pc:sldMk cId="881438303" sldId="2147483549"/>
            <ac:spMk id="10" creationId="{19FE99DC-1AED-7B2B-41A5-FB4A1B6E08DD}"/>
          </ac:spMkLst>
        </pc:spChg>
        <pc:spChg chg="mod">
          <ac:chgData name="Abdi, Adnan" userId="503e002c-9b3b-4180-87fb-acabeb2b158a" providerId="ADAL" clId="{5C2CD6D4-C7A9-4CEF-AA9C-BC2977F70622}" dt="2024-02-20T12:53:00.370" v="18186" actId="947"/>
          <ac:spMkLst>
            <pc:docMk/>
            <pc:sldMk cId="881438303" sldId="2147483549"/>
            <ac:spMk id="11" creationId="{745E615C-2ACE-07D9-CED4-CCDC72792CAF}"/>
          </ac:spMkLst>
        </pc:spChg>
        <pc:spChg chg="mod">
          <ac:chgData name="Abdi, Adnan" userId="503e002c-9b3b-4180-87fb-acabeb2b158a" providerId="ADAL" clId="{5C2CD6D4-C7A9-4CEF-AA9C-BC2977F70622}" dt="2024-02-20T12:53:00.373" v="18188" actId="947"/>
          <ac:spMkLst>
            <pc:docMk/>
            <pc:sldMk cId="881438303" sldId="2147483549"/>
            <ac:spMk id="12" creationId="{1D9FCD67-9F44-4506-3C7C-AE3E5B37478B}"/>
          </ac:spMkLst>
        </pc:spChg>
        <pc:spChg chg="mod">
          <ac:chgData name="Abdi, Adnan" userId="503e002c-9b3b-4180-87fb-acabeb2b158a" providerId="ADAL" clId="{5C2CD6D4-C7A9-4CEF-AA9C-BC2977F70622}" dt="2024-02-20T12:53:00.376" v="18191" actId="34136"/>
          <ac:spMkLst>
            <pc:docMk/>
            <pc:sldMk cId="881438303" sldId="2147483549"/>
            <ac:spMk id="14" creationId="{56B4245E-9224-074A-606D-12F42ED133A6}"/>
          </ac:spMkLst>
        </pc:spChg>
        <pc:spChg chg="mod">
          <ac:chgData name="Abdi, Adnan" userId="503e002c-9b3b-4180-87fb-acabeb2b158a" providerId="ADAL" clId="{5C2CD6D4-C7A9-4CEF-AA9C-BC2977F70622}" dt="2024-02-20T12:53:00.376" v="18191" actId="34136"/>
          <ac:spMkLst>
            <pc:docMk/>
            <pc:sldMk cId="881438303" sldId="2147483549"/>
            <ac:spMk id="15" creationId="{AD32FFC0-ABBE-96C9-EE74-079A3B07342E}"/>
          </ac:spMkLst>
        </pc:spChg>
        <pc:spChg chg="mod">
          <ac:chgData name="Abdi, Adnan" userId="503e002c-9b3b-4180-87fb-acabeb2b158a" providerId="ADAL" clId="{5C2CD6D4-C7A9-4CEF-AA9C-BC2977F70622}" dt="2024-02-20T12:53:00.379" v="18192" actId="34136"/>
          <ac:spMkLst>
            <pc:docMk/>
            <pc:sldMk cId="881438303" sldId="2147483549"/>
            <ac:spMk id="17" creationId="{F71CCEFD-6AA8-3E3E-1B84-655F9830C633}"/>
          </ac:spMkLst>
        </pc:spChg>
        <pc:spChg chg="mod">
          <ac:chgData name="Abdi, Adnan" userId="503e002c-9b3b-4180-87fb-acabeb2b158a" providerId="ADAL" clId="{5C2CD6D4-C7A9-4CEF-AA9C-BC2977F70622}" dt="2024-02-20T12:53:00.379" v="18192" actId="34136"/>
          <ac:spMkLst>
            <pc:docMk/>
            <pc:sldMk cId="881438303" sldId="2147483549"/>
            <ac:spMk id="18" creationId="{23829232-5663-BBF1-B9E9-A825D34E58C7}"/>
          </ac:spMkLst>
        </pc:spChg>
        <pc:spChg chg="mod">
          <ac:chgData name="Abdi, Adnan" userId="503e002c-9b3b-4180-87fb-acabeb2b158a" providerId="ADAL" clId="{5C2CD6D4-C7A9-4CEF-AA9C-BC2977F70622}" dt="2024-02-20T12:53:00.382" v="18194" actId="947"/>
          <ac:spMkLst>
            <pc:docMk/>
            <pc:sldMk cId="881438303" sldId="2147483549"/>
            <ac:spMk id="19" creationId="{F283F5CA-D464-5F7A-58AA-DA593E9DF1F8}"/>
          </ac:spMkLst>
        </pc:spChg>
        <pc:spChg chg="mod">
          <ac:chgData name="Abdi, Adnan" userId="503e002c-9b3b-4180-87fb-acabeb2b158a" providerId="ADAL" clId="{5C2CD6D4-C7A9-4CEF-AA9C-BC2977F70622}" dt="2024-02-20T12:53:00.385" v="18196" actId="947"/>
          <ac:spMkLst>
            <pc:docMk/>
            <pc:sldMk cId="881438303" sldId="2147483549"/>
            <ac:spMk id="20" creationId="{1319F30A-B07B-0540-07CE-D4DC01D20CD6}"/>
          </ac:spMkLst>
        </pc:spChg>
        <pc:spChg chg="mod">
          <ac:chgData name="Abdi, Adnan" userId="503e002c-9b3b-4180-87fb-acabeb2b158a" providerId="ADAL" clId="{5C2CD6D4-C7A9-4CEF-AA9C-BC2977F70622}" dt="2024-02-20T12:53:00.388" v="18198" actId="947"/>
          <ac:spMkLst>
            <pc:docMk/>
            <pc:sldMk cId="881438303" sldId="2147483549"/>
            <ac:spMk id="21" creationId="{1217BC1C-102B-D970-CC2E-1C3FCA27A8B2}"/>
          </ac:spMkLst>
        </pc:spChg>
        <pc:spChg chg="mod">
          <ac:chgData name="Abdi, Adnan" userId="503e002c-9b3b-4180-87fb-acabeb2b158a" providerId="ADAL" clId="{5C2CD6D4-C7A9-4CEF-AA9C-BC2977F70622}" dt="2024-02-20T12:53:00.390" v="18200" actId="947"/>
          <ac:spMkLst>
            <pc:docMk/>
            <pc:sldMk cId="881438303" sldId="2147483549"/>
            <ac:spMk id="22" creationId="{E3F0F1B3-E6D5-DB39-7E53-24E646789402}"/>
          </ac:spMkLst>
        </pc:spChg>
        <pc:spChg chg="mod">
          <ac:chgData name="Abdi, Adnan" userId="503e002c-9b3b-4180-87fb-acabeb2b158a" providerId="ADAL" clId="{5C2CD6D4-C7A9-4CEF-AA9C-BC2977F70622}" dt="2024-02-20T12:53:00.392" v="18202" actId="947"/>
          <ac:spMkLst>
            <pc:docMk/>
            <pc:sldMk cId="881438303" sldId="2147483549"/>
            <ac:spMk id="24" creationId="{20FDC876-27A8-EE5B-B422-ABCFA61CFE6A}"/>
          </ac:spMkLst>
        </pc:spChg>
        <pc:spChg chg="mod">
          <ac:chgData name="Abdi, Adnan" userId="503e002c-9b3b-4180-87fb-acabeb2b158a" providerId="ADAL" clId="{5C2CD6D4-C7A9-4CEF-AA9C-BC2977F70622}" dt="2024-02-20T12:53:00.394" v="18204" actId="947"/>
          <ac:spMkLst>
            <pc:docMk/>
            <pc:sldMk cId="881438303" sldId="2147483549"/>
            <ac:spMk id="25" creationId="{413A3E1D-B2AF-8F02-1CA9-B569274C2778}"/>
          </ac:spMkLst>
        </pc:spChg>
        <pc:grpChg chg="mod">
          <ac:chgData name="Abdi, Adnan" userId="503e002c-9b3b-4180-87fb-acabeb2b158a" providerId="ADAL" clId="{5C2CD6D4-C7A9-4CEF-AA9C-BC2977F70622}" dt="2024-02-20T12:53:00.376" v="18191" actId="34136"/>
          <ac:grpSpMkLst>
            <pc:docMk/>
            <pc:sldMk cId="881438303" sldId="2147483549"/>
            <ac:grpSpMk id="13" creationId="{B81C3BF5-ADDA-FD12-3B4A-1156A6B8A7AA}"/>
          </ac:grpSpMkLst>
        </pc:grpChg>
        <pc:grpChg chg="mod">
          <ac:chgData name="Abdi, Adnan" userId="503e002c-9b3b-4180-87fb-acabeb2b158a" providerId="ADAL" clId="{5C2CD6D4-C7A9-4CEF-AA9C-BC2977F70622}" dt="2024-02-20T12:53:00.379" v="18192" actId="34136"/>
          <ac:grpSpMkLst>
            <pc:docMk/>
            <pc:sldMk cId="881438303" sldId="2147483549"/>
            <ac:grpSpMk id="16" creationId="{54A6FAC6-955D-0118-3000-210C8AA43188}"/>
          </ac:grpSpMkLst>
        </pc:grpChg>
        <pc:graphicFrameChg chg="mod">
          <ac:chgData name="Abdi, Adnan" userId="503e002c-9b3b-4180-87fb-acabeb2b158a" providerId="ADAL" clId="{5C2CD6D4-C7A9-4CEF-AA9C-BC2977F70622}" dt="2024-02-20T12:53:06.597" v="21053" actId="1076"/>
          <ac:graphicFrameMkLst>
            <pc:docMk/>
            <pc:sldMk cId="881438303" sldId="2147483549"/>
            <ac:graphicFrameMk id="26" creationId="{B1CC61E5-0241-A6BD-3ECF-06AC9F2AFA09}"/>
          </ac:graphicFrameMkLst>
        </pc:graphicFrameChg>
      </pc:sldChg>
      <pc:sldChg chg="addSp">
        <pc:chgData name="Abdi, Adnan" userId="503e002c-9b3b-4180-87fb-acabeb2b158a" providerId="ADAL" clId="{5C2CD6D4-C7A9-4CEF-AA9C-BC2977F70622}" dt="2024-02-23T15:32:09.917" v="71465"/>
        <pc:sldMkLst>
          <pc:docMk/>
          <pc:sldMk cId="269182462" sldId="2147483550"/>
        </pc:sldMkLst>
        <pc:spChg chg="add">
          <ac:chgData name="Abdi, Adnan" userId="503e002c-9b3b-4180-87fb-acabeb2b158a" providerId="ADAL" clId="{5C2CD6D4-C7A9-4CEF-AA9C-BC2977F70622}" dt="2024-02-23T15:32:09.917" v="71465"/>
          <ac:spMkLst>
            <pc:docMk/>
            <pc:sldMk cId="269182462" sldId="2147483550"/>
            <ac:spMk id="243" creationId="{E8158CC9-BB1A-63D6-8F8C-B2878500C646}"/>
          </ac:spMkLst>
        </pc:spChg>
      </pc:sldChg>
      <pc:sldChg chg="addSp delSp modSp add del mod ord modNotes">
        <pc:chgData name="Abdi, Adnan" userId="503e002c-9b3b-4180-87fb-acabeb2b158a" providerId="ADAL" clId="{5C2CD6D4-C7A9-4CEF-AA9C-BC2977F70622}" dt="2024-02-20T12:53:06.438" v="21019"/>
        <pc:sldMkLst>
          <pc:docMk/>
          <pc:sldMk cId="455635473" sldId="2147483550"/>
        </pc:sldMkLst>
        <pc:spChg chg="mod">
          <ac:chgData name="Abdi, Adnan" userId="503e002c-9b3b-4180-87fb-acabeb2b158a" providerId="ADAL" clId="{5C2CD6D4-C7A9-4CEF-AA9C-BC2977F70622}" dt="2024-02-20T12:52:59.674" v="17747" actId="947"/>
          <ac:spMkLst>
            <pc:docMk/>
            <pc:sldMk cId="455635473" sldId="2147483550"/>
            <ac:spMk id="2" creationId="{551A0760-76B6-B0DA-473F-4F9BCE390A30}"/>
          </ac:spMkLst>
        </pc:spChg>
        <pc:spChg chg="mod">
          <ac:chgData name="Abdi, Adnan" userId="503e002c-9b3b-4180-87fb-acabeb2b158a" providerId="ADAL" clId="{5C2CD6D4-C7A9-4CEF-AA9C-BC2977F70622}" dt="2024-02-20T12:52:59.675" v="17749" actId="947"/>
          <ac:spMkLst>
            <pc:docMk/>
            <pc:sldMk cId="455635473" sldId="2147483550"/>
            <ac:spMk id="3" creationId="{18FF0807-DAF8-B85E-04CD-C4F80F1262E3}"/>
          </ac:spMkLst>
        </pc:spChg>
        <pc:spChg chg="add del mod">
          <ac:chgData name="Abdi, Adnan" userId="503e002c-9b3b-4180-87fb-acabeb2b158a" providerId="ADAL" clId="{5C2CD6D4-C7A9-4CEF-AA9C-BC2977F70622}" dt="2024-02-19T15:40:11.154" v="5497" actId="478"/>
          <ac:spMkLst>
            <pc:docMk/>
            <pc:sldMk cId="455635473" sldId="2147483550"/>
            <ac:spMk id="5" creationId="{36966283-B9A7-6E0C-8C3B-723B898593FA}"/>
          </ac:spMkLst>
        </pc:spChg>
        <pc:spChg chg="add del mod">
          <ac:chgData name="Abdi, Adnan" userId="503e002c-9b3b-4180-87fb-acabeb2b158a" providerId="ADAL" clId="{5C2CD6D4-C7A9-4CEF-AA9C-BC2977F70622}" dt="2024-02-19T11:01:38.280" v="840" actId="478"/>
          <ac:spMkLst>
            <pc:docMk/>
            <pc:sldMk cId="455635473" sldId="2147483550"/>
            <ac:spMk id="5" creationId="{51253525-972F-E3D2-24E9-4A8553BF2E9D}"/>
          </ac:spMkLst>
        </pc:spChg>
        <pc:spChg chg="add del mod">
          <ac:chgData name="Abdi, Adnan" userId="503e002c-9b3b-4180-87fb-acabeb2b158a" providerId="ADAL" clId="{5C2CD6D4-C7A9-4CEF-AA9C-BC2977F70622}" dt="2024-02-19T15:40:11.154" v="5497" actId="478"/>
          <ac:spMkLst>
            <pc:docMk/>
            <pc:sldMk cId="455635473" sldId="2147483550"/>
            <ac:spMk id="6" creationId="{37829CCD-AA71-D2CE-9D4F-91342D7E8481}"/>
          </ac:spMkLst>
        </pc:spChg>
        <pc:spChg chg="add del mod">
          <ac:chgData name="Abdi, Adnan" userId="503e002c-9b3b-4180-87fb-acabeb2b158a" providerId="ADAL" clId="{5C2CD6D4-C7A9-4CEF-AA9C-BC2977F70622}" dt="2024-02-19T15:40:11.154" v="5497" actId="478"/>
          <ac:spMkLst>
            <pc:docMk/>
            <pc:sldMk cId="455635473" sldId="2147483550"/>
            <ac:spMk id="7" creationId="{47D12EBB-F9E9-BCF3-1BA0-8839CDCE3A53}"/>
          </ac:spMkLst>
        </pc:spChg>
        <pc:spChg chg="add del mod">
          <ac:chgData name="Abdi, Adnan" userId="503e002c-9b3b-4180-87fb-acabeb2b158a" providerId="ADAL" clId="{5C2CD6D4-C7A9-4CEF-AA9C-BC2977F70622}" dt="2024-02-19T15:40:11.154" v="5497" actId="478"/>
          <ac:spMkLst>
            <pc:docMk/>
            <pc:sldMk cId="455635473" sldId="2147483550"/>
            <ac:spMk id="8" creationId="{8DD01CA3-D00C-FEA5-B982-44C55FFF7820}"/>
          </ac:spMkLst>
        </pc:spChg>
        <pc:spChg chg="add del mod">
          <ac:chgData name="Abdi, Adnan" userId="503e002c-9b3b-4180-87fb-acabeb2b158a" providerId="ADAL" clId="{5C2CD6D4-C7A9-4CEF-AA9C-BC2977F70622}" dt="2024-02-19T15:40:11.154" v="5497" actId="478"/>
          <ac:spMkLst>
            <pc:docMk/>
            <pc:sldMk cId="455635473" sldId="2147483550"/>
            <ac:spMk id="9" creationId="{8B67F808-5B89-22F5-BE07-CB29F5D96674}"/>
          </ac:spMkLst>
        </pc:spChg>
        <pc:spChg chg="add del mod">
          <ac:chgData name="Abdi, Adnan" userId="503e002c-9b3b-4180-87fb-acabeb2b158a" providerId="ADAL" clId="{5C2CD6D4-C7A9-4CEF-AA9C-BC2977F70622}" dt="2024-02-19T15:40:11.154" v="5497" actId="478"/>
          <ac:spMkLst>
            <pc:docMk/>
            <pc:sldMk cId="455635473" sldId="2147483550"/>
            <ac:spMk id="10" creationId="{ACCD5802-D76E-38B4-7B18-5331385320E9}"/>
          </ac:spMkLst>
        </pc:spChg>
        <pc:spChg chg="add del mod">
          <ac:chgData name="Abdi, Adnan" userId="503e002c-9b3b-4180-87fb-acabeb2b158a" providerId="ADAL" clId="{5C2CD6D4-C7A9-4CEF-AA9C-BC2977F70622}" dt="2024-02-19T15:40:11.154" v="5497" actId="478"/>
          <ac:spMkLst>
            <pc:docMk/>
            <pc:sldMk cId="455635473" sldId="2147483550"/>
            <ac:spMk id="11" creationId="{65063A9A-B286-DA97-6FD3-F7FBF49C270B}"/>
          </ac:spMkLst>
        </pc:spChg>
        <pc:spChg chg="add del mod">
          <ac:chgData name="Abdi, Adnan" userId="503e002c-9b3b-4180-87fb-acabeb2b158a" providerId="ADAL" clId="{5C2CD6D4-C7A9-4CEF-AA9C-BC2977F70622}" dt="2024-02-19T15:40:11.154" v="5497" actId="478"/>
          <ac:spMkLst>
            <pc:docMk/>
            <pc:sldMk cId="455635473" sldId="2147483550"/>
            <ac:spMk id="12" creationId="{D592775D-1FE1-CBFD-7537-7CB082EA2809}"/>
          </ac:spMkLst>
        </pc:spChg>
        <pc:spChg chg="add del mod">
          <ac:chgData name="Abdi, Adnan" userId="503e002c-9b3b-4180-87fb-acabeb2b158a" providerId="ADAL" clId="{5C2CD6D4-C7A9-4CEF-AA9C-BC2977F70622}" dt="2024-02-19T15:40:11.154" v="5497" actId="478"/>
          <ac:spMkLst>
            <pc:docMk/>
            <pc:sldMk cId="455635473" sldId="2147483550"/>
            <ac:spMk id="13" creationId="{72C05A62-B5BA-9B8A-58CB-CE5A2F5AE15E}"/>
          </ac:spMkLst>
        </pc:spChg>
        <pc:spChg chg="add del mod">
          <ac:chgData name="Abdi, Adnan" userId="503e002c-9b3b-4180-87fb-acabeb2b158a" providerId="ADAL" clId="{5C2CD6D4-C7A9-4CEF-AA9C-BC2977F70622}" dt="2024-02-19T15:40:11.154" v="5497" actId="478"/>
          <ac:spMkLst>
            <pc:docMk/>
            <pc:sldMk cId="455635473" sldId="2147483550"/>
            <ac:spMk id="14" creationId="{07496814-4946-CF78-0169-18F7FBC7334F}"/>
          </ac:spMkLst>
        </pc:spChg>
        <pc:spChg chg="mod">
          <ac:chgData name="Abdi, Adnan" userId="503e002c-9b3b-4180-87fb-acabeb2b158a" providerId="ADAL" clId="{5C2CD6D4-C7A9-4CEF-AA9C-BC2977F70622}" dt="2024-02-20T12:52:59.730" v="17813" actId="947"/>
          <ac:spMkLst>
            <pc:docMk/>
            <pc:sldMk cId="455635473" sldId="2147483550"/>
            <ac:spMk id="150" creationId="{130DCC69-4B5A-1575-5822-68BA65BA545E}"/>
          </ac:spMkLst>
        </pc:spChg>
        <pc:spChg chg="mod">
          <ac:chgData name="Abdi, Adnan" userId="503e002c-9b3b-4180-87fb-acabeb2b158a" providerId="ADAL" clId="{5C2CD6D4-C7A9-4CEF-AA9C-BC2977F70622}" dt="2024-02-20T12:52:59.714" v="17811" actId="947"/>
          <ac:spMkLst>
            <pc:docMk/>
            <pc:sldMk cId="455635473" sldId="2147483550"/>
            <ac:spMk id="151" creationId="{6D3545EF-CF80-9A1E-9645-749A07159827}"/>
          </ac:spMkLst>
        </pc:spChg>
        <pc:spChg chg="mod">
          <ac:chgData name="Abdi, Adnan" userId="503e002c-9b3b-4180-87fb-acabeb2b158a" providerId="ADAL" clId="{5C2CD6D4-C7A9-4CEF-AA9C-BC2977F70622}" dt="2024-02-20T12:52:59.714" v="17809" actId="947"/>
          <ac:spMkLst>
            <pc:docMk/>
            <pc:sldMk cId="455635473" sldId="2147483550"/>
            <ac:spMk id="152" creationId="{86EE7EFF-188F-C90D-7328-356F6DA904F5}"/>
          </ac:spMkLst>
        </pc:spChg>
        <pc:spChg chg="mod">
          <ac:chgData name="Abdi, Adnan" userId="503e002c-9b3b-4180-87fb-acabeb2b158a" providerId="ADAL" clId="{5C2CD6D4-C7A9-4CEF-AA9C-BC2977F70622}" dt="2024-02-20T12:52:59.714" v="17807" actId="947"/>
          <ac:spMkLst>
            <pc:docMk/>
            <pc:sldMk cId="455635473" sldId="2147483550"/>
            <ac:spMk id="153" creationId="{0A174314-4A05-29CD-AFD3-28846A28FD7D}"/>
          </ac:spMkLst>
        </pc:spChg>
        <pc:spChg chg="mod">
          <ac:chgData name="Abdi, Adnan" userId="503e002c-9b3b-4180-87fb-acabeb2b158a" providerId="ADAL" clId="{5C2CD6D4-C7A9-4CEF-AA9C-BC2977F70622}" dt="2024-02-20T12:52:59.714" v="17805" actId="947"/>
          <ac:spMkLst>
            <pc:docMk/>
            <pc:sldMk cId="455635473" sldId="2147483550"/>
            <ac:spMk id="154" creationId="{BAE4C34D-D6F7-7BFA-153B-F4EF9700C09F}"/>
          </ac:spMkLst>
        </pc:spChg>
        <pc:spChg chg="mod">
          <ac:chgData name="Abdi, Adnan" userId="503e002c-9b3b-4180-87fb-acabeb2b158a" providerId="ADAL" clId="{5C2CD6D4-C7A9-4CEF-AA9C-BC2977F70622}" dt="2024-02-20T12:52:59.698" v="17795" actId="947"/>
          <ac:spMkLst>
            <pc:docMk/>
            <pc:sldMk cId="455635473" sldId="2147483550"/>
            <ac:spMk id="157" creationId="{ECBCA1C5-AE9D-B684-25D0-4762D92E71AE}"/>
          </ac:spMkLst>
        </pc:spChg>
        <pc:spChg chg="mod">
          <ac:chgData name="Abdi, Adnan" userId="503e002c-9b3b-4180-87fb-acabeb2b158a" providerId="ADAL" clId="{5C2CD6D4-C7A9-4CEF-AA9C-BC2977F70622}" dt="2024-02-20T12:52:59.698" v="17793" actId="947"/>
          <ac:spMkLst>
            <pc:docMk/>
            <pc:sldMk cId="455635473" sldId="2147483550"/>
            <ac:spMk id="158" creationId="{0A4F8B90-B1A1-DD7C-3193-B3FC9DDA7350}"/>
          </ac:spMkLst>
        </pc:spChg>
        <pc:spChg chg="mod">
          <ac:chgData name="Abdi, Adnan" userId="503e002c-9b3b-4180-87fb-acabeb2b158a" providerId="ADAL" clId="{5C2CD6D4-C7A9-4CEF-AA9C-BC2977F70622}" dt="2024-02-20T12:52:59.698" v="17791" actId="947"/>
          <ac:spMkLst>
            <pc:docMk/>
            <pc:sldMk cId="455635473" sldId="2147483550"/>
            <ac:spMk id="159" creationId="{A06A9B47-AD2A-DFCF-A628-7F4169BC07BE}"/>
          </ac:spMkLst>
        </pc:spChg>
        <pc:spChg chg="mod">
          <ac:chgData name="Abdi, Adnan" userId="503e002c-9b3b-4180-87fb-acabeb2b158a" providerId="ADAL" clId="{5C2CD6D4-C7A9-4CEF-AA9C-BC2977F70622}" dt="2024-02-20T12:52:59.698" v="17789" actId="947"/>
          <ac:spMkLst>
            <pc:docMk/>
            <pc:sldMk cId="455635473" sldId="2147483550"/>
            <ac:spMk id="160" creationId="{92B93959-7006-5D92-100F-E6D6B58D128E}"/>
          </ac:spMkLst>
        </pc:spChg>
        <pc:spChg chg="mod">
          <ac:chgData name="Abdi, Adnan" userId="503e002c-9b3b-4180-87fb-acabeb2b158a" providerId="ADAL" clId="{5C2CD6D4-C7A9-4CEF-AA9C-BC2977F70622}" dt="2024-02-20T12:52:59.681" v="17755" actId="947"/>
          <ac:spMkLst>
            <pc:docMk/>
            <pc:sldMk cId="455635473" sldId="2147483550"/>
            <ac:spMk id="165" creationId="{44D71904-6F1A-6137-B833-0372AB266D0F}"/>
          </ac:spMkLst>
        </pc:spChg>
        <pc:spChg chg="mod">
          <ac:chgData name="Abdi, Adnan" userId="503e002c-9b3b-4180-87fb-acabeb2b158a" providerId="ADAL" clId="{5C2CD6D4-C7A9-4CEF-AA9C-BC2977F70622}" dt="2024-02-20T12:52:59.679" v="17753" actId="947"/>
          <ac:spMkLst>
            <pc:docMk/>
            <pc:sldMk cId="455635473" sldId="2147483550"/>
            <ac:spMk id="166" creationId="{15FD31FD-1494-C48A-0305-59F03B819898}"/>
          </ac:spMkLst>
        </pc:spChg>
        <pc:spChg chg="mod">
          <ac:chgData name="Abdi, Adnan" userId="503e002c-9b3b-4180-87fb-acabeb2b158a" providerId="ADAL" clId="{5C2CD6D4-C7A9-4CEF-AA9C-BC2977F70622}" dt="2024-02-20T12:52:59.677" v="17751" actId="947"/>
          <ac:spMkLst>
            <pc:docMk/>
            <pc:sldMk cId="455635473" sldId="2147483550"/>
            <ac:spMk id="167" creationId="{7DC01E97-1D4B-36F1-4D1A-D13F6B3BB318}"/>
          </ac:spMkLst>
        </pc:spChg>
        <pc:spChg chg="mod">
          <ac:chgData name="Abdi, Adnan" userId="503e002c-9b3b-4180-87fb-acabeb2b158a" providerId="ADAL" clId="{5C2CD6D4-C7A9-4CEF-AA9C-BC2977F70622}" dt="2024-02-20T12:52:59.688" v="17763" actId="947"/>
          <ac:spMkLst>
            <pc:docMk/>
            <pc:sldMk cId="455635473" sldId="2147483550"/>
            <ac:spMk id="168" creationId="{4E1272DB-CD5C-72A9-7E49-92CF01F47019}"/>
          </ac:spMkLst>
        </pc:spChg>
        <pc:spChg chg="mod">
          <ac:chgData name="Abdi, Adnan" userId="503e002c-9b3b-4180-87fb-acabeb2b158a" providerId="ADAL" clId="{5C2CD6D4-C7A9-4CEF-AA9C-BC2977F70622}" dt="2024-02-20T12:52:59.686" v="17761" actId="947"/>
          <ac:spMkLst>
            <pc:docMk/>
            <pc:sldMk cId="455635473" sldId="2147483550"/>
            <ac:spMk id="169" creationId="{5546D730-C112-929B-15D1-4FCB4C7ABA70}"/>
          </ac:spMkLst>
        </pc:spChg>
        <pc:spChg chg="mod">
          <ac:chgData name="Abdi, Adnan" userId="503e002c-9b3b-4180-87fb-acabeb2b158a" providerId="ADAL" clId="{5C2CD6D4-C7A9-4CEF-AA9C-BC2977F70622}" dt="2024-02-20T12:52:59.684" v="17759" actId="947"/>
          <ac:spMkLst>
            <pc:docMk/>
            <pc:sldMk cId="455635473" sldId="2147483550"/>
            <ac:spMk id="172" creationId="{0A560ED2-2C81-4B8C-E749-5E642C831A40}"/>
          </ac:spMkLst>
        </pc:spChg>
        <pc:spChg chg="mod">
          <ac:chgData name="Abdi, Adnan" userId="503e002c-9b3b-4180-87fb-acabeb2b158a" providerId="ADAL" clId="{5C2CD6D4-C7A9-4CEF-AA9C-BC2977F70622}" dt="2024-02-20T12:52:59.682" v="17757" actId="947"/>
          <ac:spMkLst>
            <pc:docMk/>
            <pc:sldMk cId="455635473" sldId="2147483550"/>
            <ac:spMk id="173" creationId="{C538D790-B960-158F-0464-4F5CFF6A1621}"/>
          </ac:spMkLst>
        </pc:spChg>
        <pc:spChg chg="mod">
          <ac:chgData name="Abdi, Adnan" userId="503e002c-9b3b-4180-87fb-acabeb2b158a" providerId="ADAL" clId="{5C2CD6D4-C7A9-4CEF-AA9C-BC2977F70622}" dt="2024-02-20T12:52:59.694" v="17771" actId="947"/>
          <ac:spMkLst>
            <pc:docMk/>
            <pc:sldMk cId="455635473" sldId="2147483550"/>
            <ac:spMk id="175" creationId="{0AD1785B-C21A-861F-D247-80DF3242AFE2}"/>
          </ac:spMkLst>
        </pc:spChg>
        <pc:spChg chg="mod">
          <ac:chgData name="Abdi, Adnan" userId="503e002c-9b3b-4180-87fb-acabeb2b158a" providerId="ADAL" clId="{5C2CD6D4-C7A9-4CEF-AA9C-BC2977F70622}" dt="2024-02-20T12:52:59.692" v="17769" actId="947"/>
          <ac:spMkLst>
            <pc:docMk/>
            <pc:sldMk cId="455635473" sldId="2147483550"/>
            <ac:spMk id="176" creationId="{EF47AFF4-2809-0813-CB34-28C6A8332C83}"/>
          </ac:spMkLst>
        </pc:spChg>
        <pc:spChg chg="mod">
          <ac:chgData name="Abdi, Adnan" userId="503e002c-9b3b-4180-87fb-acabeb2b158a" providerId="ADAL" clId="{5C2CD6D4-C7A9-4CEF-AA9C-BC2977F70622}" dt="2024-02-20T12:52:59.691" v="17767" actId="947"/>
          <ac:spMkLst>
            <pc:docMk/>
            <pc:sldMk cId="455635473" sldId="2147483550"/>
            <ac:spMk id="179" creationId="{C1DBF72D-46DE-D695-99EA-42EF73E659D8}"/>
          </ac:spMkLst>
        </pc:spChg>
        <pc:spChg chg="mod">
          <ac:chgData name="Abdi, Adnan" userId="503e002c-9b3b-4180-87fb-acabeb2b158a" providerId="ADAL" clId="{5C2CD6D4-C7A9-4CEF-AA9C-BC2977F70622}" dt="2024-02-20T12:52:59.689" v="17765" actId="947"/>
          <ac:spMkLst>
            <pc:docMk/>
            <pc:sldMk cId="455635473" sldId="2147483550"/>
            <ac:spMk id="180" creationId="{443B7DD1-9087-B465-58F1-14BF9DB40409}"/>
          </ac:spMkLst>
        </pc:spChg>
        <pc:spChg chg="mod">
          <ac:chgData name="Abdi, Adnan" userId="503e002c-9b3b-4180-87fb-acabeb2b158a" providerId="ADAL" clId="{5C2CD6D4-C7A9-4CEF-AA9C-BC2977F70622}" dt="2024-02-20T12:52:59.698" v="17779" actId="947"/>
          <ac:spMkLst>
            <pc:docMk/>
            <pc:sldMk cId="455635473" sldId="2147483550"/>
            <ac:spMk id="182" creationId="{83E2D172-B15A-D6A5-D913-29F4B52D1146}"/>
          </ac:spMkLst>
        </pc:spChg>
        <pc:spChg chg="mod">
          <ac:chgData name="Abdi, Adnan" userId="503e002c-9b3b-4180-87fb-acabeb2b158a" providerId="ADAL" clId="{5C2CD6D4-C7A9-4CEF-AA9C-BC2977F70622}" dt="2024-02-20T12:52:59.698" v="17777" actId="947"/>
          <ac:spMkLst>
            <pc:docMk/>
            <pc:sldMk cId="455635473" sldId="2147483550"/>
            <ac:spMk id="183" creationId="{5340A596-A46A-F61D-EE24-66BF7C3DB422}"/>
          </ac:spMkLst>
        </pc:spChg>
        <pc:spChg chg="mod">
          <ac:chgData name="Abdi, Adnan" userId="503e002c-9b3b-4180-87fb-acabeb2b158a" providerId="ADAL" clId="{5C2CD6D4-C7A9-4CEF-AA9C-BC2977F70622}" dt="2024-02-20T12:52:59.697" v="17775" actId="947"/>
          <ac:spMkLst>
            <pc:docMk/>
            <pc:sldMk cId="455635473" sldId="2147483550"/>
            <ac:spMk id="186" creationId="{1B25680F-F9B9-C2DD-CE6E-6BD0C3FA1686}"/>
          </ac:spMkLst>
        </pc:spChg>
        <pc:spChg chg="mod">
          <ac:chgData name="Abdi, Adnan" userId="503e002c-9b3b-4180-87fb-acabeb2b158a" providerId="ADAL" clId="{5C2CD6D4-C7A9-4CEF-AA9C-BC2977F70622}" dt="2024-02-20T12:52:59.696" v="17773" actId="947"/>
          <ac:spMkLst>
            <pc:docMk/>
            <pc:sldMk cId="455635473" sldId="2147483550"/>
            <ac:spMk id="187" creationId="{4F0F6C36-4334-0988-17CE-4EB70E5AB079}"/>
          </ac:spMkLst>
        </pc:spChg>
        <pc:spChg chg="mod">
          <ac:chgData name="Abdi, Adnan" userId="503e002c-9b3b-4180-87fb-acabeb2b158a" providerId="ADAL" clId="{5C2CD6D4-C7A9-4CEF-AA9C-BC2977F70622}" dt="2024-02-20T12:52:59.698" v="17787" actId="947"/>
          <ac:spMkLst>
            <pc:docMk/>
            <pc:sldMk cId="455635473" sldId="2147483550"/>
            <ac:spMk id="189" creationId="{FF24D22D-067F-2F8E-C30B-DC8F280BD2B3}"/>
          </ac:spMkLst>
        </pc:spChg>
        <pc:spChg chg="mod">
          <ac:chgData name="Abdi, Adnan" userId="503e002c-9b3b-4180-87fb-acabeb2b158a" providerId="ADAL" clId="{5C2CD6D4-C7A9-4CEF-AA9C-BC2977F70622}" dt="2024-02-20T12:52:59.698" v="17785" actId="947"/>
          <ac:spMkLst>
            <pc:docMk/>
            <pc:sldMk cId="455635473" sldId="2147483550"/>
            <ac:spMk id="190" creationId="{FE6CC261-51A2-639E-0868-67E327B892D7}"/>
          </ac:spMkLst>
        </pc:spChg>
        <pc:spChg chg="mod">
          <ac:chgData name="Abdi, Adnan" userId="503e002c-9b3b-4180-87fb-acabeb2b158a" providerId="ADAL" clId="{5C2CD6D4-C7A9-4CEF-AA9C-BC2977F70622}" dt="2024-02-20T12:52:59.698" v="17783" actId="947"/>
          <ac:spMkLst>
            <pc:docMk/>
            <pc:sldMk cId="455635473" sldId="2147483550"/>
            <ac:spMk id="193" creationId="{1F27A8E0-1861-47FB-43E6-8B3F2647E9A1}"/>
          </ac:spMkLst>
        </pc:spChg>
        <pc:spChg chg="mod">
          <ac:chgData name="Abdi, Adnan" userId="503e002c-9b3b-4180-87fb-acabeb2b158a" providerId="ADAL" clId="{5C2CD6D4-C7A9-4CEF-AA9C-BC2977F70622}" dt="2024-02-20T12:52:59.698" v="17781" actId="947"/>
          <ac:spMkLst>
            <pc:docMk/>
            <pc:sldMk cId="455635473" sldId="2147483550"/>
            <ac:spMk id="194" creationId="{98866337-7545-8C67-C61C-C8BEE51AC168}"/>
          </ac:spMkLst>
        </pc:spChg>
        <pc:spChg chg="mod">
          <ac:chgData name="Abdi, Adnan" userId="503e002c-9b3b-4180-87fb-acabeb2b158a" providerId="ADAL" clId="{5C2CD6D4-C7A9-4CEF-AA9C-BC2977F70622}" dt="2024-02-20T12:52:59.714" v="17799" actId="947"/>
          <ac:spMkLst>
            <pc:docMk/>
            <pc:sldMk cId="455635473" sldId="2147483550"/>
            <ac:spMk id="196" creationId="{0FB723F4-C876-567A-0992-29F7132388D9}"/>
          </ac:spMkLst>
        </pc:spChg>
        <pc:spChg chg="mod">
          <ac:chgData name="Abdi, Adnan" userId="503e002c-9b3b-4180-87fb-acabeb2b158a" providerId="ADAL" clId="{5C2CD6D4-C7A9-4CEF-AA9C-BC2977F70622}" dt="2024-02-20T12:52:59.714" v="17797" actId="947"/>
          <ac:spMkLst>
            <pc:docMk/>
            <pc:sldMk cId="455635473" sldId="2147483550"/>
            <ac:spMk id="197" creationId="{1A21BAD1-77E5-B0E5-3FAF-533E4694E6BD}"/>
          </ac:spMkLst>
        </pc:spChg>
        <pc:spChg chg="mod">
          <ac:chgData name="Abdi, Adnan" userId="503e002c-9b3b-4180-87fb-acabeb2b158a" providerId="ADAL" clId="{5C2CD6D4-C7A9-4CEF-AA9C-BC2977F70622}" dt="2024-02-20T12:52:59.714" v="17803" actId="947"/>
          <ac:spMkLst>
            <pc:docMk/>
            <pc:sldMk cId="455635473" sldId="2147483550"/>
            <ac:spMk id="198" creationId="{74966A92-9109-D55D-1EBF-BC729B500474}"/>
          </ac:spMkLst>
        </pc:spChg>
        <pc:spChg chg="mod">
          <ac:chgData name="Abdi, Adnan" userId="503e002c-9b3b-4180-87fb-acabeb2b158a" providerId="ADAL" clId="{5C2CD6D4-C7A9-4CEF-AA9C-BC2977F70622}" dt="2024-02-20T12:52:59.714" v="17801" actId="947"/>
          <ac:spMkLst>
            <pc:docMk/>
            <pc:sldMk cId="455635473" sldId="2147483550"/>
            <ac:spMk id="199" creationId="{95ECA9EC-F881-7A8D-2421-39CFCA0DA929}"/>
          </ac:spMkLst>
        </pc:spChg>
        <pc:spChg chg="mod">
          <ac:chgData name="Abdi, Adnan" userId="503e002c-9b3b-4180-87fb-acabeb2b158a" providerId="ADAL" clId="{5C2CD6D4-C7A9-4CEF-AA9C-BC2977F70622}" dt="2024-02-20T12:52:59.730" v="17821" actId="947"/>
          <ac:spMkLst>
            <pc:docMk/>
            <pc:sldMk cId="455635473" sldId="2147483550"/>
            <ac:spMk id="200" creationId="{E0F431D6-B44E-5D99-77F7-ADE32AD6FF93}"/>
          </ac:spMkLst>
        </pc:spChg>
        <pc:spChg chg="mod">
          <ac:chgData name="Abdi, Adnan" userId="503e002c-9b3b-4180-87fb-acabeb2b158a" providerId="ADAL" clId="{5C2CD6D4-C7A9-4CEF-AA9C-BC2977F70622}" dt="2024-02-20T12:52:59.730" v="17819" actId="947"/>
          <ac:spMkLst>
            <pc:docMk/>
            <pc:sldMk cId="455635473" sldId="2147483550"/>
            <ac:spMk id="201" creationId="{5F15BAB3-E49E-8B25-FE58-58E8267433B1}"/>
          </ac:spMkLst>
        </pc:spChg>
        <pc:spChg chg="mod">
          <ac:chgData name="Abdi, Adnan" userId="503e002c-9b3b-4180-87fb-acabeb2b158a" providerId="ADAL" clId="{5C2CD6D4-C7A9-4CEF-AA9C-BC2977F70622}" dt="2024-02-20T12:52:59.730" v="17817" actId="947"/>
          <ac:spMkLst>
            <pc:docMk/>
            <pc:sldMk cId="455635473" sldId="2147483550"/>
            <ac:spMk id="203" creationId="{CD6C2FFE-02B9-AB12-E0DE-884956E227F8}"/>
          </ac:spMkLst>
        </pc:spChg>
        <pc:spChg chg="mod">
          <ac:chgData name="Abdi, Adnan" userId="503e002c-9b3b-4180-87fb-acabeb2b158a" providerId="ADAL" clId="{5C2CD6D4-C7A9-4CEF-AA9C-BC2977F70622}" dt="2024-02-20T12:52:59.730" v="17815" actId="947"/>
          <ac:spMkLst>
            <pc:docMk/>
            <pc:sldMk cId="455635473" sldId="2147483550"/>
            <ac:spMk id="204" creationId="{577DCD39-17A3-A8F3-9991-D88639FBB887}"/>
          </ac:spMkLst>
        </pc:spChg>
        <pc:spChg chg="mod">
          <ac:chgData name="Abdi, Adnan" userId="503e002c-9b3b-4180-87fb-acabeb2b158a" providerId="ADAL" clId="{5C2CD6D4-C7A9-4CEF-AA9C-BC2977F70622}" dt="2024-02-20T12:52:59.730" v="17829" actId="947"/>
          <ac:spMkLst>
            <pc:docMk/>
            <pc:sldMk cId="455635473" sldId="2147483550"/>
            <ac:spMk id="205" creationId="{EE426DB6-7F73-6F10-9D93-C721554C201A}"/>
          </ac:spMkLst>
        </pc:spChg>
        <pc:spChg chg="mod">
          <ac:chgData name="Abdi, Adnan" userId="503e002c-9b3b-4180-87fb-acabeb2b158a" providerId="ADAL" clId="{5C2CD6D4-C7A9-4CEF-AA9C-BC2977F70622}" dt="2024-02-20T12:52:59.730" v="17827" actId="947"/>
          <ac:spMkLst>
            <pc:docMk/>
            <pc:sldMk cId="455635473" sldId="2147483550"/>
            <ac:spMk id="206" creationId="{A099B744-8BA2-88BD-FC84-357449E93FBB}"/>
          </ac:spMkLst>
        </pc:spChg>
        <pc:spChg chg="mod">
          <ac:chgData name="Abdi, Adnan" userId="503e002c-9b3b-4180-87fb-acabeb2b158a" providerId="ADAL" clId="{5C2CD6D4-C7A9-4CEF-AA9C-BC2977F70622}" dt="2024-02-20T12:52:59.730" v="17825" actId="947"/>
          <ac:spMkLst>
            <pc:docMk/>
            <pc:sldMk cId="455635473" sldId="2147483550"/>
            <ac:spMk id="209" creationId="{42ABE3CB-D036-D9E7-55F1-2AAAF95EAEDB}"/>
          </ac:spMkLst>
        </pc:spChg>
        <pc:spChg chg="mod">
          <ac:chgData name="Abdi, Adnan" userId="503e002c-9b3b-4180-87fb-acabeb2b158a" providerId="ADAL" clId="{5C2CD6D4-C7A9-4CEF-AA9C-BC2977F70622}" dt="2024-02-20T12:52:59.730" v="17823" actId="947"/>
          <ac:spMkLst>
            <pc:docMk/>
            <pc:sldMk cId="455635473" sldId="2147483550"/>
            <ac:spMk id="210" creationId="{F18308B7-2AB2-CABC-F417-1275801179CB}"/>
          </ac:spMkLst>
        </pc:spChg>
        <pc:spChg chg="mod">
          <ac:chgData name="Abdi, Adnan" userId="503e002c-9b3b-4180-87fb-acabeb2b158a" providerId="ADAL" clId="{5C2CD6D4-C7A9-4CEF-AA9C-BC2977F70622}" dt="2024-02-20T12:52:59.745" v="17831" actId="947"/>
          <ac:spMkLst>
            <pc:docMk/>
            <pc:sldMk cId="455635473" sldId="2147483550"/>
            <ac:spMk id="242" creationId="{F9982B29-7BFF-751A-D163-0C92423DABC1}"/>
          </ac:spMkLst>
        </pc:spChg>
        <pc:spChg chg="mod">
          <ac:chgData name="Abdi, Adnan" userId="503e002c-9b3b-4180-87fb-acabeb2b158a" providerId="ADAL" clId="{5C2CD6D4-C7A9-4CEF-AA9C-BC2977F70622}" dt="2024-02-20T12:52:59.745" v="17833" actId="947"/>
          <ac:spMkLst>
            <pc:docMk/>
            <pc:sldMk cId="455635473" sldId="2147483550"/>
            <ac:spMk id="243" creationId="{E8158CC9-BB1A-63D6-8F8C-B2878500C646}"/>
          </ac:spMkLst>
        </pc:spChg>
        <pc:spChg chg="mod">
          <ac:chgData name="Abdi, Adnan" userId="503e002c-9b3b-4180-87fb-acabeb2b158a" providerId="ADAL" clId="{5C2CD6D4-C7A9-4CEF-AA9C-BC2977F70622}" dt="2024-02-20T12:52:59.745" v="17835" actId="947"/>
          <ac:spMkLst>
            <pc:docMk/>
            <pc:sldMk cId="455635473" sldId="2147483550"/>
            <ac:spMk id="244" creationId="{929FEC08-B969-C79D-32C6-6B1D4BC9CC1B}"/>
          </ac:spMkLst>
        </pc:spChg>
        <pc:spChg chg="mod">
          <ac:chgData name="Abdi, Adnan" userId="503e002c-9b3b-4180-87fb-acabeb2b158a" providerId="ADAL" clId="{5C2CD6D4-C7A9-4CEF-AA9C-BC2977F70622}" dt="2024-02-20T12:52:59.773" v="17855" actId="947"/>
          <ac:spMkLst>
            <pc:docMk/>
            <pc:sldMk cId="455635473" sldId="2147483550"/>
            <ac:spMk id="246" creationId="{0A07D306-CFA5-798E-AB53-3CB3A2FCA226}"/>
          </ac:spMkLst>
        </pc:spChg>
        <pc:spChg chg="mod">
          <ac:chgData name="Abdi, Adnan" userId="503e002c-9b3b-4180-87fb-acabeb2b158a" providerId="ADAL" clId="{5C2CD6D4-C7A9-4CEF-AA9C-BC2977F70622}" dt="2024-02-20T12:52:59.772" v="17853" actId="947"/>
          <ac:spMkLst>
            <pc:docMk/>
            <pc:sldMk cId="455635473" sldId="2147483550"/>
            <ac:spMk id="247" creationId="{7784A767-0B51-C152-979C-F823DC679D35}"/>
          </ac:spMkLst>
        </pc:spChg>
        <pc:spChg chg="mod">
          <ac:chgData name="Abdi, Adnan" userId="503e002c-9b3b-4180-87fb-acabeb2b158a" providerId="ADAL" clId="{5C2CD6D4-C7A9-4CEF-AA9C-BC2977F70622}" dt="2024-02-20T12:52:59.769" v="17851" actId="947"/>
          <ac:spMkLst>
            <pc:docMk/>
            <pc:sldMk cId="455635473" sldId="2147483550"/>
            <ac:spMk id="248" creationId="{E0B19E38-EE9B-A964-9704-DC0F9587A285}"/>
          </ac:spMkLst>
        </pc:spChg>
        <pc:spChg chg="mod">
          <ac:chgData name="Abdi, Adnan" userId="503e002c-9b3b-4180-87fb-acabeb2b158a" providerId="ADAL" clId="{5C2CD6D4-C7A9-4CEF-AA9C-BC2977F70622}" dt="2024-02-20T12:52:59.767" v="17849" actId="947"/>
          <ac:spMkLst>
            <pc:docMk/>
            <pc:sldMk cId="455635473" sldId="2147483550"/>
            <ac:spMk id="249" creationId="{B391CCE5-3EEA-89B1-831D-758A784FD696}"/>
          </ac:spMkLst>
        </pc:spChg>
        <pc:spChg chg="mod">
          <ac:chgData name="Abdi, Adnan" userId="503e002c-9b3b-4180-87fb-acabeb2b158a" providerId="ADAL" clId="{5C2CD6D4-C7A9-4CEF-AA9C-BC2977F70622}" dt="2024-02-20T12:52:59.766" v="17847" actId="947"/>
          <ac:spMkLst>
            <pc:docMk/>
            <pc:sldMk cId="455635473" sldId="2147483550"/>
            <ac:spMk id="250" creationId="{C0497D65-5B3D-D94A-56AD-818D272719B0}"/>
          </ac:spMkLst>
        </pc:spChg>
        <pc:spChg chg="mod">
          <ac:chgData name="Abdi, Adnan" userId="503e002c-9b3b-4180-87fb-acabeb2b158a" providerId="ADAL" clId="{5C2CD6D4-C7A9-4CEF-AA9C-BC2977F70622}" dt="2024-02-20T12:52:59.764" v="17845" actId="947"/>
          <ac:spMkLst>
            <pc:docMk/>
            <pc:sldMk cId="455635473" sldId="2147483550"/>
            <ac:spMk id="251" creationId="{4F78F8AF-A78D-2D86-4C9E-36E1607DC3ED}"/>
          </ac:spMkLst>
        </pc:spChg>
        <pc:spChg chg="mod">
          <ac:chgData name="Abdi, Adnan" userId="503e002c-9b3b-4180-87fb-acabeb2b158a" providerId="ADAL" clId="{5C2CD6D4-C7A9-4CEF-AA9C-BC2977F70622}" dt="2024-02-20T12:52:59.761" v="17843" actId="947"/>
          <ac:spMkLst>
            <pc:docMk/>
            <pc:sldMk cId="455635473" sldId="2147483550"/>
            <ac:spMk id="252" creationId="{5AFDF54C-5D6D-CC47-090D-48292689C42F}"/>
          </ac:spMkLst>
        </pc:spChg>
        <pc:spChg chg="mod">
          <ac:chgData name="Abdi, Adnan" userId="503e002c-9b3b-4180-87fb-acabeb2b158a" providerId="ADAL" clId="{5C2CD6D4-C7A9-4CEF-AA9C-BC2977F70622}" dt="2024-02-20T12:52:59.745" v="17841" actId="947"/>
          <ac:spMkLst>
            <pc:docMk/>
            <pc:sldMk cId="455635473" sldId="2147483550"/>
            <ac:spMk id="253" creationId="{5DDA9409-C18C-7399-6BA2-D83DF05075B2}"/>
          </ac:spMkLst>
        </pc:spChg>
        <pc:spChg chg="mod">
          <ac:chgData name="Abdi, Adnan" userId="503e002c-9b3b-4180-87fb-acabeb2b158a" providerId="ADAL" clId="{5C2CD6D4-C7A9-4CEF-AA9C-BC2977F70622}" dt="2024-02-20T12:52:59.745" v="17839" actId="947"/>
          <ac:spMkLst>
            <pc:docMk/>
            <pc:sldMk cId="455635473" sldId="2147483550"/>
            <ac:spMk id="254" creationId="{912EA443-078D-F525-1135-299B3FB9AD58}"/>
          </ac:spMkLst>
        </pc:spChg>
        <pc:spChg chg="mod">
          <ac:chgData name="Abdi, Adnan" userId="503e002c-9b3b-4180-87fb-acabeb2b158a" providerId="ADAL" clId="{5C2CD6D4-C7A9-4CEF-AA9C-BC2977F70622}" dt="2024-02-20T12:52:59.745" v="17837" actId="947"/>
          <ac:spMkLst>
            <pc:docMk/>
            <pc:sldMk cId="455635473" sldId="2147483550"/>
            <ac:spMk id="255" creationId="{CE944AFE-96D9-230E-3A39-B2D25BAADF27}"/>
          </ac:spMkLst>
        </pc:spChg>
        <pc:spChg chg="mod">
          <ac:chgData name="Abdi, Adnan" userId="503e002c-9b3b-4180-87fb-acabeb2b158a" providerId="ADAL" clId="{5C2CD6D4-C7A9-4CEF-AA9C-BC2977F70622}" dt="2024-02-20T12:52:59.775" v="17857" actId="947"/>
          <ac:spMkLst>
            <pc:docMk/>
            <pc:sldMk cId="455635473" sldId="2147483550"/>
            <ac:spMk id="256" creationId="{12387DAE-532B-000A-47CA-D0773EF1C741}"/>
          </ac:spMkLst>
        </pc:spChg>
        <pc:spChg chg="mod">
          <ac:chgData name="Abdi, Adnan" userId="503e002c-9b3b-4180-87fb-acabeb2b158a" providerId="ADAL" clId="{5C2CD6D4-C7A9-4CEF-AA9C-BC2977F70622}" dt="2024-02-20T09:14:55.367" v="10331" actId="2711"/>
          <ac:spMkLst>
            <pc:docMk/>
            <pc:sldMk cId="455635473" sldId="2147483550"/>
            <ac:spMk id="257" creationId="{C0B3B776-CFC4-7DCD-469A-97437DAC0D88}"/>
          </ac:spMkLst>
        </pc:spChg>
        <pc:spChg chg="mod">
          <ac:chgData name="Abdi, Adnan" userId="503e002c-9b3b-4180-87fb-acabeb2b158a" providerId="ADAL" clId="{5C2CD6D4-C7A9-4CEF-AA9C-BC2977F70622}" dt="2024-02-20T09:14:55.367" v="10331" actId="2711"/>
          <ac:spMkLst>
            <pc:docMk/>
            <pc:sldMk cId="455635473" sldId="2147483550"/>
            <ac:spMk id="258" creationId="{3D0EE2A8-4ECC-116B-ECD7-EBAF7C926BA1}"/>
          </ac:spMkLst>
        </pc:spChg>
        <pc:spChg chg="mod">
          <ac:chgData name="Abdi, Adnan" userId="503e002c-9b3b-4180-87fb-acabeb2b158a" providerId="ADAL" clId="{5C2CD6D4-C7A9-4CEF-AA9C-BC2977F70622}" dt="2024-02-20T09:14:55.367" v="10331" actId="2711"/>
          <ac:spMkLst>
            <pc:docMk/>
            <pc:sldMk cId="455635473" sldId="2147483550"/>
            <ac:spMk id="259" creationId="{9F937A56-0E4F-2626-7D33-011C6AE98ED9}"/>
          </ac:spMkLst>
        </pc:spChg>
        <pc:spChg chg="mod">
          <ac:chgData name="Abdi, Adnan" userId="503e002c-9b3b-4180-87fb-acabeb2b158a" providerId="ADAL" clId="{5C2CD6D4-C7A9-4CEF-AA9C-BC2977F70622}" dt="2024-02-20T09:14:55.367" v="10331" actId="2711"/>
          <ac:spMkLst>
            <pc:docMk/>
            <pc:sldMk cId="455635473" sldId="2147483550"/>
            <ac:spMk id="260" creationId="{9450A999-ACE3-15D5-C4FE-9C88E9D29C2D}"/>
          </ac:spMkLst>
        </pc:spChg>
        <pc:spChg chg="mod">
          <ac:chgData name="Abdi, Adnan" userId="503e002c-9b3b-4180-87fb-acabeb2b158a" providerId="ADAL" clId="{5C2CD6D4-C7A9-4CEF-AA9C-BC2977F70622}" dt="2024-02-20T09:14:55.367" v="10331" actId="2711"/>
          <ac:spMkLst>
            <pc:docMk/>
            <pc:sldMk cId="455635473" sldId="2147483550"/>
            <ac:spMk id="261" creationId="{EA634C07-8487-AEA1-A2D8-7C3470093540}"/>
          </ac:spMkLst>
        </pc:spChg>
        <pc:spChg chg="mod">
          <ac:chgData name="Abdi, Adnan" userId="503e002c-9b3b-4180-87fb-acabeb2b158a" providerId="ADAL" clId="{5C2CD6D4-C7A9-4CEF-AA9C-BC2977F70622}" dt="2024-02-20T09:14:55.367" v="10331" actId="2711"/>
          <ac:spMkLst>
            <pc:docMk/>
            <pc:sldMk cId="455635473" sldId="2147483550"/>
            <ac:spMk id="262" creationId="{82BB3ECD-8EC7-0169-A533-C53E182075EA}"/>
          </ac:spMkLst>
        </pc:spChg>
        <pc:spChg chg="mod">
          <ac:chgData name="Abdi, Adnan" userId="503e002c-9b3b-4180-87fb-acabeb2b158a" providerId="ADAL" clId="{5C2CD6D4-C7A9-4CEF-AA9C-BC2977F70622}" dt="2024-02-20T12:52:59.789" v="17861" actId="947"/>
          <ac:spMkLst>
            <pc:docMk/>
            <pc:sldMk cId="455635473" sldId="2147483550"/>
            <ac:spMk id="270" creationId="{25376584-A0F4-05DC-6EA3-60B4A105A893}"/>
          </ac:spMkLst>
        </pc:spChg>
        <pc:spChg chg="mod">
          <ac:chgData name="Abdi, Adnan" userId="503e002c-9b3b-4180-87fb-acabeb2b158a" providerId="ADAL" clId="{5C2CD6D4-C7A9-4CEF-AA9C-BC2977F70622}" dt="2024-02-20T12:52:59.788" v="17859" actId="947"/>
          <ac:spMkLst>
            <pc:docMk/>
            <pc:sldMk cId="455635473" sldId="2147483550"/>
            <ac:spMk id="271" creationId="{A530E27C-5247-4BAE-CDDC-44DBD77E20DC}"/>
          </ac:spMkLst>
        </pc:spChg>
        <pc:spChg chg="mod">
          <ac:chgData name="Abdi, Adnan" userId="503e002c-9b3b-4180-87fb-acabeb2b158a" providerId="ADAL" clId="{5C2CD6D4-C7A9-4CEF-AA9C-BC2977F70622}" dt="2024-02-20T12:52:59.792" v="17865" actId="947"/>
          <ac:spMkLst>
            <pc:docMk/>
            <pc:sldMk cId="455635473" sldId="2147483550"/>
            <ac:spMk id="273" creationId="{B5F99ECE-AE40-2B0E-55A4-F1D02042BA46}"/>
          </ac:spMkLst>
        </pc:spChg>
        <pc:spChg chg="mod">
          <ac:chgData name="Abdi, Adnan" userId="503e002c-9b3b-4180-87fb-acabeb2b158a" providerId="ADAL" clId="{5C2CD6D4-C7A9-4CEF-AA9C-BC2977F70622}" dt="2024-02-20T12:52:59.791" v="17863" actId="947"/>
          <ac:spMkLst>
            <pc:docMk/>
            <pc:sldMk cId="455635473" sldId="2147483550"/>
            <ac:spMk id="274" creationId="{12867FC0-DCA5-66CD-A6BD-3FB67E86EF1B}"/>
          </ac:spMkLst>
        </pc:spChg>
        <pc:spChg chg="mod">
          <ac:chgData name="Abdi, Adnan" userId="503e002c-9b3b-4180-87fb-acabeb2b158a" providerId="ADAL" clId="{5C2CD6D4-C7A9-4CEF-AA9C-BC2977F70622}" dt="2024-02-20T12:52:59.796" v="17869" actId="947"/>
          <ac:spMkLst>
            <pc:docMk/>
            <pc:sldMk cId="455635473" sldId="2147483550"/>
            <ac:spMk id="276" creationId="{D34FEFD2-E9ED-857A-0A36-9F8A7BC51F17}"/>
          </ac:spMkLst>
        </pc:spChg>
        <pc:spChg chg="mod">
          <ac:chgData name="Abdi, Adnan" userId="503e002c-9b3b-4180-87fb-acabeb2b158a" providerId="ADAL" clId="{5C2CD6D4-C7A9-4CEF-AA9C-BC2977F70622}" dt="2024-02-20T12:52:59.794" v="17867" actId="947"/>
          <ac:spMkLst>
            <pc:docMk/>
            <pc:sldMk cId="455635473" sldId="2147483550"/>
            <ac:spMk id="277" creationId="{BF9843E1-5CF0-2E6C-084C-62F6661373DF}"/>
          </ac:spMkLst>
        </pc:spChg>
        <pc:spChg chg="mod">
          <ac:chgData name="Abdi, Adnan" userId="503e002c-9b3b-4180-87fb-acabeb2b158a" providerId="ADAL" clId="{5C2CD6D4-C7A9-4CEF-AA9C-BC2977F70622}" dt="2024-02-20T12:52:59.798" v="17873" actId="947"/>
          <ac:spMkLst>
            <pc:docMk/>
            <pc:sldMk cId="455635473" sldId="2147483550"/>
            <ac:spMk id="279" creationId="{305D161B-2C32-0088-9C63-F9FBC5B60D98}"/>
          </ac:spMkLst>
        </pc:spChg>
        <pc:spChg chg="mod">
          <ac:chgData name="Abdi, Adnan" userId="503e002c-9b3b-4180-87fb-acabeb2b158a" providerId="ADAL" clId="{5C2CD6D4-C7A9-4CEF-AA9C-BC2977F70622}" dt="2024-02-20T12:52:59.797" v="17871" actId="947"/>
          <ac:spMkLst>
            <pc:docMk/>
            <pc:sldMk cId="455635473" sldId="2147483550"/>
            <ac:spMk id="280" creationId="{32FB3D03-903B-BA45-44ED-68CB2E96AC19}"/>
          </ac:spMkLst>
        </pc:spChg>
        <pc:spChg chg="mod">
          <ac:chgData name="Abdi, Adnan" userId="503e002c-9b3b-4180-87fb-acabeb2b158a" providerId="ADAL" clId="{5C2CD6D4-C7A9-4CEF-AA9C-BC2977F70622}" dt="2024-02-20T12:52:59.798" v="17877" actId="947"/>
          <ac:spMkLst>
            <pc:docMk/>
            <pc:sldMk cId="455635473" sldId="2147483550"/>
            <ac:spMk id="282" creationId="{E0C04CB1-BF02-0A82-9A55-B34731917A60}"/>
          </ac:spMkLst>
        </pc:spChg>
        <pc:spChg chg="mod">
          <ac:chgData name="Abdi, Adnan" userId="503e002c-9b3b-4180-87fb-acabeb2b158a" providerId="ADAL" clId="{5C2CD6D4-C7A9-4CEF-AA9C-BC2977F70622}" dt="2024-02-20T12:52:59.798" v="17875" actId="947"/>
          <ac:spMkLst>
            <pc:docMk/>
            <pc:sldMk cId="455635473" sldId="2147483550"/>
            <ac:spMk id="283" creationId="{2128F0D3-F1F5-E62C-0986-602DFE2AD1A7}"/>
          </ac:spMkLst>
        </pc:spChg>
        <pc:spChg chg="mod">
          <ac:chgData name="Abdi, Adnan" userId="503e002c-9b3b-4180-87fb-acabeb2b158a" providerId="ADAL" clId="{5C2CD6D4-C7A9-4CEF-AA9C-BC2977F70622}" dt="2024-02-20T12:52:59.798" v="17881" actId="947"/>
          <ac:spMkLst>
            <pc:docMk/>
            <pc:sldMk cId="455635473" sldId="2147483550"/>
            <ac:spMk id="285" creationId="{1A84B550-8FC5-AFE5-E3E8-9B3B95C610F3}"/>
          </ac:spMkLst>
        </pc:spChg>
        <pc:spChg chg="mod">
          <ac:chgData name="Abdi, Adnan" userId="503e002c-9b3b-4180-87fb-acabeb2b158a" providerId="ADAL" clId="{5C2CD6D4-C7A9-4CEF-AA9C-BC2977F70622}" dt="2024-02-20T12:52:59.798" v="17879" actId="947"/>
          <ac:spMkLst>
            <pc:docMk/>
            <pc:sldMk cId="455635473" sldId="2147483550"/>
            <ac:spMk id="286" creationId="{FD6F617D-D1C0-9354-6C19-53B0D7176493}"/>
          </ac:spMkLst>
        </pc:spChg>
        <pc:spChg chg="mod">
          <ac:chgData name="Abdi, Adnan" userId="503e002c-9b3b-4180-87fb-acabeb2b158a" providerId="ADAL" clId="{5C2CD6D4-C7A9-4CEF-AA9C-BC2977F70622}" dt="2024-02-20T09:14:55.367" v="10331" actId="2711"/>
          <ac:spMkLst>
            <pc:docMk/>
            <pc:sldMk cId="455635473" sldId="2147483550"/>
            <ac:spMk id="287" creationId="{E1C1B311-3F37-182B-566D-D37CF3B31C7A}"/>
          </ac:spMkLst>
        </pc:spChg>
        <pc:spChg chg="mod">
          <ac:chgData name="Abdi, Adnan" userId="503e002c-9b3b-4180-87fb-acabeb2b158a" providerId="ADAL" clId="{5C2CD6D4-C7A9-4CEF-AA9C-BC2977F70622}" dt="2024-02-20T09:14:55.367" v="10331" actId="2711"/>
          <ac:spMkLst>
            <pc:docMk/>
            <pc:sldMk cId="455635473" sldId="2147483550"/>
            <ac:spMk id="288" creationId="{5396B244-4B6E-161F-138B-1AE339A4AA6A}"/>
          </ac:spMkLst>
        </pc:spChg>
        <pc:grpChg chg="mod">
          <ac:chgData name="Abdi, Adnan" userId="503e002c-9b3b-4180-87fb-acabeb2b158a" providerId="ADAL" clId="{5C2CD6D4-C7A9-4CEF-AA9C-BC2977F70622}" dt="2024-02-20T09:14:55.367" v="10331" actId="2711"/>
          <ac:grpSpMkLst>
            <pc:docMk/>
            <pc:sldMk cId="455635473" sldId="2147483550"/>
            <ac:grpSpMk id="147" creationId="{AA65DE73-1E67-832E-267E-E8AF792C5CC9}"/>
          </ac:grpSpMkLst>
        </pc:grpChg>
        <pc:grpChg chg="mod">
          <ac:chgData name="Abdi, Adnan" userId="503e002c-9b3b-4180-87fb-acabeb2b158a" providerId="ADAL" clId="{5C2CD6D4-C7A9-4CEF-AA9C-BC2977F70622}" dt="2024-02-20T09:14:55.367" v="10331" actId="2711"/>
          <ac:grpSpMkLst>
            <pc:docMk/>
            <pc:sldMk cId="455635473" sldId="2147483550"/>
            <ac:grpSpMk id="212" creationId="{DA943A04-1F15-8CF1-7F72-9B3F31F0235F}"/>
          </ac:grpSpMkLst>
        </pc:grpChg>
        <pc:grpChg chg="mod">
          <ac:chgData name="Abdi, Adnan" userId="503e002c-9b3b-4180-87fb-acabeb2b158a" providerId="ADAL" clId="{5C2CD6D4-C7A9-4CEF-AA9C-BC2977F70622}" dt="2024-02-20T09:14:55.367" v="10331" actId="2711"/>
          <ac:grpSpMkLst>
            <pc:docMk/>
            <pc:sldMk cId="455635473" sldId="2147483550"/>
            <ac:grpSpMk id="217" creationId="{174C583D-19B6-1D57-D4F5-BEB98D5D3911}"/>
          </ac:grpSpMkLst>
        </pc:grpChg>
        <pc:grpChg chg="mod">
          <ac:chgData name="Abdi, Adnan" userId="503e002c-9b3b-4180-87fb-acabeb2b158a" providerId="ADAL" clId="{5C2CD6D4-C7A9-4CEF-AA9C-BC2977F70622}" dt="2024-02-20T09:14:55.367" v="10331" actId="2711"/>
          <ac:grpSpMkLst>
            <pc:docMk/>
            <pc:sldMk cId="455635473" sldId="2147483550"/>
            <ac:grpSpMk id="222" creationId="{5259A442-C6FF-8027-7901-D4346CD94F5C}"/>
          </ac:grpSpMkLst>
        </pc:grpChg>
        <pc:grpChg chg="mod">
          <ac:chgData name="Abdi, Adnan" userId="503e002c-9b3b-4180-87fb-acabeb2b158a" providerId="ADAL" clId="{5C2CD6D4-C7A9-4CEF-AA9C-BC2977F70622}" dt="2024-02-20T09:14:55.367" v="10331" actId="2711"/>
          <ac:grpSpMkLst>
            <pc:docMk/>
            <pc:sldMk cId="455635473" sldId="2147483550"/>
            <ac:grpSpMk id="227" creationId="{A5DAEC05-CCF8-FC59-74BF-F9083549A208}"/>
          </ac:grpSpMkLst>
        </pc:grpChg>
        <pc:grpChg chg="mod">
          <ac:chgData name="Abdi, Adnan" userId="503e002c-9b3b-4180-87fb-acabeb2b158a" providerId="ADAL" clId="{5C2CD6D4-C7A9-4CEF-AA9C-BC2977F70622}" dt="2024-02-20T09:14:55.367" v="10331" actId="2711"/>
          <ac:grpSpMkLst>
            <pc:docMk/>
            <pc:sldMk cId="455635473" sldId="2147483550"/>
            <ac:grpSpMk id="232" creationId="{E73FA58F-E999-E9AD-EDFE-B32190169E8B}"/>
          </ac:grpSpMkLst>
        </pc:grpChg>
        <pc:grpChg chg="mod">
          <ac:chgData name="Abdi, Adnan" userId="503e002c-9b3b-4180-87fb-acabeb2b158a" providerId="ADAL" clId="{5C2CD6D4-C7A9-4CEF-AA9C-BC2977F70622}" dt="2024-02-20T09:14:55.367" v="10331" actId="2711"/>
          <ac:grpSpMkLst>
            <pc:docMk/>
            <pc:sldMk cId="455635473" sldId="2147483550"/>
            <ac:grpSpMk id="237" creationId="{7F6208FF-EF8B-0DBB-A47C-BC95673B56A3}"/>
          </ac:grpSpMkLst>
        </pc:grpChg>
        <pc:grpChg chg="mod">
          <ac:chgData name="Abdi, Adnan" userId="503e002c-9b3b-4180-87fb-acabeb2b158a" providerId="ADAL" clId="{5C2CD6D4-C7A9-4CEF-AA9C-BC2977F70622}" dt="2024-02-20T09:14:55.367" v="10331" actId="2711"/>
          <ac:grpSpMkLst>
            <pc:docMk/>
            <pc:sldMk cId="455635473" sldId="2147483550"/>
            <ac:grpSpMk id="245" creationId="{4B1F0165-72D5-5487-6A2E-214459968E43}"/>
          </ac:grpSpMkLst>
        </pc:grpChg>
        <pc:grpChg chg="mod">
          <ac:chgData name="Abdi, Adnan" userId="503e002c-9b3b-4180-87fb-acabeb2b158a" providerId="ADAL" clId="{5C2CD6D4-C7A9-4CEF-AA9C-BC2977F70622}" dt="2024-02-20T09:14:55.367" v="10331" actId="2711"/>
          <ac:grpSpMkLst>
            <pc:docMk/>
            <pc:sldMk cId="455635473" sldId="2147483550"/>
            <ac:grpSpMk id="269" creationId="{7105B763-A496-E334-ADDE-C2E606890524}"/>
          </ac:grpSpMkLst>
        </pc:grpChg>
        <pc:grpChg chg="mod">
          <ac:chgData name="Abdi, Adnan" userId="503e002c-9b3b-4180-87fb-acabeb2b158a" providerId="ADAL" clId="{5C2CD6D4-C7A9-4CEF-AA9C-BC2977F70622}" dt="2024-02-20T09:14:55.367" v="10331" actId="2711"/>
          <ac:grpSpMkLst>
            <pc:docMk/>
            <pc:sldMk cId="455635473" sldId="2147483550"/>
            <ac:grpSpMk id="272" creationId="{51F206E0-0259-9340-3956-0C4D437AFBD9}"/>
          </ac:grpSpMkLst>
        </pc:grpChg>
        <pc:grpChg chg="mod">
          <ac:chgData name="Abdi, Adnan" userId="503e002c-9b3b-4180-87fb-acabeb2b158a" providerId="ADAL" clId="{5C2CD6D4-C7A9-4CEF-AA9C-BC2977F70622}" dt="2024-02-20T09:14:55.367" v="10331" actId="2711"/>
          <ac:grpSpMkLst>
            <pc:docMk/>
            <pc:sldMk cId="455635473" sldId="2147483550"/>
            <ac:grpSpMk id="275" creationId="{7A00FAB1-AE2E-D046-A660-F85156BFEE0A}"/>
          </ac:grpSpMkLst>
        </pc:grpChg>
        <pc:grpChg chg="mod">
          <ac:chgData name="Abdi, Adnan" userId="503e002c-9b3b-4180-87fb-acabeb2b158a" providerId="ADAL" clId="{5C2CD6D4-C7A9-4CEF-AA9C-BC2977F70622}" dt="2024-02-20T09:14:55.367" v="10331" actId="2711"/>
          <ac:grpSpMkLst>
            <pc:docMk/>
            <pc:sldMk cId="455635473" sldId="2147483550"/>
            <ac:grpSpMk id="278" creationId="{7D6D5D17-D27D-202D-0180-EAC7B6F187C1}"/>
          </ac:grpSpMkLst>
        </pc:grpChg>
        <pc:grpChg chg="mod">
          <ac:chgData name="Abdi, Adnan" userId="503e002c-9b3b-4180-87fb-acabeb2b158a" providerId="ADAL" clId="{5C2CD6D4-C7A9-4CEF-AA9C-BC2977F70622}" dt="2024-02-20T09:14:55.367" v="10331" actId="2711"/>
          <ac:grpSpMkLst>
            <pc:docMk/>
            <pc:sldMk cId="455635473" sldId="2147483550"/>
            <ac:grpSpMk id="281" creationId="{2FDE7277-3645-BD6F-7178-31017C9652B6}"/>
          </ac:grpSpMkLst>
        </pc:grpChg>
        <pc:grpChg chg="mod">
          <ac:chgData name="Abdi, Adnan" userId="503e002c-9b3b-4180-87fb-acabeb2b158a" providerId="ADAL" clId="{5C2CD6D4-C7A9-4CEF-AA9C-BC2977F70622}" dt="2024-02-20T09:14:55.367" v="10331" actId="2711"/>
          <ac:grpSpMkLst>
            <pc:docMk/>
            <pc:sldMk cId="455635473" sldId="2147483550"/>
            <ac:grpSpMk id="284" creationId="{075A570A-4441-5376-44FA-CF5EE6CA5F5F}"/>
          </ac:grpSpMkLst>
        </pc:grpChg>
        <pc:graphicFrameChg chg="mod ord modVis replST">
          <ac:chgData name="Abdi, Adnan" userId="503e002c-9b3b-4180-87fb-acabeb2b158a" providerId="ADAL" clId="{5C2CD6D4-C7A9-4CEF-AA9C-BC2977F70622}" dt="2024-02-20T12:53:06.438" v="21019"/>
          <ac:graphicFrameMkLst>
            <pc:docMk/>
            <pc:sldMk cId="455635473" sldId="2147483550"/>
            <ac:graphicFrameMk id="5" creationId="{1DBB522C-E0A8-BBF0-E798-8627F458E5FD}"/>
          </ac:graphicFrameMkLst>
        </pc:graphicFrameChg>
        <pc:picChg chg="mod">
          <ac:chgData name="Abdi, Adnan" userId="503e002c-9b3b-4180-87fb-acabeb2b158a" providerId="ADAL" clId="{5C2CD6D4-C7A9-4CEF-AA9C-BC2977F70622}" dt="2024-02-20T09:14:55.367" v="10331" actId="2711"/>
          <ac:picMkLst>
            <pc:docMk/>
            <pc:sldMk cId="455635473" sldId="2147483550"/>
            <ac:picMk id="4" creationId="{CA7F1122-0A88-BE71-F975-6BC21635D17C}"/>
          </ac:picMkLst>
        </pc:picChg>
        <pc:picChg chg="mod">
          <ac:chgData name="Abdi, Adnan" userId="503e002c-9b3b-4180-87fb-acabeb2b158a" providerId="ADAL" clId="{5C2CD6D4-C7A9-4CEF-AA9C-BC2977F70622}" dt="2024-02-20T09:14:55.367" v="10331" actId="2711"/>
          <ac:picMkLst>
            <pc:docMk/>
            <pc:sldMk cId="455635473" sldId="2147483550"/>
            <ac:picMk id="264" creationId="{1698A710-C918-43E5-1EFB-F73B09F94DBE}"/>
          </ac:picMkLst>
        </pc:picChg>
        <pc:picChg chg="mod">
          <ac:chgData name="Abdi, Adnan" userId="503e002c-9b3b-4180-87fb-acabeb2b158a" providerId="ADAL" clId="{5C2CD6D4-C7A9-4CEF-AA9C-BC2977F70622}" dt="2024-02-20T09:14:55.367" v="10331" actId="2711"/>
          <ac:picMkLst>
            <pc:docMk/>
            <pc:sldMk cId="455635473" sldId="2147483550"/>
            <ac:picMk id="265" creationId="{4355A9D2-160A-0B8F-329C-E4D1434EB2BA}"/>
          </ac:picMkLst>
        </pc:picChg>
        <pc:picChg chg="mod">
          <ac:chgData name="Abdi, Adnan" userId="503e002c-9b3b-4180-87fb-acabeb2b158a" providerId="ADAL" clId="{5C2CD6D4-C7A9-4CEF-AA9C-BC2977F70622}" dt="2024-02-20T09:14:55.367" v="10331" actId="2711"/>
          <ac:picMkLst>
            <pc:docMk/>
            <pc:sldMk cId="455635473" sldId="2147483550"/>
            <ac:picMk id="266" creationId="{6C4F869A-E462-7D0E-F58A-D5B4F457A5BF}"/>
          </ac:picMkLst>
        </pc:picChg>
        <pc:picChg chg="mod">
          <ac:chgData name="Abdi, Adnan" userId="503e002c-9b3b-4180-87fb-acabeb2b158a" providerId="ADAL" clId="{5C2CD6D4-C7A9-4CEF-AA9C-BC2977F70622}" dt="2024-02-20T09:14:55.367" v="10331" actId="2711"/>
          <ac:picMkLst>
            <pc:docMk/>
            <pc:sldMk cId="455635473" sldId="2147483550"/>
            <ac:picMk id="267" creationId="{0F356A11-01DE-256F-98F8-E0E21D773E0E}"/>
          </ac:picMkLst>
        </pc:picChg>
        <pc:picChg chg="mod">
          <ac:chgData name="Abdi, Adnan" userId="503e002c-9b3b-4180-87fb-acabeb2b158a" providerId="ADAL" clId="{5C2CD6D4-C7A9-4CEF-AA9C-BC2977F70622}" dt="2024-02-20T09:14:55.367" v="10331" actId="2711"/>
          <ac:picMkLst>
            <pc:docMk/>
            <pc:sldMk cId="455635473" sldId="2147483550"/>
            <ac:picMk id="268" creationId="{C200BE2A-6277-DB55-5940-94D978E20F76}"/>
          </ac:picMkLst>
        </pc:picChg>
        <pc:cxnChg chg="mod">
          <ac:chgData name="Abdi, Adnan" userId="503e002c-9b3b-4180-87fb-acabeb2b158a" providerId="ADAL" clId="{5C2CD6D4-C7A9-4CEF-AA9C-BC2977F70622}" dt="2024-02-19T15:37:44.288" v="5330" actId="1037"/>
          <ac:cxnSpMkLst>
            <pc:docMk/>
            <pc:sldMk cId="455635473" sldId="2147483550"/>
            <ac:cxnSpMk id="218" creationId="{4967ACDC-5C26-A6A2-9820-E561616AE962}"/>
          </ac:cxnSpMkLst>
        </pc:cxnChg>
        <pc:cxnChg chg="mod">
          <ac:chgData name="Abdi, Adnan" userId="503e002c-9b3b-4180-87fb-acabeb2b158a" providerId="ADAL" clId="{5C2CD6D4-C7A9-4CEF-AA9C-BC2977F70622}" dt="2024-02-19T15:37:44.288" v="5330" actId="1037"/>
          <ac:cxnSpMkLst>
            <pc:docMk/>
            <pc:sldMk cId="455635473" sldId="2147483550"/>
            <ac:cxnSpMk id="219" creationId="{D1EC6E05-8B9C-5D1A-0E4E-BFDB0F973920}"/>
          </ac:cxnSpMkLst>
        </pc:cxnChg>
        <pc:cxnChg chg="mod">
          <ac:chgData name="Abdi, Adnan" userId="503e002c-9b3b-4180-87fb-acabeb2b158a" providerId="ADAL" clId="{5C2CD6D4-C7A9-4CEF-AA9C-BC2977F70622}" dt="2024-02-19T15:37:44.288" v="5330" actId="1037"/>
          <ac:cxnSpMkLst>
            <pc:docMk/>
            <pc:sldMk cId="455635473" sldId="2147483550"/>
            <ac:cxnSpMk id="220" creationId="{5A8D01C3-1CD3-268F-4A5F-0E65AA313E7F}"/>
          </ac:cxnSpMkLst>
        </pc:cxnChg>
        <pc:cxnChg chg="mod">
          <ac:chgData name="Abdi, Adnan" userId="503e002c-9b3b-4180-87fb-acabeb2b158a" providerId="ADAL" clId="{5C2CD6D4-C7A9-4CEF-AA9C-BC2977F70622}" dt="2024-02-19T15:37:44.288" v="5330" actId="1037"/>
          <ac:cxnSpMkLst>
            <pc:docMk/>
            <pc:sldMk cId="455635473" sldId="2147483550"/>
            <ac:cxnSpMk id="221" creationId="{01251257-59D0-19D8-EADE-453F1C43A1B6}"/>
          </ac:cxnSpMkLst>
        </pc:cxnChg>
        <pc:cxnChg chg="mod">
          <ac:chgData name="Abdi, Adnan" userId="503e002c-9b3b-4180-87fb-acabeb2b158a" providerId="ADAL" clId="{5C2CD6D4-C7A9-4CEF-AA9C-BC2977F70622}" dt="2024-02-19T15:37:52.744" v="5350" actId="1037"/>
          <ac:cxnSpMkLst>
            <pc:docMk/>
            <pc:sldMk cId="455635473" sldId="2147483550"/>
            <ac:cxnSpMk id="228" creationId="{33319277-D37B-855B-3916-33CFB749E9C2}"/>
          </ac:cxnSpMkLst>
        </pc:cxnChg>
        <pc:cxnChg chg="mod">
          <ac:chgData name="Abdi, Adnan" userId="503e002c-9b3b-4180-87fb-acabeb2b158a" providerId="ADAL" clId="{5C2CD6D4-C7A9-4CEF-AA9C-BC2977F70622}" dt="2024-02-19T15:37:52.744" v="5350" actId="1037"/>
          <ac:cxnSpMkLst>
            <pc:docMk/>
            <pc:sldMk cId="455635473" sldId="2147483550"/>
            <ac:cxnSpMk id="229" creationId="{246C5BBE-F391-989F-07A9-777C11A04096}"/>
          </ac:cxnSpMkLst>
        </pc:cxnChg>
        <pc:cxnChg chg="mod">
          <ac:chgData name="Abdi, Adnan" userId="503e002c-9b3b-4180-87fb-acabeb2b158a" providerId="ADAL" clId="{5C2CD6D4-C7A9-4CEF-AA9C-BC2977F70622}" dt="2024-02-19T15:37:52.744" v="5350" actId="1037"/>
          <ac:cxnSpMkLst>
            <pc:docMk/>
            <pc:sldMk cId="455635473" sldId="2147483550"/>
            <ac:cxnSpMk id="230" creationId="{5705038E-1DCA-8299-8F8C-F69DE817ECE2}"/>
          </ac:cxnSpMkLst>
        </pc:cxnChg>
        <pc:cxnChg chg="mod">
          <ac:chgData name="Abdi, Adnan" userId="503e002c-9b3b-4180-87fb-acabeb2b158a" providerId="ADAL" clId="{5C2CD6D4-C7A9-4CEF-AA9C-BC2977F70622}" dt="2024-02-19T15:37:52.744" v="5350" actId="1037"/>
          <ac:cxnSpMkLst>
            <pc:docMk/>
            <pc:sldMk cId="455635473" sldId="2147483550"/>
            <ac:cxnSpMk id="231" creationId="{9DD44974-DC6E-32BA-DB3E-B56819D202CB}"/>
          </ac:cxnSpMkLst>
        </pc:cxnChg>
        <pc:cxnChg chg="mod">
          <ac:chgData name="Abdi, Adnan" userId="503e002c-9b3b-4180-87fb-acabeb2b158a" providerId="ADAL" clId="{5C2CD6D4-C7A9-4CEF-AA9C-BC2977F70622}" dt="2024-02-19T15:37:35.722" v="5316" actId="1037"/>
          <ac:cxnSpMkLst>
            <pc:docMk/>
            <pc:sldMk cId="455635473" sldId="2147483550"/>
            <ac:cxnSpMk id="233" creationId="{0173ECED-A785-ED28-FEA1-154CAB598B7A}"/>
          </ac:cxnSpMkLst>
        </pc:cxnChg>
        <pc:cxnChg chg="mod">
          <ac:chgData name="Abdi, Adnan" userId="503e002c-9b3b-4180-87fb-acabeb2b158a" providerId="ADAL" clId="{5C2CD6D4-C7A9-4CEF-AA9C-BC2977F70622}" dt="2024-02-19T15:37:35.722" v="5316" actId="1037"/>
          <ac:cxnSpMkLst>
            <pc:docMk/>
            <pc:sldMk cId="455635473" sldId="2147483550"/>
            <ac:cxnSpMk id="234" creationId="{B143DA04-7CFB-73C2-D89C-1F593070BEE7}"/>
          </ac:cxnSpMkLst>
        </pc:cxnChg>
        <pc:cxnChg chg="mod">
          <ac:chgData name="Abdi, Adnan" userId="503e002c-9b3b-4180-87fb-acabeb2b158a" providerId="ADAL" clId="{5C2CD6D4-C7A9-4CEF-AA9C-BC2977F70622}" dt="2024-02-19T15:37:35.722" v="5316" actId="1037"/>
          <ac:cxnSpMkLst>
            <pc:docMk/>
            <pc:sldMk cId="455635473" sldId="2147483550"/>
            <ac:cxnSpMk id="235" creationId="{7DC27CBF-A088-EA8F-C802-9F522FAA3C95}"/>
          </ac:cxnSpMkLst>
        </pc:cxnChg>
        <pc:cxnChg chg="mod">
          <ac:chgData name="Abdi, Adnan" userId="503e002c-9b3b-4180-87fb-acabeb2b158a" providerId="ADAL" clId="{5C2CD6D4-C7A9-4CEF-AA9C-BC2977F70622}" dt="2024-02-19T15:37:35.722" v="5316" actId="1037"/>
          <ac:cxnSpMkLst>
            <pc:docMk/>
            <pc:sldMk cId="455635473" sldId="2147483550"/>
            <ac:cxnSpMk id="236" creationId="{03D7C574-7E09-1265-4DC1-AA8685F8BAE6}"/>
          </ac:cxnSpMkLst>
        </pc:cxnChg>
      </pc:sldChg>
      <pc:sldChg chg="addSp modSp mod modNotes">
        <pc:chgData name="Abdi, Adnan" userId="503e002c-9b3b-4180-87fb-acabeb2b158a" providerId="ADAL" clId="{5C2CD6D4-C7A9-4CEF-AA9C-BC2977F70622}" dt="2024-02-26T09:09:40.666" v="73094"/>
        <pc:sldMkLst>
          <pc:docMk/>
          <pc:sldMk cId="3874668093" sldId="2147483551"/>
        </pc:sldMkLst>
        <pc:spChg chg="mod">
          <ac:chgData name="Abdi, Adnan" userId="503e002c-9b3b-4180-87fb-acabeb2b158a" providerId="ADAL" clId="{5C2CD6D4-C7A9-4CEF-AA9C-BC2977F70622}" dt="2024-02-20T12:53:00.153" v="18106" actId="947"/>
          <ac:spMkLst>
            <pc:docMk/>
            <pc:sldMk cId="3874668093" sldId="2147483551"/>
            <ac:spMk id="2" creationId="{10F2A187-2DBC-C4BA-DE08-E8496B07ABAC}"/>
          </ac:spMkLst>
        </pc:spChg>
        <pc:spChg chg="mod">
          <ac:chgData name="Abdi, Adnan" userId="503e002c-9b3b-4180-87fb-acabeb2b158a" providerId="ADAL" clId="{5C2CD6D4-C7A9-4CEF-AA9C-BC2977F70622}" dt="2024-02-26T09:09:40.666" v="73094"/>
          <ac:spMkLst>
            <pc:docMk/>
            <pc:sldMk cId="3874668093" sldId="2147483551"/>
            <ac:spMk id="3" creationId="{EC58DA46-99FF-FC40-8E43-3A880FA1DD89}"/>
          </ac:spMkLst>
        </pc:spChg>
        <pc:spChg chg="add mod">
          <ac:chgData name="Abdi, Adnan" userId="503e002c-9b3b-4180-87fb-acabeb2b158a" providerId="ADAL" clId="{5C2CD6D4-C7A9-4CEF-AA9C-BC2977F70622}" dt="2024-02-23T15:32:09.917" v="71465"/>
          <ac:spMkLst>
            <pc:docMk/>
            <pc:sldMk cId="3874668093" sldId="2147483551"/>
            <ac:spMk id="4" creationId="{E3413BDF-F5EA-1BDF-51BF-B690C995369D}"/>
          </ac:spMkLst>
        </pc:spChg>
        <pc:spChg chg="mod">
          <ac:chgData name="Abdi, Adnan" userId="503e002c-9b3b-4180-87fb-acabeb2b158a" providerId="ADAL" clId="{5C2CD6D4-C7A9-4CEF-AA9C-BC2977F70622}" dt="2024-02-20T12:53:00.153" v="18104" actId="947"/>
          <ac:spMkLst>
            <pc:docMk/>
            <pc:sldMk cId="3874668093" sldId="2147483551"/>
            <ac:spMk id="8" creationId="{E73C6532-3274-AA7E-65C7-D9FDA88CC3D4}"/>
          </ac:spMkLst>
        </pc:spChg>
        <pc:graphicFrameChg chg="mod ord modVis replST">
          <ac:chgData name="Abdi, Adnan" userId="503e002c-9b3b-4180-87fb-acabeb2b158a" providerId="ADAL" clId="{5C2CD6D4-C7A9-4CEF-AA9C-BC2977F70622}" dt="2024-02-20T12:53:06.575" v="21050"/>
          <ac:graphicFrameMkLst>
            <pc:docMk/>
            <pc:sldMk cId="3874668093" sldId="2147483551"/>
            <ac:graphicFrameMk id="5" creationId="{BF66F0B6-F184-365A-BF9E-228E8BA9B15C}"/>
          </ac:graphicFrameMkLst>
        </pc:graphicFrameChg>
      </pc:sldChg>
      <pc:sldChg chg="addSp delSp modSp new mod ord modShow modNotes">
        <pc:chgData name="Abdi, Adnan" userId="503e002c-9b3b-4180-87fb-acabeb2b158a" providerId="ADAL" clId="{5C2CD6D4-C7A9-4CEF-AA9C-BC2977F70622}" dt="2024-02-23T15:32:09.917" v="71465"/>
        <pc:sldMkLst>
          <pc:docMk/>
          <pc:sldMk cId="160757671" sldId="2147483552"/>
        </pc:sldMkLst>
        <pc:spChg chg="mod">
          <ac:chgData name="Abdi, Adnan" userId="503e002c-9b3b-4180-87fb-acabeb2b158a" providerId="ADAL" clId="{5C2CD6D4-C7A9-4CEF-AA9C-BC2977F70622}" dt="2024-02-20T12:52:59.413" v="17539" actId="947"/>
          <ac:spMkLst>
            <pc:docMk/>
            <pc:sldMk cId="160757671" sldId="2147483552"/>
            <ac:spMk id="2" creationId="{24FB4151-FA36-679D-A814-0473ECD5291E}"/>
          </ac:spMkLst>
        </pc:spChg>
        <pc:spChg chg="mod">
          <ac:chgData name="Abdi, Adnan" userId="503e002c-9b3b-4180-87fb-acabeb2b158a" providerId="ADAL" clId="{5C2CD6D4-C7A9-4CEF-AA9C-BC2977F70622}" dt="2024-02-20T12:52:59.413" v="17541" actId="947"/>
          <ac:spMkLst>
            <pc:docMk/>
            <pc:sldMk cId="160757671" sldId="2147483552"/>
            <ac:spMk id="3" creationId="{D74BFA82-C738-9F59-2D96-B823ACD8B276}"/>
          </ac:spMkLst>
        </pc:spChg>
        <pc:spChg chg="add mod">
          <ac:chgData name="Abdi, Adnan" userId="503e002c-9b3b-4180-87fb-acabeb2b158a" providerId="ADAL" clId="{5C2CD6D4-C7A9-4CEF-AA9C-BC2977F70622}" dt="2024-02-23T15:32:09.917" v="71465"/>
          <ac:spMkLst>
            <pc:docMk/>
            <pc:sldMk cId="160757671" sldId="2147483552"/>
            <ac:spMk id="4" creationId="{F5310178-509C-FF63-5F47-810C48BAD0BB}"/>
          </ac:spMkLst>
        </pc:spChg>
        <pc:spChg chg="mod">
          <ac:chgData name="Abdi, Adnan" userId="503e002c-9b3b-4180-87fb-acabeb2b158a" providerId="ADAL" clId="{5C2CD6D4-C7A9-4CEF-AA9C-BC2977F70622}" dt="2024-02-20T12:52:59.413" v="17545" actId="947"/>
          <ac:spMkLst>
            <pc:docMk/>
            <pc:sldMk cId="160757671" sldId="2147483552"/>
            <ac:spMk id="5" creationId="{03019B86-14DC-EFE1-C899-0C10C8CAD1D8}"/>
          </ac:spMkLst>
        </pc:spChg>
        <pc:spChg chg="del">
          <ac:chgData name="Abdi, Adnan" userId="503e002c-9b3b-4180-87fb-acabeb2b158a" providerId="ADAL" clId="{5C2CD6D4-C7A9-4CEF-AA9C-BC2977F70622}" dt="2024-02-19T10:20:57.749" v="184" actId="478"/>
          <ac:spMkLst>
            <pc:docMk/>
            <pc:sldMk cId="160757671" sldId="2147483552"/>
            <ac:spMk id="6" creationId="{D096ACD1-6B85-873E-9CB9-104F8F9A1CF9}"/>
          </ac:spMkLst>
        </pc:spChg>
        <pc:spChg chg="add mod">
          <ac:chgData name="Abdi, Adnan" userId="503e002c-9b3b-4180-87fb-acabeb2b158a" providerId="ADAL" clId="{5C2CD6D4-C7A9-4CEF-AA9C-BC2977F70622}" dt="2024-02-20T12:52:59.429" v="17547" actId="947"/>
          <ac:spMkLst>
            <pc:docMk/>
            <pc:sldMk cId="160757671" sldId="2147483552"/>
            <ac:spMk id="6" creationId="{D55171FC-5F91-E7E7-1768-550D40657EE5}"/>
          </ac:spMkLst>
        </pc:spChg>
        <pc:spChg chg="del">
          <ac:chgData name="Abdi, Adnan" userId="503e002c-9b3b-4180-87fb-acabeb2b158a" providerId="ADAL" clId="{5C2CD6D4-C7A9-4CEF-AA9C-BC2977F70622}" dt="2024-02-19T10:20:57.237" v="183" actId="478"/>
          <ac:spMkLst>
            <pc:docMk/>
            <pc:sldMk cId="160757671" sldId="2147483552"/>
            <ac:spMk id="7" creationId="{CF67CF6D-3BF4-1F04-A189-5595A8BE1F85}"/>
          </ac:spMkLst>
        </pc:spChg>
        <pc:graphicFrameChg chg="mod ord modVis replST">
          <ac:chgData name="Abdi, Adnan" userId="503e002c-9b3b-4180-87fb-acabeb2b158a" providerId="ADAL" clId="{5C2CD6D4-C7A9-4CEF-AA9C-BC2977F70622}" dt="2024-02-20T12:53:06.339" v="20990"/>
          <ac:graphicFrameMkLst>
            <pc:docMk/>
            <pc:sldMk cId="160757671" sldId="2147483552"/>
            <ac:graphicFrameMk id="7" creationId="{358A53DF-487D-F4C4-40CA-E7B6E4B4F1ED}"/>
          </ac:graphicFrameMkLst>
        </pc:graphicFrameChg>
      </pc:sldChg>
      <pc:sldChg chg="del">
        <pc:chgData name="Abdi, Adnan" userId="503e002c-9b3b-4180-87fb-acabeb2b158a" providerId="ADAL" clId="{5C2CD6D4-C7A9-4CEF-AA9C-BC2977F70622}" dt="2024-02-19T10:10:21.983" v="83" actId="47"/>
        <pc:sldMkLst>
          <pc:docMk/>
          <pc:sldMk cId="3199200530" sldId="2147483552"/>
        </pc:sldMkLst>
      </pc:sldChg>
      <pc:sldChg chg="del">
        <pc:chgData name="Abdi, Adnan" userId="503e002c-9b3b-4180-87fb-acabeb2b158a" providerId="ADAL" clId="{5C2CD6D4-C7A9-4CEF-AA9C-BC2977F70622}" dt="2024-02-19T10:10:21.983" v="83" actId="47"/>
        <pc:sldMkLst>
          <pc:docMk/>
          <pc:sldMk cId="2407785727" sldId="2147483553"/>
        </pc:sldMkLst>
      </pc:sldChg>
      <pc:sldChg chg="addSp delSp modSp new del mod">
        <pc:chgData name="Abdi, Adnan" userId="503e002c-9b3b-4180-87fb-acabeb2b158a" providerId="ADAL" clId="{5C2CD6D4-C7A9-4CEF-AA9C-BC2977F70622}" dt="2024-02-19T12:08:16.403" v="1810" actId="47"/>
        <pc:sldMkLst>
          <pc:docMk/>
          <pc:sldMk cId="3935829495" sldId="2147483553"/>
        </pc:sldMkLst>
        <pc:spChg chg="mod">
          <ac:chgData name="Abdi, Adnan" userId="503e002c-9b3b-4180-87fb-acabeb2b158a" providerId="ADAL" clId="{5C2CD6D4-C7A9-4CEF-AA9C-BC2977F70622}" dt="2024-02-19T10:37:17.559" v="556" actId="20577"/>
          <ac:spMkLst>
            <pc:docMk/>
            <pc:sldMk cId="3935829495" sldId="2147483553"/>
            <ac:spMk id="5" creationId="{0007736A-6611-8213-A8F8-B93A5420E239}"/>
          </ac:spMkLst>
        </pc:spChg>
        <pc:picChg chg="add del mod">
          <ac:chgData name="Abdi, Adnan" userId="503e002c-9b3b-4180-87fb-acabeb2b158a" providerId="ADAL" clId="{5C2CD6D4-C7A9-4CEF-AA9C-BC2977F70622}" dt="2024-02-19T10:38:19.674" v="565" actId="478"/>
          <ac:picMkLst>
            <pc:docMk/>
            <pc:sldMk cId="3935829495" sldId="2147483553"/>
            <ac:picMk id="8" creationId="{FDCB8442-451D-C0FB-9E6D-A6DC16EC6719}"/>
          </ac:picMkLst>
        </pc:picChg>
      </pc:sldChg>
      <pc:sldChg chg="addSp delSp modSp mod">
        <pc:chgData name="Abdi, Adnan" userId="503e002c-9b3b-4180-87fb-acabeb2b158a" providerId="ADAL" clId="{5C2CD6D4-C7A9-4CEF-AA9C-BC2977F70622}" dt="2024-02-23T15:32:09.917" v="71465"/>
        <pc:sldMkLst>
          <pc:docMk/>
          <pc:sldMk cId="3011676800" sldId="2147483554"/>
        </pc:sldMkLst>
        <pc:spChg chg="add">
          <ac:chgData name="Abdi, Adnan" userId="503e002c-9b3b-4180-87fb-acabeb2b158a" providerId="ADAL" clId="{5C2CD6D4-C7A9-4CEF-AA9C-BC2977F70622}" dt="2024-02-23T15:32:09.917" v="71465"/>
          <ac:spMkLst>
            <pc:docMk/>
            <pc:sldMk cId="3011676800" sldId="2147483554"/>
            <ac:spMk id="4" creationId="{D621C63B-DC3F-9AB3-994A-92E4128610F0}"/>
          </ac:spMkLst>
        </pc:spChg>
        <pc:spChg chg="mod">
          <ac:chgData name="Abdi, Adnan" userId="503e002c-9b3b-4180-87fb-acabeb2b158a" providerId="ADAL" clId="{5C2CD6D4-C7A9-4CEF-AA9C-BC2977F70622}" dt="2024-02-22T13:36:10.527" v="56570" actId="1076"/>
          <ac:spMkLst>
            <pc:docMk/>
            <pc:sldMk cId="3011676800" sldId="2147483554"/>
            <ac:spMk id="6" creationId="{589378CD-52C8-6163-41D7-184EB71CE89A}"/>
          </ac:spMkLst>
        </pc:spChg>
        <pc:spChg chg="mod">
          <ac:chgData name="Abdi, Adnan" userId="503e002c-9b3b-4180-87fb-acabeb2b158a" providerId="ADAL" clId="{5C2CD6D4-C7A9-4CEF-AA9C-BC2977F70622}" dt="2024-02-22T14:42:48.774" v="58261" actId="403"/>
          <ac:spMkLst>
            <pc:docMk/>
            <pc:sldMk cId="3011676800" sldId="2147483554"/>
            <ac:spMk id="7" creationId="{4408E651-160C-1E66-D23C-D59C1CAF0B33}"/>
          </ac:spMkLst>
        </pc:spChg>
        <pc:spChg chg="mod">
          <ac:chgData name="Abdi, Adnan" userId="503e002c-9b3b-4180-87fb-acabeb2b158a" providerId="ADAL" clId="{5C2CD6D4-C7A9-4CEF-AA9C-BC2977F70622}" dt="2024-02-21T17:10:19.233" v="50324" actId="313"/>
          <ac:spMkLst>
            <pc:docMk/>
            <pc:sldMk cId="3011676800" sldId="2147483554"/>
            <ac:spMk id="65" creationId="{D9346048-BA17-6A45-80E2-4F5E22C9B420}"/>
          </ac:spMkLst>
        </pc:spChg>
        <pc:spChg chg="mod">
          <ac:chgData name="Abdi, Adnan" userId="503e002c-9b3b-4180-87fb-acabeb2b158a" providerId="ADAL" clId="{5C2CD6D4-C7A9-4CEF-AA9C-BC2977F70622}" dt="2024-02-21T17:57:23.541" v="52925" actId="207"/>
          <ac:spMkLst>
            <pc:docMk/>
            <pc:sldMk cId="3011676800" sldId="2147483554"/>
            <ac:spMk id="68" creationId="{D174A169-959C-4B48-31F0-80FAD16A7747}"/>
          </ac:spMkLst>
        </pc:spChg>
        <pc:picChg chg="mod">
          <ac:chgData name="Abdi, Adnan" userId="503e002c-9b3b-4180-87fb-acabeb2b158a" providerId="ADAL" clId="{5C2CD6D4-C7A9-4CEF-AA9C-BC2977F70622}" dt="2024-02-22T13:36:10.208" v="56569" actId="1076"/>
          <ac:picMkLst>
            <pc:docMk/>
            <pc:sldMk cId="3011676800" sldId="2147483554"/>
            <ac:picMk id="5" creationId="{BC97349F-D566-0BF1-967B-BA12EF984D6D}"/>
          </ac:picMkLst>
        </pc:picChg>
        <pc:picChg chg="mod">
          <ac:chgData name="Abdi, Adnan" userId="503e002c-9b3b-4180-87fb-acabeb2b158a" providerId="ADAL" clId="{5C2CD6D4-C7A9-4CEF-AA9C-BC2977F70622}" dt="2024-02-22T13:45:20.819" v="57093" actId="408"/>
          <ac:picMkLst>
            <pc:docMk/>
            <pc:sldMk cId="3011676800" sldId="2147483554"/>
            <ac:picMk id="9" creationId="{42897A8E-E814-AD5D-1817-AD82D842E4AA}"/>
          </ac:picMkLst>
        </pc:picChg>
        <pc:picChg chg="mod">
          <ac:chgData name="Abdi, Adnan" userId="503e002c-9b3b-4180-87fb-acabeb2b158a" providerId="ADAL" clId="{5C2CD6D4-C7A9-4CEF-AA9C-BC2977F70622}" dt="2024-02-22T13:45:01.851" v="57036" actId="408"/>
          <ac:picMkLst>
            <pc:docMk/>
            <pc:sldMk cId="3011676800" sldId="2147483554"/>
            <ac:picMk id="10" creationId="{EA66A170-868C-2292-E7FC-8CB59FDED9D3}"/>
          </ac:picMkLst>
        </pc:picChg>
        <pc:picChg chg="mod">
          <ac:chgData name="Abdi, Adnan" userId="503e002c-9b3b-4180-87fb-acabeb2b158a" providerId="ADAL" clId="{5C2CD6D4-C7A9-4CEF-AA9C-BC2977F70622}" dt="2024-02-22T13:45:01.851" v="57036" actId="408"/>
          <ac:picMkLst>
            <pc:docMk/>
            <pc:sldMk cId="3011676800" sldId="2147483554"/>
            <ac:picMk id="11" creationId="{76E55EE1-A3A4-C847-8FE2-9792D4D03F81}"/>
          </ac:picMkLst>
        </pc:picChg>
        <pc:picChg chg="mod">
          <ac:chgData name="Abdi, Adnan" userId="503e002c-9b3b-4180-87fb-acabeb2b158a" providerId="ADAL" clId="{5C2CD6D4-C7A9-4CEF-AA9C-BC2977F70622}" dt="2024-02-22T13:45:20.819" v="57093" actId="408"/>
          <ac:picMkLst>
            <pc:docMk/>
            <pc:sldMk cId="3011676800" sldId="2147483554"/>
            <ac:picMk id="12" creationId="{C87A76AE-457E-932D-6800-D86CD7DFDDCE}"/>
          </ac:picMkLst>
        </pc:picChg>
        <pc:picChg chg="mod">
          <ac:chgData name="Abdi, Adnan" userId="503e002c-9b3b-4180-87fb-acabeb2b158a" providerId="ADAL" clId="{5C2CD6D4-C7A9-4CEF-AA9C-BC2977F70622}" dt="2024-02-22T13:45:20.819" v="57093" actId="408"/>
          <ac:picMkLst>
            <pc:docMk/>
            <pc:sldMk cId="3011676800" sldId="2147483554"/>
            <ac:picMk id="13" creationId="{33A25788-0D39-D8A1-6048-2531C948581C}"/>
          </ac:picMkLst>
        </pc:picChg>
        <pc:picChg chg="mod">
          <ac:chgData name="Abdi, Adnan" userId="503e002c-9b3b-4180-87fb-acabeb2b158a" providerId="ADAL" clId="{5C2CD6D4-C7A9-4CEF-AA9C-BC2977F70622}" dt="2024-02-22T13:45:01.851" v="57036" actId="408"/>
          <ac:picMkLst>
            <pc:docMk/>
            <pc:sldMk cId="3011676800" sldId="2147483554"/>
            <ac:picMk id="14" creationId="{F0D70ECB-B9C2-25A2-F336-61EA85E4739D}"/>
          </ac:picMkLst>
        </pc:picChg>
        <pc:picChg chg="del mod">
          <ac:chgData name="Abdi, Adnan" userId="503e002c-9b3b-4180-87fb-acabeb2b158a" providerId="ADAL" clId="{5C2CD6D4-C7A9-4CEF-AA9C-BC2977F70622}" dt="2024-02-22T13:43:55.632" v="57010" actId="478"/>
          <ac:picMkLst>
            <pc:docMk/>
            <pc:sldMk cId="3011676800" sldId="2147483554"/>
            <ac:picMk id="15" creationId="{4D7CBB94-4D7C-C1F5-8EB9-6F95DFD04DC2}"/>
          </ac:picMkLst>
        </pc:picChg>
        <pc:picChg chg="mod">
          <ac:chgData name="Abdi, Adnan" userId="503e002c-9b3b-4180-87fb-acabeb2b158a" providerId="ADAL" clId="{5C2CD6D4-C7A9-4CEF-AA9C-BC2977F70622}" dt="2024-02-22T13:45:01.851" v="57036" actId="408"/>
          <ac:picMkLst>
            <pc:docMk/>
            <pc:sldMk cId="3011676800" sldId="2147483554"/>
            <ac:picMk id="16" creationId="{BC362C74-6941-FED4-A2E3-10D03385F554}"/>
          </ac:picMkLst>
        </pc:picChg>
        <pc:picChg chg="mod">
          <ac:chgData name="Abdi, Adnan" userId="503e002c-9b3b-4180-87fb-acabeb2b158a" providerId="ADAL" clId="{5C2CD6D4-C7A9-4CEF-AA9C-BC2977F70622}" dt="2024-02-22T13:45:20.819" v="57093" actId="408"/>
          <ac:picMkLst>
            <pc:docMk/>
            <pc:sldMk cId="3011676800" sldId="2147483554"/>
            <ac:picMk id="17" creationId="{48561D4C-FE4F-AC7C-E22B-81D1C6EA6A2F}"/>
          </ac:picMkLst>
        </pc:picChg>
        <pc:picChg chg="mod">
          <ac:chgData name="Abdi, Adnan" userId="503e002c-9b3b-4180-87fb-acabeb2b158a" providerId="ADAL" clId="{5C2CD6D4-C7A9-4CEF-AA9C-BC2977F70622}" dt="2024-02-22T13:45:20.819" v="57093" actId="408"/>
          <ac:picMkLst>
            <pc:docMk/>
            <pc:sldMk cId="3011676800" sldId="2147483554"/>
            <ac:picMk id="18" creationId="{5DFAED92-0DBB-9F6E-DD57-51B75252F788}"/>
          </ac:picMkLst>
        </pc:picChg>
        <pc:picChg chg="mod">
          <ac:chgData name="Abdi, Adnan" userId="503e002c-9b3b-4180-87fb-acabeb2b158a" providerId="ADAL" clId="{5C2CD6D4-C7A9-4CEF-AA9C-BC2977F70622}" dt="2024-02-22T13:45:01.851" v="57036" actId="408"/>
          <ac:picMkLst>
            <pc:docMk/>
            <pc:sldMk cId="3011676800" sldId="2147483554"/>
            <ac:picMk id="19" creationId="{0BE2240E-9CC3-FCD2-22E6-EEC36AA86F83}"/>
          </ac:picMkLst>
        </pc:picChg>
        <pc:picChg chg="mod">
          <ac:chgData name="Abdi, Adnan" userId="503e002c-9b3b-4180-87fb-acabeb2b158a" providerId="ADAL" clId="{5C2CD6D4-C7A9-4CEF-AA9C-BC2977F70622}" dt="2024-02-22T13:45:20.819" v="57093" actId="408"/>
          <ac:picMkLst>
            <pc:docMk/>
            <pc:sldMk cId="3011676800" sldId="2147483554"/>
            <ac:picMk id="20" creationId="{8113D31D-6AAD-BF9E-6FCD-18FE1360C808}"/>
          </ac:picMkLst>
        </pc:picChg>
        <pc:picChg chg="mod">
          <ac:chgData name="Abdi, Adnan" userId="503e002c-9b3b-4180-87fb-acabeb2b158a" providerId="ADAL" clId="{5C2CD6D4-C7A9-4CEF-AA9C-BC2977F70622}" dt="2024-02-22T13:45:20.819" v="57093" actId="408"/>
          <ac:picMkLst>
            <pc:docMk/>
            <pc:sldMk cId="3011676800" sldId="2147483554"/>
            <ac:picMk id="21" creationId="{74BE8022-5D8F-0B6D-F595-62316EA15575}"/>
          </ac:picMkLst>
        </pc:picChg>
        <pc:picChg chg="mod">
          <ac:chgData name="Abdi, Adnan" userId="503e002c-9b3b-4180-87fb-acabeb2b158a" providerId="ADAL" clId="{5C2CD6D4-C7A9-4CEF-AA9C-BC2977F70622}" dt="2024-02-22T13:45:01.851" v="57036" actId="408"/>
          <ac:picMkLst>
            <pc:docMk/>
            <pc:sldMk cId="3011676800" sldId="2147483554"/>
            <ac:picMk id="22" creationId="{404200F1-0174-24FB-7949-61B0FE38A857}"/>
          </ac:picMkLst>
        </pc:picChg>
        <pc:picChg chg="mod">
          <ac:chgData name="Abdi, Adnan" userId="503e002c-9b3b-4180-87fb-acabeb2b158a" providerId="ADAL" clId="{5C2CD6D4-C7A9-4CEF-AA9C-BC2977F70622}" dt="2024-02-22T13:45:01.851" v="57036" actId="408"/>
          <ac:picMkLst>
            <pc:docMk/>
            <pc:sldMk cId="3011676800" sldId="2147483554"/>
            <ac:picMk id="23" creationId="{B0177FB2-965E-D812-6A5C-FAD8D8AF44DD}"/>
          </ac:picMkLst>
        </pc:picChg>
        <pc:picChg chg="mod">
          <ac:chgData name="Abdi, Adnan" userId="503e002c-9b3b-4180-87fb-acabeb2b158a" providerId="ADAL" clId="{5C2CD6D4-C7A9-4CEF-AA9C-BC2977F70622}" dt="2024-02-22T13:45:20.819" v="57093" actId="408"/>
          <ac:picMkLst>
            <pc:docMk/>
            <pc:sldMk cId="3011676800" sldId="2147483554"/>
            <ac:picMk id="24" creationId="{C6FEC44A-7E4C-6DA0-28DC-167FE35AD2BE}"/>
          </ac:picMkLst>
        </pc:picChg>
        <pc:picChg chg="mod">
          <ac:chgData name="Abdi, Adnan" userId="503e002c-9b3b-4180-87fb-acabeb2b158a" providerId="ADAL" clId="{5C2CD6D4-C7A9-4CEF-AA9C-BC2977F70622}" dt="2024-02-22T13:45:01.851" v="57036" actId="408"/>
          <ac:picMkLst>
            <pc:docMk/>
            <pc:sldMk cId="3011676800" sldId="2147483554"/>
            <ac:picMk id="25" creationId="{558B7099-8E7A-7BBF-D307-23A47485DE76}"/>
          </ac:picMkLst>
        </pc:picChg>
        <pc:picChg chg="mod">
          <ac:chgData name="Abdi, Adnan" userId="503e002c-9b3b-4180-87fb-acabeb2b158a" providerId="ADAL" clId="{5C2CD6D4-C7A9-4CEF-AA9C-BC2977F70622}" dt="2024-02-22T13:45:20.819" v="57093" actId="408"/>
          <ac:picMkLst>
            <pc:docMk/>
            <pc:sldMk cId="3011676800" sldId="2147483554"/>
            <ac:picMk id="26" creationId="{80762608-8624-D451-2673-B9DAE6017ACC}"/>
          </ac:picMkLst>
        </pc:picChg>
        <pc:picChg chg="mod">
          <ac:chgData name="Abdi, Adnan" userId="503e002c-9b3b-4180-87fb-acabeb2b158a" providerId="ADAL" clId="{5C2CD6D4-C7A9-4CEF-AA9C-BC2977F70622}" dt="2024-02-22T13:45:20.819" v="57093" actId="408"/>
          <ac:picMkLst>
            <pc:docMk/>
            <pc:sldMk cId="3011676800" sldId="2147483554"/>
            <ac:picMk id="27" creationId="{FE9FA0E9-0BE0-E915-788F-2DDB3F20C2E8}"/>
          </ac:picMkLst>
        </pc:picChg>
        <pc:picChg chg="mod">
          <ac:chgData name="Abdi, Adnan" userId="503e002c-9b3b-4180-87fb-acabeb2b158a" providerId="ADAL" clId="{5C2CD6D4-C7A9-4CEF-AA9C-BC2977F70622}" dt="2024-02-22T13:45:01.851" v="57036" actId="408"/>
          <ac:picMkLst>
            <pc:docMk/>
            <pc:sldMk cId="3011676800" sldId="2147483554"/>
            <ac:picMk id="28" creationId="{B1EAB66A-3B9D-4553-F896-8C74848CA1E9}"/>
          </ac:picMkLst>
        </pc:picChg>
        <pc:picChg chg="mod">
          <ac:chgData name="Abdi, Adnan" userId="503e002c-9b3b-4180-87fb-acabeb2b158a" providerId="ADAL" clId="{5C2CD6D4-C7A9-4CEF-AA9C-BC2977F70622}" dt="2024-02-22T13:45:20.819" v="57093" actId="408"/>
          <ac:picMkLst>
            <pc:docMk/>
            <pc:sldMk cId="3011676800" sldId="2147483554"/>
            <ac:picMk id="29" creationId="{48641D91-FE36-2141-A18E-B69AF13C542B}"/>
          </ac:picMkLst>
        </pc:picChg>
        <pc:picChg chg="mod">
          <ac:chgData name="Abdi, Adnan" userId="503e002c-9b3b-4180-87fb-acabeb2b158a" providerId="ADAL" clId="{5C2CD6D4-C7A9-4CEF-AA9C-BC2977F70622}" dt="2024-02-22T13:45:20.819" v="57093" actId="408"/>
          <ac:picMkLst>
            <pc:docMk/>
            <pc:sldMk cId="3011676800" sldId="2147483554"/>
            <ac:picMk id="30" creationId="{6A4D4B28-4B78-9613-48DD-AA6EF96AAC4A}"/>
          </ac:picMkLst>
        </pc:picChg>
        <pc:picChg chg="mod">
          <ac:chgData name="Abdi, Adnan" userId="503e002c-9b3b-4180-87fb-acabeb2b158a" providerId="ADAL" clId="{5C2CD6D4-C7A9-4CEF-AA9C-BC2977F70622}" dt="2024-02-22T13:45:01.851" v="57036" actId="408"/>
          <ac:picMkLst>
            <pc:docMk/>
            <pc:sldMk cId="3011676800" sldId="2147483554"/>
            <ac:picMk id="31" creationId="{91B1C94D-08C8-412A-AC4B-8E8A61325D85}"/>
          </ac:picMkLst>
        </pc:picChg>
        <pc:picChg chg="mod">
          <ac:chgData name="Abdi, Adnan" userId="503e002c-9b3b-4180-87fb-acabeb2b158a" providerId="ADAL" clId="{5C2CD6D4-C7A9-4CEF-AA9C-BC2977F70622}" dt="2024-02-22T13:45:20.819" v="57093" actId="408"/>
          <ac:picMkLst>
            <pc:docMk/>
            <pc:sldMk cId="3011676800" sldId="2147483554"/>
            <ac:picMk id="32" creationId="{CFF8BD2F-2BB9-A101-355C-CEAAEA21A903}"/>
          </ac:picMkLst>
        </pc:picChg>
        <pc:picChg chg="mod">
          <ac:chgData name="Abdi, Adnan" userId="503e002c-9b3b-4180-87fb-acabeb2b158a" providerId="ADAL" clId="{5C2CD6D4-C7A9-4CEF-AA9C-BC2977F70622}" dt="2024-02-22T13:45:01.302" v="57035"/>
          <ac:picMkLst>
            <pc:docMk/>
            <pc:sldMk cId="3011676800" sldId="2147483554"/>
            <ac:picMk id="33" creationId="{64058CF7-24FF-55EF-DA56-B86C14C1A4B4}"/>
          </ac:picMkLst>
        </pc:picChg>
        <pc:picChg chg="mod">
          <ac:chgData name="Abdi, Adnan" userId="503e002c-9b3b-4180-87fb-acabeb2b158a" providerId="ADAL" clId="{5C2CD6D4-C7A9-4CEF-AA9C-BC2977F70622}" dt="2024-02-22T13:46:10.565" v="57159"/>
          <ac:picMkLst>
            <pc:docMk/>
            <pc:sldMk cId="3011676800" sldId="2147483554"/>
            <ac:picMk id="35" creationId="{B6F98957-BB43-05A2-F1D2-6A21C150538A}"/>
          </ac:picMkLst>
        </pc:picChg>
        <pc:picChg chg="mod">
          <ac:chgData name="Abdi, Adnan" userId="503e002c-9b3b-4180-87fb-acabeb2b158a" providerId="ADAL" clId="{5C2CD6D4-C7A9-4CEF-AA9C-BC2977F70622}" dt="2024-02-22T13:46:02.437" v="57157"/>
          <ac:picMkLst>
            <pc:docMk/>
            <pc:sldMk cId="3011676800" sldId="2147483554"/>
            <ac:picMk id="36" creationId="{F2478E5D-5A5B-0792-D431-8B6486C9F615}"/>
          </ac:picMkLst>
        </pc:picChg>
        <pc:picChg chg="mod">
          <ac:chgData name="Abdi, Adnan" userId="503e002c-9b3b-4180-87fb-acabeb2b158a" providerId="ADAL" clId="{5C2CD6D4-C7A9-4CEF-AA9C-BC2977F70622}" dt="2024-02-22T13:46:02.437" v="57157"/>
          <ac:picMkLst>
            <pc:docMk/>
            <pc:sldMk cId="3011676800" sldId="2147483554"/>
            <ac:picMk id="37" creationId="{3C5BC96F-DEC9-5DE9-BC48-75BC48E9AD81}"/>
          </ac:picMkLst>
        </pc:picChg>
        <pc:picChg chg="mod">
          <ac:chgData name="Abdi, Adnan" userId="503e002c-9b3b-4180-87fb-acabeb2b158a" providerId="ADAL" clId="{5C2CD6D4-C7A9-4CEF-AA9C-BC2977F70622}" dt="2024-02-22T13:46:02.437" v="57157"/>
          <ac:picMkLst>
            <pc:docMk/>
            <pc:sldMk cId="3011676800" sldId="2147483554"/>
            <ac:picMk id="38" creationId="{09677ECA-BA46-BC46-1113-96B8B964622F}"/>
          </ac:picMkLst>
        </pc:picChg>
        <pc:picChg chg="mod">
          <ac:chgData name="Abdi, Adnan" userId="503e002c-9b3b-4180-87fb-acabeb2b158a" providerId="ADAL" clId="{5C2CD6D4-C7A9-4CEF-AA9C-BC2977F70622}" dt="2024-02-22T13:46:02.437" v="57157"/>
          <ac:picMkLst>
            <pc:docMk/>
            <pc:sldMk cId="3011676800" sldId="2147483554"/>
            <ac:picMk id="39" creationId="{AB59A59E-A687-AC15-50A6-53A1C9E3144C}"/>
          </ac:picMkLst>
        </pc:picChg>
        <pc:picChg chg="mod">
          <ac:chgData name="Abdi, Adnan" userId="503e002c-9b3b-4180-87fb-acabeb2b158a" providerId="ADAL" clId="{5C2CD6D4-C7A9-4CEF-AA9C-BC2977F70622}" dt="2024-02-22T13:46:02.437" v="57157"/>
          <ac:picMkLst>
            <pc:docMk/>
            <pc:sldMk cId="3011676800" sldId="2147483554"/>
            <ac:picMk id="40" creationId="{3AF2C0CA-290A-0752-64B9-A463BD89A72C}"/>
          </ac:picMkLst>
        </pc:picChg>
        <pc:picChg chg="mod">
          <ac:chgData name="Abdi, Adnan" userId="503e002c-9b3b-4180-87fb-acabeb2b158a" providerId="ADAL" clId="{5C2CD6D4-C7A9-4CEF-AA9C-BC2977F70622}" dt="2024-02-22T13:46:02.437" v="57157"/>
          <ac:picMkLst>
            <pc:docMk/>
            <pc:sldMk cId="3011676800" sldId="2147483554"/>
            <ac:picMk id="41" creationId="{CCDA6E43-DD42-450B-F00F-F364B32387A6}"/>
          </ac:picMkLst>
        </pc:picChg>
        <pc:picChg chg="mod">
          <ac:chgData name="Abdi, Adnan" userId="503e002c-9b3b-4180-87fb-acabeb2b158a" providerId="ADAL" clId="{5C2CD6D4-C7A9-4CEF-AA9C-BC2977F70622}" dt="2024-02-22T13:46:02.437" v="57157"/>
          <ac:picMkLst>
            <pc:docMk/>
            <pc:sldMk cId="3011676800" sldId="2147483554"/>
            <ac:picMk id="42" creationId="{1079199E-CCB8-182F-7161-9270209E987A}"/>
          </ac:picMkLst>
        </pc:picChg>
        <pc:picChg chg="mod">
          <ac:chgData name="Abdi, Adnan" userId="503e002c-9b3b-4180-87fb-acabeb2b158a" providerId="ADAL" clId="{5C2CD6D4-C7A9-4CEF-AA9C-BC2977F70622}" dt="2024-02-22T13:46:02.437" v="57157"/>
          <ac:picMkLst>
            <pc:docMk/>
            <pc:sldMk cId="3011676800" sldId="2147483554"/>
            <ac:picMk id="43" creationId="{FE4A6AD9-6C6B-F0CD-0D35-AA2538E9010A}"/>
          </ac:picMkLst>
        </pc:picChg>
        <pc:picChg chg="mod">
          <ac:chgData name="Abdi, Adnan" userId="503e002c-9b3b-4180-87fb-acabeb2b158a" providerId="ADAL" clId="{5C2CD6D4-C7A9-4CEF-AA9C-BC2977F70622}" dt="2024-02-22T13:46:02.437" v="57157"/>
          <ac:picMkLst>
            <pc:docMk/>
            <pc:sldMk cId="3011676800" sldId="2147483554"/>
            <ac:picMk id="44" creationId="{8028A147-E35C-A7D1-3E81-1E828826FD0C}"/>
          </ac:picMkLst>
        </pc:picChg>
        <pc:picChg chg="mod">
          <ac:chgData name="Abdi, Adnan" userId="503e002c-9b3b-4180-87fb-acabeb2b158a" providerId="ADAL" clId="{5C2CD6D4-C7A9-4CEF-AA9C-BC2977F70622}" dt="2024-02-22T13:46:02.437" v="57157"/>
          <ac:picMkLst>
            <pc:docMk/>
            <pc:sldMk cId="3011676800" sldId="2147483554"/>
            <ac:picMk id="45" creationId="{BDB3BB9E-7A5F-154E-7EAB-8FE561E69E50}"/>
          </ac:picMkLst>
        </pc:picChg>
        <pc:picChg chg="mod">
          <ac:chgData name="Abdi, Adnan" userId="503e002c-9b3b-4180-87fb-acabeb2b158a" providerId="ADAL" clId="{5C2CD6D4-C7A9-4CEF-AA9C-BC2977F70622}" dt="2024-02-22T13:45:36.126" v="57109" actId="408"/>
          <ac:picMkLst>
            <pc:docMk/>
            <pc:sldMk cId="3011676800" sldId="2147483554"/>
            <ac:picMk id="46" creationId="{06A6C13F-ACEF-8935-3301-9762F62F8AF2}"/>
          </ac:picMkLst>
        </pc:picChg>
        <pc:picChg chg="mod">
          <ac:chgData name="Abdi, Adnan" userId="503e002c-9b3b-4180-87fb-acabeb2b158a" providerId="ADAL" clId="{5C2CD6D4-C7A9-4CEF-AA9C-BC2977F70622}" dt="2024-02-22T13:45:01.851" v="57036" actId="408"/>
          <ac:picMkLst>
            <pc:docMk/>
            <pc:sldMk cId="3011676800" sldId="2147483554"/>
            <ac:picMk id="71" creationId="{0A81EDB0-625A-0093-E79B-F5573C53D4F6}"/>
          </ac:picMkLst>
        </pc:picChg>
        <pc:picChg chg="add mod">
          <ac:chgData name="Abdi, Adnan" userId="503e002c-9b3b-4180-87fb-acabeb2b158a" providerId="ADAL" clId="{5C2CD6D4-C7A9-4CEF-AA9C-BC2977F70622}" dt="2024-02-22T13:44:31.126" v="57028" actId="408"/>
          <ac:picMkLst>
            <pc:docMk/>
            <pc:sldMk cId="3011676800" sldId="2147483554"/>
            <ac:picMk id="72" creationId="{A066D471-C944-6612-AD6C-32263857E231}"/>
          </ac:picMkLst>
        </pc:picChg>
        <pc:picChg chg="add del mod">
          <ac:chgData name="Abdi, Adnan" userId="503e002c-9b3b-4180-87fb-acabeb2b158a" providerId="ADAL" clId="{5C2CD6D4-C7A9-4CEF-AA9C-BC2977F70622}" dt="2024-02-22T13:42:55.601" v="56995" actId="478"/>
          <ac:picMkLst>
            <pc:docMk/>
            <pc:sldMk cId="3011676800" sldId="2147483554"/>
            <ac:picMk id="74" creationId="{6065FCE0-D503-8B75-1040-696983FAA09A}"/>
          </ac:picMkLst>
        </pc:picChg>
        <pc:picChg chg="add mod">
          <ac:chgData name="Abdi, Adnan" userId="503e002c-9b3b-4180-87fb-acabeb2b158a" providerId="ADAL" clId="{5C2CD6D4-C7A9-4CEF-AA9C-BC2977F70622}" dt="2024-02-22T13:45:20.819" v="57093" actId="408"/>
          <ac:picMkLst>
            <pc:docMk/>
            <pc:sldMk cId="3011676800" sldId="2147483554"/>
            <ac:picMk id="75" creationId="{DF4F0521-86DA-6270-F2F6-9DFF8F8A40C1}"/>
          </ac:picMkLst>
        </pc:picChg>
      </pc:sldChg>
      <pc:sldChg chg="addSp delSp modSp add del mod ord modNotes">
        <pc:chgData name="Abdi, Adnan" userId="503e002c-9b3b-4180-87fb-acabeb2b158a" providerId="ADAL" clId="{5C2CD6D4-C7A9-4CEF-AA9C-BC2977F70622}" dt="2024-02-20T12:53:06.422" v="21012"/>
        <pc:sldMkLst>
          <pc:docMk/>
          <pc:sldMk cId="4198764099" sldId="2147483554"/>
        </pc:sldMkLst>
        <pc:spChg chg="mod">
          <ac:chgData name="Abdi, Adnan" userId="503e002c-9b3b-4180-87fb-acabeb2b158a" providerId="ADAL" clId="{5C2CD6D4-C7A9-4CEF-AA9C-BC2977F70622}" dt="2024-02-20T12:52:59.599" v="17701" actId="947"/>
          <ac:spMkLst>
            <pc:docMk/>
            <pc:sldMk cId="4198764099" sldId="2147483554"/>
            <ac:spMk id="2" creationId="{551A0760-76B6-B0DA-473F-4F9BCE390A30}"/>
          </ac:spMkLst>
        </pc:spChg>
        <pc:spChg chg="mod">
          <ac:chgData name="Abdi, Adnan" userId="503e002c-9b3b-4180-87fb-acabeb2b158a" providerId="ADAL" clId="{5C2CD6D4-C7A9-4CEF-AA9C-BC2977F70622}" dt="2024-02-20T12:52:59.599" v="17703" actId="947"/>
          <ac:spMkLst>
            <pc:docMk/>
            <pc:sldMk cId="4198764099" sldId="2147483554"/>
            <ac:spMk id="3" creationId="{18FF0807-DAF8-B85E-04CD-C4F80F1262E3}"/>
          </ac:spMkLst>
        </pc:spChg>
        <pc:spChg chg="mod">
          <ac:chgData name="Abdi, Adnan" userId="503e002c-9b3b-4180-87fb-acabeb2b158a" providerId="ADAL" clId="{5C2CD6D4-C7A9-4CEF-AA9C-BC2977F70622}" dt="2024-02-20T12:52:59.599" v="17705" actId="947"/>
          <ac:spMkLst>
            <pc:docMk/>
            <pc:sldMk cId="4198764099" sldId="2147483554"/>
            <ac:spMk id="4" creationId="{D621C63B-DC3F-9AB3-994A-92E4128610F0}"/>
          </ac:spMkLst>
        </pc:spChg>
        <pc:spChg chg="mod">
          <ac:chgData name="Abdi, Adnan" userId="503e002c-9b3b-4180-87fb-acabeb2b158a" providerId="ADAL" clId="{5C2CD6D4-C7A9-4CEF-AA9C-BC2977F70622}" dt="2024-02-20T12:52:59.599" v="17707" actId="947"/>
          <ac:spMkLst>
            <pc:docMk/>
            <pc:sldMk cId="4198764099" sldId="2147483554"/>
            <ac:spMk id="6" creationId="{589378CD-52C8-6163-41D7-184EB71CE89A}"/>
          </ac:spMkLst>
        </pc:spChg>
        <pc:spChg chg="mod">
          <ac:chgData name="Abdi, Adnan" userId="503e002c-9b3b-4180-87fb-acabeb2b158a" providerId="ADAL" clId="{5C2CD6D4-C7A9-4CEF-AA9C-BC2977F70622}" dt="2024-02-20T12:52:59.615" v="17709" actId="947"/>
          <ac:spMkLst>
            <pc:docMk/>
            <pc:sldMk cId="4198764099" sldId="2147483554"/>
            <ac:spMk id="7" creationId="{4408E651-160C-1E66-D23C-D59C1CAF0B33}"/>
          </ac:spMkLst>
        </pc:spChg>
        <pc:spChg chg="mod">
          <ac:chgData name="Abdi, Adnan" userId="503e002c-9b3b-4180-87fb-acabeb2b158a" providerId="ADAL" clId="{5C2CD6D4-C7A9-4CEF-AA9C-BC2977F70622}" dt="2024-02-20T08:06:21.301" v="10330" actId="27636"/>
          <ac:spMkLst>
            <pc:docMk/>
            <pc:sldMk cId="4198764099" sldId="2147483554"/>
            <ac:spMk id="8" creationId="{531FDD43-1D1A-AA1C-C408-BC8C5ACE26DF}"/>
          </ac:spMkLst>
        </pc:spChg>
        <pc:spChg chg="mod">
          <ac:chgData name="Abdi, Adnan" userId="503e002c-9b3b-4180-87fb-acabeb2b158a" providerId="ADAL" clId="{5C2CD6D4-C7A9-4CEF-AA9C-BC2977F70622}" dt="2024-02-20T08:06:21.301" v="10330" actId="27636"/>
          <ac:spMkLst>
            <pc:docMk/>
            <pc:sldMk cId="4198764099" sldId="2147483554"/>
            <ac:spMk id="34" creationId="{86A06365-AE9C-6B74-0FA2-187F6397A0C8}"/>
          </ac:spMkLst>
        </pc:spChg>
        <pc:spChg chg="mod">
          <ac:chgData name="Abdi, Adnan" userId="503e002c-9b3b-4180-87fb-acabeb2b158a" providerId="ADAL" clId="{5C2CD6D4-C7A9-4CEF-AA9C-BC2977F70622}" dt="2024-02-20T12:52:59.615" v="17711" actId="947"/>
          <ac:spMkLst>
            <pc:docMk/>
            <pc:sldMk cId="4198764099" sldId="2147483554"/>
            <ac:spMk id="47" creationId="{F0653A2A-984A-3E11-E9B4-002B674A56BC}"/>
          </ac:spMkLst>
        </pc:spChg>
        <pc:spChg chg="mod">
          <ac:chgData name="Abdi, Adnan" userId="503e002c-9b3b-4180-87fb-acabeb2b158a" providerId="ADAL" clId="{5C2CD6D4-C7A9-4CEF-AA9C-BC2977F70622}" dt="2024-02-20T12:52:59.631" v="17721" actId="947"/>
          <ac:spMkLst>
            <pc:docMk/>
            <pc:sldMk cId="4198764099" sldId="2147483554"/>
            <ac:spMk id="50" creationId="{53F76722-A130-64AC-6284-F804C79FA73C}"/>
          </ac:spMkLst>
        </pc:spChg>
        <pc:spChg chg="mod">
          <ac:chgData name="Abdi, Adnan" userId="503e002c-9b3b-4180-87fb-acabeb2b158a" providerId="ADAL" clId="{5C2CD6D4-C7A9-4CEF-AA9C-BC2977F70622}" dt="2024-02-20T12:52:59.615" v="17719" actId="947"/>
          <ac:spMkLst>
            <pc:docMk/>
            <pc:sldMk cId="4198764099" sldId="2147483554"/>
            <ac:spMk id="51" creationId="{F991634E-DF31-1FDC-48BA-8B8F67DE3562}"/>
          </ac:spMkLst>
        </pc:spChg>
        <pc:spChg chg="mod">
          <ac:chgData name="Abdi, Adnan" userId="503e002c-9b3b-4180-87fb-acabeb2b158a" providerId="ADAL" clId="{5C2CD6D4-C7A9-4CEF-AA9C-BC2977F70622}" dt="2024-02-20T12:52:59.615" v="17717" actId="947"/>
          <ac:spMkLst>
            <pc:docMk/>
            <pc:sldMk cId="4198764099" sldId="2147483554"/>
            <ac:spMk id="52" creationId="{22F6E51C-8829-6CF1-21B4-C365F65FF552}"/>
          </ac:spMkLst>
        </pc:spChg>
        <pc:spChg chg="mod">
          <ac:chgData name="Abdi, Adnan" userId="503e002c-9b3b-4180-87fb-acabeb2b158a" providerId="ADAL" clId="{5C2CD6D4-C7A9-4CEF-AA9C-BC2977F70622}" dt="2024-02-20T12:52:59.615" v="17715" actId="947"/>
          <ac:spMkLst>
            <pc:docMk/>
            <pc:sldMk cId="4198764099" sldId="2147483554"/>
            <ac:spMk id="53" creationId="{147AA9E0-8D8F-E843-E15E-62BE6C954F02}"/>
          </ac:spMkLst>
        </pc:spChg>
        <pc:spChg chg="mod">
          <ac:chgData name="Abdi, Adnan" userId="503e002c-9b3b-4180-87fb-acabeb2b158a" providerId="ADAL" clId="{5C2CD6D4-C7A9-4CEF-AA9C-BC2977F70622}" dt="2024-02-20T12:52:59.615" v="17713" actId="947"/>
          <ac:spMkLst>
            <pc:docMk/>
            <pc:sldMk cId="4198764099" sldId="2147483554"/>
            <ac:spMk id="54" creationId="{B8094DA5-F21D-83C1-A9FC-214A5A97825C}"/>
          </ac:spMkLst>
        </pc:spChg>
        <pc:spChg chg="mod">
          <ac:chgData name="Abdi, Adnan" userId="503e002c-9b3b-4180-87fb-acabeb2b158a" providerId="ADAL" clId="{5C2CD6D4-C7A9-4CEF-AA9C-BC2977F70622}" dt="2024-02-20T08:06:20.818" v="10329" actId="2711"/>
          <ac:spMkLst>
            <pc:docMk/>
            <pc:sldMk cId="4198764099" sldId="2147483554"/>
            <ac:spMk id="56" creationId="{8EC5330C-7515-1F2C-1F8E-1668BA7FEC36}"/>
          </ac:spMkLst>
        </pc:spChg>
        <pc:spChg chg="mod">
          <ac:chgData name="Abdi, Adnan" userId="503e002c-9b3b-4180-87fb-acabeb2b158a" providerId="ADAL" clId="{5C2CD6D4-C7A9-4CEF-AA9C-BC2977F70622}" dt="2024-02-20T12:52:59.631" v="17731" actId="947"/>
          <ac:spMkLst>
            <pc:docMk/>
            <pc:sldMk cId="4198764099" sldId="2147483554"/>
            <ac:spMk id="57" creationId="{5D2B52FD-1C3B-756A-8EB0-627E096DDA02}"/>
          </ac:spMkLst>
        </pc:spChg>
        <pc:spChg chg="mod">
          <ac:chgData name="Abdi, Adnan" userId="503e002c-9b3b-4180-87fb-acabeb2b158a" providerId="ADAL" clId="{5C2CD6D4-C7A9-4CEF-AA9C-BC2977F70622}" dt="2024-02-20T12:52:59.631" v="17729" actId="947"/>
          <ac:spMkLst>
            <pc:docMk/>
            <pc:sldMk cId="4198764099" sldId="2147483554"/>
            <ac:spMk id="58" creationId="{43F28C14-B570-7663-51A0-DFE917661121}"/>
          </ac:spMkLst>
        </pc:spChg>
        <pc:spChg chg="mod">
          <ac:chgData name="Abdi, Adnan" userId="503e002c-9b3b-4180-87fb-acabeb2b158a" providerId="ADAL" clId="{5C2CD6D4-C7A9-4CEF-AA9C-BC2977F70622}" dt="2024-02-20T12:52:59.631" v="17727" actId="947"/>
          <ac:spMkLst>
            <pc:docMk/>
            <pc:sldMk cId="4198764099" sldId="2147483554"/>
            <ac:spMk id="59" creationId="{73BAC7AB-02FB-6385-AC57-325655F9CCDA}"/>
          </ac:spMkLst>
        </pc:spChg>
        <pc:spChg chg="mod">
          <ac:chgData name="Abdi, Adnan" userId="503e002c-9b3b-4180-87fb-acabeb2b158a" providerId="ADAL" clId="{5C2CD6D4-C7A9-4CEF-AA9C-BC2977F70622}" dt="2024-02-20T12:52:59.631" v="17725" actId="947"/>
          <ac:spMkLst>
            <pc:docMk/>
            <pc:sldMk cId="4198764099" sldId="2147483554"/>
            <ac:spMk id="60" creationId="{AB7B8D71-BB2C-E65A-C7BB-26A661E43CE3}"/>
          </ac:spMkLst>
        </pc:spChg>
        <pc:spChg chg="mod">
          <ac:chgData name="Abdi, Adnan" userId="503e002c-9b3b-4180-87fb-acabeb2b158a" providerId="ADAL" clId="{5C2CD6D4-C7A9-4CEF-AA9C-BC2977F70622}" dt="2024-02-20T12:52:59.631" v="17723" actId="947"/>
          <ac:spMkLst>
            <pc:docMk/>
            <pc:sldMk cId="4198764099" sldId="2147483554"/>
            <ac:spMk id="61" creationId="{C59E84B3-C9D3-A94F-428F-A49BE1760795}"/>
          </ac:spMkLst>
        </pc:spChg>
        <pc:spChg chg="mod">
          <ac:chgData name="Abdi, Adnan" userId="503e002c-9b3b-4180-87fb-acabeb2b158a" providerId="ADAL" clId="{5C2CD6D4-C7A9-4CEF-AA9C-BC2977F70622}" dt="2024-02-20T12:52:59.631" v="17733" actId="947"/>
          <ac:spMkLst>
            <pc:docMk/>
            <pc:sldMk cId="4198764099" sldId="2147483554"/>
            <ac:spMk id="62" creationId="{1C4C5E68-970F-77A5-E495-4A8FED1E54E1}"/>
          </ac:spMkLst>
        </pc:spChg>
        <pc:spChg chg="mod">
          <ac:chgData name="Abdi, Adnan" userId="503e002c-9b3b-4180-87fb-acabeb2b158a" providerId="ADAL" clId="{5C2CD6D4-C7A9-4CEF-AA9C-BC2977F70622}" dt="2024-02-20T12:52:59.631" v="17735" actId="947"/>
          <ac:spMkLst>
            <pc:docMk/>
            <pc:sldMk cId="4198764099" sldId="2147483554"/>
            <ac:spMk id="63" creationId="{AB1016B4-4B79-3931-52A0-DC0D5294B9C5}"/>
          </ac:spMkLst>
        </pc:spChg>
        <pc:spChg chg="mod">
          <ac:chgData name="Abdi, Adnan" userId="503e002c-9b3b-4180-87fb-acabeb2b158a" providerId="ADAL" clId="{5C2CD6D4-C7A9-4CEF-AA9C-BC2977F70622}" dt="2024-02-20T12:52:59.646" v="17737" actId="947"/>
          <ac:spMkLst>
            <pc:docMk/>
            <pc:sldMk cId="4198764099" sldId="2147483554"/>
            <ac:spMk id="64" creationId="{C0BA3564-E858-49DF-47DC-415CCBD2679F}"/>
          </ac:spMkLst>
        </pc:spChg>
        <pc:spChg chg="mod">
          <ac:chgData name="Abdi, Adnan" userId="503e002c-9b3b-4180-87fb-acabeb2b158a" providerId="ADAL" clId="{5C2CD6D4-C7A9-4CEF-AA9C-BC2977F70622}" dt="2024-02-20T12:52:59.646" v="17739" actId="947"/>
          <ac:spMkLst>
            <pc:docMk/>
            <pc:sldMk cId="4198764099" sldId="2147483554"/>
            <ac:spMk id="65" creationId="{D9346048-BA17-6A45-80E2-4F5E22C9B420}"/>
          </ac:spMkLst>
        </pc:spChg>
        <pc:spChg chg="mod">
          <ac:chgData name="Abdi, Adnan" userId="503e002c-9b3b-4180-87fb-acabeb2b158a" providerId="ADAL" clId="{5C2CD6D4-C7A9-4CEF-AA9C-BC2977F70622}" dt="2024-02-20T12:52:59.662" v="17741" actId="947"/>
          <ac:spMkLst>
            <pc:docMk/>
            <pc:sldMk cId="4198764099" sldId="2147483554"/>
            <ac:spMk id="66" creationId="{B82DC1A8-19DC-F725-43FF-DBBC55DAC2C0}"/>
          </ac:spMkLst>
        </pc:spChg>
        <pc:spChg chg="add del mod ord">
          <ac:chgData name="Abdi, Adnan" userId="503e002c-9b3b-4180-87fb-acabeb2b158a" providerId="ADAL" clId="{5C2CD6D4-C7A9-4CEF-AA9C-BC2977F70622}" dt="2024-02-19T15:00:14.405" v="5084" actId="478"/>
          <ac:spMkLst>
            <pc:docMk/>
            <pc:sldMk cId="4198764099" sldId="2147483554"/>
            <ac:spMk id="67" creationId="{7AE88447-819B-744C-B0A7-350A3348A009}"/>
          </ac:spMkLst>
        </pc:spChg>
        <pc:spChg chg="mod">
          <ac:chgData name="Abdi, Adnan" userId="503e002c-9b3b-4180-87fb-acabeb2b158a" providerId="ADAL" clId="{5C2CD6D4-C7A9-4CEF-AA9C-BC2977F70622}" dt="2024-02-20T08:06:21.301" v="10330" actId="27636"/>
          <ac:spMkLst>
            <pc:docMk/>
            <pc:sldMk cId="4198764099" sldId="2147483554"/>
            <ac:spMk id="68" creationId="{D174A169-959C-4B48-31F0-80FAD16A7747}"/>
          </ac:spMkLst>
        </pc:spChg>
        <pc:spChg chg="mod">
          <ac:chgData name="Abdi, Adnan" userId="503e002c-9b3b-4180-87fb-acabeb2b158a" providerId="ADAL" clId="{5C2CD6D4-C7A9-4CEF-AA9C-BC2977F70622}" dt="2024-02-20T12:52:59.669" v="17745" actId="947"/>
          <ac:spMkLst>
            <pc:docMk/>
            <pc:sldMk cId="4198764099" sldId="2147483554"/>
            <ac:spMk id="69" creationId="{4F381E4F-7301-B758-7BF4-B5D98F4B1B9B}"/>
          </ac:spMkLst>
        </pc:spChg>
        <pc:spChg chg="mod">
          <ac:chgData name="Abdi, Adnan" userId="503e002c-9b3b-4180-87fb-acabeb2b158a" providerId="ADAL" clId="{5C2CD6D4-C7A9-4CEF-AA9C-BC2977F70622}" dt="2024-02-20T08:06:21.301" v="10330" actId="27636"/>
          <ac:spMkLst>
            <pc:docMk/>
            <pc:sldMk cId="4198764099" sldId="2147483554"/>
            <ac:spMk id="70" creationId="{CAD1BDC6-7201-E27E-38A6-32D3DE1B61A7}"/>
          </ac:spMkLst>
        </pc:spChg>
        <pc:spChg chg="del">
          <ac:chgData name="Abdi, Adnan" userId="503e002c-9b3b-4180-87fb-acabeb2b158a" providerId="ADAL" clId="{5C2CD6D4-C7A9-4CEF-AA9C-BC2977F70622}" dt="2024-02-19T10:37:58.292" v="558" actId="478"/>
          <ac:spMkLst>
            <pc:docMk/>
            <pc:sldMk cId="4198764099" sldId="2147483554"/>
            <ac:spMk id="72" creationId="{8CA7AB91-C88C-E1E9-A21D-190B15F0B89A}"/>
          </ac:spMkLst>
        </pc:spChg>
        <pc:spChg chg="mod ord">
          <ac:chgData name="Abdi, Adnan" userId="503e002c-9b3b-4180-87fb-acabeb2b158a" providerId="ADAL" clId="{5C2CD6D4-C7A9-4CEF-AA9C-BC2977F70622}" dt="2024-02-20T12:52:59.665" v="17743" actId="947"/>
          <ac:spMkLst>
            <pc:docMk/>
            <pc:sldMk cId="4198764099" sldId="2147483554"/>
            <ac:spMk id="73" creationId="{CBC511E1-3622-F1A2-FE77-0EDA66FCEA24}"/>
          </ac:spMkLst>
        </pc:spChg>
        <pc:grpChg chg="mod">
          <ac:chgData name="Abdi, Adnan" userId="503e002c-9b3b-4180-87fb-acabeb2b158a" providerId="ADAL" clId="{5C2CD6D4-C7A9-4CEF-AA9C-BC2977F70622}" dt="2024-02-20T08:06:21.301" v="10330" actId="27636"/>
          <ac:grpSpMkLst>
            <pc:docMk/>
            <pc:sldMk cId="4198764099" sldId="2147483554"/>
            <ac:grpSpMk id="48" creationId="{B5DAC944-B906-63E7-D99B-498D38DE9031}"/>
          </ac:grpSpMkLst>
        </pc:grpChg>
        <pc:grpChg chg="mod">
          <ac:chgData name="Abdi, Adnan" userId="503e002c-9b3b-4180-87fb-acabeb2b158a" providerId="ADAL" clId="{5C2CD6D4-C7A9-4CEF-AA9C-BC2977F70622}" dt="2024-02-20T08:06:20.818" v="10329" actId="2711"/>
          <ac:grpSpMkLst>
            <pc:docMk/>
            <pc:sldMk cId="4198764099" sldId="2147483554"/>
            <ac:grpSpMk id="49" creationId="{EAE52FD7-52B3-B5D3-7D10-80EB54CDD70E}"/>
          </ac:grpSpMkLst>
        </pc:grpChg>
        <pc:grpChg chg="mod">
          <ac:chgData name="Abdi, Adnan" userId="503e002c-9b3b-4180-87fb-acabeb2b158a" providerId="ADAL" clId="{5C2CD6D4-C7A9-4CEF-AA9C-BC2977F70622}" dt="2024-02-20T08:06:20.818" v="10329" actId="2711"/>
          <ac:grpSpMkLst>
            <pc:docMk/>
            <pc:sldMk cId="4198764099" sldId="2147483554"/>
            <ac:grpSpMk id="55" creationId="{D7E0C69B-C25F-20AC-7596-EBFA58854D4A}"/>
          </ac:grpSpMkLst>
        </pc:grpChg>
        <pc:graphicFrameChg chg="mod ord modVis replST">
          <ac:chgData name="Abdi, Adnan" userId="503e002c-9b3b-4180-87fb-acabeb2b158a" providerId="ADAL" clId="{5C2CD6D4-C7A9-4CEF-AA9C-BC2977F70622}" dt="2024-02-20T12:53:06.422" v="21012"/>
          <ac:graphicFrameMkLst>
            <pc:docMk/>
            <pc:sldMk cId="4198764099" sldId="2147483554"/>
            <ac:graphicFrameMk id="67" creationId="{04FAAC7D-6ACE-FFE3-5C6A-3BD0ADCB9AB7}"/>
          </ac:graphicFrameMkLst>
        </pc:graphicFrameChg>
        <pc:picChg chg="mod">
          <ac:chgData name="Abdi, Adnan" userId="503e002c-9b3b-4180-87fb-acabeb2b158a" providerId="ADAL" clId="{5C2CD6D4-C7A9-4CEF-AA9C-BC2977F70622}" dt="2024-02-20T08:06:21.301" v="10330" actId="27636"/>
          <ac:picMkLst>
            <pc:docMk/>
            <pc:sldMk cId="4198764099" sldId="2147483554"/>
            <ac:picMk id="5" creationId="{BC97349F-D566-0BF1-967B-BA12EF984D6D}"/>
          </ac:picMkLst>
        </pc:picChg>
        <pc:picChg chg="mod">
          <ac:chgData name="Abdi, Adnan" userId="503e002c-9b3b-4180-87fb-acabeb2b158a" providerId="ADAL" clId="{5C2CD6D4-C7A9-4CEF-AA9C-BC2977F70622}" dt="2024-02-20T08:06:21.301" v="10330" actId="27636"/>
          <ac:picMkLst>
            <pc:docMk/>
            <pc:sldMk cId="4198764099" sldId="2147483554"/>
            <ac:picMk id="9" creationId="{42897A8E-E814-AD5D-1817-AD82D842E4AA}"/>
          </ac:picMkLst>
        </pc:picChg>
        <pc:picChg chg="mod">
          <ac:chgData name="Abdi, Adnan" userId="503e002c-9b3b-4180-87fb-acabeb2b158a" providerId="ADAL" clId="{5C2CD6D4-C7A9-4CEF-AA9C-BC2977F70622}" dt="2024-02-20T08:06:21.301" v="10330" actId="27636"/>
          <ac:picMkLst>
            <pc:docMk/>
            <pc:sldMk cId="4198764099" sldId="2147483554"/>
            <ac:picMk id="10" creationId="{EA66A170-868C-2292-E7FC-8CB59FDED9D3}"/>
          </ac:picMkLst>
        </pc:picChg>
        <pc:picChg chg="mod">
          <ac:chgData name="Abdi, Adnan" userId="503e002c-9b3b-4180-87fb-acabeb2b158a" providerId="ADAL" clId="{5C2CD6D4-C7A9-4CEF-AA9C-BC2977F70622}" dt="2024-02-20T08:06:21.301" v="10330" actId="27636"/>
          <ac:picMkLst>
            <pc:docMk/>
            <pc:sldMk cId="4198764099" sldId="2147483554"/>
            <ac:picMk id="11" creationId="{76E55EE1-A3A4-C847-8FE2-9792D4D03F81}"/>
          </ac:picMkLst>
        </pc:picChg>
        <pc:picChg chg="mod">
          <ac:chgData name="Abdi, Adnan" userId="503e002c-9b3b-4180-87fb-acabeb2b158a" providerId="ADAL" clId="{5C2CD6D4-C7A9-4CEF-AA9C-BC2977F70622}" dt="2024-02-20T08:06:21.301" v="10330" actId="27636"/>
          <ac:picMkLst>
            <pc:docMk/>
            <pc:sldMk cId="4198764099" sldId="2147483554"/>
            <ac:picMk id="12" creationId="{C87A76AE-457E-932D-6800-D86CD7DFDDCE}"/>
          </ac:picMkLst>
        </pc:picChg>
        <pc:picChg chg="mod">
          <ac:chgData name="Abdi, Adnan" userId="503e002c-9b3b-4180-87fb-acabeb2b158a" providerId="ADAL" clId="{5C2CD6D4-C7A9-4CEF-AA9C-BC2977F70622}" dt="2024-02-20T08:06:21.301" v="10330" actId="27636"/>
          <ac:picMkLst>
            <pc:docMk/>
            <pc:sldMk cId="4198764099" sldId="2147483554"/>
            <ac:picMk id="13" creationId="{33A25788-0D39-D8A1-6048-2531C948581C}"/>
          </ac:picMkLst>
        </pc:picChg>
        <pc:picChg chg="mod">
          <ac:chgData name="Abdi, Adnan" userId="503e002c-9b3b-4180-87fb-acabeb2b158a" providerId="ADAL" clId="{5C2CD6D4-C7A9-4CEF-AA9C-BC2977F70622}" dt="2024-02-20T08:06:21.301" v="10330" actId="27636"/>
          <ac:picMkLst>
            <pc:docMk/>
            <pc:sldMk cId="4198764099" sldId="2147483554"/>
            <ac:picMk id="14" creationId="{F0D70ECB-B9C2-25A2-F336-61EA85E4739D}"/>
          </ac:picMkLst>
        </pc:picChg>
        <pc:picChg chg="mod">
          <ac:chgData name="Abdi, Adnan" userId="503e002c-9b3b-4180-87fb-acabeb2b158a" providerId="ADAL" clId="{5C2CD6D4-C7A9-4CEF-AA9C-BC2977F70622}" dt="2024-02-20T08:06:21.301" v="10330" actId="27636"/>
          <ac:picMkLst>
            <pc:docMk/>
            <pc:sldMk cId="4198764099" sldId="2147483554"/>
            <ac:picMk id="15" creationId="{4D7CBB94-4D7C-C1F5-8EB9-6F95DFD04DC2}"/>
          </ac:picMkLst>
        </pc:picChg>
        <pc:picChg chg="mod">
          <ac:chgData name="Abdi, Adnan" userId="503e002c-9b3b-4180-87fb-acabeb2b158a" providerId="ADAL" clId="{5C2CD6D4-C7A9-4CEF-AA9C-BC2977F70622}" dt="2024-02-20T08:06:21.301" v="10330" actId="27636"/>
          <ac:picMkLst>
            <pc:docMk/>
            <pc:sldMk cId="4198764099" sldId="2147483554"/>
            <ac:picMk id="16" creationId="{BC362C74-6941-FED4-A2E3-10D03385F554}"/>
          </ac:picMkLst>
        </pc:picChg>
        <pc:picChg chg="mod">
          <ac:chgData name="Abdi, Adnan" userId="503e002c-9b3b-4180-87fb-acabeb2b158a" providerId="ADAL" clId="{5C2CD6D4-C7A9-4CEF-AA9C-BC2977F70622}" dt="2024-02-20T08:06:21.301" v="10330" actId="27636"/>
          <ac:picMkLst>
            <pc:docMk/>
            <pc:sldMk cId="4198764099" sldId="2147483554"/>
            <ac:picMk id="17" creationId="{48561D4C-FE4F-AC7C-E22B-81D1C6EA6A2F}"/>
          </ac:picMkLst>
        </pc:picChg>
        <pc:picChg chg="mod">
          <ac:chgData name="Abdi, Adnan" userId="503e002c-9b3b-4180-87fb-acabeb2b158a" providerId="ADAL" clId="{5C2CD6D4-C7A9-4CEF-AA9C-BC2977F70622}" dt="2024-02-20T08:06:21.301" v="10330" actId="27636"/>
          <ac:picMkLst>
            <pc:docMk/>
            <pc:sldMk cId="4198764099" sldId="2147483554"/>
            <ac:picMk id="18" creationId="{5DFAED92-0DBB-9F6E-DD57-51B75252F788}"/>
          </ac:picMkLst>
        </pc:picChg>
        <pc:picChg chg="mod">
          <ac:chgData name="Abdi, Adnan" userId="503e002c-9b3b-4180-87fb-acabeb2b158a" providerId="ADAL" clId="{5C2CD6D4-C7A9-4CEF-AA9C-BC2977F70622}" dt="2024-02-20T08:06:21.301" v="10330" actId="27636"/>
          <ac:picMkLst>
            <pc:docMk/>
            <pc:sldMk cId="4198764099" sldId="2147483554"/>
            <ac:picMk id="19" creationId="{0BE2240E-9CC3-FCD2-22E6-EEC36AA86F83}"/>
          </ac:picMkLst>
        </pc:picChg>
        <pc:picChg chg="mod">
          <ac:chgData name="Abdi, Adnan" userId="503e002c-9b3b-4180-87fb-acabeb2b158a" providerId="ADAL" clId="{5C2CD6D4-C7A9-4CEF-AA9C-BC2977F70622}" dt="2024-02-20T08:06:21.301" v="10330" actId="27636"/>
          <ac:picMkLst>
            <pc:docMk/>
            <pc:sldMk cId="4198764099" sldId="2147483554"/>
            <ac:picMk id="20" creationId="{8113D31D-6AAD-BF9E-6FCD-18FE1360C808}"/>
          </ac:picMkLst>
        </pc:picChg>
        <pc:picChg chg="mod">
          <ac:chgData name="Abdi, Adnan" userId="503e002c-9b3b-4180-87fb-acabeb2b158a" providerId="ADAL" clId="{5C2CD6D4-C7A9-4CEF-AA9C-BC2977F70622}" dt="2024-02-20T08:06:21.301" v="10330" actId="27636"/>
          <ac:picMkLst>
            <pc:docMk/>
            <pc:sldMk cId="4198764099" sldId="2147483554"/>
            <ac:picMk id="21" creationId="{74BE8022-5D8F-0B6D-F595-62316EA15575}"/>
          </ac:picMkLst>
        </pc:picChg>
        <pc:picChg chg="mod">
          <ac:chgData name="Abdi, Adnan" userId="503e002c-9b3b-4180-87fb-acabeb2b158a" providerId="ADAL" clId="{5C2CD6D4-C7A9-4CEF-AA9C-BC2977F70622}" dt="2024-02-20T08:06:21.301" v="10330" actId="27636"/>
          <ac:picMkLst>
            <pc:docMk/>
            <pc:sldMk cId="4198764099" sldId="2147483554"/>
            <ac:picMk id="22" creationId="{404200F1-0174-24FB-7949-61B0FE38A857}"/>
          </ac:picMkLst>
        </pc:picChg>
        <pc:picChg chg="mod">
          <ac:chgData name="Abdi, Adnan" userId="503e002c-9b3b-4180-87fb-acabeb2b158a" providerId="ADAL" clId="{5C2CD6D4-C7A9-4CEF-AA9C-BC2977F70622}" dt="2024-02-20T08:06:21.301" v="10330" actId="27636"/>
          <ac:picMkLst>
            <pc:docMk/>
            <pc:sldMk cId="4198764099" sldId="2147483554"/>
            <ac:picMk id="23" creationId="{B0177FB2-965E-D812-6A5C-FAD8D8AF44DD}"/>
          </ac:picMkLst>
        </pc:picChg>
        <pc:picChg chg="mod">
          <ac:chgData name="Abdi, Adnan" userId="503e002c-9b3b-4180-87fb-acabeb2b158a" providerId="ADAL" clId="{5C2CD6D4-C7A9-4CEF-AA9C-BC2977F70622}" dt="2024-02-20T08:06:21.301" v="10330" actId="27636"/>
          <ac:picMkLst>
            <pc:docMk/>
            <pc:sldMk cId="4198764099" sldId="2147483554"/>
            <ac:picMk id="24" creationId="{C6FEC44A-7E4C-6DA0-28DC-167FE35AD2BE}"/>
          </ac:picMkLst>
        </pc:picChg>
        <pc:picChg chg="mod">
          <ac:chgData name="Abdi, Adnan" userId="503e002c-9b3b-4180-87fb-acabeb2b158a" providerId="ADAL" clId="{5C2CD6D4-C7A9-4CEF-AA9C-BC2977F70622}" dt="2024-02-20T08:06:21.301" v="10330" actId="27636"/>
          <ac:picMkLst>
            <pc:docMk/>
            <pc:sldMk cId="4198764099" sldId="2147483554"/>
            <ac:picMk id="25" creationId="{558B7099-8E7A-7BBF-D307-23A47485DE76}"/>
          </ac:picMkLst>
        </pc:picChg>
        <pc:picChg chg="mod">
          <ac:chgData name="Abdi, Adnan" userId="503e002c-9b3b-4180-87fb-acabeb2b158a" providerId="ADAL" clId="{5C2CD6D4-C7A9-4CEF-AA9C-BC2977F70622}" dt="2024-02-20T08:06:21.301" v="10330" actId="27636"/>
          <ac:picMkLst>
            <pc:docMk/>
            <pc:sldMk cId="4198764099" sldId="2147483554"/>
            <ac:picMk id="26" creationId="{80762608-8624-D451-2673-B9DAE6017ACC}"/>
          </ac:picMkLst>
        </pc:picChg>
        <pc:picChg chg="mod">
          <ac:chgData name="Abdi, Adnan" userId="503e002c-9b3b-4180-87fb-acabeb2b158a" providerId="ADAL" clId="{5C2CD6D4-C7A9-4CEF-AA9C-BC2977F70622}" dt="2024-02-20T08:06:21.301" v="10330" actId="27636"/>
          <ac:picMkLst>
            <pc:docMk/>
            <pc:sldMk cId="4198764099" sldId="2147483554"/>
            <ac:picMk id="27" creationId="{FE9FA0E9-0BE0-E915-788F-2DDB3F20C2E8}"/>
          </ac:picMkLst>
        </pc:picChg>
        <pc:picChg chg="mod">
          <ac:chgData name="Abdi, Adnan" userId="503e002c-9b3b-4180-87fb-acabeb2b158a" providerId="ADAL" clId="{5C2CD6D4-C7A9-4CEF-AA9C-BC2977F70622}" dt="2024-02-20T08:06:21.301" v="10330" actId="27636"/>
          <ac:picMkLst>
            <pc:docMk/>
            <pc:sldMk cId="4198764099" sldId="2147483554"/>
            <ac:picMk id="28" creationId="{B1EAB66A-3B9D-4553-F896-8C74848CA1E9}"/>
          </ac:picMkLst>
        </pc:picChg>
        <pc:picChg chg="mod">
          <ac:chgData name="Abdi, Adnan" userId="503e002c-9b3b-4180-87fb-acabeb2b158a" providerId="ADAL" clId="{5C2CD6D4-C7A9-4CEF-AA9C-BC2977F70622}" dt="2024-02-20T08:06:21.301" v="10330" actId="27636"/>
          <ac:picMkLst>
            <pc:docMk/>
            <pc:sldMk cId="4198764099" sldId="2147483554"/>
            <ac:picMk id="29" creationId="{48641D91-FE36-2141-A18E-B69AF13C542B}"/>
          </ac:picMkLst>
        </pc:picChg>
        <pc:picChg chg="mod">
          <ac:chgData name="Abdi, Adnan" userId="503e002c-9b3b-4180-87fb-acabeb2b158a" providerId="ADAL" clId="{5C2CD6D4-C7A9-4CEF-AA9C-BC2977F70622}" dt="2024-02-20T08:06:21.301" v="10330" actId="27636"/>
          <ac:picMkLst>
            <pc:docMk/>
            <pc:sldMk cId="4198764099" sldId="2147483554"/>
            <ac:picMk id="30" creationId="{6A4D4B28-4B78-9613-48DD-AA6EF96AAC4A}"/>
          </ac:picMkLst>
        </pc:picChg>
        <pc:picChg chg="mod">
          <ac:chgData name="Abdi, Adnan" userId="503e002c-9b3b-4180-87fb-acabeb2b158a" providerId="ADAL" clId="{5C2CD6D4-C7A9-4CEF-AA9C-BC2977F70622}" dt="2024-02-20T08:06:21.301" v="10330" actId="27636"/>
          <ac:picMkLst>
            <pc:docMk/>
            <pc:sldMk cId="4198764099" sldId="2147483554"/>
            <ac:picMk id="31" creationId="{91B1C94D-08C8-412A-AC4B-8E8A61325D85}"/>
          </ac:picMkLst>
        </pc:picChg>
        <pc:picChg chg="mod">
          <ac:chgData name="Abdi, Adnan" userId="503e002c-9b3b-4180-87fb-acabeb2b158a" providerId="ADAL" clId="{5C2CD6D4-C7A9-4CEF-AA9C-BC2977F70622}" dt="2024-02-20T08:06:21.301" v="10330" actId="27636"/>
          <ac:picMkLst>
            <pc:docMk/>
            <pc:sldMk cId="4198764099" sldId="2147483554"/>
            <ac:picMk id="32" creationId="{CFF8BD2F-2BB9-A101-355C-CEAAEA21A903}"/>
          </ac:picMkLst>
        </pc:picChg>
        <pc:picChg chg="mod">
          <ac:chgData name="Abdi, Adnan" userId="503e002c-9b3b-4180-87fb-acabeb2b158a" providerId="ADAL" clId="{5C2CD6D4-C7A9-4CEF-AA9C-BC2977F70622}" dt="2024-02-20T08:06:21.301" v="10330" actId="27636"/>
          <ac:picMkLst>
            <pc:docMk/>
            <pc:sldMk cId="4198764099" sldId="2147483554"/>
            <ac:picMk id="33" creationId="{64058CF7-24FF-55EF-DA56-B86C14C1A4B4}"/>
          </ac:picMkLst>
        </pc:picChg>
        <pc:picChg chg="mod">
          <ac:chgData name="Abdi, Adnan" userId="503e002c-9b3b-4180-87fb-acabeb2b158a" providerId="ADAL" clId="{5C2CD6D4-C7A9-4CEF-AA9C-BC2977F70622}" dt="2024-02-20T08:06:21.301" v="10330" actId="27636"/>
          <ac:picMkLst>
            <pc:docMk/>
            <pc:sldMk cId="4198764099" sldId="2147483554"/>
            <ac:picMk id="35" creationId="{B6F98957-BB43-05A2-F1D2-6A21C150538A}"/>
          </ac:picMkLst>
        </pc:picChg>
        <pc:picChg chg="mod">
          <ac:chgData name="Abdi, Adnan" userId="503e002c-9b3b-4180-87fb-acabeb2b158a" providerId="ADAL" clId="{5C2CD6D4-C7A9-4CEF-AA9C-BC2977F70622}" dt="2024-02-20T08:06:21.301" v="10330" actId="27636"/>
          <ac:picMkLst>
            <pc:docMk/>
            <pc:sldMk cId="4198764099" sldId="2147483554"/>
            <ac:picMk id="36" creationId="{F2478E5D-5A5B-0792-D431-8B6486C9F615}"/>
          </ac:picMkLst>
        </pc:picChg>
        <pc:picChg chg="mod">
          <ac:chgData name="Abdi, Adnan" userId="503e002c-9b3b-4180-87fb-acabeb2b158a" providerId="ADAL" clId="{5C2CD6D4-C7A9-4CEF-AA9C-BC2977F70622}" dt="2024-02-20T08:06:21.301" v="10330" actId="27636"/>
          <ac:picMkLst>
            <pc:docMk/>
            <pc:sldMk cId="4198764099" sldId="2147483554"/>
            <ac:picMk id="37" creationId="{3C5BC96F-DEC9-5DE9-BC48-75BC48E9AD81}"/>
          </ac:picMkLst>
        </pc:picChg>
        <pc:picChg chg="mod">
          <ac:chgData name="Abdi, Adnan" userId="503e002c-9b3b-4180-87fb-acabeb2b158a" providerId="ADAL" clId="{5C2CD6D4-C7A9-4CEF-AA9C-BC2977F70622}" dt="2024-02-20T08:06:21.301" v="10330" actId="27636"/>
          <ac:picMkLst>
            <pc:docMk/>
            <pc:sldMk cId="4198764099" sldId="2147483554"/>
            <ac:picMk id="38" creationId="{09677ECA-BA46-BC46-1113-96B8B964622F}"/>
          </ac:picMkLst>
        </pc:picChg>
        <pc:picChg chg="mod">
          <ac:chgData name="Abdi, Adnan" userId="503e002c-9b3b-4180-87fb-acabeb2b158a" providerId="ADAL" clId="{5C2CD6D4-C7A9-4CEF-AA9C-BC2977F70622}" dt="2024-02-20T08:06:21.301" v="10330" actId="27636"/>
          <ac:picMkLst>
            <pc:docMk/>
            <pc:sldMk cId="4198764099" sldId="2147483554"/>
            <ac:picMk id="39" creationId="{AB59A59E-A687-AC15-50A6-53A1C9E3144C}"/>
          </ac:picMkLst>
        </pc:picChg>
        <pc:picChg chg="mod">
          <ac:chgData name="Abdi, Adnan" userId="503e002c-9b3b-4180-87fb-acabeb2b158a" providerId="ADAL" clId="{5C2CD6D4-C7A9-4CEF-AA9C-BC2977F70622}" dt="2024-02-20T08:06:21.301" v="10330" actId="27636"/>
          <ac:picMkLst>
            <pc:docMk/>
            <pc:sldMk cId="4198764099" sldId="2147483554"/>
            <ac:picMk id="40" creationId="{3AF2C0CA-290A-0752-64B9-A463BD89A72C}"/>
          </ac:picMkLst>
        </pc:picChg>
        <pc:picChg chg="mod">
          <ac:chgData name="Abdi, Adnan" userId="503e002c-9b3b-4180-87fb-acabeb2b158a" providerId="ADAL" clId="{5C2CD6D4-C7A9-4CEF-AA9C-BC2977F70622}" dt="2024-02-20T08:06:21.301" v="10330" actId="27636"/>
          <ac:picMkLst>
            <pc:docMk/>
            <pc:sldMk cId="4198764099" sldId="2147483554"/>
            <ac:picMk id="41" creationId="{CCDA6E43-DD42-450B-F00F-F364B32387A6}"/>
          </ac:picMkLst>
        </pc:picChg>
        <pc:picChg chg="mod">
          <ac:chgData name="Abdi, Adnan" userId="503e002c-9b3b-4180-87fb-acabeb2b158a" providerId="ADAL" clId="{5C2CD6D4-C7A9-4CEF-AA9C-BC2977F70622}" dt="2024-02-20T08:06:21.301" v="10330" actId="27636"/>
          <ac:picMkLst>
            <pc:docMk/>
            <pc:sldMk cId="4198764099" sldId="2147483554"/>
            <ac:picMk id="42" creationId="{1079199E-CCB8-182F-7161-9270209E987A}"/>
          </ac:picMkLst>
        </pc:picChg>
        <pc:picChg chg="mod">
          <ac:chgData name="Abdi, Adnan" userId="503e002c-9b3b-4180-87fb-acabeb2b158a" providerId="ADAL" clId="{5C2CD6D4-C7A9-4CEF-AA9C-BC2977F70622}" dt="2024-02-20T08:06:21.301" v="10330" actId="27636"/>
          <ac:picMkLst>
            <pc:docMk/>
            <pc:sldMk cId="4198764099" sldId="2147483554"/>
            <ac:picMk id="43" creationId="{FE4A6AD9-6C6B-F0CD-0D35-AA2538E9010A}"/>
          </ac:picMkLst>
        </pc:picChg>
        <pc:picChg chg="mod">
          <ac:chgData name="Abdi, Adnan" userId="503e002c-9b3b-4180-87fb-acabeb2b158a" providerId="ADAL" clId="{5C2CD6D4-C7A9-4CEF-AA9C-BC2977F70622}" dt="2024-02-20T08:06:21.301" v="10330" actId="27636"/>
          <ac:picMkLst>
            <pc:docMk/>
            <pc:sldMk cId="4198764099" sldId="2147483554"/>
            <ac:picMk id="44" creationId="{8028A147-E35C-A7D1-3E81-1E828826FD0C}"/>
          </ac:picMkLst>
        </pc:picChg>
        <pc:picChg chg="mod">
          <ac:chgData name="Abdi, Adnan" userId="503e002c-9b3b-4180-87fb-acabeb2b158a" providerId="ADAL" clId="{5C2CD6D4-C7A9-4CEF-AA9C-BC2977F70622}" dt="2024-02-20T08:06:21.301" v="10330" actId="27636"/>
          <ac:picMkLst>
            <pc:docMk/>
            <pc:sldMk cId="4198764099" sldId="2147483554"/>
            <ac:picMk id="45" creationId="{BDB3BB9E-7A5F-154E-7EAB-8FE561E69E50}"/>
          </ac:picMkLst>
        </pc:picChg>
        <pc:picChg chg="mod">
          <ac:chgData name="Abdi, Adnan" userId="503e002c-9b3b-4180-87fb-acabeb2b158a" providerId="ADAL" clId="{5C2CD6D4-C7A9-4CEF-AA9C-BC2977F70622}" dt="2024-02-20T08:06:21.301" v="10330" actId="27636"/>
          <ac:picMkLst>
            <pc:docMk/>
            <pc:sldMk cId="4198764099" sldId="2147483554"/>
            <ac:picMk id="46" creationId="{06A6C13F-ACEF-8935-3301-9762F62F8AF2}"/>
          </ac:picMkLst>
        </pc:picChg>
        <pc:picChg chg="mod">
          <ac:chgData name="Abdi, Adnan" userId="503e002c-9b3b-4180-87fb-acabeb2b158a" providerId="ADAL" clId="{5C2CD6D4-C7A9-4CEF-AA9C-BC2977F70622}" dt="2024-02-20T08:06:21.301" v="10330" actId="27636"/>
          <ac:picMkLst>
            <pc:docMk/>
            <pc:sldMk cId="4198764099" sldId="2147483554"/>
            <ac:picMk id="71" creationId="{0A81EDB0-625A-0093-E79B-F5573C53D4F6}"/>
          </ac:picMkLst>
        </pc:picChg>
      </pc:sldChg>
      <pc:sldChg chg="addSp delSp modSp add del mod ord modShow modNotes">
        <pc:chgData name="Abdi, Adnan" userId="503e002c-9b3b-4180-87fb-acabeb2b158a" providerId="ADAL" clId="{5C2CD6D4-C7A9-4CEF-AA9C-BC2977F70622}" dt="2024-02-23T15:32:09.917" v="71465"/>
        <pc:sldMkLst>
          <pc:docMk/>
          <pc:sldMk cId="1842424348" sldId="2147483555"/>
        </pc:sldMkLst>
        <pc:spChg chg="mod ord">
          <ac:chgData name="Abdi, Adnan" userId="503e002c-9b3b-4180-87fb-acabeb2b158a" providerId="ADAL" clId="{5C2CD6D4-C7A9-4CEF-AA9C-BC2977F70622}" dt="2024-02-20T12:53:04.030" v="20323"/>
          <ac:spMkLst>
            <pc:docMk/>
            <pc:sldMk cId="1842424348" sldId="2147483555"/>
            <ac:spMk id="2" creationId="{551A0760-76B6-B0DA-473F-4F9BCE390A30}"/>
          </ac:spMkLst>
        </pc:spChg>
        <pc:spChg chg="mod ord">
          <ac:chgData name="Abdi, Adnan" userId="503e002c-9b3b-4180-87fb-acabeb2b158a" providerId="ADAL" clId="{5C2CD6D4-C7A9-4CEF-AA9C-BC2977F70622}" dt="2024-02-20T12:53:04.030" v="20324"/>
          <ac:spMkLst>
            <pc:docMk/>
            <pc:sldMk cId="1842424348" sldId="2147483555"/>
            <ac:spMk id="3" creationId="{18FF0807-DAF8-B85E-04CD-C4F80F1262E3}"/>
          </ac:spMkLst>
        </pc:spChg>
        <pc:spChg chg="del mod modVis">
          <ac:chgData name="Abdi, Adnan" userId="503e002c-9b3b-4180-87fb-acabeb2b158a" providerId="ADAL" clId="{5C2CD6D4-C7A9-4CEF-AA9C-BC2977F70622}" dt="2024-02-20T12:53:06.576" v="21051" actId="478"/>
          <ac:spMkLst>
            <pc:docMk/>
            <pc:sldMk cId="1842424348" sldId="2147483555"/>
            <ac:spMk id="4" creationId="{4B0511D0-5B76-7527-03AD-5D5CE4555620}"/>
          </ac:spMkLst>
        </pc:spChg>
        <pc:spChg chg="mod ord">
          <ac:chgData name="Abdi, Adnan" userId="503e002c-9b3b-4180-87fb-acabeb2b158a" providerId="ADAL" clId="{5C2CD6D4-C7A9-4CEF-AA9C-BC2977F70622}" dt="2024-02-20T12:53:04.030" v="20325"/>
          <ac:spMkLst>
            <pc:docMk/>
            <pc:sldMk cId="1842424348" sldId="2147483555"/>
            <ac:spMk id="5" creationId="{904AF0DD-C736-641B-E724-FB2A35E7801D}"/>
          </ac:spMkLst>
        </pc:spChg>
        <pc:spChg chg="mod ord">
          <ac:chgData name="Abdi, Adnan" userId="503e002c-9b3b-4180-87fb-acabeb2b158a" providerId="ADAL" clId="{5C2CD6D4-C7A9-4CEF-AA9C-BC2977F70622}" dt="2024-02-20T12:53:04.030" v="20322"/>
          <ac:spMkLst>
            <pc:docMk/>
            <pc:sldMk cId="1842424348" sldId="2147483555"/>
            <ac:spMk id="11" creationId="{F788230D-47DF-2D15-5D48-87708E4928B2}"/>
          </ac:spMkLst>
        </pc:spChg>
        <pc:spChg chg="mod ord">
          <ac:chgData name="Abdi, Adnan" userId="503e002c-9b3b-4180-87fb-acabeb2b158a" providerId="ADAL" clId="{5C2CD6D4-C7A9-4CEF-AA9C-BC2977F70622}" dt="2024-02-20T12:53:04.030" v="20326"/>
          <ac:spMkLst>
            <pc:docMk/>
            <pc:sldMk cId="1842424348" sldId="2147483555"/>
            <ac:spMk id="12" creationId="{0F6EC2C8-148E-08D4-83D4-9AA37827B597}"/>
          </ac:spMkLst>
        </pc:spChg>
        <pc:spChg chg="mod ord">
          <ac:chgData name="Abdi, Adnan" userId="503e002c-9b3b-4180-87fb-acabeb2b158a" providerId="ADAL" clId="{5C2CD6D4-C7A9-4CEF-AA9C-BC2977F70622}" dt="2024-02-20T12:53:04.030" v="20328"/>
          <ac:spMkLst>
            <pc:docMk/>
            <pc:sldMk cId="1842424348" sldId="2147483555"/>
            <ac:spMk id="24" creationId="{A45F945A-6A24-C366-4F58-34061E6914B7}"/>
          </ac:spMkLst>
        </pc:spChg>
        <pc:spChg chg="mod ord replST">
          <ac:chgData name="Abdi, Adnan" userId="503e002c-9b3b-4180-87fb-acabeb2b158a" providerId="ADAL" clId="{5C2CD6D4-C7A9-4CEF-AA9C-BC2977F70622}" dt="2024-02-20T12:53:04.045" v="20330"/>
          <ac:spMkLst>
            <pc:docMk/>
            <pc:sldMk cId="1842424348" sldId="2147483555"/>
            <ac:spMk id="25" creationId="{669231AF-ABB7-FA9F-007C-C8FB62CB4BD7}"/>
          </ac:spMkLst>
        </pc:spChg>
        <pc:spChg chg="del mod">
          <ac:chgData name="Abdi, Adnan" userId="503e002c-9b3b-4180-87fb-acabeb2b158a" providerId="ADAL" clId="{5C2CD6D4-C7A9-4CEF-AA9C-BC2977F70622}" dt="2024-02-20T12:53:03.996" v="20308" actId="478"/>
          <ac:spMkLst>
            <pc:docMk/>
            <pc:sldMk cId="1842424348" sldId="2147483555"/>
            <ac:spMk id="38" creationId="{9654EA6E-9148-AD71-C28B-1D13EFC063D7}"/>
          </ac:spMkLst>
        </pc:spChg>
        <pc:spChg chg="del mod">
          <ac:chgData name="Abdi, Adnan" userId="503e002c-9b3b-4180-87fb-acabeb2b158a" providerId="ADAL" clId="{5C2CD6D4-C7A9-4CEF-AA9C-BC2977F70622}" dt="2024-02-20T12:53:03.958" v="20288" actId="478"/>
          <ac:spMkLst>
            <pc:docMk/>
            <pc:sldMk cId="1842424348" sldId="2147483555"/>
            <ac:spMk id="39" creationId="{A3410EFF-AB5D-6A06-A58D-2B99F3D4BE1F}"/>
          </ac:spMkLst>
        </pc:spChg>
        <pc:spChg chg="del mod">
          <ac:chgData name="Abdi, Adnan" userId="503e002c-9b3b-4180-87fb-acabeb2b158a" providerId="ADAL" clId="{5C2CD6D4-C7A9-4CEF-AA9C-BC2977F70622}" dt="2024-02-20T12:53:03.986" v="20298" actId="478"/>
          <ac:spMkLst>
            <pc:docMk/>
            <pc:sldMk cId="1842424348" sldId="2147483555"/>
            <ac:spMk id="40" creationId="{0CD373DB-FEE0-030C-B5C4-4CF828BB554A}"/>
          </ac:spMkLst>
        </pc:spChg>
        <pc:spChg chg="mod ord">
          <ac:chgData name="Abdi, Adnan" userId="503e002c-9b3b-4180-87fb-acabeb2b158a" providerId="ADAL" clId="{5C2CD6D4-C7A9-4CEF-AA9C-BC2977F70622}" dt="2024-02-20T12:53:04.045" v="20334"/>
          <ac:spMkLst>
            <pc:docMk/>
            <pc:sldMk cId="1842424348" sldId="2147483555"/>
            <ac:spMk id="44" creationId="{2F53C558-95A0-4A38-769F-47657E73CFAB}"/>
          </ac:spMkLst>
        </pc:spChg>
        <pc:spChg chg="mod ord">
          <ac:chgData name="Abdi, Adnan" userId="503e002c-9b3b-4180-87fb-acabeb2b158a" providerId="ADAL" clId="{5C2CD6D4-C7A9-4CEF-AA9C-BC2977F70622}" dt="2024-02-20T12:53:04.045" v="20335"/>
          <ac:spMkLst>
            <pc:docMk/>
            <pc:sldMk cId="1842424348" sldId="2147483555"/>
            <ac:spMk id="50" creationId="{BA4CA0EB-846C-78CD-0FC5-4BC4385A1732}"/>
          </ac:spMkLst>
        </pc:spChg>
        <pc:spChg chg="mod ord">
          <ac:chgData name="Abdi, Adnan" userId="503e002c-9b3b-4180-87fb-acabeb2b158a" providerId="ADAL" clId="{5C2CD6D4-C7A9-4CEF-AA9C-BC2977F70622}" dt="2024-02-20T12:53:04.045" v="20336"/>
          <ac:spMkLst>
            <pc:docMk/>
            <pc:sldMk cId="1842424348" sldId="2147483555"/>
            <ac:spMk id="56" creationId="{DEB97388-511B-BB6F-8086-930880E5F1BE}"/>
          </ac:spMkLst>
        </pc:spChg>
        <pc:spChg chg="mod ord">
          <ac:chgData name="Abdi, Adnan" userId="503e002c-9b3b-4180-87fb-acabeb2b158a" providerId="ADAL" clId="{5C2CD6D4-C7A9-4CEF-AA9C-BC2977F70622}" dt="2024-02-20T12:53:04.061" v="20337"/>
          <ac:spMkLst>
            <pc:docMk/>
            <pc:sldMk cId="1842424348" sldId="2147483555"/>
            <ac:spMk id="62" creationId="{8C941C6D-E56B-D8FD-F36F-F3E2EECCF26C}"/>
          </ac:spMkLst>
        </pc:spChg>
        <pc:spChg chg="mod ord">
          <ac:chgData name="Abdi, Adnan" userId="503e002c-9b3b-4180-87fb-acabeb2b158a" providerId="ADAL" clId="{5C2CD6D4-C7A9-4CEF-AA9C-BC2977F70622}" dt="2024-02-20T12:53:04.061" v="20338"/>
          <ac:spMkLst>
            <pc:docMk/>
            <pc:sldMk cId="1842424348" sldId="2147483555"/>
            <ac:spMk id="68" creationId="{60A6EDEB-79C2-8D39-2A76-E3D80831AA9D}"/>
          </ac:spMkLst>
        </pc:spChg>
        <pc:spChg chg="mod ord">
          <ac:chgData name="Abdi, Adnan" userId="503e002c-9b3b-4180-87fb-acabeb2b158a" providerId="ADAL" clId="{5C2CD6D4-C7A9-4CEF-AA9C-BC2977F70622}" dt="2024-02-20T12:53:04.061" v="20339"/>
          <ac:spMkLst>
            <pc:docMk/>
            <pc:sldMk cId="1842424348" sldId="2147483555"/>
            <ac:spMk id="74" creationId="{95C366A9-6862-81B5-088F-6F57D48E9E3D}"/>
          </ac:spMkLst>
        </pc:spChg>
        <pc:spChg chg="mod ord">
          <ac:chgData name="Abdi, Adnan" userId="503e002c-9b3b-4180-87fb-acabeb2b158a" providerId="ADAL" clId="{5C2CD6D4-C7A9-4CEF-AA9C-BC2977F70622}" dt="2024-02-20T12:53:04.061" v="20340"/>
          <ac:spMkLst>
            <pc:docMk/>
            <pc:sldMk cId="1842424348" sldId="2147483555"/>
            <ac:spMk id="80" creationId="{BC68EAE7-8F55-2729-8CCB-2E42DFC2335F}"/>
          </ac:spMkLst>
        </pc:spChg>
        <pc:spChg chg="mod ord">
          <ac:chgData name="Abdi, Adnan" userId="503e002c-9b3b-4180-87fb-acabeb2b158a" providerId="ADAL" clId="{5C2CD6D4-C7A9-4CEF-AA9C-BC2977F70622}" dt="2024-02-20T12:53:04.061" v="20342"/>
          <ac:spMkLst>
            <pc:docMk/>
            <pc:sldMk cId="1842424348" sldId="2147483555"/>
            <ac:spMk id="86" creationId="{8B5E83E2-378A-6D21-2DFF-90909FEA66E4}"/>
          </ac:spMkLst>
        </pc:spChg>
        <pc:spChg chg="mod ord">
          <ac:chgData name="Abdi, Adnan" userId="503e002c-9b3b-4180-87fb-acabeb2b158a" providerId="ADAL" clId="{5C2CD6D4-C7A9-4CEF-AA9C-BC2977F70622}" dt="2024-02-20T12:53:04.061" v="20341"/>
          <ac:spMkLst>
            <pc:docMk/>
            <pc:sldMk cId="1842424348" sldId="2147483555"/>
            <ac:spMk id="87" creationId="{8BB88D57-110F-971E-4158-171CD829D728}"/>
          </ac:spMkLst>
        </pc:spChg>
        <pc:spChg chg="mod ord">
          <ac:chgData name="Abdi, Adnan" userId="503e002c-9b3b-4180-87fb-acabeb2b158a" providerId="ADAL" clId="{5C2CD6D4-C7A9-4CEF-AA9C-BC2977F70622}" dt="2024-02-20T12:53:04.078" v="20343"/>
          <ac:spMkLst>
            <pc:docMk/>
            <pc:sldMk cId="1842424348" sldId="2147483555"/>
            <ac:spMk id="101" creationId="{40CAAA70-F467-0126-1C4B-55F8FF0D3C11}"/>
          </ac:spMkLst>
        </pc:spChg>
        <pc:spChg chg="mod ord">
          <ac:chgData name="Abdi, Adnan" userId="503e002c-9b3b-4180-87fb-acabeb2b158a" providerId="ADAL" clId="{5C2CD6D4-C7A9-4CEF-AA9C-BC2977F70622}" dt="2024-02-20T12:53:04.079" v="20344"/>
          <ac:spMkLst>
            <pc:docMk/>
            <pc:sldMk cId="1842424348" sldId="2147483555"/>
            <ac:spMk id="102" creationId="{A4F5A3E5-16B2-EF77-F554-DF0EBF9AEF3B}"/>
          </ac:spMkLst>
        </pc:spChg>
        <pc:spChg chg="mod ord">
          <ac:chgData name="Abdi, Adnan" userId="503e002c-9b3b-4180-87fb-acabeb2b158a" providerId="ADAL" clId="{5C2CD6D4-C7A9-4CEF-AA9C-BC2977F70622}" dt="2024-02-20T12:53:04.080" v="20345"/>
          <ac:spMkLst>
            <pc:docMk/>
            <pc:sldMk cId="1842424348" sldId="2147483555"/>
            <ac:spMk id="103" creationId="{43FCD4BF-8D6E-C310-ADD5-80F92CEFAC3A}"/>
          </ac:spMkLst>
        </pc:spChg>
        <pc:spChg chg="mod ord">
          <ac:chgData name="Abdi, Adnan" userId="503e002c-9b3b-4180-87fb-acabeb2b158a" providerId="ADAL" clId="{5C2CD6D4-C7A9-4CEF-AA9C-BC2977F70622}" dt="2024-02-20T12:53:04.081" v="20346"/>
          <ac:spMkLst>
            <pc:docMk/>
            <pc:sldMk cId="1842424348" sldId="2147483555"/>
            <ac:spMk id="104" creationId="{0C98A232-B4DD-E488-7027-CDEB1A73A5EA}"/>
          </ac:spMkLst>
        </pc:spChg>
        <pc:spChg chg="mod ord">
          <ac:chgData name="Abdi, Adnan" userId="503e002c-9b3b-4180-87fb-acabeb2b158a" providerId="ADAL" clId="{5C2CD6D4-C7A9-4CEF-AA9C-BC2977F70622}" dt="2024-02-20T12:53:04.081" v="20347"/>
          <ac:spMkLst>
            <pc:docMk/>
            <pc:sldMk cId="1842424348" sldId="2147483555"/>
            <ac:spMk id="105" creationId="{E36E6096-926D-AB85-19AD-9CA74FB3A36A}"/>
          </ac:spMkLst>
        </pc:spChg>
        <pc:spChg chg="mod ord">
          <ac:chgData name="Abdi, Adnan" userId="503e002c-9b3b-4180-87fb-acabeb2b158a" providerId="ADAL" clId="{5C2CD6D4-C7A9-4CEF-AA9C-BC2977F70622}" dt="2024-02-20T12:53:04.082" v="20348"/>
          <ac:spMkLst>
            <pc:docMk/>
            <pc:sldMk cId="1842424348" sldId="2147483555"/>
            <ac:spMk id="106" creationId="{4A377679-16C9-B091-3292-41B0BEB8FAFA}"/>
          </ac:spMkLst>
        </pc:spChg>
        <pc:spChg chg="mod ord">
          <ac:chgData name="Abdi, Adnan" userId="503e002c-9b3b-4180-87fb-acabeb2b158a" providerId="ADAL" clId="{5C2CD6D4-C7A9-4CEF-AA9C-BC2977F70622}" dt="2024-02-20T12:53:04.083" v="20349"/>
          <ac:spMkLst>
            <pc:docMk/>
            <pc:sldMk cId="1842424348" sldId="2147483555"/>
            <ac:spMk id="107" creationId="{9D58C52E-06D1-2D2E-0FFE-57463B8BE400}"/>
          </ac:spMkLst>
        </pc:spChg>
        <pc:spChg chg="mod ord">
          <ac:chgData name="Abdi, Adnan" userId="503e002c-9b3b-4180-87fb-acabeb2b158a" providerId="ADAL" clId="{5C2CD6D4-C7A9-4CEF-AA9C-BC2977F70622}" dt="2024-02-20T12:53:04.083" v="20350"/>
          <ac:spMkLst>
            <pc:docMk/>
            <pc:sldMk cId="1842424348" sldId="2147483555"/>
            <ac:spMk id="108" creationId="{728407F1-35EC-F8C6-DC9A-207C5C61E3DB}"/>
          </ac:spMkLst>
        </pc:spChg>
        <pc:spChg chg="mod ord">
          <ac:chgData name="Abdi, Adnan" userId="503e002c-9b3b-4180-87fb-acabeb2b158a" providerId="ADAL" clId="{5C2CD6D4-C7A9-4CEF-AA9C-BC2977F70622}" dt="2024-02-20T12:53:04.084" v="20351"/>
          <ac:spMkLst>
            <pc:docMk/>
            <pc:sldMk cId="1842424348" sldId="2147483555"/>
            <ac:spMk id="109" creationId="{FEFDDD24-76A9-BDB0-95FB-5D787D61631F}"/>
          </ac:spMkLst>
        </pc:spChg>
        <pc:spChg chg="mod ord">
          <ac:chgData name="Abdi, Adnan" userId="503e002c-9b3b-4180-87fb-acabeb2b158a" providerId="ADAL" clId="{5C2CD6D4-C7A9-4CEF-AA9C-BC2977F70622}" dt="2024-02-20T12:53:04.085" v="20352"/>
          <ac:spMkLst>
            <pc:docMk/>
            <pc:sldMk cId="1842424348" sldId="2147483555"/>
            <ac:spMk id="110" creationId="{FAF79456-D1D4-8C08-57DD-F99CBA2981CE}"/>
          </ac:spMkLst>
        </pc:spChg>
        <pc:spChg chg="mod ord replST">
          <ac:chgData name="Abdi, Adnan" userId="503e002c-9b3b-4180-87fb-acabeb2b158a" providerId="ADAL" clId="{5C2CD6D4-C7A9-4CEF-AA9C-BC2977F70622}" dt="2024-02-20T12:53:04.045" v="20331"/>
          <ac:spMkLst>
            <pc:docMk/>
            <pc:sldMk cId="1842424348" sldId="2147483555"/>
            <ac:spMk id="111" creationId="{262EC4D6-0E29-CD85-8D95-6E2536FB389D}"/>
          </ac:spMkLst>
        </pc:spChg>
        <pc:spChg chg="mod ord replST">
          <ac:chgData name="Abdi, Adnan" userId="503e002c-9b3b-4180-87fb-acabeb2b158a" providerId="ADAL" clId="{5C2CD6D4-C7A9-4CEF-AA9C-BC2977F70622}" dt="2024-02-20T12:53:04.045" v="20329"/>
          <ac:spMkLst>
            <pc:docMk/>
            <pc:sldMk cId="1842424348" sldId="2147483555"/>
            <ac:spMk id="113" creationId="{F8ED9FEF-62D5-6FB6-F375-CC30727D8A66}"/>
          </ac:spMkLst>
        </pc:spChg>
        <pc:spChg chg="add mod ord">
          <ac:chgData name="Abdi, Adnan" userId="503e002c-9b3b-4180-87fb-acabeb2b158a" providerId="ADAL" clId="{5C2CD6D4-C7A9-4CEF-AA9C-BC2977F70622}" dt="2024-02-23T15:32:09.917" v="71465"/>
          <ac:spMkLst>
            <pc:docMk/>
            <pc:sldMk cId="1842424348" sldId="2147483555"/>
            <ac:spMk id="117" creationId="{0E6AD056-2923-FF2A-C0FD-8AB2C6E62685}"/>
          </ac:spMkLst>
        </pc:spChg>
        <pc:graphicFrameChg chg="mod replST">
          <ac:chgData name="Abdi, Adnan" userId="503e002c-9b3b-4180-87fb-acabeb2b158a" providerId="ADAL" clId="{5C2CD6D4-C7A9-4CEF-AA9C-BC2977F70622}" dt="2024-02-20T12:53:03.654" v="20142"/>
          <ac:graphicFrameMkLst>
            <pc:docMk/>
            <pc:sldMk cId="1842424348" sldId="2147483555"/>
            <ac:graphicFrameMk id="13" creationId="{7A8357A2-A203-56F6-193E-5477AFC0D0EC}"/>
          </ac:graphicFrameMkLst>
        </pc:graphicFrameChg>
        <pc:graphicFrameChg chg="del">
          <ac:chgData name="Abdi, Adnan" userId="503e002c-9b3b-4180-87fb-acabeb2b158a" providerId="ADAL" clId="{5C2CD6D4-C7A9-4CEF-AA9C-BC2977F70622}" dt="2024-02-20T12:53:03.638" v="20139" actId="478"/>
          <ac:graphicFrameMkLst>
            <pc:docMk/>
            <pc:sldMk cId="1842424348" sldId="2147483555"/>
            <ac:graphicFrameMk id="112" creationId="{9AF8B350-3B3F-108D-86A8-1B5285A29364}"/>
          </ac:graphicFrameMkLst>
        </pc:graphicFrameChg>
        <pc:graphicFrameChg chg="mod">
          <ac:chgData name="Abdi, Adnan" userId="503e002c-9b3b-4180-87fb-acabeb2b158a" providerId="ADAL" clId="{5C2CD6D4-C7A9-4CEF-AA9C-BC2977F70622}" dt="2024-02-20T12:53:06.594" v="21052" actId="1076"/>
          <ac:graphicFrameMkLst>
            <pc:docMk/>
            <pc:sldMk cId="1842424348" sldId="2147483555"/>
            <ac:graphicFrameMk id="114" creationId="{E2D98394-C65C-A290-5DA9-6A9FB98B123B}"/>
          </ac:graphicFrameMkLst>
        </pc:graphicFrameChg>
        <pc:graphicFrameChg chg="mod replST">
          <ac:chgData name="Abdi, Adnan" userId="503e002c-9b3b-4180-87fb-acabeb2b158a" providerId="ADAL" clId="{5C2CD6D4-C7A9-4CEF-AA9C-BC2977F70622}" dt="2024-02-20T12:53:04.030" v="20321"/>
          <ac:graphicFrameMkLst>
            <pc:docMk/>
            <pc:sldMk cId="1842424348" sldId="2147483555"/>
            <ac:graphicFrameMk id="115" creationId="{708CD469-B869-68BD-B8EB-9A6908B44862}"/>
          </ac:graphicFrameMkLst>
        </pc:graphicFrameChg>
        <pc:graphicFrameChg chg="del">
          <ac:chgData name="Abdi, Adnan" userId="503e002c-9b3b-4180-87fb-acabeb2b158a" providerId="ADAL" clId="{5C2CD6D4-C7A9-4CEF-AA9C-BC2977F70622}" dt="2024-02-20T12:53:04.012" v="20318" actId="478"/>
          <ac:graphicFrameMkLst>
            <pc:docMk/>
            <pc:sldMk cId="1842424348" sldId="2147483555"/>
            <ac:graphicFrameMk id="116" creationId="{B6C0D02B-90E7-FA15-98B6-DA67395DD15A}"/>
          </ac:graphicFrameMkLst>
        </pc:graphicFrameChg>
        <pc:cxnChg chg="ord">
          <ac:chgData name="Abdi, Adnan" userId="503e002c-9b3b-4180-87fb-acabeb2b158a" providerId="ADAL" clId="{5C2CD6D4-C7A9-4CEF-AA9C-BC2977F70622}" dt="2024-02-20T12:53:04.030" v="20327"/>
          <ac:cxnSpMkLst>
            <pc:docMk/>
            <pc:sldMk cId="1842424348" sldId="2147483555"/>
            <ac:cxnSpMk id="23" creationId="{002FE36B-C6D1-798C-E926-2E8B3CFB926D}"/>
          </ac:cxnSpMkLst>
        </pc:cxnChg>
        <pc:cxnChg chg="ord">
          <ac:chgData name="Abdi, Adnan" userId="503e002c-9b3b-4180-87fb-acabeb2b158a" providerId="ADAL" clId="{5C2CD6D4-C7A9-4CEF-AA9C-BC2977F70622}" dt="2024-02-20T12:53:04.045" v="20332"/>
          <ac:cxnSpMkLst>
            <pc:docMk/>
            <pc:sldMk cId="1842424348" sldId="2147483555"/>
            <ac:cxnSpMk id="41" creationId="{FEDE17CA-9AEE-5D92-9727-EE284FD05B14}"/>
          </ac:cxnSpMkLst>
        </pc:cxnChg>
        <pc:cxnChg chg="ord">
          <ac:chgData name="Abdi, Adnan" userId="503e002c-9b3b-4180-87fb-acabeb2b158a" providerId="ADAL" clId="{5C2CD6D4-C7A9-4CEF-AA9C-BC2977F70622}" dt="2024-02-20T12:53:04.045" v="20333"/>
          <ac:cxnSpMkLst>
            <pc:docMk/>
            <pc:sldMk cId="1842424348" sldId="2147483555"/>
            <ac:cxnSpMk id="42" creationId="{A195E535-01DA-1C6E-2AAF-F66406850CEF}"/>
          </ac:cxnSpMkLst>
        </pc:cxnChg>
      </pc:sldChg>
      <pc:sldChg chg="add del">
        <pc:chgData name="Abdi, Adnan" userId="503e002c-9b3b-4180-87fb-acabeb2b158a" providerId="ADAL" clId="{5C2CD6D4-C7A9-4CEF-AA9C-BC2977F70622}" dt="2024-02-19T10:38:10.909" v="562"/>
        <pc:sldMkLst>
          <pc:docMk/>
          <pc:sldMk cId="1844113686" sldId="2147483555"/>
        </pc:sldMkLst>
      </pc:sldChg>
      <pc:sldChg chg="delSp modSp new del mod">
        <pc:chgData name="Abdi, Adnan" userId="503e002c-9b3b-4180-87fb-acabeb2b158a" providerId="ADAL" clId="{5C2CD6D4-C7A9-4CEF-AA9C-BC2977F70622}" dt="2024-02-19T12:08:17.421" v="1811" actId="47"/>
        <pc:sldMkLst>
          <pc:docMk/>
          <pc:sldMk cId="3200045339" sldId="2147483555"/>
        </pc:sldMkLst>
        <pc:spChg chg="mod">
          <ac:chgData name="Abdi, Adnan" userId="503e002c-9b3b-4180-87fb-acabeb2b158a" providerId="ADAL" clId="{5C2CD6D4-C7A9-4CEF-AA9C-BC2977F70622}" dt="2024-02-19T10:51:47.576" v="747" actId="20577"/>
          <ac:spMkLst>
            <pc:docMk/>
            <pc:sldMk cId="3200045339" sldId="2147483555"/>
            <ac:spMk id="5" creationId="{D5D93729-BC59-A751-E279-8E3A26594275}"/>
          </ac:spMkLst>
        </pc:spChg>
        <pc:spChg chg="del">
          <ac:chgData name="Abdi, Adnan" userId="503e002c-9b3b-4180-87fb-acabeb2b158a" providerId="ADAL" clId="{5C2CD6D4-C7A9-4CEF-AA9C-BC2977F70622}" dt="2024-02-19T11:08:50.868" v="930" actId="478"/>
          <ac:spMkLst>
            <pc:docMk/>
            <pc:sldMk cId="3200045339" sldId="2147483555"/>
            <ac:spMk id="6" creationId="{623E67E0-A00F-4EF3-8E5D-ADA678E1E4CA}"/>
          </ac:spMkLst>
        </pc:spChg>
        <pc:spChg chg="del">
          <ac:chgData name="Abdi, Adnan" userId="503e002c-9b3b-4180-87fb-acabeb2b158a" providerId="ADAL" clId="{5C2CD6D4-C7A9-4CEF-AA9C-BC2977F70622}" dt="2024-02-19T11:08:49.810" v="929" actId="478"/>
          <ac:spMkLst>
            <pc:docMk/>
            <pc:sldMk cId="3200045339" sldId="2147483555"/>
            <ac:spMk id="7" creationId="{CC3330F9-1C37-F165-0249-8E6E5177FB04}"/>
          </ac:spMkLst>
        </pc:spChg>
      </pc:sldChg>
      <pc:sldChg chg="modSp add del mod">
        <pc:chgData name="Abdi, Adnan" userId="503e002c-9b3b-4180-87fb-acabeb2b158a" providerId="ADAL" clId="{5C2CD6D4-C7A9-4CEF-AA9C-BC2977F70622}" dt="2024-02-19T12:08:18.221" v="1812" actId="47"/>
        <pc:sldMkLst>
          <pc:docMk/>
          <pc:sldMk cId="1109444046" sldId="2147483556"/>
        </pc:sldMkLst>
        <pc:spChg chg="mod">
          <ac:chgData name="Abdi, Adnan" userId="503e002c-9b3b-4180-87fb-acabeb2b158a" providerId="ADAL" clId="{5C2CD6D4-C7A9-4CEF-AA9C-BC2977F70622}" dt="2024-02-19T10:51:55.044" v="754" actId="20577"/>
          <ac:spMkLst>
            <pc:docMk/>
            <pc:sldMk cId="1109444046" sldId="2147483556"/>
            <ac:spMk id="5" creationId="{D5D93729-BC59-A751-E279-8E3A26594275}"/>
          </ac:spMkLst>
        </pc:spChg>
      </pc:sldChg>
      <pc:sldChg chg="del">
        <pc:chgData name="Abdi, Adnan" userId="503e002c-9b3b-4180-87fb-acabeb2b158a" providerId="ADAL" clId="{5C2CD6D4-C7A9-4CEF-AA9C-BC2977F70622}" dt="2024-02-19T10:10:21.983" v="83" actId="47"/>
        <pc:sldMkLst>
          <pc:docMk/>
          <pc:sldMk cId="1938886422" sldId="2147483556"/>
        </pc:sldMkLst>
      </pc:sldChg>
      <pc:sldChg chg="addSp delSp modSp add mod ord modNotes">
        <pc:chgData name="Abdi, Adnan" userId="503e002c-9b3b-4180-87fb-acabeb2b158a" providerId="ADAL" clId="{5C2CD6D4-C7A9-4CEF-AA9C-BC2977F70622}" dt="2024-02-23T15:32:09.917" v="71465"/>
        <pc:sldMkLst>
          <pc:docMk/>
          <pc:sldMk cId="1938886422" sldId="2147483557"/>
        </pc:sldMkLst>
        <pc:spChg chg="mod">
          <ac:chgData name="Abdi, Adnan" userId="503e002c-9b3b-4180-87fb-acabeb2b158a" providerId="ADAL" clId="{5C2CD6D4-C7A9-4CEF-AA9C-BC2977F70622}" dt="2024-02-20T12:53:00.836" v="18564" actId="947"/>
          <ac:spMkLst>
            <pc:docMk/>
            <pc:sldMk cId="1938886422" sldId="2147483557"/>
            <ac:spMk id="2" creationId="{551A0760-76B6-B0DA-473F-4F9BCE390A30}"/>
          </ac:spMkLst>
        </pc:spChg>
        <pc:spChg chg="mod">
          <ac:chgData name="Abdi, Adnan" userId="503e002c-9b3b-4180-87fb-acabeb2b158a" providerId="ADAL" clId="{5C2CD6D4-C7A9-4CEF-AA9C-BC2977F70622}" dt="2024-02-20T12:53:00.852" v="18566" actId="947"/>
          <ac:spMkLst>
            <pc:docMk/>
            <pc:sldMk cId="1938886422" sldId="2147483557"/>
            <ac:spMk id="3" creationId="{18FF0807-DAF8-B85E-04CD-C4F80F1262E3}"/>
          </ac:spMkLst>
        </pc:spChg>
        <pc:spChg chg="add mod">
          <ac:chgData name="Abdi, Adnan" userId="503e002c-9b3b-4180-87fb-acabeb2b158a" providerId="ADAL" clId="{5C2CD6D4-C7A9-4CEF-AA9C-BC2977F70622}" dt="2024-02-23T15:32:09.917" v="71465"/>
          <ac:spMkLst>
            <pc:docMk/>
            <pc:sldMk cId="1938886422" sldId="2147483557"/>
            <ac:spMk id="4" creationId="{D621C63B-DC3F-9AB3-994A-92E4128610F0}"/>
          </ac:spMkLst>
        </pc:spChg>
        <pc:spChg chg="add mod">
          <ac:chgData name="Abdi, Adnan" userId="503e002c-9b3b-4180-87fb-acabeb2b158a" providerId="ADAL" clId="{5C2CD6D4-C7A9-4CEF-AA9C-BC2977F70622}" dt="2024-02-20T12:53:00.935" v="18622" actId="947"/>
          <ac:spMkLst>
            <pc:docMk/>
            <pc:sldMk cId="1938886422" sldId="2147483557"/>
            <ac:spMk id="35" creationId="{8C92BD9B-73D1-8D85-9F2D-AADFAA079265}"/>
          </ac:spMkLst>
        </pc:spChg>
        <pc:spChg chg="del">
          <ac:chgData name="Abdi, Adnan" userId="503e002c-9b3b-4180-87fb-acabeb2b158a" providerId="ADAL" clId="{5C2CD6D4-C7A9-4CEF-AA9C-BC2977F70622}" dt="2024-02-19T10:59:05.996" v="821" actId="478"/>
          <ac:spMkLst>
            <pc:docMk/>
            <pc:sldMk cId="1938886422" sldId="2147483557"/>
            <ac:spMk id="42" creationId="{B4F0AB31-1E77-DED5-4C48-B944E9A37DE8}"/>
          </ac:spMkLst>
        </pc:spChg>
        <pc:spChg chg="mod">
          <ac:chgData name="Abdi, Adnan" userId="503e002c-9b3b-4180-87fb-acabeb2b158a" providerId="ADAL" clId="{5C2CD6D4-C7A9-4CEF-AA9C-BC2977F70622}" dt="2024-02-20T12:53:00.870" v="18570" actId="947"/>
          <ac:spMkLst>
            <pc:docMk/>
            <pc:sldMk cId="1938886422" sldId="2147483557"/>
            <ac:spMk id="43" creationId="{C957FCD6-79E3-C503-C92D-93BCABC39AEF}"/>
          </ac:spMkLst>
        </pc:spChg>
        <pc:spChg chg="mod">
          <ac:chgData name="Abdi, Adnan" userId="503e002c-9b3b-4180-87fb-acabeb2b158a" providerId="ADAL" clId="{5C2CD6D4-C7A9-4CEF-AA9C-BC2977F70622}" dt="2024-02-20T12:53:00.872" v="18572" actId="947"/>
          <ac:spMkLst>
            <pc:docMk/>
            <pc:sldMk cId="1938886422" sldId="2147483557"/>
            <ac:spMk id="44" creationId="{B4021556-3B5F-F041-F26E-357CD42B7499}"/>
          </ac:spMkLst>
        </pc:spChg>
        <pc:spChg chg="mod">
          <ac:chgData name="Abdi, Adnan" userId="503e002c-9b3b-4180-87fb-acabeb2b158a" providerId="ADAL" clId="{5C2CD6D4-C7A9-4CEF-AA9C-BC2977F70622}" dt="2024-02-20T12:53:00.875" v="18574" actId="947"/>
          <ac:spMkLst>
            <pc:docMk/>
            <pc:sldMk cId="1938886422" sldId="2147483557"/>
            <ac:spMk id="45" creationId="{4657879F-3BC5-6301-1001-5ED1AEE61328}"/>
          </ac:spMkLst>
        </pc:spChg>
        <pc:spChg chg="mod">
          <ac:chgData name="Abdi, Adnan" userId="503e002c-9b3b-4180-87fb-acabeb2b158a" providerId="ADAL" clId="{5C2CD6D4-C7A9-4CEF-AA9C-BC2977F70622}" dt="2024-02-20T12:53:00.878" v="18576" actId="947"/>
          <ac:spMkLst>
            <pc:docMk/>
            <pc:sldMk cId="1938886422" sldId="2147483557"/>
            <ac:spMk id="46" creationId="{614FD35D-7F32-2D3E-8845-D20014094152}"/>
          </ac:spMkLst>
        </pc:spChg>
        <pc:spChg chg="mod">
          <ac:chgData name="Abdi, Adnan" userId="503e002c-9b3b-4180-87fb-acabeb2b158a" providerId="ADAL" clId="{5C2CD6D4-C7A9-4CEF-AA9C-BC2977F70622}" dt="2024-02-20T12:53:00.882" v="18578" actId="947"/>
          <ac:spMkLst>
            <pc:docMk/>
            <pc:sldMk cId="1938886422" sldId="2147483557"/>
            <ac:spMk id="47" creationId="{C5496458-A953-531B-05A4-F5CC4D44D01C}"/>
          </ac:spMkLst>
        </pc:spChg>
        <pc:spChg chg="mod">
          <ac:chgData name="Abdi, Adnan" userId="503e002c-9b3b-4180-87fb-acabeb2b158a" providerId="ADAL" clId="{5C2CD6D4-C7A9-4CEF-AA9C-BC2977F70622}" dt="2024-02-20T12:53:00.885" v="18580" actId="947"/>
          <ac:spMkLst>
            <pc:docMk/>
            <pc:sldMk cId="1938886422" sldId="2147483557"/>
            <ac:spMk id="48" creationId="{1C518AA0-C19D-6212-65A7-FC61A2F217EC}"/>
          </ac:spMkLst>
        </pc:spChg>
        <pc:spChg chg="mod">
          <ac:chgData name="Abdi, Adnan" userId="503e002c-9b3b-4180-87fb-acabeb2b158a" providerId="ADAL" clId="{5C2CD6D4-C7A9-4CEF-AA9C-BC2977F70622}" dt="2024-02-20T12:53:00.889" v="18582" actId="947"/>
          <ac:spMkLst>
            <pc:docMk/>
            <pc:sldMk cId="1938886422" sldId="2147483557"/>
            <ac:spMk id="49" creationId="{DC3A8934-BC51-C1BD-9E37-3C01E30634A5}"/>
          </ac:spMkLst>
        </pc:spChg>
        <pc:spChg chg="mod">
          <ac:chgData name="Abdi, Adnan" userId="503e002c-9b3b-4180-87fb-acabeb2b158a" providerId="ADAL" clId="{5C2CD6D4-C7A9-4CEF-AA9C-BC2977F70622}" dt="2024-02-20T12:53:00.891" v="18584" actId="947"/>
          <ac:spMkLst>
            <pc:docMk/>
            <pc:sldMk cId="1938886422" sldId="2147483557"/>
            <ac:spMk id="50" creationId="{60EC45AC-D23A-6613-D408-4FB57FC0255E}"/>
          </ac:spMkLst>
        </pc:spChg>
        <pc:spChg chg="mod">
          <ac:chgData name="Abdi, Adnan" userId="503e002c-9b3b-4180-87fb-acabeb2b158a" providerId="ADAL" clId="{5C2CD6D4-C7A9-4CEF-AA9C-BC2977F70622}" dt="2024-02-20T12:53:00.895" v="18586" actId="947"/>
          <ac:spMkLst>
            <pc:docMk/>
            <pc:sldMk cId="1938886422" sldId="2147483557"/>
            <ac:spMk id="51" creationId="{D19B4448-A9F7-C160-12D9-32F81019B264}"/>
          </ac:spMkLst>
        </pc:spChg>
        <pc:spChg chg="mod">
          <ac:chgData name="Abdi, Adnan" userId="503e002c-9b3b-4180-87fb-acabeb2b158a" providerId="ADAL" clId="{5C2CD6D4-C7A9-4CEF-AA9C-BC2977F70622}" dt="2024-02-20T12:53:00.897" v="18588" actId="947"/>
          <ac:spMkLst>
            <pc:docMk/>
            <pc:sldMk cId="1938886422" sldId="2147483557"/>
            <ac:spMk id="52" creationId="{97BE96F8-3E43-2E36-1C30-67F8C8DB1988}"/>
          </ac:spMkLst>
        </pc:spChg>
        <pc:spChg chg="mod">
          <ac:chgData name="Abdi, Adnan" userId="503e002c-9b3b-4180-87fb-acabeb2b158a" providerId="ADAL" clId="{5C2CD6D4-C7A9-4CEF-AA9C-BC2977F70622}" dt="2024-02-20T12:53:00.902" v="18590" actId="947"/>
          <ac:spMkLst>
            <pc:docMk/>
            <pc:sldMk cId="1938886422" sldId="2147483557"/>
            <ac:spMk id="53" creationId="{A6F89742-99AE-4CE2-861F-863085C718ED}"/>
          </ac:spMkLst>
        </pc:spChg>
        <pc:spChg chg="mod">
          <ac:chgData name="Abdi, Adnan" userId="503e002c-9b3b-4180-87fb-acabeb2b158a" providerId="ADAL" clId="{5C2CD6D4-C7A9-4CEF-AA9C-BC2977F70622}" dt="2024-02-20T12:53:00.903" v="18592" actId="947"/>
          <ac:spMkLst>
            <pc:docMk/>
            <pc:sldMk cId="1938886422" sldId="2147483557"/>
            <ac:spMk id="54" creationId="{6A334C28-7DD3-C39B-5E47-1D11EB646991}"/>
          </ac:spMkLst>
        </pc:spChg>
        <pc:spChg chg="mod">
          <ac:chgData name="Abdi, Adnan" userId="503e002c-9b3b-4180-87fb-acabeb2b158a" providerId="ADAL" clId="{5C2CD6D4-C7A9-4CEF-AA9C-BC2977F70622}" dt="2024-02-20T12:53:00.903" v="18596" actId="947"/>
          <ac:spMkLst>
            <pc:docMk/>
            <pc:sldMk cId="1938886422" sldId="2147483557"/>
            <ac:spMk id="63" creationId="{6DFC7046-AA04-616D-3BF9-6C6C8E5600BA}"/>
          </ac:spMkLst>
        </pc:spChg>
        <pc:spChg chg="mod">
          <ac:chgData name="Abdi, Adnan" userId="503e002c-9b3b-4180-87fb-acabeb2b158a" providerId="ADAL" clId="{5C2CD6D4-C7A9-4CEF-AA9C-BC2977F70622}" dt="2024-02-20T12:53:00.903" v="18594" actId="947"/>
          <ac:spMkLst>
            <pc:docMk/>
            <pc:sldMk cId="1938886422" sldId="2147483557"/>
            <ac:spMk id="64" creationId="{D4609248-BF83-42C1-516C-3E779DC5917B}"/>
          </ac:spMkLst>
        </pc:spChg>
        <pc:spChg chg="mod">
          <ac:chgData name="Abdi, Adnan" userId="503e002c-9b3b-4180-87fb-acabeb2b158a" providerId="ADAL" clId="{5C2CD6D4-C7A9-4CEF-AA9C-BC2977F70622}" dt="2024-02-20T12:53:00.903" v="18600" actId="947"/>
          <ac:spMkLst>
            <pc:docMk/>
            <pc:sldMk cId="1938886422" sldId="2147483557"/>
            <ac:spMk id="67" creationId="{4380AC14-7146-0FB6-C044-3D7A8F984328}"/>
          </ac:spMkLst>
        </pc:spChg>
        <pc:spChg chg="mod">
          <ac:chgData name="Abdi, Adnan" userId="503e002c-9b3b-4180-87fb-acabeb2b158a" providerId="ADAL" clId="{5C2CD6D4-C7A9-4CEF-AA9C-BC2977F70622}" dt="2024-02-20T12:53:00.903" v="18598" actId="947"/>
          <ac:spMkLst>
            <pc:docMk/>
            <pc:sldMk cId="1938886422" sldId="2147483557"/>
            <ac:spMk id="68" creationId="{EA5FDC80-D23D-C601-88B1-5A274E4C607E}"/>
          </ac:spMkLst>
        </pc:spChg>
        <pc:spChg chg="mod">
          <ac:chgData name="Abdi, Adnan" userId="503e002c-9b3b-4180-87fb-acabeb2b158a" providerId="ADAL" clId="{5C2CD6D4-C7A9-4CEF-AA9C-BC2977F70622}" dt="2024-02-20T12:53:00.919" v="18604" actId="947"/>
          <ac:spMkLst>
            <pc:docMk/>
            <pc:sldMk cId="1938886422" sldId="2147483557"/>
            <ac:spMk id="71" creationId="{A8DB6032-BF62-5BFE-85AC-5DB0CF5AE115}"/>
          </ac:spMkLst>
        </pc:spChg>
        <pc:spChg chg="mod">
          <ac:chgData name="Abdi, Adnan" userId="503e002c-9b3b-4180-87fb-acabeb2b158a" providerId="ADAL" clId="{5C2CD6D4-C7A9-4CEF-AA9C-BC2977F70622}" dt="2024-02-20T12:53:00.903" v="18602" actId="947"/>
          <ac:spMkLst>
            <pc:docMk/>
            <pc:sldMk cId="1938886422" sldId="2147483557"/>
            <ac:spMk id="72" creationId="{B3D9113F-1E06-6595-C762-24EF6A6F716E}"/>
          </ac:spMkLst>
        </pc:spChg>
        <pc:spChg chg="mod">
          <ac:chgData name="Abdi, Adnan" userId="503e002c-9b3b-4180-87fb-acabeb2b158a" providerId="ADAL" clId="{5C2CD6D4-C7A9-4CEF-AA9C-BC2977F70622}" dt="2024-02-20T12:53:00.919" v="18608" actId="947"/>
          <ac:spMkLst>
            <pc:docMk/>
            <pc:sldMk cId="1938886422" sldId="2147483557"/>
            <ac:spMk id="75" creationId="{F28B1469-BC5E-34EF-CEE4-5FE45A8A80C7}"/>
          </ac:spMkLst>
        </pc:spChg>
        <pc:spChg chg="mod">
          <ac:chgData name="Abdi, Adnan" userId="503e002c-9b3b-4180-87fb-acabeb2b158a" providerId="ADAL" clId="{5C2CD6D4-C7A9-4CEF-AA9C-BC2977F70622}" dt="2024-02-20T12:53:00.919" v="18606" actId="947"/>
          <ac:spMkLst>
            <pc:docMk/>
            <pc:sldMk cId="1938886422" sldId="2147483557"/>
            <ac:spMk id="76" creationId="{12B99C78-6097-BD14-C2CD-CC774421F58A}"/>
          </ac:spMkLst>
        </pc:spChg>
        <pc:spChg chg="mod">
          <ac:chgData name="Abdi, Adnan" userId="503e002c-9b3b-4180-87fb-acabeb2b158a" providerId="ADAL" clId="{5C2CD6D4-C7A9-4CEF-AA9C-BC2977F70622}" dt="2024-02-20T12:53:00.919" v="18612" actId="947"/>
          <ac:spMkLst>
            <pc:docMk/>
            <pc:sldMk cId="1938886422" sldId="2147483557"/>
            <ac:spMk id="79" creationId="{EC60AA3B-ACE8-1A52-6BB6-5B4E495BF5C8}"/>
          </ac:spMkLst>
        </pc:spChg>
        <pc:spChg chg="mod">
          <ac:chgData name="Abdi, Adnan" userId="503e002c-9b3b-4180-87fb-acabeb2b158a" providerId="ADAL" clId="{5C2CD6D4-C7A9-4CEF-AA9C-BC2977F70622}" dt="2024-02-20T12:53:00.919" v="18610" actId="947"/>
          <ac:spMkLst>
            <pc:docMk/>
            <pc:sldMk cId="1938886422" sldId="2147483557"/>
            <ac:spMk id="80" creationId="{C432E5CC-C8C4-FBFF-BF44-467726B95A95}"/>
          </ac:spMkLst>
        </pc:spChg>
        <pc:spChg chg="mod">
          <ac:chgData name="Abdi, Adnan" userId="503e002c-9b3b-4180-87fb-acabeb2b158a" providerId="ADAL" clId="{5C2CD6D4-C7A9-4CEF-AA9C-BC2977F70622}" dt="2024-02-20T12:53:00.935" v="18616" actId="947"/>
          <ac:spMkLst>
            <pc:docMk/>
            <pc:sldMk cId="1938886422" sldId="2147483557"/>
            <ac:spMk id="83" creationId="{A27C48F3-7AEF-8DAE-9890-DD072F10D777}"/>
          </ac:spMkLst>
        </pc:spChg>
        <pc:spChg chg="mod">
          <ac:chgData name="Abdi, Adnan" userId="503e002c-9b3b-4180-87fb-acabeb2b158a" providerId="ADAL" clId="{5C2CD6D4-C7A9-4CEF-AA9C-BC2977F70622}" dt="2024-02-20T12:53:00.919" v="18614" actId="947"/>
          <ac:spMkLst>
            <pc:docMk/>
            <pc:sldMk cId="1938886422" sldId="2147483557"/>
            <ac:spMk id="84" creationId="{CC0A0A3B-0C4B-7FF1-09A1-529BF74FC337}"/>
          </ac:spMkLst>
        </pc:spChg>
        <pc:spChg chg="mod">
          <ac:chgData name="Abdi, Adnan" userId="503e002c-9b3b-4180-87fb-acabeb2b158a" providerId="ADAL" clId="{5C2CD6D4-C7A9-4CEF-AA9C-BC2977F70622}" dt="2024-02-20T12:53:00.935" v="18618" actId="947"/>
          <ac:spMkLst>
            <pc:docMk/>
            <pc:sldMk cId="1938886422" sldId="2147483557"/>
            <ac:spMk id="85" creationId="{60BECB16-66DC-ED92-B420-482909299A4E}"/>
          </ac:spMkLst>
        </pc:spChg>
        <pc:spChg chg="mod">
          <ac:chgData name="Abdi, Adnan" userId="503e002c-9b3b-4180-87fb-acabeb2b158a" providerId="ADAL" clId="{5C2CD6D4-C7A9-4CEF-AA9C-BC2977F70622}" dt="2024-02-20T12:53:00.935" v="18620" actId="947"/>
          <ac:spMkLst>
            <pc:docMk/>
            <pc:sldMk cId="1938886422" sldId="2147483557"/>
            <ac:spMk id="93" creationId="{8C41F1AD-D67F-FFAF-4C71-C09949D141B4}"/>
          </ac:spMkLst>
        </pc:spChg>
        <pc:graphicFrameChg chg="mod">
          <ac:chgData name="Abdi, Adnan" userId="503e002c-9b3b-4180-87fb-acabeb2b158a" providerId="ADAL" clId="{5C2CD6D4-C7A9-4CEF-AA9C-BC2977F70622}" dt="2024-02-20T12:53:06.733" v="21093" actId="1076"/>
          <ac:graphicFrameMkLst>
            <pc:docMk/>
            <pc:sldMk cId="1938886422" sldId="2147483557"/>
            <ac:graphicFrameMk id="92" creationId="{701DF10B-BD15-1CC5-106E-42D7102AC1E6}"/>
          </ac:graphicFrameMkLst>
        </pc:graphicFrameChg>
      </pc:sldChg>
      <pc:sldChg chg="del">
        <pc:chgData name="Abdi, Adnan" userId="503e002c-9b3b-4180-87fb-acabeb2b158a" providerId="ADAL" clId="{5C2CD6D4-C7A9-4CEF-AA9C-BC2977F70622}" dt="2024-02-19T10:10:21.983" v="83" actId="47"/>
        <pc:sldMkLst>
          <pc:docMk/>
          <pc:sldMk cId="2775471582" sldId="2147483557"/>
        </pc:sldMkLst>
      </pc:sldChg>
      <pc:sldChg chg="addSp add">
        <pc:chgData name="Abdi, Adnan" userId="503e002c-9b3b-4180-87fb-acabeb2b158a" providerId="ADAL" clId="{5C2CD6D4-C7A9-4CEF-AA9C-BC2977F70622}" dt="2024-02-23T15:32:09.917" v="71465"/>
        <pc:sldMkLst>
          <pc:docMk/>
          <pc:sldMk cId="133732852" sldId="2147483558"/>
        </pc:sldMkLst>
        <pc:spChg chg="add">
          <ac:chgData name="Abdi, Adnan" userId="503e002c-9b3b-4180-87fb-acabeb2b158a" providerId="ADAL" clId="{5C2CD6D4-C7A9-4CEF-AA9C-BC2977F70622}" dt="2024-02-23T15:32:09.917" v="71465"/>
          <ac:spMkLst>
            <pc:docMk/>
            <pc:sldMk cId="133732852" sldId="2147483558"/>
            <ac:spMk id="117" creationId="{0E6AD056-2923-FF2A-C0FD-8AB2C6E62685}"/>
          </ac:spMkLst>
        </pc:spChg>
      </pc:sldChg>
      <pc:sldChg chg="addSp delSp modSp new mod">
        <pc:chgData name="Abdi, Adnan" userId="503e002c-9b3b-4180-87fb-acabeb2b158a" providerId="ADAL" clId="{5C2CD6D4-C7A9-4CEF-AA9C-BC2977F70622}" dt="2024-02-19T16:17:09.878" v="8202" actId="20577"/>
        <pc:sldMkLst>
          <pc:docMk/>
          <pc:sldMk cId="301266476" sldId="2147483558"/>
        </pc:sldMkLst>
        <pc:spChg chg="mod">
          <ac:chgData name="Abdi, Adnan" userId="503e002c-9b3b-4180-87fb-acabeb2b158a" providerId="ADAL" clId="{5C2CD6D4-C7A9-4CEF-AA9C-BC2977F70622}" dt="2024-02-19T12:08:41.764" v="1859" actId="20577"/>
          <ac:spMkLst>
            <pc:docMk/>
            <pc:sldMk cId="301266476" sldId="2147483558"/>
            <ac:spMk id="5" creationId="{5F43F86A-EE19-5783-47DD-51DBCADCF320}"/>
          </ac:spMkLst>
        </pc:spChg>
        <pc:spChg chg="del">
          <ac:chgData name="Abdi, Adnan" userId="503e002c-9b3b-4180-87fb-acabeb2b158a" providerId="ADAL" clId="{5C2CD6D4-C7A9-4CEF-AA9C-BC2977F70622}" dt="2024-02-19T16:03:22.266" v="7289" actId="478"/>
          <ac:spMkLst>
            <pc:docMk/>
            <pc:sldMk cId="301266476" sldId="2147483558"/>
            <ac:spMk id="6" creationId="{8668F1AD-DA59-4F43-0444-4961B594D824}"/>
          </ac:spMkLst>
        </pc:spChg>
        <pc:spChg chg="del">
          <ac:chgData name="Abdi, Adnan" userId="503e002c-9b3b-4180-87fb-acabeb2b158a" providerId="ADAL" clId="{5C2CD6D4-C7A9-4CEF-AA9C-BC2977F70622}" dt="2024-02-19T16:03:22.266" v="7289" actId="478"/>
          <ac:spMkLst>
            <pc:docMk/>
            <pc:sldMk cId="301266476" sldId="2147483558"/>
            <ac:spMk id="7" creationId="{880CDD03-5A01-B931-84C1-AF7D275ABF15}"/>
          </ac:spMkLst>
        </pc:spChg>
        <pc:spChg chg="add mod">
          <ac:chgData name="Abdi, Adnan" userId="503e002c-9b3b-4180-87fb-acabeb2b158a" providerId="ADAL" clId="{5C2CD6D4-C7A9-4CEF-AA9C-BC2977F70622}" dt="2024-02-19T16:17:09.878" v="8202" actId="20577"/>
          <ac:spMkLst>
            <pc:docMk/>
            <pc:sldMk cId="301266476" sldId="2147483558"/>
            <ac:spMk id="8" creationId="{24EF2106-88A7-B93B-D598-5542B4169E41}"/>
          </ac:spMkLst>
        </pc:spChg>
      </pc:sldChg>
      <pc:sldChg chg="addSp delSp modSp add mod modNotes">
        <pc:chgData name="Abdi, Adnan" userId="503e002c-9b3b-4180-87fb-acabeb2b158a" providerId="ADAL" clId="{5C2CD6D4-C7A9-4CEF-AA9C-BC2977F70622}" dt="2024-02-21T11:37:03.684" v="33359" actId="20577"/>
        <pc:sldMkLst>
          <pc:docMk/>
          <pc:sldMk cId="1152882007" sldId="2147483559"/>
        </pc:sldMkLst>
        <pc:spChg chg="mod">
          <ac:chgData name="Abdi, Adnan" userId="503e002c-9b3b-4180-87fb-acabeb2b158a" providerId="ADAL" clId="{5C2CD6D4-C7A9-4CEF-AA9C-BC2977F70622}" dt="2024-02-20T12:52:59.512" v="17625" actId="947"/>
          <ac:spMkLst>
            <pc:docMk/>
            <pc:sldMk cId="1152882007" sldId="2147483559"/>
            <ac:spMk id="2" creationId="{06AFAE7C-5F6A-B878-93B9-6DE5A9DAA9F7}"/>
          </ac:spMkLst>
        </pc:spChg>
        <pc:spChg chg="mod">
          <ac:chgData name="Abdi, Adnan" userId="503e002c-9b3b-4180-87fb-acabeb2b158a" providerId="ADAL" clId="{5C2CD6D4-C7A9-4CEF-AA9C-BC2977F70622}" dt="2024-02-20T12:52:59.514" v="17627" actId="947"/>
          <ac:spMkLst>
            <pc:docMk/>
            <pc:sldMk cId="1152882007" sldId="2147483559"/>
            <ac:spMk id="3" creationId="{028D4B8F-B27C-53F5-451A-24CA598898DE}"/>
          </ac:spMkLst>
        </pc:spChg>
        <pc:spChg chg="mod">
          <ac:chgData name="Abdi, Adnan" userId="503e002c-9b3b-4180-87fb-acabeb2b158a" providerId="ADAL" clId="{5C2CD6D4-C7A9-4CEF-AA9C-BC2977F70622}" dt="2024-02-21T11:37:03.684" v="33359" actId="20577"/>
          <ac:spMkLst>
            <pc:docMk/>
            <pc:sldMk cId="1152882007" sldId="2147483559"/>
            <ac:spMk id="4" creationId="{1A68FC50-AA15-FC69-1AB4-767E70C870EA}"/>
          </ac:spMkLst>
        </pc:spChg>
        <pc:spChg chg="mod">
          <ac:chgData name="Abdi, Adnan" userId="503e002c-9b3b-4180-87fb-acabeb2b158a" providerId="ADAL" clId="{5C2CD6D4-C7A9-4CEF-AA9C-BC2977F70622}" dt="2024-02-20T12:52:59.517" v="17631" actId="947"/>
          <ac:spMkLst>
            <pc:docMk/>
            <pc:sldMk cId="1152882007" sldId="2147483559"/>
            <ac:spMk id="5" creationId="{5F43F86A-EE19-5783-47DD-51DBCADCF320}"/>
          </ac:spMkLst>
        </pc:spChg>
        <pc:spChg chg="del">
          <ac:chgData name="Abdi, Adnan" userId="503e002c-9b3b-4180-87fb-acabeb2b158a" providerId="ADAL" clId="{5C2CD6D4-C7A9-4CEF-AA9C-BC2977F70622}" dt="2024-02-19T15:27:57.080" v="5131" actId="478"/>
          <ac:spMkLst>
            <pc:docMk/>
            <pc:sldMk cId="1152882007" sldId="2147483559"/>
            <ac:spMk id="6" creationId="{8668F1AD-DA59-4F43-0444-4961B594D824}"/>
          </ac:spMkLst>
        </pc:spChg>
        <pc:spChg chg="mod">
          <ac:chgData name="Abdi, Adnan" userId="503e002c-9b3b-4180-87fb-acabeb2b158a" providerId="ADAL" clId="{5C2CD6D4-C7A9-4CEF-AA9C-BC2977F70622}" dt="2024-02-20T12:52:59.599" v="17696" actId="34136"/>
          <ac:spMkLst>
            <pc:docMk/>
            <pc:sldMk cId="1152882007" sldId="2147483559"/>
            <ac:spMk id="7" creationId="{6367E263-EBD7-D899-1730-9ECF0CF14813}"/>
          </ac:spMkLst>
        </pc:spChg>
        <pc:spChg chg="del">
          <ac:chgData name="Abdi, Adnan" userId="503e002c-9b3b-4180-87fb-acabeb2b158a" providerId="ADAL" clId="{5C2CD6D4-C7A9-4CEF-AA9C-BC2977F70622}" dt="2024-02-19T15:27:57.080" v="5131" actId="478"/>
          <ac:spMkLst>
            <pc:docMk/>
            <pc:sldMk cId="1152882007" sldId="2147483559"/>
            <ac:spMk id="7" creationId="{880CDD03-5A01-B931-84C1-AF7D275ABF15}"/>
          </ac:spMkLst>
        </pc:spChg>
        <pc:spChg chg="mod">
          <ac:chgData name="Abdi, Adnan" userId="503e002c-9b3b-4180-87fb-acabeb2b158a" providerId="ADAL" clId="{5C2CD6D4-C7A9-4CEF-AA9C-BC2977F70622}" dt="2024-02-20T12:52:59.599" v="17696" actId="34136"/>
          <ac:spMkLst>
            <pc:docMk/>
            <pc:sldMk cId="1152882007" sldId="2147483559"/>
            <ac:spMk id="8" creationId="{CF4CE115-4D5D-320C-4315-5F076164CDBA}"/>
          </ac:spMkLst>
        </pc:spChg>
        <pc:spChg chg="add del mod">
          <ac:chgData name="Abdi, Adnan" userId="503e002c-9b3b-4180-87fb-acabeb2b158a" providerId="ADAL" clId="{5C2CD6D4-C7A9-4CEF-AA9C-BC2977F70622}" dt="2024-02-19T15:27:54.254" v="5130"/>
          <ac:spMkLst>
            <pc:docMk/>
            <pc:sldMk cId="1152882007" sldId="2147483559"/>
            <ac:spMk id="9" creationId="{4CF40B14-CD82-51E7-C6D4-CF65B127429C}"/>
          </ac:spMkLst>
        </pc:spChg>
        <pc:spChg chg="mod">
          <ac:chgData name="Abdi, Adnan" userId="503e002c-9b3b-4180-87fb-acabeb2b158a" providerId="ADAL" clId="{5C2CD6D4-C7A9-4CEF-AA9C-BC2977F70622}" dt="2024-02-20T12:52:59.599" v="17696" actId="34136"/>
          <ac:spMkLst>
            <pc:docMk/>
            <pc:sldMk cId="1152882007" sldId="2147483559"/>
            <ac:spMk id="9" creationId="{E57AB08C-4182-582C-F22C-D166B3A45C27}"/>
          </ac:spMkLst>
        </pc:spChg>
        <pc:spChg chg="add del mod">
          <ac:chgData name="Abdi, Adnan" userId="503e002c-9b3b-4180-87fb-acabeb2b158a" providerId="ADAL" clId="{5C2CD6D4-C7A9-4CEF-AA9C-BC2977F70622}" dt="2024-02-19T15:27:54.254" v="5130"/>
          <ac:spMkLst>
            <pc:docMk/>
            <pc:sldMk cId="1152882007" sldId="2147483559"/>
            <ac:spMk id="10" creationId="{0FEC72C8-BD51-6AFC-A38C-30DD0B448F89}"/>
          </ac:spMkLst>
        </pc:spChg>
        <pc:spChg chg="add del mod">
          <ac:chgData name="Abdi, Adnan" userId="503e002c-9b3b-4180-87fb-acabeb2b158a" providerId="ADAL" clId="{5C2CD6D4-C7A9-4CEF-AA9C-BC2977F70622}" dt="2024-02-19T15:27:54.254" v="5130"/>
          <ac:spMkLst>
            <pc:docMk/>
            <pc:sldMk cId="1152882007" sldId="2147483559"/>
            <ac:spMk id="11" creationId="{52691CF4-9F4A-2125-1C10-B4EC7ACB3060}"/>
          </ac:spMkLst>
        </pc:spChg>
        <pc:spChg chg="mod">
          <ac:chgData name="Abdi, Adnan" userId="503e002c-9b3b-4180-87fb-acabeb2b158a" providerId="ADAL" clId="{5C2CD6D4-C7A9-4CEF-AA9C-BC2977F70622}" dt="2024-02-20T09:38:10.807" v="10831"/>
          <ac:spMkLst>
            <pc:docMk/>
            <pc:sldMk cId="1152882007" sldId="2147483559"/>
            <ac:spMk id="11" creationId="{93646927-7E66-1130-1FB0-65D38784ED4B}"/>
          </ac:spMkLst>
        </pc:spChg>
        <pc:spChg chg="add del mod">
          <ac:chgData name="Abdi, Adnan" userId="503e002c-9b3b-4180-87fb-acabeb2b158a" providerId="ADAL" clId="{5C2CD6D4-C7A9-4CEF-AA9C-BC2977F70622}" dt="2024-02-19T15:27:54.254" v="5130"/>
          <ac:spMkLst>
            <pc:docMk/>
            <pc:sldMk cId="1152882007" sldId="2147483559"/>
            <ac:spMk id="12" creationId="{6D6F5FCA-60AB-AE94-FF62-EEC8FC8D5286}"/>
          </ac:spMkLst>
        </pc:spChg>
        <pc:spChg chg="mod">
          <ac:chgData name="Abdi, Adnan" userId="503e002c-9b3b-4180-87fb-acabeb2b158a" providerId="ADAL" clId="{5C2CD6D4-C7A9-4CEF-AA9C-BC2977F70622}" dt="2024-02-20T09:38:10.807" v="10831"/>
          <ac:spMkLst>
            <pc:docMk/>
            <pc:sldMk cId="1152882007" sldId="2147483559"/>
            <ac:spMk id="12" creationId="{97B9EA15-2C54-3AB8-F6A7-735206498F93}"/>
          </ac:spMkLst>
        </pc:spChg>
        <pc:spChg chg="mod">
          <ac:chgData name="Abdi, Adnan" userId="503e002c-9b3b-4180-87fb-acabeb2b158a" providerId="ADAL" clId="{5C2CD6D4-C7A9-4CEF-AA9C-BC2977F70622}" dt="2024-02-20T09:38:10.807" v="10831"/>
          <ac:spMkLst>
            <pc:docMk/>
            <pc:sldMk cId="1152882007" sldId="2147483559"/>
            <ac:spMk id="13" creationId="{3A7E4AE4-AB19-0386-97D7-CFF48A71E7FF}"/>
          </ac:spMkLst>
        </pc:spChg>
        <pc:spChg chg="add del mod">
          <ac:chgData name="Abdi, Adnan" userId="503e002c-9b3b-4180-87fb-acabeb2b158a" providerId="ADAL" clId="{5C2CD6D4-C7A9-4CEF-AA9C-BC2977F70622}" dt="2024-02-19T15:27:54.254" v="5130"/>
          <ac:spMkLst>
            <pc:docMk/>
            <pc:sldMk cId="1152882007" sldId="2147483559"/>
            <ac:spMk id="13" creationId="{592DE3EC-A137-268E-3D90-568636FBEEB6}"/>
          </ac:spMkLst>
        </pc:spChg>
        <pc:spChg chg="add del mod">
          <ac:chgData name="Abdi, Adnan" userId="503e002c-9b3b-4180-87fb-acabeb2b158a" providerId="ADAL" clId="{5C2CD6D4-C7A9-4CEF-AA9C-BC2977F70622}" dt="2024-02-19T15:27:54.254" v="5130"/>
          <ac:spMkLst>
            <pc:docMk/>
            <pc:sldMk cId="1152882007" sldId="2147483559"/>
            <ac:spMk id="14" creationId="{C58CE0EE-B582-DB97-88F8-B4632835EC6F}"/>
          </ac:spMkLst>
        </pc:spChg>
        <pc:spChg chg="mod">
          <ac:chgData name="Abdi, Adnan" userId="503e002c-9b3b-4180-87fb-acabeb2b158a" providerId="ADAL" clId="{5C2CD6D4-C7A9-4CEF-AA9C-BC2977F70622}" dt="2024-02-20T12:52:59.599" v="17699" actId="34136"/>
          <ac:spMkLst>
            <pc:docMk/>
            <pc:sldMk cId="1152882007" sldId="2147483559"/>
            <ac:spMk id="15" creationId="{258BBB46-8C44-F962-FFE8-F003E9C67603}"/>
          </ac:spMkLst>
        </pc:spChg>
        <pc:spChg chg="add del mod">
          <ac:chgData name="Abdi, Adnan" userId="503e002c-9b3b-4180-87fb-acabeb2b158a" providerId="ADAL" clId="{5C2CD6D4-C7A9-4CEF-AA9C-BC2977F70622}" dt="2024-02-19T15:27:54.254" v="5130"/>
          <ac:spMkLst>
            <pc:docMk/>
            <pc:sldMk cId="1152882007" sldId="2147483559"/>
            <ac:spMk id="15" creationId="{BFFB2168-A62B-F1B6-FAD9-186F31B0CAF6}"/>
          </ac:spMkLst>
        </pc:spChg>
        <pc:spChg chg="mod">
          <ac:chgData name="Abdi, Adnan" userId="503e002c-9b3b-4180-87fb-acabeb2b158a" providerId="ADAL" clId="{5C2CD6D4-C7A9-4CEF-AA9C-BC2977F70622}" dt="2024-02-20T12:52:59.599" v="17699" actId="34136"/>
          <ac:spMkLst>
            <pc:docMk/>
            <pc:sldMk cId="1152882007" sldId="2147483559"/>
            <ac:spMk id="16" creationId="{707D287B-48C1-72F1-3591-9AA09EA25BF1}"/>
          </ac:spMkLst>
        </pc:spChg>
        <pc:spChg chg="add del mod">
          <ac:chgData name="Abdi, Adnan" userId="503e002c-9b3b-4180-87fb-acabeb2b158a" providerId="ADAL" clId="{5C2CD6D4-C7A9-4CEF-AA9C-BC2977F70622}" dt="2024-02-19T15:27:54.254" v="5130"/>
          <ac:spMkLst>
            <pc:docMk/>
            <pc:sldMk cId="1152882007" sldId="2147483559"/>
            <ac:spMk id="16" creationId="{BBA01A12-D082-765F-4297-0C63338FF3A1}"/>
          </ac:spMkLst>
        </pc:spChg>
        <pc:spChg chg="add del mod">
          <ac:chgData name="Abdi, Adnan" userId="503e002c-9b3b-4180-87fb-acabeb2b158a" providerId="ADAL" clId="{5C2CD6D4-C7A9-4CEF-AA9C-BC2977F70622}" dt="2024-02-19T15:27:54.254" v="5130"/>
          <ac:spMkLst>
            <pc:docMk/>
            <pc:sldMk cId="1152882007" sldId="2147483559"/>
            <ac:spMk id="17" creationId="{7E09245E-6667-0814-A5F9-3553FEB1493E}"/>
          </ac:spMkLst>
        </pc:spChg>
        <pc:spChg chg="add del mod">
          <ac:chgData name="Abdi, Adnan" userId="503e002c-9b3b-4180-87fb-acabeb2b158a" providerId="ADAL" clId="{5C2CD6D4-C7A9-4CEF-AA9C-BC2977F70622}" dt="2024-02-19T15:27:54.254" v="5130"/>
          <ac:spMkLst>
            <pc:docMk/>
            <pc:sldMk cId="1152882007" sldId="2147483559"/>
            <ac:spMk id="18" creationId="{E2C15569-E39F-07B3-D659-5915F2835FF6}"/>
          </ac:spMkLst>
        </pc:spChg>
        <pc:spChg chg="add del mod">
          <ac:chgData name="Abdi, Adnan" userId="503e002c-9b3b-4180-87fb-acabeb2b158a" providerId="ADAL" clId="{5C2CD6D4-C7A9-4CEF-AA9C-BC2977F70622}" dt="2024-02-19T15:27:54.254" v="5130"/>
          <ac:spMkLst>
            <pc:docMk/>
            <pc:sldMk cId="1152882007" sldId="2147483559"/>
            <ac:spMk id="19" creationId="{ABBBB29D-5BDD-898A-3625-F98457B5C32D}"/>
          </ac:spMkLst>
        </pc:spChg>
        <pc:spChg chg="add del mod">
          <ac:chgData name="Abdi, Adnan" userId="503e002c-9b3b-4180-87fb-acabeb2b158a" providerId="ADAL" clId="{5C2CD6D4-C7A9-4CEF-AA9C-BC2977F70622}" dt="2024-02-19T15:27:54.254" v="5130"/>
          <ac:spMkLst>
            <pc:docMk/>
            <pc:sldMk cId="1152882007" sldId="2147483559"/>
            <ac:spMk id="20" creationId="{38DF109E-82CB-6D43-BB0C-3D9620BB7C0E}"/>
          </ac:spMkLst>
        </pc:spChg>
        <pc:spChg chg="add del mod">
          <ac:chgData name="Abdi, Adnan" userId="503e002c-9b3b-4180-87fb-acabeb2b158a" providerId="ADAL" clId="{5C2CD6D4-C7A9-4CEF-AA9C-BC2977F70622}" dt="2024-02-19T15:27:54.254" v="5130"/>
          <ac:spMkLst>
            <pc:docMk/>
            <pc:sldMk cId="1152882007" sldId="2147483559"/>
            <ac:spMk id="21" creationId="{17D019A0-2DB3-0562-0881-4573B2D5598E}"/>
          </ac:spMkLst>
        </pc:spChg>
        <pc:spChg chg="add del mod">
          <ac:chgData name="Abdi, Adnan" userId="503e002c-9b3b-4180-87fb-acabeb2b158a" providerId="ADAL" clId="{5C2CD6D4-C7A9-4CEF-AA9C-BC2977F70622}" dt="2024-02-19T15:27:54.254" v="5130"/>
          <ac:spMkLst>
            <pc:docMk/>
            <pc:sldMk cId="1152882007" sldId="2147483559"/>
            <ac:spMk id="22" creationId="{AA66BC0A-F938-58C8-CE7B-489EC6F258FA}"/>
          </ac:spMkLst>
        </pc:spChg>
        <pc:spChg chg="add del mod">
          <ac:chgData name="Abdi, Adnan" userId="503e002c-9b3b-4180-87fb-acabeb2b158a" providerId="ADAL" clId="{5C2CD6D4-C7A9-4CEF-AA9C-BC2977F70622}" dt="2024-02-19T15:27:54.254" v="5130"/>
          <ac:spMkLst>
            <pc:docMk/>
            <pc:sldMk cId="1152882007" sldId="2147483559"/>
            <ac:spMk id="23" creationId="{CEA92922-A0AB-6FD7-CB0E-7BAFB6AA143F}"/>
          </ac:spMkLst>
        </pc:spChg>
        <pc:spChg chg="add del mod">
          <ac:chgData name="Abdi, Adnan" userId="503e002c-9b3b-4180-87fb-acabeb2b158a" providerId="ADAL" clId="{5C2CD6D4-C7A9-4CEF-AA9C-BC2977F70622}" dt="2024-02-19T15:27:54.254" v="5130"/>
          <ac:spMkLst>
            <pc:docMk/>
            <pc:sldMk cId="1152882007" sldId="2147483559"/>
            <ac:spMk id="24" creationId="{C7167FE0-783B-E4FD-EA08-F66021AB76C3}"/>
          </ac:spMkLst>
        </pc:spChg>
        <pc:spChg chg="mod">
          <ac:chgData name="Abdi, Adnan" userId="503e002c-9b3b-4180-87fb-acabeb2b158a" providerId="ADAL" clId="{5C2CD6D4-C7A9-4CEF-AA9C-BC2977F70622}" dt="2024-02-19T15:27:50.786" v="5129"/>
          <ac:spMkLst>
            <pc:docMk/>
            <pc:sldMk cId="1152882007" sldId="2147483559"/>
            <ac:spMk id="26" creationId="{C3E40D9F-AD6C-4199-3B7B-A8B860DC77C6}"/>
          </ac:spMkLst>
        </pc:spChg>
        <pc:spChg chg="mod">
          <ac:chgData name="Abdi, Adnan" userId="503e002c-9b3b-4180-87fb-acabeb2b158a" providerId="ADAL" clId="{5C2CD6D4-C7A9-4CEF-AA9C-BC2977F70622}" dt="2024-02-19T15:27:50.786" v="5129"/>
          <ac:spMkLst>
            <pc:docMk/>
            <pc:sldMk cId="1152882007" sldId="2147483559"/>
            <ac:spMk id="27" creationId="{5E71B7F2-0BAD-1A23-ADD2-F1C325EEA3A3}"/>
          </ac:spMkLst>
        </pc:spChg>
        <pc:spChg chg="mod">
          <ac:chgData name="Abdi, Adnan" userId="503e002c-9b3b-4180-87fb-acabeb2b158a" providerId="ADAL" clId="{5C2CD6D4-C7A9-4CEF-AA9C-BC2977F70622}" dt="2024-02-19T15:27:50.786" v="5129"/>
          <ac:spMkLst>
            <pc:docMk/>
            <pc:sldMk cId="1152882007" sldId="2147483559"/>
            <ac:spMk id="29" creationId="{742DCC96-9226-6C41-0CDF-9099A95A62E8}"/>
          </ac:spMkLst>
        </pc:spChg>
        <pc:spChg chg="mod">
          <ac:chgData name="Abdi, Adnan" userId="503e002c-9b3b-4180-87fb-acabeb2b158a" providerId="ADAL" clId="{5C2CD6D4-C7A9-4CEF-AA9C-BC2977F70622}" dt="2024-02-19T15:27:50.786" v="5129"/>
          <ac:spMkLst>
            <pc:docMk/>
            <pc:sldMk cId="1152882007" sldId="2147483559"/>
            <ac:spMk id="30" creationId="{9D138015-853B-4199-1D11-3947E4A4BE46}"/>
          </ac:spMkLst>
        </pc:spChg>
        <pc:spChg chg="mod">
          <ac:chgData name="Abdi, Adnan" userId="503e002c-9b3b-4180-87fb-acabeb2b158a" providerId="ADAL" clId="{5C2CD6D4-C7A9-4CEF-AA9C-BC2977F70622}" dt="2024-02-19T15:27:50.786" v="5129"/>
          <ac:spMkLst>
            <pc:docMk/>
            <pc:sldMk cId="1152882007" sldId="2147483559"/>
            <ac:spMk id="32" creationId="{BED25CF6-28FB-1F37-6F48-CFC73B282753}"/>
          </ac:spMkLst>
        </pc:spChg>
        <pc:spChg chg="mod">
          <ac:chgData name="Abdi, Adnan" userId="503e002c-9b3b-4180-87fb-acabeb2b158a" providerId="ADAL" clId="{5C2CD6D4-C7A9-4CEF-AA9C-BC2977F70622}" dt="2024-02-19T15:27:50.786" v="5129"/>
          <ac:spMkLst>
            <pc:docMk/>
            <pc:sldMk cId="1152882007" sldId="2147483559"/>
            <ac:spMk id="33" creationId="{45DDA36A-4161-48D4-3304-766A64AE0D22}"/>
          </ac:spMkLst>
        </pc:spChg>
        <pc:spChg chg="mod">
          <ac:chgData name="Abdi, Adnan" userId="503e002c-9b3b-4180-87fb-acabeb2b158a" providerId="ADAL" clId="{5C2CD6D4-C7A9-4CEF-AA9C-BC2977F70622}" dt="2024-02-19T15:27:50.786" v="5129"/>
          <ac:spMkLst>
            <pc:docMk/>
            <pc:sldMk cId="1152882007" sldId="2147483559"/>
            <ac:spMk id="35" creationId="{ED8A1D95-66AB-7D6F-0D6A-307373335B67}"/>
          </ac:spMkLst>
        </pc:spChg>
        <pc:spChg chg="mod">
          <ac:chgData name="Abdi, Adnan" userId="503e002c-9b3b-4180-87fb-acabeb2b158a" providerId="ADAL" clId="{5C2CD6D4-C7A9-4CEF-AA9C-BC2977F70622}" dt="2024-02-19T15:27:50.786" v="5129"/>
          <ac:spMkLst>
            <pc:docMk/>
            <pc:sldMk cId="1152882007" sldId="2147483559"/>
            <ac:spMk id="36" creationId="{6EB84EEC-8653-5CA8-CFFA-6E42E9F3CE5C}"/>
          </ac:spMkLst>
        </pc:spChg>
        <pc:spChg chg="mod">
          <ac:chgData name="Abdi, Adnan" userId="503e002c-9b3b-4180-87fb-acabeb2b158a" providerId="ADAL" clId="{5C2CD6D4-C7A9-4CEF-AA9C-BC2977F70622}" dt="2024-02-19T15:27:50.786" v="5129"/>
          <ac:spMkLst>
            <pc:docMk/>
            <pc:sldMk cId="1152882007" sldId="2147483559"/>
            <ac:spMk id="38" creationId="{023E2D44-2381-590B-4FCF-01B190004F74}"/>
          </ac:spMkLst>
        </pc:spChg>
        <pc:spChg chg="mod">
          <ac:chgData name="Abdi, Adnan" userId="503e002c-9b3b-4180-87fb-acabeb2b158a" providerId="ADAL" clId="{5C2CD6D4-C7A9-4CEF-AA9C-BC2977F70622}" dt="2024-02-19T15:27:50.786" v="5129"/>
          <ac:spMkLst>
            <pc:docMk/>
            <pc:sldMk cId="1152882007" sldId="2147483559"/>
            <ac:spMk id="39" creationId="{1D19B9BC-5E88-CCD7-937C-9FCCA82B4E73}"/>
          </ac:spMkLst>
        </pc:spChg>
        <pc:spChg chg="mod">
          <ac:chgData name="Abdi, Adnan" userId="503e002c-9b3b-4180-87fb-acabeb2b158a" providerId="ADAL" clId="{5C2CD6D4-C7A9-4CEF-AA9C-BC2977F70622}" dt="2024-02-19T15:27:50.786" v="5129"/>
          <ac:spMkLst>
            <pc:docMk/>
            <pc:sldMk cId="1152882007" sldId="2147483559"/>
            <ac:spMk id="41" creationId="{5032CE59-8A9C-156A-161A-0A2ADC0FEB87}"/>
          </ac:spMkLst>
        </pc:spChg>
        <pc:spChg chg="mod">
          <ac:chgData name="Abdi, Adnan" userId="503e002c-9b3b-4180-87fb-acabeb2b158a" providerId="ADAL" clId="{5C2CD6D4-C7A9-4CEF-AA9C-BC2977F70622}" dt="2024-02-19T15:27:50.786" v="5129"/>
          <ac:spMkLst>
            <pc:docMk/>
            <pc:sldMk cId="1152882007" sldId="2147483559"/>
            <ac:spMk id="42" creationId="{2BCA116F-952E-519E-5081-E2D8121D9DB4}"/>
          </ac:spMkLst>
        </pc:spChg>
        <pc:spChg chg="mod">
          <ac:chgData name="Abdi, Adnan" userId="503e002c-9b3b-4180-87fb-acabeb2b158a" providerId="ADAL" clId="{5C2CD6D4-C7A9-4CEF-AA9C-BC2977F70622}" dt="2024-02-19T15:27:50.786" v="5129"/>
          <ac:spMkLst>
            <pc:docMk/>
            <pc:sldMk cId="1152882007" sldId="2147483559"/>
            <ac:spMk id="44" creationId="{FE04896D-C78D-EEA7-0C26-EF3ADE8E8B37}"/>
          </ac:spMkLst>
        </pc:spChg>
        <pc:spChg chg="mod">
          <ac:chgData name="Abdi, Adnan" userId="503e002c-9b3b-4180-87fb-acabeb2b158a" providerId="ADAL" clId="{5C2CD6D4-C7A9-4CEF-AA9C-BC2977F70622}" dt="2024-02-19T15:27:50.786" v="5129"/>
          <ac:spMkLst>
            <pc:docMk/>
            <pc:sldMk cId="1152882007" sldId="2147483559"/>
            <ac:spMk id="45" creationId="{DE041328-C3B4-3D40-4C88-8A12F11A64F1}"/>
          </ac:spMkLst>
        </pc:spChg>
        <pc:spChg chg="mod">
          <ac:chgData name="Abdi, Adnan" userId="503e002c-9b3b-4180-87fb-acabeb2b158a" providerId="ADAL" clId="{5C2CD6D4-C7A9-4CEF-AA9C-BC2977F70622}" dt="2024-02-19T15:27:50.786" v="5129"/>
          <ac:spMkLst>
            <pc:docMk/>
            <pc:sldMk cId="1152882007" sldId="2147483559"/>
            <ac:spMk id="47" creationId="{00AAE958-C4AC-C60C-0B0F-D8EBD2D740FB}"/>
          </ac:spMkLst>
        </pc:spChg>
        <pc:spChg chg="mod">
          <ac:chgData name="Abdi, Adnan" userId="503e002c-9b3b-4180-87fb-acabeb2b158a" providerId="ADAL" clId="{5C2CD6D4-C7A9-4CEF-AA9C-BC2977F70622}" dt="2024-02-19T15:27:50.786" v="5129"/>
          <ac:spMkLst>
            <pc:docMk/>
            <pc:sldMk cId="1152882007" sldId="2147483559"/>
            <ac:spMk id="48" creationId="{94423D30-B64B-0753-2A8C-CBD29E91AC15}"/>
          </ac:spMkLst>
        </pc:spChg>
        <pc:spChg chg="add del mod">
          <ac:chgData name="Abdi, Adnan" userId="503e002c-9b3b-4180-87fb-acabeb2b158a" providerId="ADAL" clId="{5C2CD6D4-C7A9-4CEF-AA9C-BC2977F70622}" dt="2024-02-19T15:27:54.254" v="5130"/>
          <ac:spMkLst>
            <pc:docMk/>
            <pc:sldMk cId="1152882007" sldId="2147483559"/>
            <ac:spMk id="56" creationId="{C7D40207-ED1E-C2D4-0163-72717444C55A}"/>
          </ac:spMkLst>
        </pc:spChg>
        <pc:spChg chg="add del mod">
          <ac:chgData name="Abdi, Adnan" userId="503e002c-9b3b-4180-87fb-acabeb2b158a" providerId="ADAL" clId="{5C2CD6D4-C7A9-4CEF-AA9C-BC2977F70622}" dt="2024-02-19T15:27:54.254" v="5130"/>
          <ac:spMkLst>
            <pc:docMk/>
            <pc:sldMk cId="1152882007" sldId="2147483559"/>
            <ac:spMk id="58" creationId="{CDB954B9-625C-45A1-DA10-ADDE893380FE}"/>
          </ac:spMkLst>
        </pc:spChg>
        <pc:spChg chg="add mod">
          <ac:chgData name="Abdi, Adnan" userId="503e002c-9b3b-4180-87fb-acabeb2b158a" providerId="ADAL" clId="{5C2CD6D4-C7A9-4CEF-AA9C-BC2977F70622}" dt="2024-02-20T12:52:59.517" v="17633" actId="947"/>
          <ac:spMkLst>
            <pc:docMk/>
            <pc:sldMk cId="1152882007" sldId="2147483559"/>
            <ac:spMk id="60" creationId="{5BD22249-25D3-4F0A-D909-C57A7C687EEF}"/>
          </ac:spMkLst>
        </pc:spChg>
        <pc:spChg chg="add mod">
          <ac:chgData name="Abdi, Adnan" userId="503e002c-9b3b-4180-87fb-acabeb2b158a" providerId="ADAL" clId="{5C2CD6D4-C7A9-4CEF-AA9C-BC2977F70622}" dt="2024-02-20T12:52:59.517" v="17635" actId="947"/>
          <ac:spMkLst>
            <pc:docMk/>
            <pc:sldMk cId="1152882007" sldId="2147483559"/>
            <ac:spMk id="61" creationId="{060F6B84-5012-1D98-11FC-06E9CAB989DD}"/>
          </ac:spMkLst>
        </pc:spChg>
        <pc:spChg chg="add mod">
          <ac:chgData name="Abdi, Adnan" userId="503e002c-9b3b-4180-87fb-acabeb2b158a" providerId="ADAL" clId="{5C2CD6D4-C7A9-4CEF-AA9C-BC2977F70622}" dt="2024-02-20T12:52:59.517" v="17637" actId="947"/>
          <ac:spMkLst>
            <pc:docMk/>
            <pc:sldMk cId="1152882007" sldId="2147483559"/>
            <ac:spMk id="62" creationId="{28292A01-3AB1-7830-E66D-7B2EB7E44196}"/>
          </ac:spMkLst>
        </pc:spChg>
        <pc:spChg chg="add mod">
          <ac:chgData name="Abdi, Adnan" userId="503e002c-9b3b-4180-87fb-acabeb2b158a" providerId="ADAL" clId="{5C2CD6D4-C7A9-4CEF-AA9C-BC2977F70622}" dt="2024-02-20T12:52:59.517" v="17639" actId="947"/>
          <ac:spMkLst>
            <pc:docMk/>
            <pc:sldMk cId="1152882007" sldId="2147483559"/>
            <ac:spMk id="63" creationId="{638EA041-AB8D-9159-2512-10A59D9C19AF}"/>
          </ac:spMkLst>
        </pc:spChg>
        <pc:spChg chg="add mod">
          <ac:chgData name="Abdi, Adnan" userId="503e002c-9b3b-4180-87fb-acabeb2b158a" providerId="ADAL" clId="{5C2CD6D4-C7A9-4CEF-AA9C-BC2977F70622}" dt="2024-02-20T12:52:59.517" v="17641" actId="947"/>
          <ac:spMkLst>
            <pc:docMk/>
            <pc:sldMk cId="1152882007" sldId="2147483559"/>
            <ac:spMk id="64" creationId="{0FC950B7-50D0-BEEE-25CB-E23749017DD1}"/>
          </ac:spMkLst>
        </pc:spChg>
        <pc:spChg chg="add mod">
          <ac:chgData name="Abdi, Adnan" userId="503e002c-9b3b-4180-87fb-acabeb2b158a" providerId="ADAL" clId="{5C2CD6D4-C7A9-4CEF-AA9C-BC2977F70622}" dt="2024-02-20T12:52:59.533" v="17643" actId="947"/>
          <ac:spMkLst>
            <pc:docMk/>
            <pc:sldMk cId="1152882007" sldId="2147483559"/>
            <ac:spMk id="65" creationId="{2724926A-6C9B-E798-096B-B4DB5A29AB7F}"/>
          </ac:spMkLst>
        </pc:spChg>
        <pc:spChg chg="add mod">
          <ac:chgData name="Abdi, Adnan" userId="503e002c-9b3b-4180-87fb-acabeb2b158a" providerId="ADAL" clId="{5C2CD6D4-C7A9-4CEF-AA9C-BC2977F70622}" dt="2024-02-20T12:52:59.533" v="17649" actId="947"/>
          <ac:spMkLst>
            <pc:docMk/>
            <pc:sldMk cId="1152882007" sldId="2147483559"/>
            <ac:spMk id="66" creationId="{FDE7FF8F-9A43-B5E6-2A5B-F5B1D85C2FD2}"/>
          </ac:spMkLst>
        </pc:spChg>
        <pc:spChg chg="add mod">
          <ac:chgData name="Abdi, Adnan" userId="503e002c-9b3b-4180-87fb-acabeb2b158a" providerId="ADAL" clId="{5C2CD6D4-C7A9-4CEF-AA9C-BC2977F70622}" dt="2024-02-20T12:52:59.533" v="17655" actId="947"/>
          <ac:spMkLst>
            <pc:docMk/>
            <pc:sldMk cId="1152882007" sldId="2147483559"/>
            <ac:spMk id="67" creationId="{6097C977-C096-75AA-B1BB-11E0300C00E2}"/>
          </ac:spMkLst>
        </pc:spChg>
        <pc:spChg chg="add mod">
          <ac:chgData name="Abdi, Adnan" userId="503e002c-9b3b-4180-87fb-acabeb2b158a" providerId="ADAL" clId="{5C2CD6D4-C7A9-4CEF-AA9C-BC2977F70622}" dt="2024-02-20T09:31:15.341" v="10802" actId="20577"/>
          <ac:spMkLst>
            <pc:docMk/>
            <pc:sldMk cId="1152882007" sldId="2147483559"/>
            <ac:spMk id="68" creationId="{48DD6062-926C-1910-A869-9632DC00EBAB}"/>
          </ac:spMkLst>
        </pc:spChg>
        <pc:spChg chg="add mod">
          <ac:chgData name="Abdi, Adnan" userId="503e002c-9b3b-4180-87fb-acabeb2b158a" providerId="ADAL" clId="{5C2CD6D4-C7A9-4CEF-AA9C-BC2977F70622}" dt="2024-02-20T09:23:28.713" v="10497" actId="465"/>
          <ac:spMkLst>
            <pc:docMk/>
            <pc:sldMk cId="1152882007" sldId="2147483559"/>
            <ac:spMk id="69" creationId="{A06ECE1C-14BB-0B7E-8FA5-72894FB2A392}"/>
          </ac:spMkLst>
        </pc:spChg>
        <pc:spChg chg="add mod">
          <ac:chgData name="Abdi, Adnan" userId="503e002c-9b3b-4180-87fb-acabeb2b158a" providerId="ADAL" clId="{5C2CD6D4-C7A9-4CEF-AA9C-BC2977F70622}" dt="2024-02-20T09:23:28.713" v="10497" actId="465"/>
          <ac:spMkLst>
            <pc:docMk/>
            <pc:sldMk cId="1152882007" sldId="2147483559"/>
            <ac:spMk id="70" creationId="{C290A65B-9C43-7720-25D9-BD48A78E3B28}"/>
          </ac:spMkLst>
        </pc:spChg>
        <pc:spChg chg="add mod">
          <ac:chgData name="Abdi, Adnan" userId="503e002c-9b3b-4180-87fb-acabeb2b158a" providerId="ADAL" clId="{5C2CD6D4-C7A9-4CEF-AA9C-BC2977F70622}" dt="2024-02-20T09:31:06.292" v="10795" actId="20577"/>
          <ac:spMkLst>
            <pc:docMk/>
            <pc:sldMk cId="1152882007" sldId="2147483559"/>
            <ac:spMk id="71" creationId="{35D96789-E440-BC78-C8E6-AD235F757A02}"/>
          </ac:spMkLst>
        </pc:spChg>
        <pc:spChg chg="add mod">
          <ac:chgData name="Abdi, Adnan" userId="503e002c-9b3b-4180-87fb-acabeb2b158a" providerId="ADAL" clId="{5C2CD6D4-C7A9-4CEF-AA9C-BC2977F70622}" dt="2024-02-20T09:23:28.713" v="10497" actId="465"/>
          <ac:spMkLst>
            <pc:docMk/>
            <pc:sldMk cId="1152882007" sldId="2147483559"/>
            <ac:spMk id="72" creationId="{8FB06394-42F4-FC70-9E4E-A174AA19D907}"/>
          </ac:spMkLst>
        </pc:spChg>
        <pc:spChg chg="add mod">
          <ac:chgData name="Abdi, Adnan" userId="503e002c-9b3b-4180-87fb-acabeb2b158a" providerId="ADAL" clId="{5C2CD6D4-C7A9-4CEF-AA9C-BC2977F70622}" dt="2024-02-20T09:23:28.713" v="10497" actId="465"/>
          <ac:spMkLst>
            <pc:docMk/>
            <pc:sldMk cId="1152882007" sldId="2147483559"/>
            <ac:spMk id="73" creationId="{2CCDAC78-7CF9-4AF7-4F1E-486DA154A128}"/>
          </ac:spMkLst>
        </pc:spChg>
        <pc:spChg chg="add mod">
          <ac:chgData name="Abdi, Adnan" userId="503e002c-9b3b-4180-87fb-acabeb2b158a" providerId="ADAL" clId="{5C2CD6D4-C7A9-4CEF-AA9C-BC2977F70622}" dt="2024-02-20T09:30:46.410" v="10788" actId="20577"/>
          <ac:spMkLst>
            <pc:docMk/>
            <pc:sldMk cId="1152882007" sldId="2147483559"/>
            <ac:spMk id="74" creationId="{5D530390-DD8D-ECE4-D386-F2831223C404}"/>
          </ac:spMkLst>
        </pc:spChg>
        <pc:spChg chg="add mod">
          <ac:chgData name="Abdi, Adnan" userId="503e002c-9b3b-4180-87fb-acabeb2b158a" providerId="ADAL" clId="{5C2CD6D4-C7A9-4CEF-AA9C-BC2977F70622}" dt="2024-02-20T09:28:26.238" v="10632" actId="20577"/>
          <ac:spMkLst>
            <pc:docMk/>
            <pc:sldMk cId="1152882007" sldId="2147483559"/>
            <ac:spMk id="75" creationId="{56F6B9C8-11B2-A39C-2EBD-F43F82E55AE4}"/>
          </ac:spMkLst>
        </pc:spChg>
        <pc:spChg chg="mod">
          <ac:chgData name="Abdi, Adnan" userId="503e002c-9b3b-4180-87fb-acabeb2b158a" providerId="ADAL" clId="{5C2CD6D4-C7A9-4CEF-AA9C-BC2977F70622}" dt="2024-02-20T12:52:59.548" v="17659" actId="947"/>
          <ac:spMkLst>
            <pc:docMk/>
            <pc:sldMk cId="1152882007" sldId="2147483559"/>
            <ac:spMk id="77" creationId="{CBC3C983-FC9E-CCBB-6257-9BEB7E834AB4}"/>
          </ac:spMkLst>
        </pc:spChg>
        <pc:spChg chg="mod">
          <ac:chgData name="Abdi, Adnan" userId="503e002c-9b3b-4180-87fb-acabeb2b158a" providerId="ADAL" clId="{5C2CD6D4-C7A9-4CEF-AA9C-BC2977F70622}" dt="2024-02-20T12:52:59.548" v="17657" actId="947"/>
          <ac:spMkLst>
            <pc:docMk/>
            <pc:sldMk cId="1152882007" sldId="2147483559"/>
            <ac:spMk id="78" creationId="{2B6BAB24-3A12-F57B-7B67-33144AA9969D}"/>
          </ac:spMkLst>
        </pc:spChg>
        <pc:spChg chg="mod">
          <ac:chgData name="Abdi, Adnan" userId="503e002c-9b3b-4180-87fb-acabeb2b158a" providerId="ADAL" clId="{5C2CD6D4-C7A9-4CEF-AA9C-BC2977F70622}" dt="2024-02-19T15:59:26.336" v="6335"/>
          <ac:spMkLst>
            <pc:docMk/>
            <pc:sldMk cId="1152882007" sldId="2147483559"/>
            <ac:spMk id="80" creationId="{0197DF76-5C91-7E2D-25D4-538913525932}"/>
          </ac:spMkLst>
        </pc:spChg>
        <pc:spChg chg="mod">
          <ac:chgData name="Abdi, Adnan" userId="503e002c-9b3b-4180-87fb-acabeb2b158a" providerId="ADAL" clId="{5C2CD6D4-C7A9-4CEF-AA9C-BC2977F70622}" dt="2024-02-19T15:59:26.336" v="6335"/>
          <ac:spMkLst>
            <pc:docMk/>
            <pc:sldMk cId="1152882007" sldId="2147483559"/>
            <ac:spMk id="81" creationId="{CF9121AE-7F34-780A-0188-84194F90507E}"/>
          </ac:spMkLst>
        </pc:spChg>
        <pc:spChg chg="mod">
          <ac:chgData name="Abdi, Adnan" userId="503e002c-9b3b-4180-87fb-acabeb2b158a" providerId="ADAL" clId="{5C2CD6D4-C7A9-4CEF-AA9C-BC2977F70622}" dt="2024-02-19T15:59:26.309" v="6213"/>
          <ac:spMkLst>
            <pc:docMk/>
            <pc:sldMk cId="1152882007" sldId="2147483559"/>
            <ac:spMk id="83" creationId="{842240DC-BC16-EC14-C4E5-677F548C61CD}"/>
          </ac:spMkLst>
        </pc:spChg>
        <pc:spChg chg="mod">
          <ac:chgData name="Abdi, Adnan" userId="503e002c-9b3b-4180-87fb-acabeb2b158a" providerId="ADAL" clId="{5C2CD6D4-C7A9-4CEF-AA9C-BC2977F70622}" dt="2024-02-19T15:59:26.309" v="6213"/>
          <ac:spMkLst>
            <pc:docMk/>
            <pc:sldMk cId="1152882007" sldId="2147483559"/>
            <ac:spMk id="84" creationId="{8AC72C01-E1BC-6EEC-1252-E0CCAECB07FE}"/>
          </ac:spMkLst>
        </pc:spChg>
        <pc:spChg chg="mod">
          <ac:chgData name="Abdi, Adnan" userId="503e002c-9b3b-4180-87fb-acabeb2b158a" providerId="ADAL" clId="{5C2CD6D4-C7A9-4CEF-AA9C-BC2977F70622}" dt="2024-02-19T15:59:41.554" v="7143"/>
          <ac:spMkLst>
            <pc:docMk/>
            <pc:sldMk cId="1152882007" sldId="2147483559"/>
            <ac:spMk id="86" creationId="{25D613A1-BA10-70D7-B9EB-2EE7BED2342E}"/>
          </ac:spMkLst>
        </pc:spChg>
        <pc:spChg chg="mod">
          <ac:chgData name="Abdi, Adnan" userId="503e002c-9b3b-4180-87fb-acabeb2b158a" providerId="ADAL" clId="{5C2CD6D4-C7A9-4CEF-AA9C-BC2977F70622}" dt="2024-02-19T15:59:41.554" v="7143"/>
          <ac:spMkLst>
            <pc:docMk/>
            <pc:sldMk cId="1152882007" sldId="2147483559"/>
            <ac:spMk id="87" creationId="{5FECD89D-F26E-5D1F-5158-FF6074140AF1}"/>
          </ac:spMkLst>
        </pc:spChg>
        <pc:spChg chg="mod">
          <ac:chgData name="Abdi, Adnan" userId="503e002c-9b3b-4180-87fb-acabeb2b158a" providerId="ADAL" clId="{5C2CD6D4-C7A9-4CEF-AA9C-BC2977F70622}" dt="2024-02-19T15:59:39.274" v="7037"/>
          <ac:spMkLst>
            <pc:docMk/>
            <pc:sldMk cId="1152882007" sldId="2147483559"/>
            <ac:spMk id="89" creationId="{DFB0AAD3-B791-5D04-0A90-C20FAD613843}"/>
          </ac:spMkLst>
        </pc:spChg>
        <pc:spChg chg="mod">
          <ac:chgData name="Abdi, Adnan" userId="503e002c-9b3b-4180-87fb-acabeb2b158a" providerId="ADAL" clId="{5C2CD6D4-C7A9-4CEF-AA9C-BC2977F70622}" dt="2024-02-19T15:59:39.274" v="7037"/>
          <ac:spMkLst>
            <pc:docMk/>
            <pc:sldMk cId="1152882007" sldId="2147483559"/>
            <ac:spMk id="90" creationId="{80CB3389-A1BA-3784-AB33-448D78931F9B}"/>
          </ac:spMkLst>
        </pc:spChg>
        <pc:spChg chg="mod">
          <ac:chgData name="Abdi, Adnan" userId="503e002c-9b3b-4180-87fb-acabeb2b158a" providerId="ADAL" clId="{5C2CD6D4-C7A9-4CEF-AA9C-BC2977F70622}" dt="2024-02-19T15:59:37.506" v="6939"/>
          <ac:spMkLst>
            <pc:docMk/>
            <pc:sldMk cId="1152882007" sldId="2147483559"/>
            <ac:spMk id="92" creationId="{CD6D3BBC-0116-86D1-70C3-42E046471472}"/>
          </ac:spMkLst>
        </pc:spChg>
        <pc:spChg chg="mod">
          <ac:chgData name="Abdi, Adnan" userId="503e002c-9b3b-4180-87fb-acabeb2b158a" providerId="ADAL" clId="{5C2CD6D4-C7A9-4CEF-AA9C-BC2977F70622}" dt="2024-02-19T15:59:37.506" v="6939"/>
          <ac:spMkLst>
            <pc:docMk/>
            <pc:sldMk cId="1152882007" sldId="2147483559"/>
            <ac:spMk id="93" creationId="{667FCA3C-0148-837B-BB5E-A0E1E103E9F1}"/>
          </ac:spMkLst>
        </pc:spChg>
        <pc:spChg chg="mod">
          <ac:chgData name="Abdi, Adnan" userId="503e002c-9b3b-4180-87fb-acabeb2b158a" providerId="ADAL" clId="{5C2CD6D4-C7A9-4CEF-AA9C-BC2977F70622}" dt="2024-02-19T15:59:35.814" v="6849"/>
          <ac:spMkLst>
            <pc:docMk/>
            <pc:sldMk cId="1152882007" sldId="2147483559"/>
            <ac:spMk id="95" creationId="{CD88CA2E-DCD3-7435-CFC8-1A57F868552E}"/>
          </ac:spMkLst>
        </pc:spChg>
        <pc:spChg chg="mod">
          <ac:chgData name="Abdi, Adnan" userId="503e002c-9b3b-4180-87fb-acabeb2b158a" providerId="ADAL" clId="{5C2CD6D4-C7A9-4CEF-AA9C-BC2977F70622}" dt="2024-02-19T15:59:35.814" v="6849"/>
          <ac:spMkLst>
            <pc:docMk/>
            <pc:sldMk cId="1152882007" sldId="2147483559"/>
            <ac:spMk id="96" creationId="{E7B05959-9BB6-FA4C-3AB2-22A1337FDCF0}"/>
          </ac:spMkLst>
        </pc:spChg>
        <pc:spChg chg="mod">
          <ac:chgData name="Abdi, Adnan" userId="503e002c-9b3b-4180-87fb-acabeb2b158a" providerId="ADAL" clId="{5C2CD6D4-C7A9-4CEF-AA9C-BC2977F70622}" dt="2024-02-19T15:59:33.937" v="6767"/>
          <ac:spMkLst>
            <pc:docMk/>
            <pc:sldMk cId="1152882007" sldId="2147483559"/>
            <ac:spMk id="98" creationId="{C5548CB9-65AC-88F6-669C-7CD8E73202DB}"/>
          </ac:spMkLst>
        </pc:spChg>
        <pc:spChg chg="mod">
          <ac:chgData name="Abdi, Adnan" userId="503e002c-9b3b-4180-87fb-acabeb2b158a" providerId="ADAL" clId="{5C2CD6D4-C7A9-4CEF-AA9C-BC2977F70622}" dt="2024-02-19T15:59:33.937" v="6767"/>
          <ac:spMkLst>
            <pc:docMk/>
            <pc:sldMk cId="1152882007" sldId="2147483559"/>
            <ac:spMk id="99" creationId="{7622193A-27DA-FA74-ECC8-585E26D6A6E0}"/>
          </ac:spMkLst>
        </pc:spChg>
        <pc:spChg chg="add mod">
          <ac:chgData name="Abdi, Adnan" userId="503e002c-9b3b-4180-87fb-acabeb2b158a" providerId="ADAL" clId="{5C2CD6D4-C7A9-4CEF-AA9C-BC2977F70622}" dt="2024-02-20T12:52:59.581" v="17681" actId="947"/>
          <ac:spMkLst>
            <pc:docMk/>
            <pc:sldMk cId="1152882007" sldId="2147483559"/>
            <ac:spMk id="107" creationId="{3E2E6731-7116-1D16-5064-363C99D4A08F}"/>
          </ac:spMkLst>
        </pc:spChg>
        <pc:spChg chg="add mod">
          <ac:chgData name="Abdi, Adnan" userId="503e002c-9b3b-4180-87fb-acabeb2b158a" providerId="ADAL" clId="{5C2CD6D4-C7A9-4CEF-AA9C-BC2977F70622}" dt="2024-02-20T12:52:59.582" v="17683" actId="947"/>
          <ac:spMkLst>
            <pc:docMk/>
            <pc:sldMk cId="1152882007" sldId="2147483559"/>
            <ac:spMk id="109" creationId="{43B4839A-3895-59C0-F77D-E4FFDD277B6D}"/>
          </ac:spMkLst>
        </pc:spChg>
        <pc:spChg chg="add mod">
          <ac:chgData name="Abdi, Adnan" userId="503e002c-9b3b-4180-87fb-acabeb2b158a" providerId="ADAL" clId="{5C2CD6D4-C7A9-4CEF-AA9C-BC2977F70622}" dt="2024-02-20T12:52:59.584" v="17685" actId="947"/>
          <ac:spMkLst>
            <pc:docMk/>
            <pc:sldMk cId="1152882007" sldId="2147483559"/>
            <ac:spMk id="111" creationId="{508CB0FD-EAA4-15AC-EB17-196F2245F10F}"/>
          </ac:spMkLst>
        </pc:spChg>
        <pc:spChg chg="add mod">
          <ac:chgData name="Abdi, Adnan" userId="503e002c-9b3b-4180-87fb-acabeb2b158a" providerId="ADAL" clId="{5C2CD6D4-C7A9-4CEF-AA9C-BC2977F70622}" dt="2024-02-20T09:23:28.713" v="10497" actId="465"/>
          <ac:spMkLst>
            <pc:docMk/>
            <pc:sldMk cId="1152882007" sldId="2147483559"/>
            <ac:spMk id="112" creationId="{A9B033B9-EB11-8D0E-276E-BF983E7AAE56}"/>
          </ac:spMkLst>
        </pc:spChg>
        <pc:spChg chg="mod">
          <ac:chgData name="Abdi, Adnan" userId="503e002c-9b3b-4180-87fb-acabeb2b158a" providerId="ADAL" clId="{5C2CD6D4-C7A9-4CEF-AA9C-BC2977F70622}" dt="2024-02-19T15:59:31.724" v="6629"/>
          <ac:spMkLst>
            <pc:docMk/>
            <pc:sldMk cId="1152882007" sldId="2147483559"/>
            <ac:spMk id="114" creationId="{51B071E0-EF9D-77B6-6CD2-656F1E9A2C75}"/>
          </ac:spMkLst>
        </pc:spChg>
        <pc:spChg chg="mod">
          <ac:chgData name="Abdi, Adnan" userId="503e002c-9b3b-4180-87fb-acabeb2b158a" providerId="ADAL" clId="{5C2CD6D4-C7A9-4CEF-AA9C-BC2977F70622}" dt="2024-02-19T15:59:31.724" v="6629"/>
          <ac:spMkLst>
            <pc:docMk/>
            <pc:sldMk cId="1152882007" sldId="2147483559"/>
            <ac:spMk id="115" creationId="{B8FE7AAF-21F8-DC76-0345-4977E8960BE9}"/>
          </ac:spMkLst>
        </pc:spChg>
        <pc:spChg chg="add mod">
          <ac:chgData name="Abdi, Adnan" userId="503e002c-9b3b-4180-87fb-acabeb2b158a" providerId="ADAL" clId="{5C2CD6D4-C7A9-4CEF-AA9C-BC2977F70622}" dt="2024-02-19T15:53:51.434" v="5921" actId="571"/>
          <ac:spMkLst>
            <pc:docMk/>
            <pc:sldMk cId="1152882007" sldId="2147483559"/>
            <ac:spMk id="117" creationId="{AE8E1C2D-C337-8C80-4E6E-513E063338FA}"/>
          </ac:spMkLst>
        </pc:spChg>
        <pc:spChg chg="add mod">
          <ac:chgData name="Abdi, Adnan" userId="503e002c-9b3b-4180-87fb-acabeb2b158a" providerId="ADAL" clId="{5C2CD6D4-C7A9-4CEF-AA9C-BC2977F70622}" dt="2024-02-19T15:53:51.434" v="5921" actId="571"/>
          <ac:spMkLst>
            <pc:docMk/>
            <pc:sldMk cId="1152882007" sldId="2147483559"/>
            <ac:spMk id="118" creationId="{4CC1FDB4-51D3-C180-2204-607CAF12AB82}"/>
          </ac:spMkLst>
        </pc:spChg>
        <pc:spChg chg="mod">
          <ac:chgData name="Abdi, Adnan" userId="503e002c-9b3b-4180-87fb-acabeb2b158a" providerId="ADAL" clId="{5C2CD6D4-C7A9-4CEF-AA9C-BC2977F70622}" dt="2024-02-19T15:53:51.434" v="5921" actId="571"/>
          <ac:spMkLst>
            <pc:docMk/>
            <pc:sldMk cId="1152882007" sldId="2147483559"/>
            <ac:spMk id="120" creationId="{8FCCAE45-2CD6-CDA1-A811-0DD7308C3FBD}"/>
          </ac:spMkLst>
        </pc:spChg>
        <pc:spChg chg="mod">
          <ac:chgData name="Abdi, Adnan" userId="503e002c-9b3b-4180-87fb-acabeb2b158a" providerId="ADAL" clId="{5C2CD6D4-C7A9-4CEF-AA9C-BC2977F70622}" dt="2024-02-19T15:53:51.434" v="5921" actId="571"/>
          <ac:spMkLst>
            <pc:docMk/>
            <pc:sldMk cId="1152882007" sldId="2147483559"/>
            <ac:spMk id="121" creationId="{7F4DEDE8-280D-A79C-8354-CF15C4811AA2}"/>
          </ac:spMkLst>
        </pc:spChg>
        <pc:spChg chg="mod">
          <ac:chgData name="Abdi, Adnan" userId="503e002c-9b3b-4180-87fb-acabeb2b158a" providerId="ADAL" clId="{5C2CD6D4-C7A9-4CEF-AA9C-BC2977F70622}" dt="2024-02-19T15:59:26.294" v="6149"/>
          <ac:spMkLst>
            <pc:docMk/>
            <pc:sldMk cId="1152882007" sldId="2147483559"/>
            <ac:spMk id="125" creationId="{52EBAF38-9214-AFB4-0037-AC7D359450BE}"/>
          </ac:spMkLst>
        </pc:spChg>
        <pc:spChg chg="mod">
          <ac:chgData name="Abdi, Adnan" userId="503e002c-9b3b-4180-87fb-acabeb2b158a" providerId="ADAL" clId="{5C2CD6D4-C7A9-4CEF-AA9C-BC2977F70622}" dt="2024-02-19T15:59:26.294" v="6149"/>
          <ac:spMkLst>
            <pc:docMk/>
            <pc:sldMk cId="1152882007" sldId="2147483559"/>
            <ac:spMk id="126" creationId="{F2EDA756-443F-A398-34F6-98E3C3549A2E}"/>
          </ac:spMkLst>
        </pc:spChg>
        <pc:spChg chg="mod">
          <ac:chgData name="Abdi, Adnan" userId="503e002c-9b3b-4180-87fb-acabeb2b158a" providerId="ADAL" clId="{5C2CD6D4-C7A9-4CEF-AA9C-BC2977F70622}" dt="2024-02-20T12:52:59.533" v="17653" actId="947"/>
          <ac:spMkLst>
            <pc:docMk/>
            <pc:sldMk cId="1152882007" sldId="2147483559"/>
            <ac:spMk id="128" creationId="{C7AF6FDF-AB81-C116-0D91-3EEB46B0AACA}"/>
          </ac:spMkLst>
        </pc:spChg>
        <pc:spChg chg="mod">
          <ac:chgData name="Abdi, Adnan" userId="503e002c-9b3b-4180-87fb-acabeb2b158a" providerId="ADAL" clId="{5C2CD6D4-C7A9-4CEF-AA9C-BC2977F70622}" dt="2024-02-20T12:52:59.533" v="17651" actId="947"/>
          <ac:spMkLst>
            <pc:docMk/>
            <pc:sldMk cId="1152882007" sldId="2147483559"/>
            <ac:spMk id="129" creationId="{8E3BE2EA-D328-345D-0E9C-CC0639F56B7E}"/>
          </ac:spMkLst>
        </pc:spChg>
        <pc:spChg chg="mod">
          <ac:chgData name="Abdi, Adnan" userId="503e002c-9b3b-4180-87fb-acabeb2b158a" providerId="ADAL" clId="{5C2CD6D4-C7A9-4CEF-AA9C-BC2977F70622}" dt="2024-02-20T12:52:59.589" v="17689" actId="947"/>
          <ac:spMkLst>
            <pc:docMk/>
            <pc:sldMk cId="1152882007" sldId="2147483559"/>
            <ac:spMk id="131" creationId="{BD8D9E0A-09CE-E77C-46C4-1D024D62A047}"/>
          </ac:spMkLst>
        </pc:spChg>
        <pc:spChg chg="mod">
          <ac:chgData name="Abdi, Adnan" userId="503e002c-9b3b-4180-87fb-acabeb2b158a" providerId="ADAL" clId="{5C2CD6D4-C7A9-4CEF-AA9C-BC2977F70622}" dt="2024-02-20T12:52:59.587" v="17687" actId="947"/>
          <ac:spMkLst>
            <pc:docMk/>
            <pc:sldMk cId="1152882007" sldId="2147483559"/>
            <ac:spMk id="132" creationId="{56367FA7-042C-F611-5F90-E5D9838CA6BC}"/>
          </ac:spMkLst>
        </pc:spChg>
        <pc:spChg chg="mod">
          <ac:chgData name="Abdi, Adnan" userId="503e002c-9b3b-4180-87fb-acabeb2b158a" providerId="ADAL" clId="{5C2CD6D4-C7A9-4CEF-AA9C-BC2977F70622}" dt="2024-02-20T12:52:59.579" v="17679" actId="947"/>
          <ac:spMkLst>
            <pc:docMk/>
            <pc:sldMk cId="1152882007" sldId="2147483559"/>
            <ac:spMk id="134" creationId="{82627183-A9C7-8858-B164-4F23D9737191}"/>
          </ac:spMkLst>
        </pc:spChg>
        <pc:spChg chg="mod">
          <ac:chgData name="Abdi, Adnan" userId="503e002c-9b3b-4180-87fb-acabeb2b158a" providerId="ADAL" clId="{5C2CD6D4-C7A9-4CEF-AA9C-BC2977F70622}" dt="2024-02-20T12:52:59.577" v="17677" actId="947"/>
          <ac:spMkLst>
            <pc:docMk/>
            <pc:sldMk cId="1152882007" sldId="2147483559"/>
            <ac:spMk id="135" creationId="{4C63DA58-02DF-BD69-9149-9A37A56C5F37}"/>
          </ac:spMkLst>
        </pc:spChg>
        <pc:spChg chg="mod">
          <ac:chgData name="Abdi, Adnan" userId="503e002c-9b3b-4180-87fb-acabeb2b158a" providerId="ADAL" clId="{5C2CD6D4-C7A9-4CEF-AA9C-BC2977F70622}" dt="2024-02-20T12:52:59.576" v="17675" actId="947"/>
          <ac:spMkLst>
            <pc:docMk/>
            <pc:sldMk cId="1152882007" sldId="2147483559"/>
            <ac:spMk id="137" creationId="{DBD1EA98-A94D-5366-4D28-ACB1F5560BEC}"/>
          </ac:spMkLst>
        </pc:spChg>
        <pc:spChg chg="mod">
          <ac:chgData name="Abdi, Adnan" userId="503e002c-9b3b-4180-87fb-acabeb2b158a" providerId="ADAL" clId="{5C2CD6D4-C7A9-4CEF-AA9C-BC2977F70622}" dt="2024-02-20T12:52:59.574" v="17673" actId="947"/>
          <ac:spMkLst>
            <pc:docMk/>
            <pc:sldMk cId="1152882007" sldId="2147483559"/>
            <ac:spMk id="138" creationId="{EF3C5588-9426-B166-BA51-68290A3FF6A7}"/>
          </ac:spMkLst>
        </pc:spChg>
        <pc:spChg chg="mod">
          <ac:chgData name="Abdi, Adnan" userId="503e002c-9b3b-4180-87fb-acabeb2b158a" providerId="ADAL" clId="{5C2CD6D4-C7A9-4CEF-AA9C-BC2977F70622}" dt="2024-02-20T12:52:59.572" v="17671" actId="947"/>
          <ac:spMkLst>
            <pc:docMk/>
            <pc:sldMk cId="1152882007" sldId="2147483559"/>
            <ac:spMk id="140" creationId="{2035EAC3-4524-5B82-5F07-FC1DF88BD286}"/>
          </ac:spMkLst>
        </pc:spChg>
        <pc:spChg chg="mod">
          <ac:chgData name="Abdi, Adnan" userId="503e002c-9b3b-4180-87fb-acabeb2b158a" providerId="ADAL" clId="{5C2CD6D4-C7A9-4CEF-AA9C-BC2977F70622}" dt="2024-02-20T12:52:59.571" v="17669" actId="947"/>
          <ac:spMkLst>
            <pc:docMk/>
            <pc:sldMk cId="1152882007" sldId="2147483559"/>
            <ac:spMk id="141" creationId="{30B66A25-18B3-4ACC-CCD6-5EA864AAE0E6}"/>
          </ac:spMkLst>
        </pc:spChg>
        <pc:spChg chg="mod">
          <ac:chgData name="Abdi, Adnan" userId="503e002c-9b3b-4180-87fb-acabeb2b158a" providerId="ADAL" clId="{5C2CD6D4-C7A9-4CEF-AA9C-BC2977F70622}" dt="2024-02-20T12:52:59.569" v="17667" actId="947"/>
          <ac:spMkLst>
            <pc:docMk/>
            <pc:sldMk cId="1152882007" sldId="2147483559"/>
            <ac:spMk id="143" creationId="{4851C61A-EA8F-CC37-1C1F-1C0C50B61DF1}"/>
          </ac:spMkLst>
        </pc:spChg>
        <pc:spChg chg="mod">
          <ac:chgData name="Abdi, Adnan" userId="503e002c-9b3b-4180-87fb-acabeb2b158a" providerId="ADAL" clId="{5C2CD6D4-C7A9-4CEF-AA9C-BC2977F70622}" dt="2024-02-20T12:52:59.567" v="17665" actId="947"/>
          <ac:spMkLst>
            <pc:docMk/>
            <pc:sldMk cId="1152882007" sldId="2147483559"/>
            <ac:spMk id="144" creationId="{129BF8EA-6934-A6CE-1C99-FCF4A05D757F}"/>
          </ac:spMkLst>
        </pc:spChg>
        <pc:spChg chg="mod">
          <ac:chgData name="Abdi, Adnan" userId="503e002c-9b3b-4180-87fb-acabeb2b158a" providerId="ADAL" clId="{5C2CD6D4-C7A9-4CEF-AA9C-BC2977F70622}" dt="2024-02-20T12:52:59.533" v="17647" actId="947"/>
          <ac:spMkLst>
            <pc:docMk/>
            <pc:sldMk cId="1152882007" sldId="2147483559"/>
            <ac:spMk id="146" creationId="{2837E827-58D8-E3A5-9359-4EC582AEE0A8}"/>
          </ac:spMkLst>
        </pc:spChg>
        <pc:spChg chg="mod">
          <ac:chgData name="Abdi, Adnan" userId="503e002c-9b3b-4180-87fb-acabeb2b158a" providerId="ADAL" clId="{5C2CD6D4-C7A9-4CEF-AA9C-BC2977F70622}" dt="2024-02-20T12:52:59.533" v="17645" actId="947"/>
          <ac:spMkLst>
            <pc:docMk/>
            <pc:sldMk cId="1152882007" sldId="2147483559"/>
            <ac:spMk id="147" creationId="{3EBD4AD1-E5FB-EE6F-042D-3B4145D41093}"/>
          </ac:spMkLst>
        </pc:spChg>
        <pc:spChg chg="mod">
          <ac:chgData name="Abdi, Adnan" userId="503e002c-9b3b-4180-87fb-acabeb2b158a" providerId="ADAL" clId="{5C2CD6D4-C7A9-4CEF-AA9C-BC2977F70622}" dt="2024-02-20T12:52:59.564" v="17663" actId="947"/>
          <ac:spMkLst>
            <pc:docMk/>
            <pc:sldMk cId="1152882007" sldId="2147483559"/>
            <ac:spMk id="149" creationId="{3EE1892E-44EB-08C7-F3F7-DED7EE550F25}"/>
          </ac:spMkLst>
        </pc:spChg>
        <pc:spChg chg="mod">
          <ac:chgData name="Abdi, Adnan" userId="503e002c-9b3b-4180-87fb-acabeb2b158a" providerId="ADAL" clId="{5C2CD6D4-C7A9-4CEF-AA9C-BC2977F70622}" dt="2024-02-20T12:52:59.548" v="17661" actId="947"/>
          <ac:spMkLst>
            <pc:docMk/>
            <pc:sldMk cId="1152882007" sldId="2147483559"/>
            <ac:spMk id="150" creationId="{608FA77B-1741-B674-E607-5FBCAC23EBA0}"/>
          </ac:spMkLst>
        </pc:spChg>
        <pc:spChg chg="mod">
          <ac:chgData name="Abdi, Adnan" userId="503e002c-9b3b-4180-87fb-acabeb2b158a" providerId="ADAL" clId="{5C2CD6D4-C7A9-4CEF-AA9C-BC2977F70622}" dt="2024-02-19T15:59:26.396" v="6583"/>
          <ac:spMkLst>
            <pc:docMk/>
            <pc:sldMk cId="1152882007" sldId="2147483559"/>
            <ac:spMk id="152" creationId="{D476AB7A-3528-E702-93D2-DDBEDDB10C6B}"/>
          </ac:spMkLst>
        </pc:spChg>
        <pc:spChg chg="mod">
          <ac:chgData name="Abdi, Adnan" userId="503e002c-9b3b-4180-87fb-acabeb2b158a" providerId="ADAL" clId="{5C2CD6D4-C7A9-4CEF-AA9C-BC2977F70622}" dt="2024-02-19T15:59:26.396" v="6583"/>
          <ac:spMkLst>
            <pc:docMk/>
            <pc:sldMk cId="1152882007" sldId="2147483559"/>
            <ac:spMk id="153" creationId="{385A2027-4449-DC6A-28DE-A1504B10F5AA}"/>
          </ac:spMkLst>
        </pc:spChg>
        <pc:spChg chg="add mod">
          <ac:chgData name="Abdi, Adnan" userId="503e002c-9b3b-4180-87fb-acabeb2b158a" providerId="ADAL" clId="{5C2CD6D4-C7A9-4CEF-AA9C-BC2977F70622}" dt="2024-02-20T12:52:59.591" v="17691" actId="947"/>
          <ac:spMkLst>
            <pc:docMk/>
            <pc:sldMk cId="1152882007" sldId="2147483559"/>
            <ac:spMk id="154" creationId="{FCF8BAB2-D8C4-6D04-4C79-048E05CB6B36}"/>
          </ac:spMkLst>
        </pc:spChg>
        <pc:spChg chg="add mod">
          <ac:chgData name="Abdi, Adnan" userId="503e002c-9b3b-4180-87fb-acabeb2b158a" providerId="ADAL" clId="{5C2CD6D4-C7A9-4CEF-AA9C-BC2977F70622}" dt="2024-02-20T09:23:28.713" v="10497" actId="465"/>
          <ac:spMkLst>
            <pc:docMk/>
            <pc:sldMk cId="1152882007" sldId="2147483559"/>
            <ac:spMk id="155" creationId="{601AA2D5-0F23-B313-A950-30B6F92A42F1}"/>
          </ac:spMkLst>
        </pc:spChg>
        <pc:spChg chg="mod">
          <ac:chgData name="Abdi, Adnan" userId="503e002c-9b3b-4180-87fb-acabeb2b158a" providerId="ADAL" clId="{5C2CD6D4-C7A9-4CEF-AA9C-BC2977F70622}" dt="2024-02-20T12:52:59.595" v="17695" actId="947"/>
          <ac:spMkLst>
            <pc:docMk/>
            <pc:sldMk cId="1152882007" sldId="2147483559"/>
            <ac:spMk id="157" creationId="{FDF36826-5E06-D7B5-9B0C-C7D0FD455A92}"/>
          </ac:spMkLst>
        </pc:spChg>
        <pc:spChg chg="mod">
          <ac:chgData name="Abdi, Adnan" userId="503e002c-9b3b-4180-87fb-acabeb2b158a" providerId="ADAL" clId="{5C2CD6D4-C7A9-4CEF-AA9C-BC2977F70622}" dt="2024-02-20T12:52:59.593" v="17693" actId="947"/>
          <ac:spMkLst>
            <pc:docMk/>
            <pc:sldMk cId="1152882007" sldId="2147483559"/>
            <ac:spMk id="158" creationId="{DA816D02-0DF7-01C6-1DC3-4AE5E8AEDF5B}"/>
          </ac:spMkLst>
        </pc:spChg>
        <pc:spChg chg="add del mod">
          <ac:chgData name="Abdi, Adnan" userId="503e002c-9b3b-4180-87fb-acabeb2b158a" providerId="ADAL" clId="{5C2CD6D4-C7A9-4CEF-AA9C-BC2977F70622}" dt="2024-02-19T20:19:41.862" v="10244" actId="478"/>
          <ac:spMkLst>
            <pc:docMk/>
            <pc:sldMk cId="1152882007" sldId="2147483559"/>
            <ac:spMk id="160" creationId="{F5AC2874-3D96-14C1-F287-B0549097ADDB}"/>
          </ac:spMkLst>
        </pc:spChg>
        <pc:grpChg chg="add mod">
          <ac:chgData name="Abdi, Adnan" userId="503e002c-9b3b-4180-87fb-acabeb2b158a" providerId="ADAL" clId="{5C2CD6D4-C7A9-4CEF-AA9C-BC2977F70622}" dt="2024-02-20T12:52:59.599" v="17696" actId="34136"/>
          <ac:grpSpMkLst>
            <pc:docMk/>
            <pc:sldMk cId="1152882007" sldId="2147483559"/>
            <ac:grpSpMk id="6" creationId="{464FFA22-1D2D-E0E9-4084-7A7396B521EA}"/>
          </ac:grpSpMkLst>
        </pc:grpChg>
        <pc:grpChg chg="add del mod">
          <ac:chgData name="Abdi, Adnan" userId="503e002c-9b3b-4180-87fb-acabeb2b158a" providerId="ADAL" clId="{5C2CD6D4-C7A9-4CEF-AA9C-BC2977F70622}" dt="2024-02-20T09:38:14.776" v="10833" actId="478"/>
          <ac:grpSpMkLst>
            <pc:docMk/>
            <pc:sldMk cId="1152882007" sldId="2147483559"/>
            <ac:grpSpMk id="10" creationId="{59C2A3B0-F5AB-410D-F098-AF193129734E}"/>
          </ac:grpSpMkLst>
        </pc:grpChg>
        <pc:grpChg chg="add mod">
          <ac:chgData name="Abdi, Adnan" userId="503e002c-9b3b-4180-87fb-acabeb2b158a" providerId="ADAL" clId="{5C2CD6D4-C7A9-4CEF-AA9C-BC2977F70622}" dt="2024-02-20T12:52:59.599" v="17699" actId="34136"/>
          <ac:grpSpMkLst>
            <pc:docMk/>
            <pc:sldMk cId="1152882007" sldId="2147483559"/>
            <ac:grpSpMk id="14" creationId="{ED122542-5476-F88D-5CAE-C93806D86C9C}"/>
          </ac:grpSpMkLst>
        </pc:grpChg>
        <pc:grpChg chg="add del mod">
          <ac:chgData name="Abdi, Adnan" userId="503e002c-9b3b-4180-87fb-acabeb2b158a" providerId="ADAL" clId="{5C2CD6D4-C7A9-4CEF-AA9C-BC2977F70622}" dt="2024-02-19T15:27:54.254" v="5130"/>
          <ac:grpSpMkLst>
            <pc:docMk/>
            <pc:sldMk cId="1152882007" sldId="2147483559"/>
            <ac:grpSpMk id="25" creationId="{0FBF778F-B210-7AD5-2C2C-0D6B88F98891}"/>
          </ac:grpSpMkLst>
        </pc:grpChg>
        <pc:grpChg chg="add del mod">
          <ac:chgData name="Abdi, Adnan" userId="503e002c-9b3b-4180-87fb-acabeb2b158a" providerId="ADAL" clId="{5C2CD6D4-C7A9-4CEF-AA9C-BC2977F70622}" dt="2024-02-19T15:27:54.254" v="5130"/>
          <ac:grpSpMkLst>
            <pc:docMk/>
            <pc:sldMk cId="1152882007" sldId="2147483559"/>
            <ac:grpSpMk id="28" creationId="{9B5189FD-75A5-6BC9-7920-C184D5FFCE76}"/>
          </ac:grpSpMkLst>
        </pc:grpChg>
        <pc:grpChg chg="add del mod">
          <ac:chgData name="Abdi, Adnan" userId="503e002c-9b3b-4180-87fb-acabeb2b158a" providerId="ADAL" clId="{5C2CD6D4-C7A9-4CEF-AA9C-BC2977F70622}" dt="2024-02-19T15:27:54.254" v="5130"/>
          <ac:grpSpMkLst>
            <pc:docMk/>
            <pc:sldMk cId="1152882007" sldId="2147483559"/>
            <ac:grpSpMk id="31" creationId="{4BCD05D8-C8DF-94F6-CB0A-743B33B1630E}"/>
          </ac:grpSpMkLst>
        </pc:grpChg>
        <pc:grpChg chg="add del mod">
          <ac:chgData name="Abdi, Adnan" userId="503e002c-9b3b-4180-87fb-acabeb2b158a" providerId="ADAL" clId="{5C2CD6D4-C7A9-4CEF-AA9C-BC2977F70622}" dt="2024-02-19T15:27:54.254" v="5130"/>
          <ac:grpSpMkLst>
            <pc:docMk/>
            <pc:sldMk cId="1152882007" sldId="2147483559"/>
            <ac:grpSpMk id="34" creationId="{9F97C688-81AC-A6C9-9CB8-3DCC8476EF0D}"/>
          </ac:grpSpMkLst>
        </pc:grpChg>
        <pc:grpChg chg="add del mod">
          <ac:chgData name="Abdi, Adnan" userId="503e002c-9b3b-4180-87fb-acabeb2b158a" providerId="ADAL" clId="{5C2CD6D4-C7A9-4CEF-AA9C-BC2977F70622}" dt="2024-02-19T15:27:54.254" v="5130"/>
          <ac:grpSpMkLst>
            <pc:docMk/>
            <pc:sldMk cId="1152882007" sldId="2147483559"/>
            <ac:grpSpMk id="37" creationId="{B3128564-1347-7482-B7A9-97BC5F5C425F}"/>
          </ac:grpSpMkLst>
        </pc:grpChg>
        <pc:grpChg chg="add del mod">
          <ac:chgData name="Abdi, Adnan" userId="503e002c-9b3b-4180-87fb-acabeb2b158a" providerId="ADAL" clId="{5C2CD6D4-C7A9-4CEF-AA9C-BC2977F70622}" dt="2024-02-19T15:27:54.254" v="5130"/>
          <ac:grpSpMkLst>
            <pc:docMk/>
            <pc:sldMk cId="1152882007" sldId="2147483559"/>
            <ac:grpSpMk id="40" creationId="{6926D98C-287F-7385-DC8A-D4860805D2BD}"/>
          </ac:grpSpMkLst>
        </pc:grpChg>
        <pc:grpChg chg="add del mod">
          <ac:chgData name="Abdi, Adnan" userId="503e002c-9b3b-4180-87fb-acabeb2b158a" providerId="ADAL" clId="{5C2CD6D4-C7A9-4CEF-AA9C-BC2977F70622}" dt="2024-02-19T15:27:54.254" v="5130"/>
          <ac:grpSpMkLst>
            <pc:docMk/>
            <pc:sldMk cId="1152882007" sldId="2147483559"/>
            <ac:grpSpMk id="43" creationId="{F27A6D47-864B-180D-A900-F2063070321E}"/>
          </ac:grpSpMkLst>
        </pc:grpChg>
        <pc:grpChg chg="add del mod">
          <ac:chgData name="Abdi, Adnan" userId="503e002c-9b3b-4180-87fb-acabeb2b158a" providerId="ADAL" clId="{5C2CD6D4-C7A9-4CEF-AA9C-BC2977F70622}" dt="2024-02-19T15:27:54.254" v="5130"/>
          <ac:grpSpMkLst>
            <pc:docMk/>
            <pc:sldMk cId="1152882007" sldId="2147483559"/>
            <ac:grpSpMk id="46" creationId="{F12F5D29-9621-A3C7-30CB-03592878C9C9}"/>
          </ac:grpSpMkLst>
        </pc:grpChg>
        <pc:grpChg chg="add mod">
          <ac:chgData name="Abdi, Adnan" userId="503e002c-9b3b-4180-87fb-acabeb2b158a" providerId="ADAL" clId="{5C2CD6D4-C7A9-4CEF-AA9C-BC2977F70622}" dt="2024-02-20T09:26:39.601" v="10562"/>
          <ac:grpSpMkLst>
            <pc:docMk/>
            <pc:sldMk cId="1152882007" sldId="2147483559"/>
            <ac:grpSpMk id="76" creationId="{0FB6B899-0B9D-7103-00AE-E8AA850C95CB}"/>
          </ac:grpSpMkLst>
        </pc:grpChg>
        <pc:grpChg chg="add del mod ord">
          <ac:chgData name="Abdi, Adnan" userId="503e002c-9b3b-4180-87fb-acabeb2b158a" providerId="ADAL" clId="{5C2CD6D4-C7A9-4CEF-AA9C-BC2977F70622}" dt="2024-02-19T15:59:52.731" v="7250" actId="478"/>
          <ac:grpSpMkLst>
            <pc:docMk/>
            <pc:sldMk cId="1152882007" sldId="2147483559"/>
            <ac:grpSpMk id="79" creationId="{1A7BB967-BEFE-A4F6-E3DE-73CED38B57D0}"/>
          </ac:grpSpMkLst>
        </pc:grpChg>
        <pc:grpChg chg="add del mod ord">
          <ac:chgData name="Abdi, Adnan" userId="503e002c-9b3b-4180-87fb-acabeb2b158a" providerId="ADAL" clId="{5C2CD6D4-C7A9-4CEF-AA9C-BC2977F70622}" dt="2024-02-19T15:59:52.731" v="7250" actId="478"/>
          <ac:grpSpMkLst>
            <pc:docMk/>
            <pc:sldMk cId="1152882007" sldId="2147483559"/>
            <ac:grpSpMk id="82" creationId="{FEEC1A2E-BB8E-0943-5486-A570D91365A7}"/>
          </ac:grpSpMkLst>
        </pc:grpChg>
        <pc:grpChg chg="add del mod ord">
          <ac:chgData name="Abdi, Adnan" userId="503e002c-9b3b-4180-87fb-acabeb2b158a" providerId="ADAL" clId="{5C2CD6D4-C7A9-4CEF-AA9C-BC2977F70622}" dt="2024-02-19T15:59:52.731" v="7250" actId="478"/>
          <ac:grpSpMkLst>
            <pc:docMk/>
            <pc:sldMk cId="1152882007" sldId="2147483559"/>
            <ac:grpSpMk id="85" creationId="{9DBE6B9D-674F-50E6-95BC-C0106395E1E9}"/>
          </ac:grpSpMkLst>
        </pc:grpChg>
        <pc:grpChg chg="add del mod ord">
          <ac:chgData name="Abdi, Adnan" userId="503e002c-9b3b-4180-87fb-acabeb2b158a" providerId="ADAL" clId="{5C2CD6D4-C7A9-4CEF-AA9C-BC2977F70622}" dt="2024-02-19T15:59:52.731" v="7250" actId="478"/>
          <ac:grpSpMkLst>
            <pc:docMk/>
            <pc:sldMk cId="1152882007" sldId="2147483559"/>
            <ac:grpSpMk id="88" creationId="{087920F2-0A93-3737-89EF-125A6CD9B469}"/>
          </ac:grpSpMkLst>
        </pc:grpChg>
        <pc:grpChg chg="add del mod ord">
          <ac:chgData name="Abdi, Adnan" userId="503e002c-9b3b-4180-87fb-acabeb2b158a" providerId="ADAL" clId="{5C2CD6D4-C7A9-4CEF-AA9C-BC2977F70622}" dt="2024-02-19T15:59:52.731" v="7250" actId="478"/>
          <ac:grpSpMkLst>
            <pc:docMk/>
            <pc:sldMk cId="1152882007" sldId="2147483559"/>
            <ac:grpSpMk id="91" creationId="{16142FE5-91A6-12A4-E1BB-AA67F483BD7A}"/>
          </ac:grpSpMkLst>
        </pc:grpChg>
        <pc:grpChg chg="add del mod ord">
          <ac:chgData name="Abdi, Adnan" userId="503e002c-9b3b-4180-87fb-acabeb2b158a" providerId="ADAL" clId="{5C2CD6D4-C7A9-4CEF-AA9C-BC2977F70622}" dt="2024-02-19T15:59:52.731" v="7250" actId="478"/>
          <ac:grpSpMkLst>
            <pc:docMk/>
            <pc:sldMk cId="1152882007" sldId="2147483559"/>
            <ac:grpSpMk id="94" creationId="{FE64D9BC-C344-FA38-2CCA-F32754923D24}"/>
          </ac:grpSpMkLst>
        </pc:grpChg>
        <pc:grpChg chg="add del mod ord">
          <ac:chgData name="Abdi, Adnan" userId="503e002c-9b3b-4180-87fb-acabeb2b158a" providerId="ADAL" clId="{5C2CD6D4-C7A9-4CEF-AA9C-BC2977F70622}" dt="2024-02-19T15:59:52.731" v="7250" actId="478"/>
          <ac:grpSpMkLst>
            <pc:docMk/>
            <pc:sldMk cId="1152882007" sldId="2147483559"/>
            <ac:grpSpMk id="97" creationId="{E95828A0-2055-9562-CED4-3F46BB26AA0C}"/>
          </ac:grpSpMkLst>
        </pc:grpChg>
        <pc:grpChg chg="add del mod ord">
          <ac:chgData name="Abdi, Adnan" userId="503e002c-9b3b-4180-87fb-acabeb2b158a" providerId="ADAL" clId="{5C2CD6D4-C7A9-4CEF-AA9C-BC2977F70622}" dt="2024-02-19T15:59:52.731" v="7250" actId="478"/>
          <ac:grpSpMkLst>
            <pc:docMk/>
            <pc:sldMk cId="1152882007" sldId="2147483559"/>
            <ac:grpSpMk id="113" creationId="{E13E6FF6-C0F7-FDEB-9967-51F5E3CABC99}"/>
          </ac:grpSpMkLst>
        </pc:grpChg>
        <pc:grpChg chg="add mod">
          <ac:chgData name="Abdi, Adnan" userId="503e002c-9b3b-4180-87fb-acabeb2b158a" providerId="ADAL" clId="{5C2CD6D4-C7A9-4CEF-AA9C-BC2977F70622}" dt="2024-02-19T15:53:51.434" v="5921" actId="571"/>
          <ac:grpSpMkLst>
            <pc:docMk/>
            <pc:sldMk cId="1152882007" sldId="2147483559"/>
            <ac:grpSpMk id="119" creationId="{68E350D6-A2E5-2DB8-6E59-0A5F9DA0314D}"/>
          </ac:grpSpMkLst>
        </pc:grpChg>
        <pc:grpChg chg="add del mod ord">
          <ac:chgData name="Abdi, Adnan" userId="503e002c-9b3b-4180-87fb-acabeb2b158a" providerId="ADAL" clId="{5C2CD6D4-C7A9-4CEF-AA9C-BC2977F70622}" dt="2024-02-19T15:59:55.061" v="7251" actId="478"/>
          <ac:grpSpMkLst>
            <pc:docMk/>
            <pc:sldMk cId="1152882007" sldId="2147483559"/>
            <ac:grpSpMk id="124" creationId="{3DD63AFF-1EBB-8D61-D08B-00297F6496BD}"/>
          </ac:grpSpMkLst>
        </pc:grpChg>
        <pc:grpChg chg="add mod ord">
          <ac:chgData name="Abdi, Adnan" userId="503e002c-9b3b-4180-87fb-acabeb2b158a" providerId="ADAL" clId="{5C2CD6D4-C7A9-4CEF-AA9C-BC2977F70622}" dt="2024-02-20T09:26:37.099" v="10558"/>
          <ac:grpSpMkLst>
            <pc:docMk/>
            <pc:sldMk cId="1152882007" sldId="2147483559"/>
            <ac:grpSpMk id="127" creationId="{A862A51A-B884-BE74-CB5B-4E713D8DF92F}"/>
          </ac:grpSpMkLst>
        </pc:grpChg>
        <pc:grpChg chg="add mod ord">
          <ac:chgData name="Abdi, Adnan" userId="503e002c-9b3b-4180-87fb-acabeb2b158a" providerId="ADAL" clId="{5C2CD6D4-C7A9-4CEF-AA9C-BC2977F70622}" dt="2024-02-20T09:26:34.304" v="10554"/>
          <ac:grpSpMkLst>
            <pc:docMk/>
            <pc:sldMk cId="1152882007" sldId="2147483559"/>
            <ac:grpSpMk id="130" creationId="{B361CF5E-46B0-4E8E-7A1E-B5AECBEB8D3B}"/>
          </ac:grpSpMkLst>
        </pc:grpChg>
        <pc:grpChg chg="add mod ord">
          <ac:chgData name="Abdi, Adnan" userId="503e002c-9b3b-4180-87fb-acabeb2b158a" providerId="ADAL" clId="{5C2CD6D4-C7A9-4CEF-AA9C-BC2977F70622}" dt="2024-02-20T09:26:26.495" v="10542"/>
          <ac:grpSpMkLst>
            <pc:docMk/>
            <pc:sldMk cId="1152882007" sldId="2147483559"/>
            <ac:grpSpMk id="133" creationId="{FB369870-FFEC-B75B-21B8-1E7D7CA6FC54}"/>
          </ac:grpSpMkLst>
        </pc:grpChg>
        <pc:grpChg chg="add mod ord">
          <ac:chgData name="Abdi, Adnan" userId="503e002c-9b3b-4180-87fb-acabeb2b158a" providerId="ADAL" clId="{5C2CD6D4-C7A9-4CEF-AA9C-BC2977F70622}" dt="2024-02-20T09:26:23.660" v="10538"/>
          <ac:grpSpMkLst>
            <pc:docMk/>
            <pc:sldMk cId="1152882007" sldId="2147483559"/>
            <ac:grpSpMk id="136" creationId="{ABB63206-B430-F540-5552-8533B0B80D03}"/>
          </ac:grpSpMkLst>
        </pc:grpChg>
        <pc:grpChg chg="add mod ord">
          <ac:chgData name="Abdi, Adnan" userId="503e002c-9b3b-4180-87fb-acabeb2b158a" providerId="ADAL" clId="{5C2CD6D4-C7A9-4CEF-AA9C-BC2977F70622}" dt="2024-02-20T09:26:20.873" v="10534"/>
          <ac:grpSpMkLst>
            <pc:docMk/>
            <pc:sldMk cId="1152882007" sldId="2147483559"/>
            <ac:grpSpMk id="139" creationId="{88EB32D2-92C2-858C-D34C-AB320CF9793D}"/>
          </ac:grpSpMkLst>
        </pc:grpChg>
        <pc:grpChg chg="add mod ord">
          <ac:chgData name="Abdi, Adnan" userId="503e002c-9b3b-4180-87fb-acabeb2b158a" providerId="ADAL" clId="{5C2CD6D4-C7A9-4CEF-AA9C-BC2977F70622}" dt="2024-02-20T09:26:18.299" v="10530"/>
          <ac:grpSpMkLst>
            <pc:docMk/>
            <pc:sldMk cId="1152882007" sldId="2147483559"/>
            <ac:grpSpMk id="142" creationId="{89A09ED7-DF71-9C47-EA90-07C92CF8FE85}"/>
          </ac:grpSpMkLst>
        </pc:grpChg>
        <pc:grpChg chg="add mod ord">
          <ac:chgData name="Abdi, Adnan" userId="503e002c-9b3b-4180-87fb-acabeb2b158a" providerId="ADAL" clId="{5C2CD6D4-C7A9-4CEF-AA9C-BC2977F70622}" dt="2024-02-20T09:26:29.045" v="10546"/>
          <ac:grpSpMkLst>
            <pc:docMk/>
            <pc:sldMk cId="1152882007" sldId="2147483559"/>
            <ac:grpSpMk id="145" creationId="{C953C6DC-62A0-57EE-F8F6-49825D17273B}"/>
          </ac:grpSpMkLst>
        </pc:grpChg>
        <pc:grpChg chg="add mod ord">
          <ac:chgData name="Abdi, Adnan" userId="503e002c-9b3b-4180-87fb-acabeb2b158a" providerId="ADAL" clId="{5C2CD6D4-C7A9-4CEF-AA9C-BC2977F70622}" dt="2024-02-20T09:26:14.630" v="10528"/>
          <ac:grpSpMkLst>
            <pc:docMk/>
            <pc:sldMk cId="1152882007" sldId="2147483559"/>
            <ac:grpSpMk id="148" creationId="{A5796A35-7775-778C-3589-CED3CF8E8293}"/>
          </ac:grpSpMkLst>
        </pc:grpChg>
        <pc:grpChg chg="add del mod ord">
          <ac:chgData name="Abdi, Adnan" userId="503e002c-9b3b-4180-87fb-acabeb2b158a" providerId="ADAL" clId="{5C2CD6D4-C7A9-4CEF-AA9C-BC2977F70622}" dt="2024-02-19T15:59:52.731" v="7250" actId="478"/>
          <ac:grpSpMkLst>
            <pc:docMk/>
            <pc:sldMk cId="1152882007" sldId="2147483559"/>
            <ac:grpSpMk id="151" creationId="{DDDE9B77-1C14-D8F8-7A1A-DAEEB7CB218B}"/>
          </ac:grpSpMkLst>
        </pc:grpChg>
        <pc:grpChg chg="add mod">
          <ac:chgData name="Abdi, Adnan" userId="503e002c-9b3b-4180-87fb-acabeb2b158a" providerId="ADAL" clId="{5C2CD6D4-C7A9-4CEF-AA9C-BC2977F70622}" dt="2024-02-20T09:26:31.998" v="10550"/>
          <ac:grpSpMkLst>
            <pc:docMk/>
            <pc:sldMk cId="1152882007" sldId="2147483559"/>
            <ac:grpSpMk id="156" creationId="{D92DB3BA-DB6A-0729-2795-4FD6E55086D5}"/>
          </ac:grpSpMkLst>
        </pc:grpChg>
        <pc:graphicFrameChg chg="mod ord modVis replST">
          <ac:chgData name="Abdi, Adnan" userId="503e002c-9b3b-4180-87fb-acabeb2b158a" providerId="ADAL" clId="{5C2CD6D4-C7A9-4CEF-AA9C-BC2977F70622}" dt="2024-02-20T12:53:06.402" v="21005"/>
          <ac:graphicFrameMkLst>
            <pc:docMk/>
            <pc:sldMk cId="1152882007" sldId="2147483559"/>
            <ac:graphicFrameMk id="18" creationId="{B1F93F93-8617-34BA-4FE5-87FF8058C959}"/>
          </ac:graphicFrameMkLst>
        </pc:graphicFrameChg>
        <pc:cxnChg chg="add del mod">
          <ac:chgData name="Abdi, Adnan" userId="503e002c-9b3b-4180-87fb-acabeb2b158a" providerId="ADAL" clId="{5C2CD6D4-C7A9-4CEF-AA9C-BC2977F70622}" dt="2024-02-19T15:27:54.254" v="5130"/>
          <ac:cxnSpMkLst>
            <pc:docMk/>
            <pc:sldMk cId="1152882007" sldId="2147483559"/>
            <ac:cxnSpMk id="8" creationId="{2F3BB0F1-EFF7-21FA-3928-C3C0662EB29A}"/>
          </ac:cxnSpMkLst>
        </pc:cxnChg>
        <pc:cxnChg chg="add del mod">
          <ac:chgData name="Abdi, Adnan" userId="503e002c-9b3b-4180-87fb-acabeb2b158a" providerId="ADAL" clId="{5C2CD6D4-C7A9-4CEF-AA9C-BC2977F70622}" dt="2024-02-19T15:27:54.254" v="5130"/>
          <ac:cxnSpMkLst>
            <pc:docMk/>
            <pc:sldMk cId="1152882007" sldId="2147483559"/>
            <ac:cxnSpMk id="49" creationId="{5F4708D3-336F-3A54-9C57-8F8438506EDB}"/>
          </ac:cxnSpMkLst>
        </pc:cxnChg>
        <pc:cxnChg chg="add del mod">
          <ac:chgData name="Abdi, Adnan" userId="503e002c-9b3b-4180-87fb-acabeb2b158a" providerId="ADAL" clId="{5C2CD6D4-C7A9-4CEF-AA9C-BC2977F70622}" dt="2024-02-19T15:27:54.254" v="5130"/>
          <ac:cxnSpMkLst>
            <pc:docMk/>
            <pc:sldMk cId="1152882007" sldId="2147483559"/>
            <ac:cxnSpMk id="50" creationId="{67D94166-74D3-4299-C939-9F06F914D014}"/>
          </ac:cxnSpMkLst>
        </pc:cxnChg>
        <pc:cxnChg chg="add del mod">
          <ac:chgData name="Abdi, Adnan" userId="503e002c-9b3b-4180-87fb-acabeb2b158a" providerId="ADAL" clId="{5C2CD6D4-C7A9-4CEF-AA9C-BC2977F70622}" dt="2024-02-19T15:27:54.254" v="5130"/>
          <ac:cxnSpMkLst>
            <pc:docMk/>
            <pc:sldMk cId="1152882007" sldId="2147483559"/>
            <ac:cxnSpMk id="51" creationId="{33B3B764-9739-C07E-628C-F1F36F400D0F}"/>
          </ac:cxnSpMkLst>
        </pc:cxnChg>
        <pc:cxnChg chg="add del mod">
          <ac:chgData name="Abdi, Adnan" userId="503e002c-9b3b-4180-87fb-acabeb2b158a" providerId="ADAL" clId="{5C2CD6D4-C7A9-4CEF-AA9C-BC2977F70622}" dt="2024-02-19T15:27:54.254" v="5130"/>
          <ac:cxnSpMkLst>
            <pc:docMk/>
            <pc:sldMk cId="1152882007" sldId="2147483559"/>
            <ac:cxnSpMk id="52" creationId="{D1782A8A-9A7D-C465-4574-80B9B6129085}"/>
          </ac:cxnSpMkLst>
        </pc:cxnChg>
        <pc:cxnChg chg="add del mod">
          <ac:chgData name="Abdi, Adnan" userId="503e002c-9b3b-4180-87fb-acabeb2b158a" providerId="ADAL" clId="{5C2CD6D4-C7A9-4CEF-AA9C-BC2977F70622}" dt="2024-02-19T15:27:54.254" v="5130"/>
          <ac:cxnSpMkLst>
            <pc:docMk/>
            <pc:sldMk cId="1152882007" sldId="2147483559"/>
            <ac:cxnSpMk id="53" creationId="{360204BF-DF13-F40D-A200-A4BED7F62C98}"/>
          </ac:cxnSpMkLst>
        </pc:cxnChg>
        <pc:cxnChg chg="add del mod">
          <ac:chgData name="Abdi, Adnan" userId="503e002c-9b3b-4180-87fb-acabeb2b158a" providerId="ADAL" clId="{5C2CD6D4-C7A9-4CEF-AA9C-BC2977F70622}" dt="2024-02-19T15:27:54.254" v="5130"/>
          <ac:cxnSpMkLst>
            <pc:docMk/>
            <pc:sldMk cId="1152882007" sldId="2147483559"/>
            <ac:cxnSpMk id="54" creationId="{C9E975F3-B8ED-1218-7EC2-FDEAACC7690B}"/>
          </ac:cxnSpMkLst>
        </pc:cxnChg>
        <pc:cxnChg chg="add del mod">
          <ac:chgData name="Abdi, Adnan" userId="503e002c-9b3b-4180-87fb-acabeb2b158a" providerId="ADAL" clId="{5C2CD6D4-C7A9-4CEF-AA9C-BC2977F70622}" dt="2024-02-19T15:27:54.254" v="5130"/>
          <ac:cxnSpMkLst>
            <pc:docMk/>
            <pc:sldMk cId="1152882007" sldId="2147483559"/>
            <ac:cxnSpMk id="55" creationId="{5CA051F9-7926-583C-F70B-23ADECBA4BA2}"/>
          </ac:cxnSpMkLst>
        </pc:cxnChg>
        <pc:cxnChg chg="add del mod">
          <ac:chgData name="Abdi, Adnan" userId="503e002c-9b3b-4180-87fb-acabeb2b158a" providerId="ADAL" clId="{5C2CD6D4-C7A9-4CEF-AA9C-BC2977F70622}" dt="2024-02-19T15:27:54.254" v="5130"/>
          <ac:cxnSpMkLst>
            <pc:docMk/>
            <pc:sldMk cId="1152882007" sldId="2147483559"/>
            <ac:cxnSpMk id="57" creationId="{9FE44BFC-4B92-A088-1411-8BCD9BA607B3}"/>
          </ac:cxnSpMkLst>
        </pc:cxnChg>
        <pc:cxnChg chg="add mod">
          <ac:chgData name="Abdi, Adnan" userId="503e002c-9b3b-4180-87fb-acabeb2b158a" providerId="ADAL" clId="{5C2CD6D4-C7A9-4CEF-AA9C-BC2977F70622}" dt="2024-02-20T09:43:48.092" v="11021" actId="1582"/>
          <ac:cxnSpMkLst>
            <pc:docMk/>
            <pc:sldMk cId="1152882007" sldId="2147483559"/>
            <ac:cxnSpMk id="59" creationId="{AC3D3624-8968-2490-A300-49E5F1BC1694}"/>
          </ac:cxnSpMkLst>
        </pc:cxnChg>
        <pc:cxnChg chg="add mod">
          <ac:chgData name="Abdi, Adnan" userId="503e002c-9b3b-4180-87fb-acabeb2b158a" providerId="ADAL" clId="{5C2CD6D4-C7A9-4CEF-AA9C-BC2977F70622}" dt="2024-02-20T09:23:28.713" v="10497" actId="465"/>
          <ac:cxnSpMkLst>
            <pc:docMk/>
            <pc:sldMk cId="1152882007" sldId="2147483559"/>
            <ac:cxnSpMk id="100" creationId="{49033E7E-57E8-A9C6-DE60-6E2C6E44D713}"/>
          </ac:cxnSpMkLst>
        </pc:cxnChg>
        <pc:cxnChg chg="add mod">
          <ac:chgData name="Abdi, Adnan" userId="503e002c-9b3b-4180-87fb-acabeb2b158a" providerId="ADAL" clId="{5C2CD6D4-C7A9-4CEF-AA9C-BC2977F70622}" dt="2024-02-20T09:43:48.124" v="11024"/>
          <ac:cxnSpMkLst>
            <pc:docMk/>
            <pc:sldMk cId="1152882007" sldId="2147483559"/>
            <ac:cxnSpMk id="101" creationId="{2938C6D6-F09A-07BE-70D5-27C66363F45F}"/>
          </ac:cxnSpMkLst>
        </pc:cxnChg>
        <pc:cxnChg chg="add mod">
          <ac:chgData name="Abdi, Adnan" userId="503e002c-9b3b-4180-87fb-acabeb2b158a" providerId="ADAL" clId="{5C2CD6D4-C7A9-4CEF-AA9C-BC2977F70622}" dt="2024-02-20T09:23:28.713" v="10497" actId="465"/>
          <ac:cxnSpMkLst>
            <pc:docMk/>
            <pc:sldMk cId="1152882007" sldId="2147483559"/>
            <ac:cxnSpMk id="102" creationId="{A8FE5DA9-D619-140C-8B01-D6C642827DC7}"/>
          </ac:cxnSpMkLst>
        </pc:cxnChg>
        <pc:cxnChg chg="add mod">
          <ac:chgData name="Abdi, Adnan" userId="503e002c-9b3b-4180-87fb-acabeb2b158a" providerId="ADAL" clId="{5C2CD6D4-C7A9-4CEF-AA9C-BC2977F70622}" dt="2024-02-20T09:23:28.713" v="10497" actId="465"/>
          <ac:cxnSpMkLst>
            <pc:docMk/>
            <pc:sldMk cId="1152882007" sldId="2147483559"/>
            <ac:cxnSpMk id="103" creationId="{056D4BED-57A2-12B0-7C6C-F143481E5564}"/>
          </ac:cxnSpMkLst>
        </pc:cxnChg>
        <pc:cxnChg chg="add mod">
          <ac:chgData name="Abdi, Adnan" userId="503e002c-9b3b-4180-87fb-acabeb2b158a" providerId="ADAL" clId="{5C2CD6D4-C7A9-4CEF-AA9C-BC2977F70622}" dt="2024-02-20T09:23:28.713" v="10497" actId="465"/>
          <ac:cxnSpMkLst>
            <pc:docMk/>
            <pc:sldMk cId="1152882007" sldId="2147483559"/>
            <ac:cxnSpMk id="104" creationId="{07E1602F-7209-CE9E-A8FB-F621A3F3F981}"/>
          </ac:cxnSpMkLst>
        </pc:cxnChg>
        <pc:cxnChg chg="add mod">
          <ac:chgData name="Abdi, Adnan" userId="503e002c-9b3b-4180-87fb-acabeb2b158a" providerId="ADAL" clId="{5C2CD6D4-C7A9-4CEF-AA9C-BC2977F70622}" dt="2024-02-20T09:23:28.713" v="10497" actId="465"/>
          <ac:cxnSpMkLst>
            <pc:docMk/>
            <pc:sldMk cId="1152882007" sldId="2147483559"/>
            <ac:cxnSpMk id="105" creationId="{61F3BE8C-4418-EB86-F1A6-8874747115E5}"/>
          </ac:cxnSpMkLst>
        </pc:cxnChg>
        <pc:cxnChg chg="add mod">
          <ac:chgData name="Abdi, Adnan" userId="503e002c-9b3b-4180-87fb-acabeb2b158a" providerId="ADAL" clId="{5C2CD6D4-C7A9-4CEF-AA9C-BC2977F70622}" dt="2024-02-20T09:23:28.713" v="10497" actId="465"/>
          <ac:cxnSpMkLst>
            <pc:docMk/>
            <pc:sldMk cId="1152882007" sldId="2147483559"/>
            <ac:cxnSpMk id="106" creationId="{9374FECC-0DD8-7DE9-373A-00F58E0A94B5}"/>
          </ac:cxnSpMkLst>
        </pc:cxnChg>
        <pc:cxnChg chg="add mod">
          <ac:chgData name="Abdi, Adnan" userId="503e002c-9b3b-4180-87fb-acabeb2b158a" providerId="ADAL" clId="{5C2CD6D4-C7A9-4CEF-AA9C-BC2977F70622}" dt="2024-02-20T09:43:48.092" v="11021" actId="1582"/>
          <ac:cxnSpMkLst>
            <pc:docMk/>
            <pc:sldMk cId="1152882007" sldId="2147483559"/>
            <ac:cxnSpMk id="108" creationId="{4FE5BF6C-782A-164D-BBB4-67F392D72B5E}"/>
          </ac:cxnSpMkLst>
        </pc:cxnChg>
        <pc:cxnChg chg="add mod">
          <ac:chgData name="Abdi, Adnan" userId="503e002c-9b3b-4180-87fb-acabeb2b158a" providerId="ADAL" clId="{5C2CD6D4-C7A9-4CEF-AA9C-BC2977F70622}" dt="2024-02-20T09:23:28.713" v="10497" actId="465"/>
          <ac:cxnSpMkLst>
            <pc:docMk/>
            <pc:sldMk cId="1152882007" sldId="2147483559"/>
            <ac:cxnSpMk id="116" creationId="{DD99C2D7-36CC-3088-5268-65C2090F205A}"/>
          </ac:cxnSpMkLst>
        </pc:cxnChg>
        <pc:cxnChg chg="add mod">
          <ac:chgData name="Abdi, Adnan" userId="503e002c-9b3b-4180-87fb-acabeb2b158a" providerId="ADAL" clId="{5C2CD6D4-C7A9-4CEF-AA9C-BC2977F70622}" dt="2024-02-19T15:53:51.434" v="5921" actId="571"/>
          <ac:cxnSpMkLst>
            <pc:docMk/>
            <pc:sldMk cId="1152882007" sldId="2147483559"/>
            <ac:cxnSpMk id="122" creationId="{CF3D5538-2F8F-0A2C-30AC-EAE0A8EE1233}"/>
          </ac:cxnSpMkLst>
        </pc:cxnChg>
        <pc:cxnChg chg="add mod">
          <ac:chgData name="Abdi, Adnan" userId="503e002c-9b3b-4180-87fb-acabeb2b158a" providerId="ADAL" clId="{5C2CD6D4-C7A9-4CEF-AA9C-BC2977F70622}" dt="2024-02-20T09:23:28.713" v="10497" actId="465"/>
          <ac:cxnSpMkLst>
            <pc:docMk/>
            <pc:sldMk cId="1152882007" sldId="2147483559"/>
            <ac:cxnSpMk id="159" creationId="{89B48A68-4235-033C-2140-27B706436590}"/>
          </ac:cxnSpMkLst>
        </pc:cxnChg>
      </pc:sldChg>
      <pc:sldChg chg="addSp delSp modSp mod">
        <pc:chgData name="Abdi, Adnan" userId="503e002c-9b3b-4180-87fb-acabeb2b158a" providerId="ADAL" clId="{5C2CD6D4-C7A9-4CEF-AA9C-BC2977F70622}" dt="2024-02-26T09:10:10.034" v="73104"/>
        <pc:sldMkLst>
          <pc:docMk/>
          <pc:sldMk cId="1343589809" sldId="2147483559"/>
        </pc:sldMkLst>
        <pc:spChg chg="mod">
          <ac:chgData name="Abdi, Adnan" userId="503e002c-9b3b-4180-87fb-acabeb2b158a" providerId="ADAL" clId="{5C2CD6D4-C7A9-4CEF-AA9C-BC2977F70622}" dt="2024-02-26T09:10:10.034" v="73104"/>
          <ac:spMkLst>
            <pc:docMk/>
            <pc:sldMk cId="1343589809" sldId="2147483559"/>
            <ac:spMk id="3" creationId="{028D4B8F-B27C-53F5-451A-24CA598898DE}"/>
          </ac:spMkLst>
        </pc:spChg>
        <pc:spChg chg="add mod">
          <ac:chgData name="Abdi, Adnan" userId="503e002c-9b3b-4180-87fb-acabeb2b158a" providerId="ADAL" clId="{5C2CD6D4-C7A9-4CEF-AA9C-BC2977F70622}" dt="2024-02-23T15:32:09.917" v="71465"/>
          <ac:spMkLst>
            <pc:docMk/>
            <pc:sldMk cId="1343589809" sldId="2147483559"/>
            <ac:spMk id="4" creationId="{1A68FC50-AA15-FC69-1AB4-767E70C870EA}"/>
          </ac:spMkLst>
        </pc:spChg>
        <pc:spChg chg="mod">
          <ac:chgData name="Abdi, Adnan" userId="503e002c-9b3b-4180-87fb-acabeb2b158a" providerId="ADAL" clId="{5C2CD6D4-C7A9-4CEF-AA9C-BC2977F70622}" dt="2024-02-22T14:44:45.314" v="58269" actId="14100"/>
          <ac:spMkLst>
            <pc:docMk/>
            <pc:sldMk cId="1343589809" sldId="2147483559"/>
            <ac:spMk id="5" creationId="{5F43F86A-EE19-5783-47DD-51DBCADCF320}"/>
          </ac:spMkLst>
        </pc:spChg>
        <pc:spChg chg="mod">
          <ac:chgData name="Abdi, Adnan" userId="503e002c-9b3b-4180-87fb-acabeb2b158a" providerId="ADAL" clId="{5C2CD6D4-C7A9-4CEF-AA9C-BC2977F70622}" dt="2024-02-21T17:52:19.077" v="52760"/>
          <ac:spMkLst>
            <pc:docMk/>
            <pc:sldMk cId="1343589809" sldId="2147483559"/>
            <ac:spMk id="7" creationId="{A8DEB53B-3701-00AA-2309-31A0261C9D4B}"/>
          </ac:spMkLst>
        </pc:spChg>
        <pc:spChg chg="mod">
          <ac:chgData name="Abdi, Adnan" userId="503e002c-9b3b-4180-87fb-acabeb2b158a" providerId="ADAL" clId="{5C2CD6D4-C7A9-4CEF-AA9C-BC2977F70622}" dt="2024-02-21T17:52:19.077" v="52760"/>
          <ac:spMkLst>
            <pc:docMk/>
            <pc:sldMk cId="1343589809" sldId="2147483559"/>
            <ac:spMk id="8" creationId="{35DE0279-C1F8-219C-B6B3-C794AE330E8F}"/>
          </ac:spMkLst>
        </pc:spChg>
        <pc:spChg chg="mod">
          <ac:chgData name="Abdi, Adnan" userId="503e002c-9b3b-4180-87fb-acabeb2b158a" providerId="ADAL" clId="{5C2CD6D4-C7A9-4CEF-AA9C-BC2977F70622}" dt="2024-02-21T17:52:17.201" v="52730"/>
          <ac:spMkLst>
            <pc:docMk/>
            <pc:sldMk cId="1343589809" sldId="2147483559"/>
            <ac:spMk id="10" creationId="{90E0B743-31CF-CC2D-4E27-EC1D5C49CBF4}"/>
          </ac:spMkLst>
        </pc:spChg>
        <pc:spChg chg="mod">
          <ac:chgData name="Abdi, Adnan" userId="503e002c-9b3b-4180-87fb-acabeb2b158a" providerId="ADAL" clId="{5C2CD6D4-C7A9-4CEF-AA9C-BC2977F70622}" dt="2024-02-21T17:52:17.201" v="52730"/>
          <ac:spMkLst>
            <pc:docMk/>
            <pc:sldMk cId="1343589809" sldId="2147483559"/>
            <ac:spMk id="11" creationId="{8AF9B94E-708A-C194-BF36-D95BA3D1EA63}"/>
          </ac:spMkLst>
        </pc:spChg>
        <pc:spChg chg="mod">
          <ac:chgData name="Abdi, Adnan" userId="503e002c-9b3b-4180-87fb-acabeb2b158a" providerId="ADAL" clId="{5C2CD6D4-C7A9-4CEF-AA9C-BC2977F70622}" dt="2024-02-21T17:52:13.177" v="52708"/>
          <ac:spMkLst>
            <pc:docMk/>
            <pc:sldMk cId="1343589809" sldId="2147483559"/>
            <ac:spMk id="13" creationId="{D22E149D-B5C0-D2FE-B891-020C54ADED10}"/>
          </ac:spMkLst>
        </pc:spChg>
        <pc:spChg chg="mod">
          <ac:chgData name="Abdi, Adnan" userId="503e002c-9b3b-4180-87fb-acabeb2b158a" providerId="ADAL" clId="{5C2CD6D4-C7A9-4CEF-AA9C-BC2977F70622}" dt="2024-02-21T17:52:13.177" v="52708"/>
          <ac:spMkLst>
            <pc:docMk/>
            <pc:sldMk cId="1343589809" sldId="2147483559"/>
            <ac:spMk id="14" creationId="{A82EC0CD-3F4B-8FC1-A010-C9E024342A3A}"/>
          </ac:spMkLst>
        </pc:spChg>
        <pc:spChg chg="mod">
          <ac:chgData name="Abdi, Adnan" userId="503e002c-9b3b-4180-87fb-acabeb2b158a" providerId="ADAL" clId="{5C2CD6D4-C7A9-4CEF-AA9C-BC2977F70622}" dt="2024-02-21T17:52:08.679" v="52546"/>
          <ac:spMkLst>
            <pc:docMk/>
            <pc:sldMk cId="1343589809" sldId="2147483559"/>
            <ac:spMk id="16" creationId="{CEECF7AC-4892-94EA-D860-FBB0745EDEBE}"/>
          </ac:spMkLst>
        </pc:spChg>
        <pc:spChg chg="mod">
          <ac:chgData name="Abdi, Adnan" userId="503e002c-9b3b-4180-87fb-acabeb2b158a" providerId="ADAL" clId="{5C2CD6D4-C7A9-4CEF-AA9C-BC2977F70622}" dt="2024-02-21T17:52:08.679" v="52546"/>
          <ac:spMkLst>
            <pc:docMk/>
            <pc:sldMk cId="1343589809" sldId="2147483559"/>
            <ac:spMk id="17" creationId="{BBF05770-D043-45E0-4CB8-D240D1FBD101}"/>
          </ac:spMkLst>
        </pc:spChg>
        <pc:spChg chg="mod">
          <ac:chgData name="Abdi, Adnan" userId="503e002c-9b3b-4180-87fb-acabeb2b158a" providerId="ADAL" clId="{5C2CD6D4-C7A9-4CEF-AA9C-BC2977F70622}" dt="2024-02-21T17:52:06.761" v="52448"/>
          <ac:spMkLst>
            <pc:docMk/>
            <pc:sldMk cId="1343589809" sldId="2147483559"/>
            <ac:spMk id="20" creationId="{D0A4EB29-A0C8-9578-B7A4-9ED76FF7F3A0}"/>
          </ac:spMkLst>
        </pc:spChg>
        <pc:spChg chg="mod">
          <ac:chgData name="Abdi, Adnan" userId="503e002c-9b3b-4180-87fb-acabeb2b158a" providerId="ADAL" clId="{5C2CD6D4-C7A9-4CEF-AA9C-BC2977F70622}" dt="2024-02-21T17:52:06.761" v="52448"/>
          <ac:spMkLst>
            <pc:docMk/>
            <pc:sldMk cId="1343589809" sldId="2147483559"/>
            <ac:spMk id="21" creationId="{5E93E22D-8ABC-96A7-E0D2-5FB22AD46064}"/>
          </ac:spMkLst>
        </pc:spChg>
        <pc:spChg chg="mod">
          <ac:chgData name="Abdi, Adnan" userId="503e002c-9b3b-4180-87fb-acabeb2b158a" providerId="ADAL" clId="{5C2CD6D4-C7A9-4CEF-AA9C-BC2977F70622}" dt="2024-02-21T17:52:04.563" v="52342"/>
          <ac:spMkLst>
            <pc:docMk/>
            <pc:sldMk cId="1343589809" sldId="2147483559"/>
            <ac:spMk id="23" creationId="{ADCAA722-1D88-9153-E303-6C961D2E6D56}"/>
          </ac:spMkLst>
        </pc:spChg>
        <pc:spChg chg="mod">
          <ac:chgData name="Abdi, Adnan" userId="503e002c-9b3b-4180-87fb-acabeb2b158a" providerId="ADAL" clId="{5C2CD6D4-C7A9-4CEF-AA9C-BC2977F70622}" dt="2024-02-21T17:52:04.563" v="52342"/>
          <ac:spMkLst>
            <pc:docMk/>
            <pc:sldMk cId="1343589809" sldId="2147483559"/>
            <ac:spMk id="24" creationId="{1FA1AA1C-86E6-EB81-1061-322F529EBF5D}"/>
          </ac:spMkLst>
        </pc:spChg>
        <pc:spChg chg="mod">
          <ac:chgData name="Abdi, Adnan" userId="503e002c-9b3b-4180-87fb-acabeb2b158a" providerId="ADAL" clId="{5C2CD6D4-C7A9-4CEF-AA9C-BC2977F70622}" dt="2024-02-21T17:51:52.458" v="51955"/>
          <ac:spMkLst>
            <pc:docMk/>
            <pc:sldMk cId="1343589809" sldId="2147483559"/>
            <ac:spMk id="26" creationId="{033C76C6-F28E-3997-BCE4-E3ED002FDE9D}"/>
          </ac:spMkLst>
        </pc:spChg>
        <pc:spChg chg="mod">
          <ac:chgData name="Abdi, Adnan" userId="503e002c-9b3b-4180-87fb-acabeb2b158a" providerId="ADAL" clId="{5C2CD6D4-C7A9-4CEF-AA9C-BC2977F70622}" dt="2024-02-21T17:51:52.458" v="51955"/>
          <ac:spMkLst>
            <pc:docMk/>
            <pc:sldMk cId="1343589809" sldId="2147483559"/>
            <ac:spMk id="27" creationId="{80004307-CF19-E51E-72EC-8C1662668A27}"/>
          </ac:spMkLst>
        </pc:spChg>
        <pc:spChg chg="mod">
          <ac:chgData name="Abdi, Adnan" userId="503e002c-9b3b-4180-87fb-acabeb2b158a" providerId="ADAL" clId="{5C2CD6D4-C7A9-4CEF-AA9C-BC2977F70622}" dt="2024-02-21T17:52:01.715" v="52224"/>
          <ac:spMkLst>
            <pc:docMk/>
            <pc:sldMk cId="1343589809" sldId="2147483559"/>
            <ac:spMk id="29" creationId="{6EF3807A-8651-D3D4-3EC1-BD71FDE075C4}"/>
          </ac:spMkLst>
        </pc:spChg>
        <pc:spChg chg="mod">
          <ac:chgData name="Abdi, Adnan" userId="503e002c-9b3b-4180-87fb-acabeb2b158a" providerId="ADAL" clId="{5C2CD6D4-C7A9-4CEF-AA9C-BC2977F70622}" dt="2024-02-21T17:52:01.715" v="52224"/>
          <ac:spMkLst>
            <pc:docMk/>
            <pc:sldMk cId="1343589809" sldId="2147483559"/>
            <ac:spMk id="30" creationId="{C8652959-C42B-A32A-2FFD-C7A8345B03C2}"/>
          </ac:spMkLst>
        </pc:spChg>
        <pc:spChg chg="mod">
          <ac:chgData name="Abdi, Adnan" userId="503e002c-9b3b-4180-87fb-acabeb2b158a" providerId="ADAL" clId="{5C2CD6D4-C7A9-4CEF-AA9C-BC2977F70622}" dt="2024-02-21T17:51:58.582" v="52098"/>
          <ac:spMkLst>
            <pc:docMk/>
            <pc:sldMk cId="1343589809" sldId="2147483559"/>
            <ac:spMk id="32" creationId="{DDB76470-715A-CB0C-A405-357DFA53C7EE}"/>
          </ac:spMkLst>
        </pc:spChg>
        <pc:spChg chg="mod">
          <ac:chgData name="Abdi, Adnan" userId="503e002c-9b3b-4180-87fb-acabeb2b158a" providerId="ADAL" clId="{5C2CD6D4-C7A9-4CEF-AA9C-BC2977F70622}" dt="2024-02-21T17:51:58.582" v="52098"/>
          <ac:spMkLst>
            <pc:docMk/>
            <pc:sldMk cId="1343589809" sldId="2147483559"/>
            <ac:spMk id="33" creationId="{61D32786-16C6-0F91-BD5B-DF02FDF869A5}"/>
          </ac:spMkLst>
        </pc:spChg>
        <pc:spChg chg="mod">
          <ac:chgData name="Abdi, Adnan" userId="503e002c-9b3b-4180-87fb-acabeb2b158a" providerId="ADAL" clId="{5C2CD6D4-C7A9-4CEF-AA9C-BC2977F70622}" dt="2024-02-21T17:51:56.165" v="51964"/>
          <ac:spMkLst>
            <pc:docMk/>
            <pc:sldMk cId="1343589809" sldId="2147483559"/>
            <ac:spMk id="35" creationId="{E1754F64-382E-583F-663F-CA368D15C02C}"/>
          </ac:spMkLst>
        </pc:spChg>
        <pc:spChg chg="mod">
          <ac:chgData name="Abdi, Adnan" userId="503e002c-9b3b-4180-87fb-acabeb2b158a" providerId="ADAL" clId="{5C2CD6D4-C7A9-4CEF-AA9C-BC2977F70622}" dt="2024-02-21T17:51:56.165" v="51964"/>
          <ac:spMkLst>
            <pc:docMk/>
            <pc:sldMk cId="1343589809" sldId="2147483559"/>
            <ac:spMk id="36" creationId="{A86B453D-AFC0-91E7-52A5-61ABE66ABC64}"/>
          </ac:spMkLst>
        </pc:spChg>
        <pc:spChg chg="add mod">
          <ac:chgData name="Abdi, Adnan" userId="503e002c-9b3b-4180-87fb-acabeb2b158a" providerId="ADAL" clId="{5C2CD6D4-C7A9-4CEF-AA9C-BC2977F70622}" dt="2024-02-23T14:38:06.321" v="71004"/>
          <ac:spMkLst>
            <pc:docMk/>
            <pc:sldMk cId="1343589809" sldId="2147483559"/>
            <ac:spMk id="37" creationId="{4DD53730-CAA0-EF19-7EA8-F8BB95E152E9}"/>
          </ac:spMkLst>
        </pc:spChg>
        <pc:spChg chg="mod">
          <ac:chgData name="Abdi, Adnan" userId="503e002c-9b3b-4180-87fb-acabeb2b158a" providerId="ADAL" clId="{5C2CD6D4-C7A9-4CEF-AA9C-BC2977F70622}" dt="2024-02-21T17:51:47.489" v="51948" actId="207"/>
          <ac:spMkLst>
            <pc:docMk/>
            <pc:sldMk cId="1343589809" sldId="2147483559"/>
            <ac:spMk id="77" creationId="{CBC3C983-FC9E-CCBB-6257-9BEB7E834AB4}"/>
          </ac:spMkLst>
        </pc:spChg>
        <pc:spChg chg="mod">
          <ac:chgData name="Abdi, Adnan" userId="503e002c-9b3b-4180-87fb-acabeb2b158a" providerId="ADAL" clId="{5C2CD6D4-C7A9-4CEF-AA9C-BC2977F70622}" dt="2024-02-21T17:52:19.078" v="52762"/>
          <ac:spMkLst>
            <pc:docMk/>
            <pc:sldMk cId="1343589809" sldId="2147483559"/>
            <ac:spMk id="128" creationId="{C7AF6FDF-AB81-C116-0D91-3EEB46B0AACA}"/>
          </ac:spMkLst>
        </pc:spChg>
        <pc:spChg chg="mod">
          <ac:chgData name="Abdi, Adnan" userId="503e002c-9b3b-4180-87fb-acabeb2b158a" providerId="ADAL" clId="{5C2CD6D4-C7A9-4CEF-AA9C-BC2977F70622}" dt="2024-02-21T17:52:19.078" v="52762"/>
          <ac:spMkLst>
            <pc:docMk/>
            <pc:sldMk cId="1343589809" sldId="2147483559"/>
            <ac:spMk id="129" creationId="{8E3BE2EA-D328-345D-0E9C-CC0639F56B7E}"/>
          </ac:spMkLst>
        </pc:spChg>
        <pc:spChg chg="mod">
          <ac:chgData name="Abdi, Adnan" userId="503e002c-9b3b-4180-87fb-acabeb2b158a" providerId="ADAL" clId="{5C2CD6D4-C7A9-4CEF-AA9C-BC2977F70622}" dt="2024-02-21T17:52:17.202" v="52732"/>
          <ac:spMkLst>
            <pc:docMk/>
            <pc:sldMk cId="1343589809" sldId="2147483559"/>
            <ac:spMk id="131" creationId="{BD8D9E0A-09CE-E77C-46C4-1D024D62A047}"/>
          </ac:spMkLst>
        </pc:spChg>
        <pc:spChg chg="mod">
          <ac:chgData name="Abdi, Adnan" userId="503e002c-9b3b-4180-87fb-acabeb2b158a" providerId="ADAL" clId="{5C2CD6D4-C7A9-4CEF-AA9C-BC2977F70622}" dt="2024-02-21T17:52:17.202" v="52732"/>
          <ac:spMkLst>
            <pc:docMk/>
            <pc:sldMk cId="1343589809" sldId="2147483559"/>
            <ac:spMk id="132" creationId="{56367FA7-042C-F611-5F90-E5D9838CA6BC}"/>
          </ac:spMkLst>
        </pc:spChg>
        <pc:spChg chg="mod">
          <ac:chgData name="Abdi, Adnan" userId="503e002c-9b3b-4180-87fb-acabeb2b158a" providerId="ADAL" clId="{5C2CD6D4-C7A9-4CEF-AA9C-BC2977F70622}" dt="2024-02-21T17:52:06.763" v="52450"/>
          <ac:spMkLst>
            <pc:docMk/>
            <pc:sldMk cId="1343589809" sldId="2147483559"/>
            <ac:spMk id="134" creationId="{82627183-A9C7-8858-B164-4F23D9737191}"/>
          </ac:spMkLst>
        </pc:spChg>
        <pc:spChg chg="mod">
          <ac:chgData name="Abdi, Adnan" userId="503e002c-9b3b-4180-87fb-acabeb2b158a" providerId="ADAL" clId="{5C2CD6D4-C7A9-4CEF-AA9C-BC2977F70622}" dt="2024-02-21T17:52:06.763" v="52450"/>
          <ac:spMkLst>
            <pc:docMk/>
            <pc:sldMk cId="1343589809" sldId="2147483559"/>
            <ac:spMk id="135" creationId="{4C63DA58-02DF-BD69-9149-9A37A56C5F37}"/>
          </ac:spMkLst>
        </pc:spChg>
        <pc:spChg chg="mod">
          <ac:chgData name="Abdi, Adnan" userId="503e002c-9b3b-4180-87fb-acabeb2b158a" providerId="ADAL" clId="{5C2CD6D4-C7A9-4CEF-AA9C-BC2977F70622}" dt="2024-02-21T17:52:04.565" v="52344"/>
          <ac:spMkLst>
            <pc:docMk/>
            <pc:sldMk cId="1343589809" sldId="2147483559"/>
            <ac:spMk id="137" creationId="{DBD1EA98-A94D-5366-4D28-ACB1F5560BEC}"/>
          </ac:spMkLst>
        </pc:spChg>
        <pc:spChg chg="mod">
          <ac:chgData name="Abdi, Adnan" userId="503e002c-9b3b-4180-87fb-acabeb2b158a" providerId="ADAL" clId="{5C2CD6D4-C7A9-4CEF-AA9C-BC2977F70622}" dt="2024-02-21T17:52:04.565" v="52344"/>
          <ac:spMkLst>
            <pc:docMk/>
            <pc:sldMk cId="1343589809" sldId="2147483559"/>
            <ac:spMk id="138" creationId="{EF3C5588-9426-B166-BA51-68290A3FF6A7}"/>
          </ac:spMkLst>
        </pc:spChg>
        <pc:spChg chg="mod">
          <ac:chgData name="Abdi, Adnan" userId="503e002c-9b3b-4180-87fb-acabeb2b158a" providerId="ADAL" clId="{5C2CD6D4-C7A9-4CEF-AA9C-BC2977F70622}" dt="2024-02-21T17:52:01.716" v="52226"/>
          <ac:spMkLst>
            <pc:docMk/>
            <pc:sldMk cId="1343589809" sldId="2147483559"/>
            <ac:spMk id="140" creationId="{2035EAC3-4524-5B82-5F07-FC1DF88BD286}"/>
          </ac:spMkLst>
        </pc:spChg>
        <pc:spChg chg="mod">
          <ac:chgData name="Abdi, Adnan" userId="503e002c-9b3b-4180-87fb-acabeb2b158a" providerId="ADAL" clId="{5C2CD6D4-C7A9-4CEF-AA9C-BC2977F70622}" dt="2024-02-21T17:52:01.716" v="52226"/>
          <ac:spMkLst>
            <pc:docMk/>
            <pc:sldMk cId="1343589809" sldId="2147483559"/>
            <ac:spMk id="141" creationId="{30B66A25-18B3-4ACC-CCD6-5EA864AAE0E6}"/>
          </ac:spMkLst>
        </pc:spChg>
        <pc:spChg chg="mod">
          <ac:chgData name="Abdi, Adnan" userId="503e002c-9b3b-4180-87fb-acabeb2b158a" providerId="ADAL" clId="{5C2CD6D4-C7A9-4CEF-AA9C-BC2977F70622}" dt="2024-02-21T17:51:58.585" v="52100"/>
          <ac:spMkLst>
            <pc:docMk/>
            <pc:sldMk cId="1343589809" sldId="2147483559"/>
            <ac:spMk id="143" creationId="{4851C61A-EA8F-CC37-1C1F-1C0C50B61DF1}"/>
          </ac:spMkLst>
        </pc:spChg>
        <pc:spChg chg="mod">
          <ac:chgData name="Abdi, Adnan" userId="503e002c-9b3b-4180-87fb-acabeb2b158a" providerId="ADAL" clId="{5C2CD6D4-C7A9-4CEF-AA9C-BC2977F70622}" dt="2024-02-21T17:51:58.585" v="52100"/>
          <ac:spMkLst>
            <pc:docMk/>
            <pc:sldMk cId="1343589809" sldId="2147483559"/>
            <ac:spMk id="144" creationId="{129BF8EA-6934-A6CE-1C99-FCF4A05D757F}"/>
          </ac:spMkLst>
        </pc:spChg>
        <pc:spChg chg="mod">
          <ac:chgData name="Abdi, Adnan" userId="503e002c-9b3b-4180-87fb-acabeb2b158a" providerId="ADAL" clId="{5C2CD6D4-C7A9-4CEF-AA9C-BC2977F70622}" dt="2024-02-21T17:52:08.681" v="52548"/>
          <ac:spMkLst>
            <pc:docMk/>
            <pc:sldMk cId="1343589809" sldId="2147483559"/>
            <ac:spMk id="146" creationId="{2837E827-58D8-E3A5-9359-4EC582AEE0A8}"/>
          </ac:spMkLst>
        </pc:spChg>
        <pc:spChg chg="mod">
          <ac:chgData name="Abdi, Adnan" userId="503e002c-9b3b-4180-87fb-acabeb2b158a" providerId="ADAL" clId="{5C2CD6D4-C7A9-4CEF-AA9C-BC2977F70622}" dt="2024-02-21T17:52:08.681" v="52548"/>
          <ac:spMkLst>
            <pc:docMk/>
            <pc:sldMk cId="1343589809" sldId="2147483559"/>
            <ac:spMk id="147" creationId="{3EBD4AD1-E5FB-EE6F-042D-3B4145D41093}"/>
          </ac:spMkLst>
        </pc:spChg>
        <pc:spChg chg="mod">
          <ac:chgData name="Abdi, Adnan" userId="503e002c-9b3b-4180-87fb-acabeb2b158a" providerId="ADAL" clId="{5C2CD6D4-C7A9-4CEF-AA9C-BC2977F70622}" dt="2024-02-21T17:51:56.165" v="51966"/>
          <ac:spMkLst>
            <pc:docMk/>
            <pc:sldMk cId="1343589809" sldId="2147483559"/>
            <ac:spMk id="149" creationId="{3EE1892E-44EB-08C7-F3F7-DED7EE550F25}"/>
          </ac:spMkLst>
        </pc:spChg>
        <pc:spChg chg="mod">
          <ac:chgData name="Abdi, Adnan" userId="503e002c-9b3b-4180-87fb-acabeb2b158a" providerId="ADAL" clId="{5C2CD6D4-C7A9-4CEF-AA9C-BC2977F70622}" dt="2024-02-21T17:51:56.165" v="51966"/>
          <ac:spMkLst>
            <pc:docMk/>
            <pc:sldMk cId="1343589809" sldId="2147483559"/>
            <ac:spMk id="150" creationId="{608FA77B-1741-B674-E607-5FBCAC23EBA0}"/>
          </ac:spMkLst>
        </pc:spChg>
        <pc:spChg chg="mod">
          <ac:chgData name="Abdi, Adnan" userId="503e002c-9b3b-4180-87fb-acabeb2b158a" providerId="ADAL" clId="{5C2CD6D4-C7A9-4CEF-AA9C-BC2977F70622}" dt="2024-02-21T17:52:13.178" v="52710"/>
          <ac:spMkLst>
            <pc:docMk/>
            <pc:sldMk cId="1343589809" sldId="2147483559"/>
            <ac:spMk id="157" creationId="{FDF36826-5E06-D7B5-9B0C-C7D0FD455A92}"/>
          </ac:spMkLst>
        </pc:spChg>
        <pc:spChg chg="mod">
          <ac:chgData name="Abdi, Adnan" userId="503e002c-9b3b-4180-87fb-acabeb2b158a" providerId="ADAL" clId="{5C2CD6D4-C7A9-4CEF-AA9C-BC2977F70622}" dt="2024-02-21T17:52:13.178" v="52710"/>
          <ac:spMkLst>
            <pc:docMk/>
            <pc:sldMk cId="1343589809" sldId="2147483559"/>
            <ac:spMk id="158" creationId="{DA816D02-0DF7-01C6-1DC3-4AE5E8AEDF5B}"/>
          </ac:spMkLst>
        </pc:spChg>
        <pc:grpChg chg="add mod ord">
          <ac:chgData name="Abdi, Adnan" userId="503e002c-9b3b-4180-87fb-acabeb2b158a" providerId="ADAL" clId="{5C2CD6D4-C7A9-4CEF-AA9C-BC2977F70622}" dt="2024-02-21T17:52:19.120" v="52830"/>
          <ac:grpSpMkLst>
            <pc:docMk/>
            <pc:sldMk cId="1343589809" sldId="2147483559"/>
            <ac:grpSpMk id="6" creationId="{26469AF1-029C-28F9-CFD4-7DDADE8F7E87}"/>
          </ac:grpSpMkLst>
        </pc:grpChg>
        <pc:grpChg chg="add mod ord">
          <ac:chgData name="Abdi, Adnan" userId="503e002c-9b3b-4180-87fb-acabeb2b158a" providerId="ADAL" clId="{5C2CD6D4-C7A9-4CEF-AA9C-BC2977F70622}" dt="2024-02-21T17:52:17.211" v="52744"/>
          <ac:grpSpMkLst>
            <pc:docMk/>
            <pc:sldMk cId="1343589809" sldId="2147483559"/>
            <ac:grpSpMk id="9" creationId="{5E5BBA27-D5DC-5E98-FE6A-1E57CCF61E39}"/>
          </ac:grpSpMkLst>
        </pc:grpChg>
        <pc:grpChg chg="add mod ord">
          <ac:chgData name="Abdi, Adnan" userId="503e002c-9b3b-4180-87fb-acabeb2b158a" providerId="ADAL" clId="{5C2CD6D4-C7A9-4CEF-AA9C-BC2977F70622}" dt="2024-02-21T17:52:13.185" v="52718"/>
          <ac:grpSpMkLst>
            <pc:docMk/>
            <pc:sldMk cId="1343589809" sldId="2147483559"/>
            <ac:grpSpMk id="12" creationId="{96AD314D-47BC-BD2C-EA62-4994D42A568C}"/>
          </ac:grpSpMkLst>
        </pc:grpChg>
        <pc:grpChg chg="add mod ord">
          <ac:chgData name="Abdi, Adnan" userId="503e002c-9b3b-4180-87fb-acabeb2b158a" providerId="ADAL" clId="{5C2CD6D4-C7A9-4CEF-AA9C-BC2977F70622}" dt="2024-02-21T17:52:08.721" v="52626"/>
          <ac:grpSpMkLst>
            <pc:docMk/>
            <pc:sldMk cId="1343589809" sldId="2147483559"/>
            <ac:grpSpMk id="15" creationId="{BD804902-CEB4-B6F9-FAA4-8B144FCF81EF}"/>
          </ac:grpSpMkLst>
        </pc:grpChg>
        <pc:grpChg chg="add mod ord">
          <ac:chgData name="Abdi, Adnan" userId="503e002c-9b3b-4180-87fb-acabeb2b158a" providerId="ADAL" clId="{5C2CD6D4-C7A9-4CEF-AA9C-BC2977F70622}" dt="2024-02-21T17:52:06.790" v="52496"/>
          <ac:grpSpMkLst>
            <pc:docMk/>
            <pc:sldMk cId="1343589809" sldId="2147483559"/>
            <ac:grpSpMk id="19" creationId="{8C52CE36-DFF6-BC45-A7EA-B82AD60FD633}"/>
          </ac:grpSpMkLst>
        </pc:grpChg>
        <pc:grpChg chg="add mod ord">
          <ac:chgData name="Abdi, Adnan" userId="503e002c-9b3b-4180-87fb-acabeb2b158a" providerId="ADAL" clId="{5C2CD6D4-C7A9-4CEF-AA9C-BC2977F70622}" dt="2024-02-21T17:52:04.607" v="52394"/>
          <ac:grpSpMkLst>
            <pc:docMk/>
            <pc:sldMk cId="1343589809" sldId="2147483559"/>
            <ac:grpSpMk id="22" creationId="{C85B36BC-D51A-3DA9-B8D0-A9DBAA108EDE}"/>
          </ac:grpSpMkLst>
        </pc:grpChg>
        <pc:grpChg chg="add del mod">
          <ac:chgData name="Abdi, Adnan" userId="503e002c-9b3b-4180-87fb-acabeb2b158a" providerId="ADAL" clId="{5C2CD6D4-C7A9-4CEF-AA9C-BC2977F70622}" dt="2024-02-21T17:52:27.266" v="52897" actId="478"/>
          <ac:grpSpMkLst>
            <pc:docMk/>
            <pc:sldMk cId="1343589809" sldId="2147483559"/>
            <ac:grpSpMk id="25" creationId="{9EBFF2F8-361E-17C1-135F-09335A384867}"/>
          </ac:grpSpMkLst>
        </pc:grpChg>
        <pc:grpChg chg="add mod ord">
          <ac:chgData name="Abdi, Adnan" userId="503e002c-9b3b-4180-87fb-acabeb2b158a" providerId="ADAL" clId="{5C2CD6D4-C7A9-4CEF-AA9C-BC2977F70622}" dt="2024-02-21T17:52:01.755" v="52282"/>
          <ac:grpSpMkLst>
            <pc:docMk/>
            <pc:sldMk cId="1343589809" sldId="2147483559"/>
            <ac:grpSpMk id="28" creationId="{89E2D8BD-70E8-50E5-7B79-43A763B45388}"/>
          </ac:grpSpMkLst>
        </pc:grpChg>
        <pc:grpChg chg="add mod ord">
          <ac:chgData name="Abdi, Adnan" userId="503e002c-9b3b-4180-87fb-acabeb2b158a" providerId="ADAL" clId="{5C2CD6D4-C7A9-4CEF-AA9C-BC2977F70622}" dt="2024-02-21T17:51:58.649" v="52160"/>
          <ac:grpSpMkLst>
            <pc:docMk/>
            <pc:sldMk cId="1343589809" sldId="2147483559"/>
            <ac:grpSpMk id="31" creationId="{86F4458F-139A-C419-6D4F-9DFE224AD542}"/>
          </ac:grpSpMkLst>
        </pc:grpChg>
        <pc:grpChg chg="add mod ord">
          <ac:chgData name="Abdi, Adnan" userId="503e002c-9b3b-4180-87fb-acabeb2b158a" providerId="ADAL" clId="{5C2CD6D4-C7A9-4CEF-AA9C-BC2977F70622}" dt="2024-02-21T17:51:56.194" v="52030"/>
          <ac:grpSpMkLst>
            <pc:docMk/>
            <pc:sldMk cId="1343589809" sldId="2147483559"/>
            <ac:grpSpMk id="34" creationId="{4BE9A35B-5B9A-44E2-FB43-4F16FFF12760}"/>
          </ac:grpSpMkLst>
        </pc:grpChg>
        <pc:grpChg chg="del mod ord">
          <ac:chgData name="Abdi, Adnan" userId="503e002c-9b3b-4180-87fb-acabeb2b158a" providerId="ADAL" clId="{5C2CD6D4-C7A9-4CEF-AA9C-BC2977F70622}" dt="2024-02-21T17:52:27.266" v="52897" actId="478"/>
          <ac:grpSpMkLst>
            <pc:docMk/>
            <pc:sldMk cId="1343589809" sldId="2147483559"/>
            <ac:grpSpMk id="127" creationId="{A862A51A-B884-BE74-CB5B-4E713D8DF92F}"/>
          </ac:grpSpMkLst>
        </pc:grpChg>
        <pc:grpChg chg="del mod ord">
          <ac:chgData name="Abdi, Adnan" userId="503e002c-9b3b-4180-87fb-acabeb2b158a" providerId="ADAL" clId="{5C2CD6D4-C7A9-4CEF-AA9C-BC2977F70622}" dt="2024-02-21T17:52:27.266" v="52897" actId="478"/>
          <ac:grpSpMkLst>
            <pc:docMk/>
            <pc:sldMk cId="1343589809" sldId="2147483559"/>
            <ac:grpSpMk id="130" creationId="{B361CF5E-46B0-4E8E-7A1E-B5AECBEB8D3B}"/>
          </ac:grpSpMkLst>
        </pc:grpChg>
        <pc:grpChg chg="del mod ord">
          <ac:chgData name="Abdi, Adnan" userId="503e002c-9b3b-4180-87fb-acabeb2b158a" providerId="ADAL" clId="{5C2CD6D4-C7A9-4CEF-AA9C-BC2977F70622}" dt="2024-02-21T17:52:27.266" v="52897" actId="478"/>
          <ac:grpSpMkLst>
            <pc:docMk/>
            <pc:sldMk cId="1343589809" sldId="2147483559"/>
            <ac:grpSpMk id="133" creationId="{FB369870-FFEC-B75B-21B8-1E7D7CA6FC54}"/>
          </ac:grpSpMkLst>
        </pc:grpChg>
        <pc:grpChg chg="del mod ord">
          <ac:chgData name="Abdi, Adnan" userId="503e002c-9b3b-4180-87fb-acabeb2b158a" providerId="ADAL" clId="{5C2CD6D4-C7A9-4CEF-AA9C-BC2977F70622}" dt="2024-02-21T17:52:27.266" v="52897" actId="478"/>
          <ac:grpSpMkLst>
            <pc:docMk/>
            <pc:sldMk cId="1343589809" sldId="2147483559"/>
            <ac:grpSpMk id="136" creationId="{ABB63206-B430-F540-5552-8533B0B80D03}"/>
          </ac:grpSpMkLst>
        </pc:grpChg>
        <pc:grpChg chg="del mod ord">
          <ac:chgData name="Abdi, Adnan" userId="503e002c-9b3b-4180-87fb-acabeb2b158a" providerId="ADAL" clId="{5C2CD6D4-C7A9-4CEF-AA9C-BC2977F70622}" dt="2024-02-21T17:52:27.266" v="52897" actId="478"/>
          <ac:grpSpMkLst>
            <pc:docMk/>
            <pc:sldMk cId="1343589809" sldId="2147483559"/>
            <ac:grpSpMk id="139" creationId="{88EB32D2-92C2-858C-D34C-AB320CF9793D}"/>
          </ac:grpSpMkLst>
        </pc:grpChg>
        <pc:grpChg chg="del mod ord">
          <ac:chgData name="Abdi, Adnan" userId="503e002c-9b3b-4180-87fb-acabeb2b158a" providerId="ADAL" clId="{5C2CD6D4-C7A9-4CEF-AA9C-BC2977F70622}" dt="2024-02-21T17:52:27.266" v="52897" actId="478"/>
          <ac:grpSpMkLst>
            <pc:docMk/>
            <pc:sldMk cId="1343589809" sldId="2147483559"/>
            <ac:grpSpMk id="142" creationId="{89A09ED7-DF71-9C47-EA90-07C92CF8FE85}"/>
          </ac:grpSpMkLst>
        </pc:grpChg>
        <pc:grpChg chg="del mod ord">
          <ac:chgData name="Abdi, Adnan" userId="503e002c-9b3b-4180-87fb-acabeb2b158a" providerId="ADAL" clId="{5C2CD6D4-C7A9-4CEF-AA9C-BC2977F70622}" dt="2024-02-21T17:52:27.266" v="52897" actId="478"/>
          <ac:grpSpMkLst>
            <pc:docMk/>
            <pc:sldMk cId="1343589809" sldId="2147483559"/>
            <ac:grpSpMk id="145" creationId="{C953C6DC-62A0-57EE-F8F6-49825D17273B}"/>
          </ac:grpSpMkLst>
        </pc:grpChg>
        <pc:grpChg chg="del mod ord">
          <ac:chgData name="Abdi, Adnan" userId="503e002c-9b3b-4180-87fb-acabeb2b158a" providerId="ADAL" clId="{5C2CD6D4-C7A9-4CEF-AA9C-BC2977F70622}" dt="2024-02-21T17:52:27.266" v="52897" actId="478"/>
          <ac:grpSpMkLst>
            <pc:docMk/>
            <pc:sldMk cId="1343589809" sldId="2147483559"/>
            <ac:grpSpMk id="148" creationId="{A5796A35-7775-778C-3589-CED3CF8E8293}"/>
          </ac:grpSpMkLst>
        </pc:grpChg>
        <pc:grpChg chg="del mod ord">
          <ac:chgData name="Abdi, Adnan" userId="503e002c-9b3b-4180-87fb-acabeb2b158a" providerId="ADAL" clId="{5C2CD6D4-C7A9-4CEF-AA9C-BC2977F70622}" dt="2024-02-21T17:52:27.266" v="52897" actId="478"/>
          <ac:grpSpMkLst>
            <pc:docMk/>
            <pc:sldMk cId="1343589809" sldId="2147483559"/>
            <ac:grpSpMk id="156" creationId="{D92DB3BA-DB6A-0729-2795-4FD6E55086D5}"/>
          </ac:grpSpMkLst>
        </pc:grpChg>
      </pc:sldChg>
      <pc:sldChg chg="addSp delSp modSp new mod modNotes">
        <pc:chgData name="Abdi, Adnan" userId="503e002c-9b3b-4180-87fb-acabeb2b158a" providerId="ADAL" clId="{5C2CD6D4-C7A9-4CEF-AA9C-BC2977F70622}" dt="2024-02-26T09:10:23.180" v="73110"/>
        <pc:sldMkLst>
          <pc:docMk/>
          <pc:sldMk cId="292208671" sldId="2147483560"/>
        </pc:sldMkLst>
        <pc:spChg chg="mod">
          <ac:chgData name="Abdi, Adnan" userId="503e002c-9b3b-4180-87fb-acabeb2b158a" providerId="ADAL" clId="{5C2CD6D4-C7A9-4CEF-AA9C-BC2977F70622}" dt="2024-02-20T12:53:00.121" v="18094" actId="947"/>
          <ac:spMkLst>
            <pc:docMk/>
            <pc:sldMk cId="292208671" sldId="2147483560"/>
            <ac:spMk id="2" creationId="{7F9358A2-7766-50CF-8105-070E3FC9ED7C}"/>
          </ac:spMkLst>
        </pc:spChg>
        <pc:spChg chg="mod">
          <ac:chgData name="Abdi, Adnan" userId="503e002c-9b3b-4180-87fb-acabeb2b158a" providerId="ADAL" clId="{5C2CD6D4-C7A9-4CEF-AA9C-BC2977F70622}" dt="2024-02-26T09:10:23.180" v="73110"/>
          <ac:spMkLst>
            <pc:docMk/>
            <pc:sldMk cId="292208671" sldId="2147483560"/>
            <ac:spMk id="3" creationId="{F3CD5B43-8C88-D768-9624-DD56AB196786}"/>
          </ac:spMkLst>
        </pc:spChg>
        <pc:spChg chg="add mod">
          <ac:chgData name="Abdi, Adnan" userId="503e002c-9b3b-4180-87fb-acabeb2b158a" providerId="ADAL" clId="{5C2CD6D4-C7A9-4CEF-AA9C-BC2977F70622}" dt="2024-02-23T15:32:09.917" v="71465"/>
          <ac:spMkLst>
            <pc:docMk/>
            <pc:sldMk cId="292208671" sldId="2147483560"/>
            <ac:spMk id="4" creationId="{CA5ED283-AA97-AE6F-C3BB-C9A18FE8029F}"/>
          </ac:spMkLst>
        </pc:spChg>
        <pc:spChg chg="mod">
          <ac:chgData name="Abdi, Adnan" userId="503e002c-9b3b-4180-87fb-acabeb2b158a" providerId="ADAL" clId="{5C2CD6D4-C7A9-4CEF-AA9C-BC2977F70622}" dt="2024-02-20T12:53:00.137" v="18100" actId="947"/>
          <ac:spMkLst>
            <pc:docMk/>
            <pc:sldMk cId="292208671" sldId="2147483560"/>
            <ac:spMk id="5" creationId="{C366F721-438D-8591-1264-4FE3CE8076D4}"/>
          </ac:spMkLst>
        </pc:spChg>
        <pc:spChg chg="del">
          <ac:chgData name="Abdi, Adnan" userId="503e002c-9b3b-4180-87fb-acabeb2b158a" providerId="ADAL" clId="{5C2CD6D4-C7A9-4CEF-AA9C-BC2977F70622}" dt="2024-02-19T16:17:33.998" v="8203" actId="478"/>
          <ac:spMkLst>
            <pc:docMk/>
            <pc:sldMk cId="292208671" sldId="2147483560"/>
            <ac:spMk id="6" creationId="{33C96DE7-382C-5FBF-356B-49FEFA4F6A00}"/>
          </ac:spMkLst>
        </pc:spChg>
        <pc:spChg chg="del">
          <ac:chgData name="Abdi, Adnan" userId="503e002c-9b3b-4180-87fb-acabeb2b158a" providerId="ADAL" clId="{5C2CD6D4-C7A9-4CEF-AA9C-BC2977F70622}" dt="2024-02-19T16:17:33.998" v="8203" actId="478"/>
          <ac:spMkLst>
            <pc:docMk/>
            <pc:sldMk cId="292208671" sldId="2147483560"/>
            <ac:spMk id="7" creationId="{547F42AD-BF6D-7828-6ED4-80DB55DD2BEE}"/>
          </ac:spMkLst>
        </pc:spChg>
        <pc:spChg chg="add mod">
          <ac:chgData name="Abdi, Adnan" userId="503e002c-9b3b-4180-87fb-acabeb2b158a" providerId="ADAL" clId="{5C2CD6D4-C7A9-4CEF-AA9C-BC2977F70622}" dt="2024-02-20T12:53:00.137" v="18102" actId="947"/>
          <ac:spMkLst>
            <pc:docMk/>
            <pc:sldMk cId="292208671" sldId="2147483560"/>
            <ac:spMk id="8" creationId="{A2E1652D-251D-7134-ACB2-8D86522CBF0D}"/>
          </ac:spMkLst>
        </pc:spChg>
        <pc:spChg chg="mod">
          <ac:chgData name="Abdi, Adnan" userId="503e002c-9b3b-4180-87fb-acabeb2b158a" providerId="ADAL" clId="{5C2CD6D4-C7A9-4CEF-AA9C-BC2977F70622}" dt="2024-02-20T20:37:09.307" v="31100" actId="20577"/>
          <ac:spMkLst>
            <pc:docMk/>
            <pc:sldMk cId="292208671" sldId="2147483560"/>
            <ac:spMk id="24" creationId="{076B6E06-CDAE-EC4E-8471-F8698F3C295A}"/>
          </ac:spMkLst>
        </pc:spChg>
        <pc:spChg chg="mod">
          <ac:chgData name="Abdi, Adnan" userId="503e002c-9b3b-4180-87fb-acabeb2b158a" providerId="ADAL" clId="{5C2CD6D4-C7A9-4CEF-AA9C-BC2977F70622}" dt="2024-02-20T20:36:55.541" v="31076" actId="113"/>
          <ac:spMkLst>
            <pc:docMk/>
            <pc:sldMk cId="292208671" sldId="2147483560"/>
            <ac:spMk id="25" creationId="{1E3FC43D-AE00-E8CA-5104-FB0E55F89003}"/>
          </ac:spMkLst>
        </pc:spChg>
        <pc:spChg chg="mod">
          <ac:chgData name="Abdi, Adnan" userId="503e002c-9b3b-4180-87fb-acabeb2b158a" providerId="ADAL" clId="{5C2CD6D4-C7A9-4CEF-AA9C-BC2977F70622}" dt="2024-02-22T14:45:52.671" v="58276" actId="14100"/>
          <ac:spMkLst>
            <pc:docMk/>
            <pc:sldMk cId="292208671" sldId="2147483560"/>
            <ac:spMk id="29" creationId="{DB160747-67A6-9D1D-3FBD-53B153F15214}"/>
          </ac:spMkLst>
        </pc:spChg>
        <pc:spChg chg="add mod">
          <ac:chgData name="Abdi, Adnan" userId="503e002c-9b3b-4180-87fb-acabeb2b158a" providerId="ADAL" clId="{5C2CD6D4-C7A9-4CEF-AA9C-BC2977F70622}" dt="2024-02-23T18:39:37.875" v="71578"/>
          <ac:spMkLst>
            <pc:docMk/>
            <pc:sldMk cId="292208671" sldId="2147483560"/>
            <ac:spMk id="38" creationId="{A2ACFA1B-3DD3-594D-A656-5725C3594440}"/>
          </ac:spMkLst>
        </pc:spChg>
        <pc:graphicFrameChg chg="mod ord modVis replST">
          <ac:chgData name="Abdi, Adnan" userId="503e002c-9b3b-4180-87fb-acabeb2b158a" providerId="ADAL" clId="{5C2CD6D4-C7A9-4CEF-AA9C-BC2977F70622}" dt="2024-02-20T12:53:06.536" v="21043"/>
          <ac:graphicFrameMkLst>
            <pc:docMk/>
            <pc:sldMk cId="292208671" sldId="2147483560"/>
            <ac:graphicFrameMk id="6" creationId="{0886292F-F8DC-DE4C-2513-613F5B8B16D1}"/>
          </ac:graphicFrameMkLst>
        </pc:graphicFrameChg>
      </pc:sldChg>
      <pc:sldChg chg="addSp delSp modSp add mod ord modNotes">
        <pc:chgData name="Abdi, Adnan" userId="503e002c-9b3b-4180-87fb-acabeb2b158a" providerId="ADAL" clId="{5C2CD6D4-C7A9-4CEF-AA9C-BC2977F70622}" dt="2024-02-23T15:32:09.917" v="71465"/>
        <pc:sldMkLst>
          <pc:docMk/>
          <pc:sldMk cId="3199200530" sldId="2147483561"/>
        </pc:sldMkLst>
        <pc:spChg chg="mod ord">
          <ac:chgData name="Abdi, Adnan" userId="503e002c-9b3b-4180-87fb-acabeb2b158a" providerId="ADAL" clId="{5C2CD6D4-C7A9-4CEF-AA9C-BC2977F70622}" dt="2024-02-20T12:53:04.148" v="20392"/>
          <ac:spMkLst>
            <pc:docMk/>
            <pc:sldMk cId="3199200530" sldId="2147483561"/>
            <ac:spMk id="2" creationId="{551A0760-76B6-B0DA-473F-4F9BCE390A30}"/>
          </ac:spMkLst>
        </pc:spChg>
        <pc:spChg chg="mod ord">
          <ac:chgData name="Abdi, Adnan" userId="503e002c-9b3b-4180-87fb-acabeb2b158a" providerId="ADAL" clId="{5C2CD6D4-C7A9-4CEF-AA9C-BC2977F70622}" dt="2024-02-20T12:53:04.148" v="20393"/>
          <ac:spMkLst>
            <pc:docMk/>
            <pc:sldMk cId="3199200530" sldId="2147483561"/>
            <ac:spMk id="3" creationId="{18FF0807-DAF8-B85E-04CD-C4F80F1262E3}"/>
          </ac:spMkLst>
        </pc:spChg>
        <pc:spChg chg="del mod modVis">
          <ac:chgData name="Abdi, Adnan" userId="503e002c-9b3b-4180-87fb-acabeb2b158a" providerId="ADAL" clId="{5C2CD6D4-C7A9-4CEF-AA9C-BC2977F70622}" dt="2024-02-20T12:53:06.749" v="21094" actId="478"/>
          <ac:spMkLst>
            <pc:docMk/>
            <pc:sldMk cId="3199200530" sldId="2147483561"/>
            <ac:spMk id="4" creationId="{2BB254AF-502F-AFAC-D1E3-E15D9BE12A1C}"/>
          </ac:spMkLst>
        </pc:spChg>
        <pc:spChg chg="mod ord">
          <ac:chgData name="Abdi, Adnan" userId="503e002c-9b3b-4180-87fb-acabeb2b158a" providerId="ADAL" clId="{5C2CD6D4-C7A9-4CEF-AA9C-BC2977F70622}" dt="2024-02-20T12:53:04.148" v="20394"/>
          <ac:spMkLst>
            <pc:docMk/>
            <pc:sldMk cId="3199200530" sldId="2147483561"/>
            <ac:spMk id="5" creationId="{C43DD8F6-CAB4-CEE9-0BBD-299AC1DC80F0}"/>
          </ac:spMkLst>
        </pc:spChg>
        <pc:spChg chg="mod ord">
          <ac:chgData name="Abdi, Adnan" userId="503e002c-9b3b-4180-87fb-acabeb2b158a" providerId="ADAL" clId="{5C2CD6D4-C7A9-4CEF-AA9C-BC2977F70622}" dt="2024-02-20T12:53:04.148" v="20391"/>
          <ac:spMkLst>
            <pc:docMk/>
            <pc:sldMk cId="3199200530" sldId="2147483561"/>
            <ac:spMk id="7" creationId="{4D9B1145-0907-75A0-8B2A-A336555574B7}"/>
          </ac:spMkLst>
        </pc:spChg>
        <pc:spChg chg="mod ord">
          <ac:chgData name="Abdi, Adnan" userId="503e002c-9b3b-4180-87fb-acabeb2b158a" providerId="ADAL" clId="{5C2CD6D4-C7A9-4CEF-AA9C-BC2977F70622}" dt="2024-02-20T12:53:04.148" v="20395"/>
          <ac:spMkLst>
            <pc:docMk/>
            <pc:sldMk cId="3199200530" sldId="2147483561"/>
            <ac:spMk id="8" creationId="{EF9C8715-F61E-3DB6-57AF-37D692D61CF2}"/>
          </ac:spMkLst>
        </pc:spChg>
        <pc:spChg chg="mod ord">
          <ac:chgData name="Abdi, Adnan" userId="503e002c-9b3b-4180-87fb-acabeb2b158a" providerId="ADAL" clId="{5C2CD6D4-C7A9-4CEF-AA9C-BC2977F70622}" dt="2024-02-20T12:53:04.148" v="20396"/>
          <ac:spMkLst>
            <pc:docMk/>
            <pc:sldMk cId="3199200530" sldId="2147483561"/>
            <ac:spMk id="9" creationId="{222FDB08-DEF5-4833-FB0A-AB7207CED929}"/>
          </ac:spMkLst>
        </pc:spChg>
        <pc:spChg chg="mod ord">
          <ac:chgData name="Abdi, Adnan" userId="503e002c-9b3b-4180-87fb-acabeb2b158a" providerId="ADAL" clId="{5C2CD6D4-C7A9-4CEF-AA9C-BC2977F70622}" dt="2024-02-20T12:53:04.148" v="20400"/>
          <ac:spMkLst>
            <pc:docMk/>
            <pc:sldMk cId="3199200530" sldId="2147483561"/>
            <ac:spMk id="18" creationId="{0E71803C-747E-F5A4-01F4-091052AE7018}"/>
          </ac:spMkLst>
        </pc:spChg>
        <pc:spChg chg="mod">
          <ac:chgData name="Abdi, Adnan" userId="503e002c-9b3b-4180-87fb-acabeb2b158a" providerId="ADAL" clId="{5C2CD6D4-C7A9-4CEF-AA9C-BC2977F70622}" dt="2024-02-20T12:53:00.971" v="18637" actId="34136"/>
          <ac:spMkLst>
            <pc:docMk/>
            <pc:sldMk cId="3199200530" sldId="2147483561"/>
            <ac:spMk id="19" creationId="{60D48389-46CB-BD4B-592A-96D81994440E}"/>
          </ac:spMkLst>
        </pc:spChg>
        <pc:spChg chg="mod">
          <ac:chgData name="Abdi, Adnan" userId="503e002c-9b3b-4180-87fb-acabeb2b158a" providerId="ADAL" clId="{5C2CD6D4-C7A9-4CEF-AA9C-BC2977F70622}" dt="2024-02-20T12:53:00.975" v="18640" actId="34136"/>
          <ac:spMkLst>
            <pc:docMk/>
            <pc:sldMk cId="3199200530" sldId="2147483561"/>
            <ac:spMk id="22" creationId="{92F0278F-6DA7-D25F-4511-0D75D01E0573}"/>
          </ac:spMkLst>
        </pc:spChg>
        <pc:spChg chg="mod">
          <ac:chgData name="Abdi, Adnan" userId="503e002c-9b3b-4180-87fb-acabeb2b158a" providerId="ADAL" clId="{5C2CD6D4-C7A9-4CEF-AA9C-BC2977F70622}" dt="2024-02-20T12:53:00.975" v="18640" actId="34136"/>
          <ac:spMkLst>
            <pc:docMk/>
            <pc:sldMk cId="3199200530" sldId="2147483561"/>
            <ac:spMk id="23" creationId="{197D8F36-592D-4EC3-D34B-E23E644EFC07}"/>
          </ac:spMkLst>
        </pc:spChg>
        <pc:spChg chg="mod">
          <ac:chgData name="Abdi, Adnan" userId="503e002c-9b3b-4180-87fb-acabeb2b158a" providerId="ADAL" clId="{5C2CD6D4-C7A9-4CEF-AA9C-BC2977F70622}" dt="2024-02-20T12:53:00.979" v="18641" actId="34136"/>
          <ac:spMkLst>
            <pc:docMk/>
            <pc:sldMk cId="3199200530" sldId="2147483561"/>
            <ac:spMk id="26" creationId="{34C1BA3D-3611-AD94-DA89-347412201B7D}"/>
          </ac:spMkLst>
        </pc:spChg>
        <pc:spChg chg="mod">
          <ac:chgData name="Abdi, Adnan" userId="503e002c-9b3b-4180-87fb-acabeb2b158a" providerId="ADAL" clId="{5C2CD6D4-C7A9-4CEF-AA9C-BC2977F70622}" dt="2024-02-20T12:53:00.979" v="18641" actId="34136"/>
          <ac:spMkLst>
            <pc:docMk/>
            <pc:sldMk cId="3199200530" sldId="2147483561"/>
            <ac:spMk id="27" creationId="{1788BD50-BDB7-51AF-F6FA-2124C4BF1E0C}"/>
          </ac:spMkLst>
        </pc:spChg>
        <pc:spChg chg="mod">
          <ac:chgData name="Abdi, Adnan" userId="503e002c-9b3b-4180-87fb-acabeb2b158a" providerId="ADAL" clId="{5C2CD6D4-C7A9-4CEF-AA9C-BC2977F70622}" dt="2024-02-20T12:53:00.985" v="18644" actId="34136"/>
          <ac:spMkLst>
            <pc:docMk/>
            <pc:sldMk cId="3199200530" sldId="2147483561"/>
            <ac:spMk id="30" creationId="{4925BCD4-2FFB-2E84-6D57-7EE5A8251F32}"/>
          </ac:spMkLst>
        </pc:spChg>
        <pc:spChg chg="mod">
          <ac:chgData name="Abdi, Adnan" userId="503e002c-9b3b-4180-87fb-acabeb2b158a" providerId="ADAL" clId="{5C2CD6D4-C7A9-4CEF-AA9C-BC2977F70622}" dt="2024-02-20T12:53:00.985" v="18644" actId="34136"/>
          <ac:spMkLst>
            <pc:docMk/>
            <pc:sldMk cId="3199200530" sldId="2147483561"/>
            <ac:spMk id="31" creationId="{FC2A95DA-A0FF-CED0-4E39-BF9E6B7F3497}"/>
          </ac:spMkLst>
        </pc:spChg>
        <pc:spChg chg="mod">
          <ac:chgData name="Abdi, Adnan" userId="503e002c-9b3b-4180-87fb-acabeb2b158a" providerId="ADAL" clId="{5C2CD6D4-C7A9-4CEF-AA9C-BC2977F70622}" dt="2024-02-20T12:53:00.989" v="18647" actId="34136"/>
          <ac:spMkLst>
            <pc:docMk/>
            <pc:sldMk cId="3199200530" sldId="2147483561"/>
            <ac:spMk id="34" creationId="{519333A3-C20A-9874-ACFA-3C4DB671C9CC}"/>
          </ac:spMkLst>
        </pc:spChg>
        <pc:spChg chg="mod">
          <ac:chgData name="Abdi, Adnan" userId="503e002c-9b3b-4180-87fb-acabeb2b158a" providerId="ADAL" clId="{5C2CD6D4-C7A9-4CEF-AA9C-BC2977F70622}" dt="2024-02-20T12:53:00.989" v="18647" actId="34136"/>
          <ac:spMkLst>
            <pc:docMk/>
            <pc:sldMk cId="3199200530" sldId="2147483561"/>
            <ac:spMk id="35" creationId="{3AC9FD4E-EA8F-9B73-43CF-E9F183C4792D}"/>
          </ac:spMkLst>
        </pc:spChg>
        <pc:spChg chg="mod">
          <ac:chgData name="Abdi, Adnan" userId="503e002c-9b3b-4180-87fb-acabeb2b158a" providerId="ADAL" clId="{5C2CD6D4-C7A9-4CEF-AA9C-BC2977F70622}" dt="2024-02-20T12:53:00.992" v="18648" actId="34136"/>
          <ac:spMkLst>
            <pc:docMk/>
            <pc:sldMk cId="3199200530" sldId="2147483561"/>
            <ac:spMk id="38" creationId="{0AB593FF-DB32-94F6-672F-97E7F71DBA5C}"/>
          </ac:spMkLst>
        </pc:spChg>
        <pc:spChg chg="mod">
          <ac:chgData name="Abdi, Adnan" userId="503e002c-9b3b-4180-87fb-acabeb2b158a" providerId="ADAL" clId="{5C2CD6D4-C7A9-4CEF-AA9C-BC2977F70622}" dt="2024-02-20T12:53:00.992" v="18648" actId="34136"/>
          <ac:spMkLst>
            <pc:docMk/>
            <pc:sldMk cId="3199200530" sldId="2147483561"/>
            <ac:spMk id="39" creationId="{CC12A7B6-D6CE-AD1B-07A0-D7D766382B01}"/>
          </ac:spMkLst>
        </pc:spChg>
        <pc:spChg chg="mod">
          <ac:chgData name="Abdi, Adnan" userId="503e002c-9b3b-4180-87fb-acabeb2b158a" providerId="ADAL" clId="{5C2CD6D4-C7A9-4CEF-AA9C-BC2977F70622}" dt="2024-02-20T12:53:00.997" v="18649" actId="34136"/>
          <ac:spMkLst>
            <pc:docMk/>
            <pc:sldMk cId="3199200530" sldId="2147483561"/>
            <ac:spMk id="42" creationId="{B58FC7C0-6340-A213-43DB-C3BB457718F3}"/>
          </ac:spMkLst>
        </pc:spChg>
        <pc:spChg chg="mod">
          <ac:chgData name="Abdi, Adnan" userId="503e002c-9b3b-4180-87fb-acabeb2b158a" providerId="ADAL" clId="{5C2CD6D4-C7A9-4CEF-AA9C-BC2977F70622}" dt="2024-02-20T12:53:00.997" v="18649" actId="34136"/>
          <ac:spMkLst>
            <pc:docMk/>
            <pc:sldMk cId="3199200530" sldId="2147483561"/>
            <ac:spMk id="43" creationId="{A8306765-ADD3-BB70-7E8D-66117D372817}"/>
          </ac:spMkLst>
        </pc:spChg>
        <pc:spChg chg="mod">
          <ac:chgData name="Abdi, Adnan" userId="503e002c-9b3b-4180-87fb-acabeb2b158a" providerId="ADAL" clId="{5C2CD6D4-C7A9-4CEF-AA9C-BC2977F70622}" dt="2024-02-20T12:53:01.028" v="18651" actId="947"/>
          <ac:spMkLst>
            <pc:docMk/>
            <pc:sldMk cId="3199200530" sldId="2147483561"/>
            <ac:spMk id="68" creationId="{F6194C48-F150-22BD-B896-0F2652FDEEBD}"/>
          </ac:spMkLst>
        </pc:spChg>
        <pc:spChg chg="mod ord">
          <ac:chgData name="Abdi, Adnan" userId="503e002c-9b3b-4180-87fb-acabeb2b158a" providerId="ADAL" clId="{5C2CD6D4-C7A9-4CEF-AA9C-BC2977F70622}" dt="2024-02-20T12:53:04.167" v="20401"/>
          <ac:spMkLst>
            <pc:docMk/>
            <pc:sldMk cId="3199200530" sldId="2147483561"/>
            <ac:spMk id="71" creationId="{0513A808-3F34-EA50-F9AD-99F4D61D744A}"/>
          </ac:spMkLst>
        </pc:spChg>
        <pc:spChg chg="add mod ord">
          <ac:chgData name="Abdi, Adnan" userId="503e002c-9b3b-4180-87fb-acabeb2b158a" providerId="ADAL" clId="{5C2CD6D4-C7A9-4CEF-AA9C-BC2977F70622}" dt="2024-02-23T15:32:09.917" v="71465"/>
          <ac:spMkLst>
            <pc:docMk/>
            <pc:sldMk cId="3199200530" sldId="2147483561"/>
            <ac:spMk id="75" creationId="{9343EB30-15DE-5399-09AD-5A2FD0F8AC56}"/>
          </ac:spMkLst>
        </pc:spChg>
        <pc:grpChg chg="mod">
          <ac:chgData name="Abdi, Adnan" userId="503e002c-9b3b-4180-87fb-acabeb2b158a" providerId="ADAL" clId="{5C2CD6D4-C7A9-4CEF-AA9C-BC2977F70622}" dt="2024-02-20T12:53:00.975" v="18640" actId="34136"/>
          <ac:grpSpMkLst>
            <pc:docMk/>
            <pc:sldMk cId="3199200530" sldId="2147483561"/>
            <ac:grpSpMk id="21" creationId="{97324234-5015-4C8D-9C27-500D558E9BFC}"/>
          </ac:grpSpMkLst>
        </pc:grpChg>
        <pc:grpChg chg="mod">
          <ac:chgData name="Abdi, Adnan" userId="503e002c-9b3b-4180-87fb-acabeb2b158a" providerId="ADAL" clId="{5C2CD6D4-C7A9-4CEF-AA9C-BC2977F70622}" dt="2024-02-20T12:53:00.979" v="18641" actId="34136"/>
          <ac:grpSpMkLst>
            <pc:docMk/>
            <pc:sldMk cId="3199200530" sldId="2147483561"/>
            <ac:grpSpMk id="25" creationId="{548BD66D-071E-C25D-D698-677B6F610C48}"/>
          </ac:grpSpMkLst>
        </pc:grpChg>
        <pc:grpChg chg="mod">
          <ac:chgData name="Abdi, Adnan" userId="503e002c-9b3b-4180-87fb-acabeb2b158a" providerId="ADAL" clId="{5C2CD6D4-C7A9-4CEF-AA9C-BC2977F70622}" dt="2024-02-20T12:53:00.985" v="18644" actId="34136"/>
          <ac:grpSpMkLst>
            <pc:docMk/>
            <pc:sldMk cId="3199200530" sldId="2147483561"/>
            <ac:grpSpMk id="29" creationId="{7313CDCE-9787-2390-5B57-DF2F4ECBFD6E}"/>
          </ac:grpSpMkLst>
        </pc:grpChg>
        <pc:grpChg chg="mod">
          <ac:chgData name="Abdi, Adnan" userId="503e002c-9b3b-4180-87fb-acabeb2b158a" providerId="ADAL" clId="{5C2CD6D4-C7A9-4CEF-AA9C-BC2977F70622}" dt="2024-02-20T12:53:00.989" v="18647" actId="34136"/>
          <ac:grpSpMkLst>
            <pc:docMk/>
            <pc:sldMk cId="3199200530" sldId="2147483561"/>
            <ac:grpSpMk id="33" creationId="{F9E98A99-FED6-5CA5-BE40-664EA27C9F68}"/>
          </ac:grpSpMkLst>
        </pc:grpChg>
        <pc:grpChg chg="mod">
          <ac:chgData name="Abdi, Adnan" userId="503e002c-9b3b-4180-87fb-acabeb2b158a" providerId="ADAL" clId="{5C2CD6D4-C7A9-4CEF-AA9C-BC2977F70622}" dt="2024-02-20T12:53:00.992" v="18648" actId="34136"/>
          <ac:grpSpMkLst>
            <pc:docMk/>
            <pc:sldMk cId="3199200530" sldId="2147483561"/>
            <ac:grpSpMk id="37" creationId="{EEC1029A-6C94-314C-53F5-74EA1C3BD10C}"/>
          </ac:grpSpMkLst>
        </pc:grpChg>
        <pc:grpChg chg="mod">
          <ac:chgData name="Abdi, Adnan" userId="503e002c-9b3b-4180-87fb-acabeb2b158a" providerId="ADAL" clId="{5C2CD6D4-C7A9-4CEF-AA9C-BC2977F70622}" dt="2024-02-20T12:53:00.997" v="18649" actId="34136"/>
          <ac:grpSpMkLst>
            <pc:docMk/>
            <pc:sldMk cId="3199200530" sldId="2147483561"/>
            <ac:grpSpMk id="41" creationId="{7BC07D09-D98A-7A2E-8509-FD18E91442FB}"/>
          </ac:grpSpMkLst>
        </pc:grpChg>
        <pc:graphicFrameChg chg="mod replST">
          <ac:chgData name="Abdi, Adnan" userId="503e002c-9b3b-4180-87fb-acabeb2b158a" providerId="ADAL" clId="{5C2CD6D4-C7A9-4CEF-AA9C-BC2977F70622}" dt="2024-02-20T12:53:04.148" v="20390"/>
          <ac:graphicFrameMkLst>
            <pc:docMk/>
            <pc:sldMk cId="3199200530" sldId="2147483561"/>
            <ac:graphicFrameMk id="6" creationId="{B55022C4-2C10-CF73-45F5-285BC49F635E}"/>
          </ac:graphicFrameMkLst>
        </pc:graphicFrameChg>
        <pc:graphicFrameChg chg="del">
          <ac:chgData name="Abdi, Adnan" userId="503e002c-9b3b-4180-87fb-acabeb2b158a" providerId="ADAL" clId="{5C2CD6D4-C7A9-4CEF-AA9C-BC2977F70622}" dt="2024-02-20T12:53:04.130" v="20387" actId="478"/>
          <ac:graphicFrameMkLst>
            <pc:docMk/>
            <pc:sldMk cId="3199200530" sldId="2147483561"/>
            <ac:graphicFrameMk id="73" creationId="{B159C62D-4D34-0A67-9C63-B3EB302728F7}"/>
          </ac:graphicFrameMkLst>
        </pc:graphicFrameChg>
        <pc:graphicFrameChg chg="mod">
          <ac:chgData name="Abdi, Adnan" userId="503e002c-9b3b-4180-87fb-acabeb2b158a" providerId="ADAL" clId="{5C2CD6D4-C7A9-4CEF-AA9C-BC2977F70622}" dt="2024-02-20T12:53:06.749" v="21095" actId="1076"/>
          <ac:graphicFrameMkLst>
            <pc:docMk/>
            <pc:sldMk cId="3199200530" sldId="2147483561"/>
            <ac:graphicFrameMk id="74" creationId="{230561E8-6D71-0011-0EE5-3100F05BCF0F}"/>
          </ac:graphicFrameMkLst>
        </pc:graphicFrameChg>
        <pc:cxnChg chg="ord">
          <ac:chgData name="Abdi, Adnan" userId="503e002c-9b3b-4180-87fb-acabeb2b158a" providerId="ADAL" clId="{5C2CD6D4-C7A9-4CEF-AA9C-BC2977F70622}" dt="2024-02-20T12:53:04.148" v="20397"/>
          <ac:cxnSpMkLst>
            <pc:docMk/>
            <pc:sldMk cId="3199200530" sldId="2147483561"/>
            <ac:cxnSpMk id="10" creationId="{7B69F751-8CA8-36D5-2571-84818311D152}"/>
          </ac:cxnSpMkLst>
        </pc:cxnChg>
        <pc:cxnChg chg="ord">
          <ac:chgData name="Abdi, Adnan" userId="503e002c-9b3b-4180-87fb-acabeb2b158a" providerId="ADAL" clId="{5C2CD6D4-C7A9-4CEF-AA9C-BC2977F70622}" dt="2024-02-20T12:53:04.148" v="20398"/>
          <ac:cxnSpMkLst>
            <pc:docMk/>
            <pc:sldMk cId="3199200530" sldId="2147483561"/>
            <ac:cxnSpMk id="12" creationId="{A62143CA-C41D-EFD9-59B3-E2966BD752D5}"/>
          </ac:cxnSpMkLst>
        </pc:cxnChg>
        <pc:cxnChg chg="ord">
          <ac:chgData name="Abdi, Adnan" userId="503e002c-9b3b-4180-87fb-acabeb2b158a" providerId="ADAL" clId="{5C2CD6D4-C7A9-4CEF-AA9C-BC2977F70622}" dt="2024-02-20T12:53:04.148" v="20399"/>
          <ac:cxnSpMkLst>
            <pc:docMk/>
            <pc:sldMk cId="3199200530" sldId="2147483561"/>
            <ac:cxnSpMk id="13" creationId="{032A6FF6-395A-AC97-C0BE-60E5AF5E3C38}"/>
          </ac:cxnSpMkLst>
        </pc:cxnChg>
      </pc:sldChg>
      <pc:sldChg chg="addSp delSp modSp add mod ord modShow modNotes modNotesTx">
        <pc:chgData name="Abdi, Adnan" userId="503e002c-9b3b-4180-87fb-acabeb2b158a" providerId="ADAL" clId="{5C2CD6D4-C7A9-4CEF-AA9C-BC2977F70622}" dt="2024-02-20T12:53:06.453" v="21020" actId="1076"/>
        <pc:sldMkLst>
          <pc:docMk/>
          <pc:sldMk cId="3260886565" sldId="2147483564"/>
        </pc:sldMkLst>
        <pc:spChg chg="add del mod">
          <ac:chgData name="Abdi, Adnan" userId="503e002c-9b3b-4180-87fb-acabeb2b158a" providerId="ADAL" clId="{5C2CD6D4-C7A9-4CEF-AA9C-BC2977F70622}" dt="2024-02-19T15:30:03.533" v="5182" actId="478"/>
          <ac:spMkLst>
            <pc:docMk/>
            <pc:sldMk cId="3260886565" sldId="2147483564"/>
            <ac:spMk id="2" creationId="{D63728CC-BDC8-A9CC-4A92-43B111BA3ADF}"/>
          </ac:spMkLst>
        </pc:spChg>
        <pc:spChg chg="add mod ord">
          <ac:chgData name="Abdi, Adnan" userId="503e002c-9b3b-4180-87fb-acabeb2b158a" providerId="ADAL" clId="{5C2CD6D4-C7A9-4CEF-AA9C-BC2977F70622}" dt="2024-02-20T12:52:59.936" v="18015" actId="947"/>
          <ac:spMkLst>
            <pc:docMk/>
            <pc:sldMk cId="3260886565" sldId="2147483564"/>
            <ac:spMk id="4" creationId="{262773ED-D36A-881A-BBCC-06333F2FBA32}"/>
          </ac:spMkLst>
        </pc:spChg>
        <pc:spChg chg="add mod">
          <ac:chgData name="Abdi, Adnan" userId="503e002c-9b3b-4180-87fb-acabeb2b158a" providerId="ADAL" clId="{5C2CD6D4-C7A9-4CEF-AA9C-BC2977F70622}" dt="2024-02-20T09:47:23.767" v="12647"/>
          <ac:spMkLst>
            <pc:docMk/>
            <pc:sldMk cId="3260886565" sldId="2147483564"/>
            <ac:spMk id="5" creationId="{CA697EFA-91C2-442C-87A8-8434E65505F2}"/>
          </ac:spMkLst>
        </pc:spChg>
        <pc:spChg chg="add mod">
          <ac:chgData name="Abdi, Adnan" userId="503e002c-9b3b-4180-87fb-acabeb2b158a" providerId="ADAL" clId="{5C2CD6D4-C7A9-4CEF-AA9C-BC2977F70622}" dt="2024-02-20T10:05:31.253" v="15404"/>
          <ac:spMkLst>
            <pc:docMk/>
            <pc:sldMk cId="3260886565" sldId="2147483564"/>
            <ac:spMk id="6" creationId="{FF49661B-58BF-64AF-9264-809FFC350CCF}"/>
          </ac:spMkLst>
        </pc:spChg>
        <pc:spChg chg="mod">
          <ac:chgData name="Abdi, Adnan" userId="503e002c-9b3b-4180-87fb-acabeb2b158a" providerId="ADAL" clId="{5C2CD6D4-C7A9-4CEF-AA9C-BC2977F70622}" dt="2024-02-20T10:06:12.383" v="15759" actId="2711"/>
          <ac:spMkLst>
            <pc:docMk/>
            <pc:sldMk cId="3260886565" sldId="2147483564"/>
            <ac:spMk id="9" creationId="{B96488FC-CD0D-0172-EEA2-6AF43FB0F0C3}"/>
          </ac:spMkLst>
        </pc:spChg>
        <pc:spChg chg="mod">
          <ac:chgData name="Abdi, Adnan" userId="503e002c-9b3b-4180-87fb-acabeb2b158a" providerId="ADAL" clId="{5C2CD6D4-C7A9-4CEF-AA9C-BC2977F70622}" dt="2024-02-20T09:43:47.691" v="11011"/>
          <ac:spMkLst>
            <pc:docMk/>
            <pc:sldMk cId="3260886565" sldId="2147483564"/>
            <ac:spMk id="24" creationId="{6537DC89-F377-B4DB-5732-2BEDF435F80E}"/>
          </ac:spMkLst>
        </pc:spChg>
        <pc:spChg chg="mod">
          <ac:chgData name="Abdi, Adnan" userId="503e002c-9b3b-4180-87fb-acabeb2b158a" providerId="ADAL" clId="{5C2CD6D4-C7A9-4CEF-AA9C-BC2977F70622}" dt="2024-02-20T09:43:47.691" v="11011"/>
          <ac:spMkLst>
            <pc:docMk/>
            <pc:sldMk cId="3260886565" sldId="2147483564"/>
            <ac:spMk id="25" creationId="{EB9E5D9D-7CB6-4EB6-0D26-019B8A18CBC6}"/>
          </ac:spMkLst>
        </pc:spChg>
        <pc:spChg chg="mod">
          <ac:chgData name="Abdi, Adnan" userId="503e002c-9b3b-4180-87fb-acabeb2b158a" providerId="ADAL" clId="{5C2CD6D4-C7A9-4CEF-AA9C-BC2977F70622}" dt="2024-02-20T09:43:47.707" v="11012" actId="14100"/>
          <ac:spMkLst>
            <pc:docMk/>
            <pc:sldMk cId="3260886565" sldId="2147483564"/>
            <ac:spMk id="26" creationId="{5295E371-481A-1922-EA81-3B1743E92F88}"/>
          </ac:spMkLst>
        </pc:spChg>
        <pc:spChg chg="mod">
          <ac:chgData name="Abdi, Adnan" userId="503e002c-9b3b-4180-87fb-acabeb2b158a" providerId="ADAL" clId="{5C2CD6D4-C7A9-4CEF-AA9C-BC2977F70622}" dt="2024-02-20T09:43:47.691" v="11011"/>
          <ac:spMkLst>
            <pc:docMk/>
            <pc:sldMk cId="3260886565" sldId="2147483564"/>
            <ac:spMk id="27" creationId="{BD5A5F1F-2C78-A2CD-26B6-335913E7A245}"/>
          </ac:spMkLst>
        </pc:spChg>
        <pc:spChg chg="mod ord">
          <ac:chgData name="Abdi, Adnan" userId="503e002c-9b3b-4180-87fb-acabeb2b158a" providerId="ADAL" clId="{5C2CD6D4-C7A9-4CEF-AA9C-BC2977F70622}" dt="2024-02-20T12:52:59.901" v="17985" actId="947"/>
          <ac:spMkLst>
            <pc:docMk/>
            <pc:sldMk cId="3260886565" sldId="2147483564"/>
            <ac:spMk id="28" creationId="{D0F2F533-F545-9A04-3036-9EB7EFE10B6A}"/>
          </ac:spMkLst>
        </pc:spChg>
        <pc:spChg chg="mod ord">
          <ac:chgData name="Abdi, Adnan" userId="503e002c-9b3b-4180-87fb-acabeb2b158a" providerId="ADAL" clId="{5C2CD6D4-C7A9-4CEF-AA9C-BC2977F70622}" dt="2024-02-20T12:52:59.903" v="17987" actId="947"/>
          <ac:spMkLst>
            <pc:docMk/>
            <pc:sldMk cId="3260886565" sldId="2147483564"/>
            <ac:spMk id="29" creationId="{559E3F9E-D1D4-C364-DAE1-F7DAE8D40310}"/>
          </ac:spMkLst>
        </pc:spChg>
        <pc:spChg chg="mod ord">
          <ac:chgData name="Abdi, Adnan" userId="503e002c-9b3b-4180-87fb-acabeb2b158a" providerId="ADAL" clId="{5C2CD6D4-C7A9-4CEF-AA9C-BC2977F70622}" dt="2024-02-20T12:52:59.905" v="17989" actId="947"/>
          <ac:spMkLst>
            <pc:docMk/>
            <pc:sldMk cId="3260886565" sldId="2147483564"/>
            <ac:spMk id="30" creationId="{B49E7DF5-CBA9-46D8-3F84-D394D0352659}"/>
          </ac:spMkLst>
        </pc:spChg>
        <pc:spChg chg="mod ord">
          <ac:chgData name="Abdi, Adnan" userId="503e002c-9b3b-4180-87fb-acabeb2b158a" providerId="ADAL" clId="{5C2CD6D4-C7A9-4CEF-AA9C-BC2977F70622}" dt="2024-02-20T12:52:59.907" v="17991" actId="947"/>
          <ac:spMkLst>
            <pc:docMk/>
            <pc:sldMk cId="3260886565" sldId="2147483564"/>
            <ac:spMk id="31" creationId="{22A38F90-2A60-EACC-D81E-16339E98DE25}"/>
          </ac:spMkLst>
        </pc:spChg>
        <pc:spChg chg="mod ord">
          <ac:chgData name="Abdi, Adnan" userId="503e002c-9b3b-4180-87fb-acabeb2b158a" providerId="ADAL" clId="{5C2CD6D4-C7A9-4CEF-AA9C-BC2977F70622}" dt="2024-02-20T12:52:59.909" v="17993" actId="947"/>
          <ac:spMkLst>
            <pc:docMk/>
            <pc:sldMk cId="3260886565" sldId="2147483564"/>
            <ac:spMk id="32" creationId="{16973211-1C9C-6AA5-986B-1EA00156E9D1}"/>
          </ac:spMkLst>
        </pc:spChg>
        <pc:spChg chg="mod ord">
          <ac:chgData name="Abdi, Adnan" userId="503e002c-9b3b-4180-87fb-acabeb2b158a" providerId="ADAL" clId="{5C2CD6D4-C7A9-4CEF-AA9C-BC2977F70622}" dt="2024-02-20T12:52:59.911" v="17995" actId="947"/>
          <ac:spMkLst>
            <pc:docMk/>
            <pc:sldMk cId="3260886565" sldId="2147483564"/>
            <ac:spMk id="33" creationId="{AAA4FCA3-E88C-997D-79FB-CFD1DCFA495E}"/>
          </ac:spMkLst>
        </pc:spChg>
        <pc:spChg chg="mod">
          <ac:chgData name="Abdi, Adnan" userId="503e002c-9b3b-4180-87fb-acabeb2b158a" providerId="ADAL" clId="{5C2CD6D4-C7A9-4CEF-AA9C-BC2977F70622}" dt="2024-02-20T09:43:47.691" v="11011"/>
          <ac:spMkLst>
            <pc:docMk/>
            <pc:sldMk cId="3260886565" sldId="2147483564"/>
            <ac:spMk id="34" creationId="{0C27ED2B-DD9E-8A06-15BC-A15060906198}"/>
          </ac:spMkLst>
        </pc:spChg>
        <pc:spChg chg="mod">
          <ac:chgData name="Abdi, Adnan" userId="503e002c-9b3b-4180-87fb-acabeb2b158a" providerId="ADAL" clId="{5C2CD6D4-C7A9-4CEF-AA9C-BC2977F70622}" dt="2024-02-20T09:43:47.691" v="11011"/>
          <ac:spMkLst>
            <pc:docMk/>
            <pc:sldMk cId="3260886565" sldId="2147483564"/>
            <ac:spMk id="35" creationId="{0B535C3F-5565-5370-FD6F-70C2031A0239}"/>
          </ac:spMkLst>
        </pc:spChg>
        <pc:spChg chg="mod ord">
          <ac:chgData name="Abdi, Adnan" userId="503e002c-9b3b-4180-87fb-acabeb2b158a" providerId="ADAL" clId="{5C2CD6D4-C7A9-4CEF-AA9C-BC2977F70622}" dt="2024-02-20T12:52:59.913" v="17997" actId="947"/>
          <ac:spMkLst>
            <pc:docMk/>
            <pc:sldMk cId="3260886565" sldId="2147483564"/>
            <ac:spMk id="37" creationId="{19C61A89-EF11-F97F-C85F-3BF2157BD852}"/>
          </ac:spMkLst>
        </pc:spChg>
        <pc:spChg chg="mod ord">
          <ac:chgData name="Abdi, Adnan" userId="503e002c-9b3b-4180-87fb-acabeb2b158a" providerId="ADAL" clId="{5C2CD6D4-C7A9-4CEF-AA9C-BC2977F70622}" dt="2024-02-20T12:52:59.914" v="17999" actId="947"/>
          <ac:spMkLst>
            <pc:docMk/>
            <pc:sldMk cId="3260886565" sldId="2147483564"/>
            <ac:spMk id="38" creationId="{755B70D6-EB26-64E1-B9C6-2800DDAFA023}"/>
          </ac:spMkLst>
        </pc:spChg>
        <pc:spChg chg="mod ord">
          <ac:chgData name="Abdi, Adnan" userId="503e002c-9b3b-4180-87fb-acabeb2b158a" providerId="ADAL" clId="{5C2CD6D4-C7A9-4CEF-AA9C-BC2977F70622}" dt="2024-02-20T12:52:59.917" v="18001" actId="947"/>
          <ac:spMkLst>
            <pc:docMk/>
            <pc:sldMk cId="3260886565" sldId="2147483564"/>
            <ac:spMk id="39" creationId="{C2EEE899-C965-7810-9351-EFEAB67255B9}"/>
          </ac:spMkLst>
        </pc:spChg>
        <pc:spChg chg="mod ord">
          <ac:chgData name="Abdi, Adnan" userId="503e002c-9b3b-4180-87fb-acabeb2b158a" providerId="ADAL" clId="{5C2CD6D4-C7A9-4CEF-AA9C-BC2977F70622}" dt="2024-02-20T12:52:59.918" v="18003" actId="947"/>
          <ac:spMkLst>
            <pc:docMk/>
            <pc:sldMk cId="3260886565" sldId="2147483564"/>
            <ac:spMk id="40" creationId="{AE48ECA3-0B3F-4EAC-7D79-633E0E511B92}"/>
          </ac:spMkLst>
        </pc:spChg>
        <pc:spChg chg="mod ord">
          <ac:chgData name="Abdi, Adnan" userId="503e002c-9b3b-4180-87fb-acabeb2b158a" providerId="ADAL" clId="{5C2CD6D4-C7A9-4CEF-AA9C-BC2977F70622}" dt="2024-02-20T12:52:59.920" v="18005" actId="947"/>
          <ac:spMkLst>
            <pc:docMk/>
            <pc:sldMk cId="3260886565" sldId="2147483564"/>
            <ac:spMk id="41" creationId="{D45B152F-8042-DA74-14EA-FB7376462E93}"/>
          </ac:spMkLst>
        </pc:spChg>
        <pc:spChg chg="mod ord">
          <ac:chgData name="Abdi, Adnan" userId="503e002c-9b3b-4180-87fb-acabeb2b158a" providerId="ADAL" clId="{5C2CD6D4-C7A9-4CEF-AA9C-BC2977F70622}" dt="2024-02-20T12:52:59.920" v="18007" actId="947"/>
          <ac:spMkLst>
            <pc:docMk/>
            <pc:sldMk cId="3260886565" sldId="2147483564"/>
            <ac:spMk id="42" creationId="{BCFC615A-E11C-6B4B-89C7-0F28E3F26638}"/>
          </ac:spMkLst>
        </pc:spChg>
        <pc:spChg chg="mod ord">
          <ac:chgData name="Abdi, Adnan" userId="503e002c-9b3b-4180-87fb-acabeb2b158a" providerId="ADAL" clId="{5C2CD6D4-C7A9-4CEF-AA9C-BC2977F70622}" dt="2024-02-20T12:52:59.920" v="18009" actId="947"/>
          <ac:spMkLst>
            <pc:docMk/>
            <pc:sldMk cId="3260886565" sldId="2147483564"/>
            <ac:spMk id="43" creationId="{84A6B2E0-03F1-D30B-D3DD-5B9A6ED49988}"/>
          </ac:spMkLst>
        </pc:spChg>
        <pc:spChg chg="mod ord">
          <ac:chgData name="Abdi, Adnan" userId="503e002c-9b3b-4180-87fb-acabeb2b158a" providerId="ADAL" clId="{5C2CD6D4-C7A9-4CEF-AA9C-BC2977F70622}" dt="2024-02-20T12:52:59.920" v="18011" actId="947"/>
          <ac:spMkLst>
            <pc:docMk/>
            <pc:sldMk cId="3260886565" sldId="2147483564"/>
            <ac:spMk id="44" creationId="{B5A3133E-A60A-AEA5-76BB-2CE799F215EF}"/>
          </ac:spMkLst>
        </pc:spChg>
        <pc:spChg chg="mod ord">
          <ac:chgData name="Abdi, Adnan" userId="503e002c-9b3b-4180-87fb-acabeb2b158a" providerId="ADAL" clId="{5C2CD6D4-C7A9-4CEF-AA9C-BC2977F70622}" dt="2024-02-20T12:52:59.920" v="18013" actId="947"/>
          <ac:spMkLst>
            <pc:docMk/>
            <pc:sldMk cId="3260886565" sldId="2147483564"/>
            <ac:spMk id="45" creationId="{6EB64CD5-754D-AE4F-86AE-1F8B5B1713FB}"/>
          </ac:spMkLst>
        </pc:spChg>
        <pc:spChg chg="mod">
          <ac:chgData name="Abdi, Adnan" userId="503e002c-9b3b-4180-87fb-acabeb2b158a" providerId="ADAL" clId="{5C2CD6D4-C7A9-4CEF-AA9C-BC2977F70622}" dt="2024-02-20T09:43:47.691" v="11011"/>
          <ac:spMkLst>
            <pc:docMk/>
            <pc:sldMk cId="3260886565" sldId="2147483564"/>
            <ac:spMk id="46" creationId="{AC3EC8E5-234D-4C9C-ED79-ABBA88A8781B}"/>
          </ac:spMkLst>
        </pc:spChg>
        <pc:spChg chg="mod ord">
          <ac:chgData name="Abdi, Adnan" userId="503e002c-9b3b-4180-87fb-acabeb2b158a" providerId="ADAL" clId="{5C2CD6D4-C7A9-4CEF-AA9C-BC2977F70622}" dt="2024-02-20T12:52:59.894" v="17981" actId="947"/>
          <ac:spMkLst>
            <pc:docMk/>
            <pc:sldMk cId="3260886565" sldId="2147483564"/>
            <ac:spMk id="47" creationId="{EE6D6F96-9A48-5A44-B2F4-6EBF4B5BD7A0}"/>
          </ac:spMkLst>
        </pc:spChg>
        <pc:spChg chg="mod">
          <ac:chgData name="Abdi, Adnan" userId="503e002c-9b3b-4180-87fb-acabeb2b158a" providerId="ADAL" clId="{5C2CD6D4-C7A9-4CEF-AA9C-BC2977F70622}" dt="2024-02-20T09:43:47.691" v="11011"/>
          <ac:spMkLst>
            <pc:docMk/>
            <pc:sldMk cId="3260886565" sldId="2147483564"/>
            <ac:spMk id="48" creationId="{1338A0EB-4480-935A-AE83-68669C06A456}"/>
          </ac:spMkLst>
        </pc:spChg>
        <pc:spChg chg="mod">
          <ac:chgData name="Abdi, Adnan" userId="503e002c-9b3b-4180-87fb-acabeb2b158a" providerId="ADAL" clId="{5C2CD6D4-C7A9-4CEF-AA9C-BC2977F70622}" dt="2024-02-20T09:43:47.691" v="11011"/>
          <ac:spMkLst>
            <pc:docMk/>
            <pc:sldMk cId="3260886565" sldId="2147483564"/>
            <ac:spMk id="49" creationId="{07B36BCC-DA94-8BA3-0969-D57D7419C328}"/>
          </ac:spMkLst>
        </pc:spChg>
        <pc:spChg chg="mod ord">
          <ac:chgData name="Abdi, Adnan" userId="503e002c-9b3b-4180-87fb-acabeb2b158a" providerId="ADAL" clId="{5C2CD6D4-C7A9-4CEF-AA9C-BC2977F70622}" dt="2024-02-20T12:52:59.898" v="17983" actId="947"/>
          <ac:spMkLst>
            <pc:docMk/>
            <pc:sldMk cId="3260886565" sldId="2147483564"/>
            <ac:spMk id="50" creationId="{6F34BE38-CBE8-109E-FAA7-E5BAB23CB198}"/>
          </ac:spMkLst>
        </pc:spChg>
        <pc:spChg chg="mod">
          <ac:chgData name="Abdi, Adnan" userId="503e002c-9b3b-4180-87fb-acabeb2b158a" providerId="ADAL" clId="{5C2CD6D4-C7A9-4CEF-AA9C-BC2977F70622}" dt="2024-02-20T09:43:47.691" v="11011"/>
          <ac:spMkLst>
            <pc:docMk/>
            <pc:sldMk cId="3260886565" sldId="2147483564"/>
            <ac:spMk id="51" creationId="{B92F7A82-09B0-0AB3-246C-DD62FF9CF8A2}"/>
          </ac:spMkLst>
        </pc:spChg>
        <pc:spChg chg="mod">
          <ac:chgData name="Abdi, Adnan" userId="503e002c-9b3b-4180-87fb-acabeb2b158a" providerId="ADAL" clId="{5C2CD6D4-C7A9-4CEF-AA9C-BC2977F70622}" dt="2024-02-20T09:43:47.691" v="11011"/>
          <ac:spMkLst>
            <pc:docMk/>
            <pc:sldMk cId="3260886565" sldId="2147483564"/>
            <ac:spMk id="52" creationId="{50C38333-C424-B82E-3C4C-77B6D9FFB4CC}"/>
          </ac:spMkLst>
        </pc:spChg>
        <pc:spChg chg="mod">
          <ac:chgData name="Abdi, Adnan" userId="503e002c-9b3b-4180-87fb-acabeb2b158a" providerId="ADAL" clId="{5C2CD6D4-C7A9-4CEF-AA9C-BC2977F70622}" dt="2024-02-20T09:43:47.691" v="11011"/>
          <ac:spMkLst>
            <pc:docMk/>
            <pc:sldMk cId="3260886565" sldId="2147483564"/>
            <ac:spMk id="53" creationId="{CCFA7DED-A5B1-B2C4-C3FD-A42E51E9B608}"/>
          </ac:spMkLst>
        </pc:spChg>
        <pc:spChg chg="mod">
          <ac:chgData name="Abdi, Adnan" userId="503e002c-9b3b-4180-87fb-acabeb2b158a" providerId="ADAL" clId="{5C2CD6D4-C7A9-4CEF-AA9C-BC2977F70622}" dt="2024-02-20T09:43:47.691" v="11011"/>
          <ac:spMkLst>
            <pc:docMk/>
            <pc:sldMk cId="3260886565" sldId="2147483564"/>
            <ac:spMk id="54" creationId="{9879CB70-FBAA-BA5D-E903-8ED6A6384CC1}"/>
          </ac:spMkLst>
        </pc:spChg>
        <pc:spChg chg="mod">
          <ac:chgData name="Abdi, Adnan" userId="503e002c-9b3b-4180-87fb-acabeb2b158a" providerId="ADAL" clId="{5C2CD6D4-C7A9-4CEF-AA9C-BC2977F70622}" dt="2024-02-20T09:43:47.691" v="11011"/>
          <ac:spMkLst>
            <pc:docMk/>
            <pc:sldMk cId="3260886565" sldId="2147483564"/>
            <ac:spMk id="55" creationId="{532DA259-E3FE-6E41-8F88-37FDA4913528}"/>
          </ac:spMkLst>
        </pc:spChg>
        <pc:spChg chg="mod">
          <ac:chgData name="Abdi, Adnan" userId="503e002c-9b3b-4180-87fb-acabeb2b158a" providerId="ADAL" clId="{5C2CD6D4-C7A9-4CEF-AA9C-BC2977F70622}" dt="2024-02-20T09:43:47.691" v="11011"/>
          <ac:spMkLst>
            <pc:docMk/>
            <pc:sldMk cId="3260886565" sldId="2147483564"/>
            <ac:spMk id="56" creationId="{51C7A53B-A596-144A-E07B-71D66B88C5F6}"/>
          </ac:spMkLst>
        </pc:spChg>
        <pc:spChg chg="mod">
          <ac:chgData name="Abdi, Adnan" userId="503e002c-9b3b-4180-87fb-acabeb2b158a" providerId="ADAL" clId="{5C2CD6D4-C7A9-4CEF-AA9C-BC2977F70622}" dt="2024-02-20T09:43:47.691" v="11011"/>
          <ac:spMkLst>
            <pc:docMk/>
            <pc:sldMk cId="3260886565" sldId="2147483564"/>
            <ac:spMk id="57" creationId="{A6C7348E-02C3-4170-8E15-15FD629E6F1B}"/>
          </ac:spMkLst>
        </pc:spChg>
        <pc:spChg chg="mod">
          <ac:chgData name="Abdi, Adnan" userId="503e002c-9b3b-4180-87fb-acabeb2b158a" providerId="ADAL" clId="{5C2CD6D4-C7A9-4CEF-AA9C-BC2977F70622}" dt="2024-02-20T09:43:47.691" v="11011"/>
          <ac:spMkLst>
            <pc:docMk/>
            <pc:sldMk cId="3260886565" sldId="2147483564"/>
            <ac:spMk id="58" creationId="{1ED07146-2464-D683-B847-AF4E1A6EA433}"/>
          </ac:spMkLst>
        </pc:spChg>
        <pc:spChg chg="mod">
          <ac:chgData name="Abdi, Adnan" userId="503e002c-9b3b-4180-87fb-acabeb2b158a" providerId="ADAL" clId="{5C2CD6D4-C7A9-4CEF-AA9C-BC2977F70622}" dt="2024-02-20T09:43:47.691" v="11011"/>
          <ac:spMkLst>
            <pc:docMk/>
            <pc:sldMk cId="3260886565" sldId="2147483564"/>
            <ac:spMk id="59" creationId="{C2B9D283-941B-4AD0-4158-12D180CEF844}"/>
          </ac:spMkLst>
        </pc:spChg>
        <pc:graphicFrameChg chg="add mod replST delST">
          <ac:chgData name="Abdi, Adnan" userId="503e002c-9b3b-4180-87fb-acabeb2b158a" providerId="ADAL" clId="{5C2CD6D4-C7A9-4CEF-AA9C-BC2977F70622}" dt="2024-02-20T09:43:46.976" v="11003"/>
          <ac:graphicFrameMkLst>
            <pc:docMk/>
            <pc:sldMk cId="3260886565" sldId="2147483564"/>
            <ac:graphicFrameMk id="2" creationId="{A346D67B-4A26-8859-007C-B9CCC47C87C4}"/>
          </ac:graphicFrameMkLst>
        </pc:graphicFrameChg>
        <pc:graphicFrameChg chg="add del">
          <ac:chgData name="Abdi, Adnan" userId="503e002c-9b3b-4180-87fb-acabeb2b158a" providerId="ADAL" clId="{5C2CD6D4-C7A9-4CEF-AA9C-BC2977F70622}" dt="2024-02-20T09:43:46.976" v="11003"/>
          <ac:graphicFrameMkLst>
            <pc:docMk/>
            <pc:sldMk cId="3260886565" sldId="2147483564"/>
            <ac:graphicFrameMk id="3" creationId="{EB27C8B4-9D94-2B98-E099-ACA40261083A}"/>
          </ac:graphicFrameMkLst>
        </pc:graphicFrameChg>
        <pc:graphicFrameChg chg="mod ord modGraphic">
          <ac:chgData name="Abdi, Adnan" userId="503e002c-9b3b-4180-87fb-acabeb2b158a" providerId="ADAL" clId="{5C2CD6D4-C7A9-4CEF-AA9C-BC2977F70622}" dt="2024-02-20T12:52:59.892" v="17979" actId="947"/>
          <ac:graphicFrameMkLst>
            <pc:docMk/>
            <pc:sldMk cId="3260886565" sldId="2147483564"/>
            <ac:graphicFrameMk id="8" creationId="{149D169D-9ABE-5F57-E16B-9A3195D5CB29}"/>
          </ac:graphicFrameMkLst>
        </pc:graphicFrameChg>
        <pc:graphicFrameChg chg="mod">
          <ac:chgData name="Abdi, Adnan" userId="503e002c-9b3b-4180-87fb-acabeb2b158a" providerId="ADAL" clId="{5C2CD6D4-C7A9-4CEF-AA9C-BC2977F70622}" dt="2024-02-20T12:53:06.453" v="21020" actId="1076"/>
          <ac:graphicFrameMkLst>
            <pc:docMk/>
            <pc:sldMk cId="3260886565" sldId="2147483564"/>
            <ac:graphicFrameMk id="16" creationId="{38CD42A9-5F70-6F2E-B937-4F607A4B417C}"/>
          </ac:graphicFrameMkLst>
        </pc:graphicFrameChg>
        <pc:cxnChg chg="mod ord">
          <ac:chgData name="Abdi, Adnan" userId="503e002c-9b3b-4180-87fb-acabeb2b158a" providerId="ADAL" clId="{5C2CD6D4-C7A9-4CEF-AA9C-BC2977F70622}" dt="2024-02-20T09:43:46.976" v="11003"/>
          <ac:cxnSpMkLst>
            <pc:docMk/>
            <pc:sldMk cId="3260886565" sldId="2147483564"/>
            <ac:cxnSpMk id="12" creationId="{6A6E4E9F-0335-24BA-FF2F-80D45E4BC7CD}"/>
          </ac:cxnSpMkLst>
        </pc:cxnChg>
      </pc:sldChg>
      <pc:sldChg chg="addSp modSp add mod ord modNotes">
        <pc:chgData name="Abdi, Adnan" userId="503e002c-9b3b-4180-87fb-acabeb2b158a" providerId="ADAL" clId="{5C2CD6D4-C7A9-4CEF-AA9C-BC2977F70622}" dt="2024-02-20T14:58:04.928" v="30273"/>
        <pc:sldMkLst>
          <pc:docMk/>
          <pc:sldMk cId="1969782702" sldId="2147483567"/>
        </pc:sldMkLst>
        <pc:spChg chg="add mod">
          <ac:chgData name="Abdi, Adnan" userId="503e002c-9b3b-4180-87fb-acabeb2b158a" providerId="ADAL" clId="{5C2CD6D4-C7A9-4CEF-AA9C-BC2977F70622}" dt="2024-02-20T12:53:01.281" v="18833" actId="947"/>
          <ac:spMkLst>
            <pc:docMk/>
            <pc:sldMk cId="1969782702" sldId="2147483567"/>
            <ac:spMk id="3" creationId="{0E9208CD-3F0C-B04C-1CD6-2726C5BFE0C9}"/>
          </ac:spMkLst>
        </pc:spChg>
        <pc:spChg chg="mod">
          <ac:chgData name="Abdi, Adnan" userId="503e002c-9b3b-4180-87fb-acabeb2b158a" providerId="ADAL" clId="{5C2CD6D4-C7A9-4CEF-AA9C-BC2977F70622}" dt="2024-02-20T12:53:01.101" v="18713" actId="947"/>
          <ac:spMkLst>
            <pc:docMk/>
            <pc:sldMk cId="1969782702" sldId="2147483567"/>
            <ac:spMk id="19" creationId="{F40D474C-89A8-8816-5074-94D3F7E079B5}"/>
          </ac:spMkLst>
        </pc:spChg>
        <pc:spChg chg="mod">
          <ac:chgData name="Abdi, Adnan" userId="503e002c-9b3b-4180-87fb-acabeb2b158a" providerId="ADAL" clId="{5C2CD6D4-C7A9-4CEF-AA9C-BC2977F70622}" dt="2024-02-20T12:53:01.137" v="18763" actId="947"/>
          <ac:spMkLst>
            <pc:docMk/>
            <pc:sldMk cId="1969782702" sldId="2147483567"/>
            <ac:spMk id="36" creationId="{F56F7274-FCCA-D28B-4891-A17691D2FBF7}"/>
          </ac:spMkLst>
        </pc:spChg>
        <pc:spChg chg="mod">
          <ac:chgData name="Abdi, Adnan" userId="503e002c-9b3b-4180-87fb-acabeb2b158a" providerId="ADAL" clId="{5C2CD6D4-C7A9-4CEF-AA9C-BC2977F70622}" dt="2024-02-20T12:53:01.137" v="18765" actId="947"/>
          <ac:spMkLst>
            <pc:docMk/>
            <pc:sldMk cId="1969782702" sldId="2147483567"/>
            <ac:spMk id="39" creationId="{2D1006B1-898B-7D62-9A53-1122B3FECDA3}"/>
          </ac:spMkLst>
        </pc:spChg>
        <pc:spChg chg="mod">
          <ac:chgData name="Abdi, Adnan" userId="503e002c-9b3b-4180-87fb-acabeb2b158a" providerId="ADAL" clId="{5C2CD6D4-C7A9-4CEF-AA9C-BC2977F70622}" dt="2024-02-20T12:53:01.198" v="18773" actId="947"/>
          <ac:spMkLst>
            <pc:docMk/>
            <pc:sldMk cId="1969782702" sldId="2147483567"/>
            <ac:spMk id="59" creationId="{24A3ECBE-0778-BF19-B6FA-F0E21224625B}"/>
          </ac:spMkLst>
        </pc:spChg>
        <pc:spChg chg="mod">
          <ac:chgData name="Abdi, Adnan" userId="503e002c-9b3b-4180-87fb-acabeb2b158a" providerId="ADAL" clId="{5C2CD6D4-C7A9-4CEF-AA9C-BC2977F70622}" dt="2024-02-20T12:53:01.201" v="18775" actId="947"/>
          <ac:spMkLst>
            <pc:docMk/>
            <pc:sldMk cId="1969782702" sldId="2147483567"/>
            <ac:spMk id="108" creationId="{E40B30A0-2A4D-EB7B-8F27-2ABCD6544724}"/>
          </ac:spMkLst>
        </pc:spChg>
        <pc:spChg chg="mod">
          <ac:chgData name="Abdi, Adnan" userId="503e002c-9b3b-4180-87fb-acabeb2b158a" providerId="ADAL" clId="{5C2CD6D4-C7A9-4CEF-AA9C-BC2977F70622}" dt="2024-02-20T12:53:01.204" v="18777" actId="947"/>
          <ac:spMkLst>
            <pc:docMk/>
            <pc:sldMk cId="1969782702" sldId="2147483567"/>
            <ac:spMk id="109" creationId="{4E6C057A-2E69-F38F-1BA8-23A9D6CDE4A7}"/>
          </ac:spMkLst>
        </pc:spChg>
        <pc:spChg chg="mod">
          <ac:chgData name="Abdi, Adnan" userId="503e002c-9b3b-4180-87fb-acabeb2b158a" providerId="ADAL" clId="{5C2CD6D4-C7A9-4CEF-AA9C-BC2977F70622}" dt="2024-02-20T12:53:01.205" v="18779" actId="947"/>
          <ac:spMkLst>
            <pc:docMk/>
            <pc:sldMk cId="1969782702" sldId="2147483567"/>
            <ac:spMk id="110" creationId="{EF2E54DF-A722-5E17-F649-FA81B2F64A28}"/>
          </ac:spMkLst>
        </pc:spChg>
        <pc:spChg chg="mod">
          <ac:chgData name="Abdi, Adnan" userId="503e002c-9b3b-4180-87fb-acabeb2b158a" providerId="ADAL" clId="{5C2CD6D4-C7A9-4CEF-AA9C-BC2977F70622}" dt="2024-02-20T12:53:01.205" v="18781" actId="947"/>
          <ac:spMkLst>
            <pc:docMk/>
            <pc:sldMk cId="1969782702" sldId="2147483567"/>
            <ac:spMk id="111" creationId="{F9F42158-141B-9582-B3E2-A8BD55EFDCAA}"/>
          </ac:spMkLst>
        </pc:spChg>
        <pc:spChg chg="mod">
          <ac:chgData name="Abdi, Adnan" userId="503e002c-9b3b-4180-87fb-acabeb2b158a" providerId="ADAL" clId="{5C2CD6D4-C7A9-4CEF-AA9C-BC2977F70622}" dt="2024-02-20T12:53:01.205" v="18783" actId="947"/>
          <ac:spMkLst>
            <pc:docMk/>
            <pc:sldMk cId="1969782702" sldId="2147483567"/>
            <ac:spMk id="112" creationId="{A117D9F3-ACFB-C803-9B55-ACEF5F0F7DFA}"/>
          </ac:spMkLst>
        </pc:spChg>
        <pc:spChg chg="mod">
          <ac:chgData name="Abdi, Adnan" userId="503e002c-9b3b-4180-87fb-acabeb2b158a" providerId="ADAL" clId="{5C2CD6D4-C7A9-4CEF-AA9C-BC2977F70622}" dt="2024-02-20T12:53:01.205" v="18785" actId="947"/>
          <ac:spMkLst>
            <pc:docMk/>
            <pc:sldMk cId="1969782702" sldId="2147483567"/>
            <ac:spMk id="113" creationId="{5A98E033-15C8-2E60-E83D-E2ABD3E970DB}"/>
          </ac:spMkLst>
        </pc:spChg>
        <pc:spChg chg="mod">
          <ac:chgData name="Abdi, Adnan" userId="503e002c-9b3b-4180-87fb-acabeb2b158a" providerId="ADAL" clId="{5C2CD6D4-C7A9-4CEF-AA9C-BC2977F70622}" dt="2024-02-20T12:53:01.205" v="18787" actId="947"/>
          <ac:spMkLst>
            <pc:docMk/>
            <pc:sldMk cId="1969782702" sldId="2147483567"/>
            <ac:spMk id="114" creationId="{D061000F-DA61-E228-0A54-55BD079664A6}"/>
          </ac:spMkLst>
        </pc:spChg>
        <pc:spChg chg="mod">
          <ac:chgData name="Abdi, Adnan" userId="503e002c-9b3b-4180-87fb-acabeb2b158a" providerId="ADAL" clId="{5C2CD6D4-C7A9-4CEF-AA9C-BC2977F70622}" dt="2024-02-20T12:53:01.205" v="18789" actId="947"/>
          <ac:spMkLst>
            <pc:docMk/>
            <pc:sldMk cId="1969782702" sldId="2147483567"/>
            <ac:spMk id="115" creationId="{4AA6FDD4-56B0-9DDC-87EA-8C316FA12FF5}"/>
          </ac:spMkLst>
        </pc:spChg>
        <pc:spChg chg="mod">
          <ac:chgData name="Abdi, Adnan" userId="503e002c-9b3b-4180-87fb-acabeb2b158a" providerId="ADAL" clId="{5C2CD6D4-C7A9-4CEF-AA9C-BC2977F70622}" dt="2024-02-20T12:53:01.205" v="18791" actId="947"/>
          <ac:spMkLst>
            <pc:docMk/>
            <pc:sldMk cId="1969782702" sldId="2147483567"/>
            <ac:spMk id="116" creationId="{8C6ECAE2-6374-F609-4290-2DECD1F85708}"/>
          </ac:spMkLst>
        </pc:spChg>
        <pc:spChg chg="mod">
          <ac:chgData name="Abdi, Adnan" userId="503e002c-9b3b-4180-87fb-acabeb2b158a" providerId="ADAL" clId="{5C2CD6D4-C7A9-4CEF-AA9C-BC2977F70622}" dt="2024-02-20T12:53:01.185" v="18767" actId="947"/>
          <ac:spMkLst>
            <pc:docMk/>
            <pc:sldMk cId="1969782702" sldId="2147483567"/>
            <ac:spMk id="120" creationId="{1CE90A1C-CACC-F874-0963-6B2E22EB1E9E}"/>
          </ac:spMkLst>
        </pc:spChg>
        <pc:spChg chg="mod">
          <ac:chgData name="Abdi, Adnan" userId="503e002c-9b3b-4180-87fb-acabeb2b158a" providerId="ADAL" clId="{5C2CD6D4-C7A9-4CEF-AA9C-BC2977F70622}" dt="2024-02-20T12:53:01.188" v="18769" actId="947"/>
          <ac:spMkLst>
            <pc:docMk/>
            <pc:sldMk cId="1969782702" sldId="2147483567"/>
            <ac:spMk id="122" creationId="{E37DB653-4B20-1783-24EE-5693024A1012}"/>
          </ac:spMkLst>
        </pc:spChg>
        <pc:spChg chg="mod">
          <ac:chgData name="Abdi, Adnan" userId="503e002c-9b3b-4180-87fb-acabeb2b158a" providerId="ADAL" clId="{5C2CD6D4-C7A9-4CEF-AA9C-BC2977F70622}" dt="2024-02-20T12:53:01.192" v="18771" actId="947"/>
          <ac:spMkLst>
            <pc:docMk/>
            <pc:sldMk cId="1969782702" sldId="2147483567"/>
            <ac:spMk id="125" creationId="{1037E031-D56F-253D-D296-F4F4639B9C8C}"/>
          </ac:spMkLst>
        </pc:spChg>
        <pc:spChg chg="mod">
          <ac:chgData name="Abdi, Adnan" userId="503e002c-9b3b-4180-87fb-acabeb2b158a" providerId="ADAL" clId="{5C2CD6D4-C7A9-4CEF-AA9C-BC2977F70622}" dt="2024-02-20T12:53:01.221" v="18793" actId="947"/>
          <ac:spMkLst>
            <pc:docMk/>
            <pc:sldMk cId="1969782702" sldId="2147483567"/>
            <ac:spMk id="127" creationId="{88B4B46A-0F96-E60E-75D5-30270CE5E9BB}"/>
          </ac:spMkLst>
        </pc:spChg>
        <pc:spChg chg="mod">
          <ac:chgData name="Abdi, Adnan" userId="503e002c-9b3b-4180-87fb-acabeb2b158a" providerId="ADAL" clId="{5C2CD6D4-C7A9-4CEF-AA9C-BC2977F70622}" dt="2024-02-20T12:53:01.221" v="18795" actId="947"/>
          <ac:spMkLst>
            <pc:docMk/>
            <pc:sldMk cId="1969782702" sldId="2147483567"/>
            <ac:spMk id="128" creationId="{7F2031BB-6D40-1FBF-8A83-3F9049C55DA4}"/>
          </ac:spMkLst>
        </pc:spChg>
        <pc:spChg chg="mod">
          <ac:chgData name="Abdi, Adnan" userId="503e002c-9b3b-4180-87fb-acabeb2b158a" providerId="ADAL" clId="{5C2CD6D4-C7A9-4CEF-AA9C-BC2977F70622}" dt="2024-02-20T12:53:01.221" v="18797" actId="947"/>
          <ac:spMkLst>
            <pc:docMk/>
            <pc:sldMk cId="1969782702" sldId="2147483567"/>
            <ac:spMk id="129" creationId="{060E0663-395C-5D71-86B1-E7D77FD503AA}"/>
          </ac:spMkLst>
        </pc:spChg>
        <pc:spChg chg="mod">
          <ac:chgData name="Abdi, Adnan" userId="503e002c-9b3b-4180-87fb-acabeb2b158a" providerId="ADAL" clId="{5C2CD6D4-C7A9-4CEF-AA9C-BC2977F70622}" dt="2024-02-20T12:53:01.221" v="18799" actId="947"/>
          <ac:spMkLst>
            <pc:docMk/>
            <pc:sldMk cId="1969782702" sldId="2147483567"/>
            <ac:spMk id="130" creationId="{F6923AB5-8C60-3ABC-0D06-0BD85F2A3CD5}"/>
          </ac:spMkLst>
        </pc:spChg>
        <pc:spChg chg="mod">
          <ac:chgData name="Abdi, Adnan" userId="503e002c-9b3b-4180-87fb-acabeb2b158a" providerId="ADAL" clId="{5C2CD6D4-C7A9-4CEF-AA9C-BC2977F70622}" dt="2024-02-20T12:53:01.221" v="18801" actId="947"/>
          <ac:spMkLst>
            <pc:docMk/>
            <pc:sldMk cId="1969782702" sldId="2147483567"/>
            <ac:spMk id="131" creationId="{788975D6-05CD-89C0-5102-B2D94F7920D5}"/>
          </ac:spMkLst>
        </pc:spChg>
        <pc:spChg chg="mod">
          <ac:chgData name="Abdi, Adnan" userId="503e002c-9b3b-4180-87fb-acabeb2b158a" providerId="ADAL" clId="{5C2CD6D4-C7A9-4CEF-AA9C-BC2977F70622}" dt="2024-02-20T12:53:01.237" v="18803" actId="947"/>
          <ac:spMkLst>
            <pc:docMk/>
            <pc:sldMk cId="1969782702" sldId="2147483567"/>
            <ac:spMk id="132" creationId="{FD66EB41-54B0-C983-4C3D-F9846A119FB3}"/>
          </ac:spMkLst>
        </pc:spChg>
        <pc:spChg chg="mod">
          <ac:chgData name="Abdi, Adnan" userId="503e002c-9b3b-4180-87fb-acabeb2b158a" providerId="ADAL" clId="{5C2CD6D4-C7A9-4CEF-AA9C-BC2977F70622}" dt="2024-02-20T12:53:01.237" v="18805" actId="947"/>
          <ac:spMkLst>
            <pc:docMk/>
            <pc:sldMk cId="1969782702" sldId="2147483567"/>
            <ac:spMk id="138" creationId="{F4556DC1-58D7-00F3-1CC6-DAD32889F5B1}"/>
          </ac:spMkLst>
        </pc:spChg>
        <pc:spChg chg="mod">
          <ac:chgData name="Abdi, Adnan" userId="503e002c-9b3b-4180-87fb-acabeb2b158a" providerId="ADAL" clId="{5C2CD6D4-C7A9-4CEF-AA9C-BC2977F70622}" dt="2024-02-20T12:53:01.237" v="18807" actId="947"/>
          <ac:spMkLst>
            <pc:docMk/>
            <pc:sldMk cId="1969782702" sldId="2147483567"/>
            <ac:spMk id="139" creationId="{C5E00945-F663-D318-BE64-7F6C2DC7870E}"/>
          </ac:spMkLst>
        </pc:spChg>
        <pc:spChg chg="mod">
          <ac:chgData name="Abdi, Adnan" userId="503e002c-9b3b-4180-87fb-acabeb2b158a" providerId="ADAL" clId="{5C2CD6D4-C7A9-4CEF-AA9C-BC2977F70622}" dt="2024-02-20T12:53:01.237" v="18809" actId="947"/>
          <ac:spMkLst>
            <pc:docMk/>
            <pc:sldMk cId="1969782702" sldId="2147483567"/>
            <ac:spMk id="140" creationId="{D06001BF-0049-5F77-C03E-A35363ECD257}"/>
          </ac:spMkLst>
        </pc:spChg>
        <pc:spChg chg="mod">
          <ac:chgData name="Abdi, Adnan" userId="503e002c-9b3b-4180-87fb-acabeb2b158a" providerId="ADAL" clId="{5C2CD6D4-C7A9-4CEF-AA9C-BC2977F70622}" dt="2024-02-20T12:53:01.237" v="18811" actId="947"/>
          <ac:spMkLst>
            <pc:docMk/>
            <pc:sldMk cId="1969782702" sldId="2147483567"/>
            <ac:spMk id="141" creationId="{94135BD0-1BF1-9C8D-515F-35C466314C5A}"/>
          </ac:spMkLst>
        </pc:spChg>
        <pc:spChg chg="mod">
          <ac:chgData name="Abdi, Adnan" userId="503e002c-9b3b-4180-87fb-acabeb2b158a" providerId="ADAL" clId="{5C2CD6D4-C7A9-4CEF-AA9C-BC2977F70622}" dt="2024-02-20T12:53:01.237" v="18813" actId="947"/>
          <ac:spMkLst>
            <pc:docMk/>
            <pc:sldMk cId="1969782702" sldId="2147483567"/>
            <ac:spMk id="142" creationId="{5450BC10-0C3F-6187-24D3-AFD54288BA7B}"/>
          </ac:spMkLst>
        </pc:spChg>
        <pc:spChg chg="mod">
          <ac:chgData name="Abdi, Adnan" userId="503e002c-9b3b-4180-87fb-acabeb2b158a" providerId="ADAL" clId="{5C2CD6D4-C7A9-4CEF-AA9C-BC2977F70622}" dt="2024-02-20T12:53:01.252" v="18815" actId="947"/>
          <ac:spMkLst>
            <pc:docMk/>
            <pc:sldMk cId="1969782702" sldId="2147483567"/>
            <ac:spMk id="143" creationId="{A48868C2-713E-A307-9DC9-E7632D167F69}"/>
          </ac:spMkLst>
        </pc:spChg>
        <pc:spChg chg="mod">
          <ac:chgData name="Abdi, Adnan" userId="503e002c-9b3b-4180-87fb-acabeb2b158a" providerId="ADAL" clId="{5C2CD6D4-C7A9-4CEF-AA9C-BC2977F70622}" dt="2024-02-20T12:53:01.252" v="18817" actId="947"/>
          <ac:spMkLst>
            <pc:docMk/>
            <pc:sldMk cId="1969782702" sldId="2147483567"/>
            <ac:spMk id="144" creationId="{7C4B8ED1-9734-1352-C830-48F496CD17B6}"/>
          </ac:spMkLst>
        </pc:spChg>
        <pc:spChg chg="mod">
          <ac:chgData name="Abdi, Adnan" userId="503e002c-9b3b-4180-87fb-acabeb2b158a" providerId="ADAL" clId="{5C2CD6D4-C7A9-4CEF-AA9C-BC2977F70622}" dt="2024-02-20T12:53:01.252" v="18819" actId="947"/>
          <ac:spMkLst>
            <pc:docMk/>
            <pc:sldMk cId="1969782702" sldId="2147483567"/>
            <ac:spMk id="145" creationId="{697450C7-831C-C0B5-0546-6DE84B737B08}"/>
          </ac:spMkLst>
        </pc:spChg>
        <pc:spChg chg="mod">
          <ac:chgData name="Abdi, Adnan" userId="503e002c-9b3b-4180-87fb-acabeb2b158a" providerId="ADAL" clId="{5C2CD6D4-C7A9-4CEF-AA9C-BC2977F70622}" dt="2024-02-20T12:53:01.252" v="18821" actId="947"/>
          <ac:spMkLst>
            <pc:docMk/>
            <pc:sldMk cId="1969782702" sldId="2147483567"/>
            <ac:spMk id="146" creationId="{F94C4AE3-F040-FF47-718F-31E4741DCDBF}"/>
          </ac:spMkLst>
        </pc:spChg>
        <pc:spChg chg="mod">
          <ac:chgData name="Abdi, Adnan" userId="503e002c-9b3b-4180-87fb-acabeb2b158a" providerId="ADAL" clId="{5C2CD6D4-C7A9-4CEF-AA9C-BC2977F70622}" dt="2024-02-20T12:53:01.252" v="18823" actId="947"/>
          <ac:spMkLst>
            <pc:docMk/>
            <pc:sldMk cId="1969782702" sldId="2147483567"/>
            <ac:spMk id="147" creationId="{A29A0C86-FEAB-147F-8FD6-9A484FEB7ED9}"/>
          </ac:spMkLst>
        </pc:spChg>
        <pc:spChg chg="mod">
          <ac:chgData name="Abdi, Adnan" userId="503e002c-9b3b-4180-87fb-acabeb2b158a" providerId="ADAL" clId="{5C2CD6D4-C7A9-4CEF-AA9C-BC2977F70622}" dt="2024-02-20T12:53:01.252" v="18825" actId="947"/>
          <ac:spMkLst>
            <pc:docMk/>
            <pc:sldMk cId="1969782702" sldId="2147483567"/>
            <ac:spMk id="148" creationId="{939ACCD7-4B9D-9CF2-2D36-B67BA3FD65B5}"/>
          </ac:spMkLst>
        </pc:spChg>
        <pc:spChg chg="mod">
          <ac:chgData name="Abdi, Adnan" userId="503e002c-9b3b-4180-87fb-acabeb2b158a" providerId="ADAL" clId="{5C2CD6D4-C7A9-4CEF-AA9C-BC2977F70622}" dt="2024-02-20T12:53:01.252" v="18827" actId="947"/>
          <ac:spMkLst>
            <pc:docMk/>
            <pc:sldMk cId="1969782702" sldId="2147483567"/>
            <ac:spMk id="149" creationId="{B33FE652-814C-50E4-700E-F1F444BE4145}"/>
          </ac:spMkLst>
        </pc:spChg>
        <pc:spChg chg="mod">
          <ac:chgData name="Abdi, Adnan" userId="503e002c-9b3b-4180-87fb-acabeb2b158a" providerId="ADAL" clId="{5C2CD6D4-C7A9-4CEF-AA9C-BC2977F70622}" dt="2024-02-20T12:53:01.270" v="18829" actId="947"/>
          <ac:spMkLst>
            <pc:docMk/>
            <pc:sldMk cId="1969782702" sldId="2147483567"/>
            <ac:spMk id="150" creationId="{C6908206-5590-3495-8FC6-7A4CA616931D}"/>
          </ac:spMkLst>
        </pc:spChg>
        <pc:spChg chg="mod">
          <ac:chgData name="Abdi, Adnan" userId="503e002c-9b3b-4180-87fb-acabeb2b158a" providerId="ADAL" clId="{5C2CD6D4-C7A9-4CEF-AA9C-BC2977F70622}" dt="2024-02-20T12:53:01.273" v="18831" actId="947"/>
          <ac:spMkLst>
            <pc:docMk/>
            <pc:sldMk cId="1969782702" sldId="2147483567"/>
            <ac:spMk id="151" creationId="{915A31FE-B912-DA41-7CF9-68A456CA86AE}"/>
          </ac:spMkLst>
        </pc:spChg>
        <pc:graphicFrameChg chg="mod modGraphic">
          <ac:chgData name="Abdi, Adnan" userId="503e002c-9b3b-4180-87fb-acabeb2b158a" providerId="ADAL" clId="{5C2CD6D4-C7A9-4CEF-AA9C-BC2977F70622}" dt="2024-02-20T14:43:25.932" v="29813" actId="2711"/>
          <ac:graphicFrameMkLst>
            <pc:docMk/>
            <pc:sldMk cId="1969782702" sldId="2147483567"/>
            <ac:graphicFrameMk id="6" creationId="{CB4BEEFC-C3F5-94B5-DBB8-EC3315D13178}"/>
          </ac:graphicFrameMkLst>
        </pc:graphicFrameChg>
        <pc:graphicFrameChg chg="mod">
          <ac:chgData name="Abdi, Adnan" userId="503e002c-9b3b-4180-87fb-acabeb2b158a" providerId="ADAL" clId="{5C2CD6D4-C7A9-4CEF-AA9C-BC2977F70622}" dt="2024-02-20T12:53:06.788" v="21103" actId="1076"/>
          <ac:graphicFrameMkLst>
            <pc:docMk/>
            <pc:sldMk cId="1969782702" sldId="2147483567"/>
            <ac:graphicFrameMk id="20" creationId="{437572E1-602E-4976-FD0B-6774FEAACF7E}"/>
          </ac:graphicFrameMkLst>
        </pc:graphicFrameChg>
      </pc:sldChg>
      <pc:sldChg chg="modSp add mod ord modNotes">
        <pc:chgData name="Abdi, Adnan" userId="503e002c-9b3b-4180-87fb-acabeb2b158a" providerId="ADAL" clId="{5C2CD6D4-C7A9-4CEF-AA9C-BC2977F70622}" dt="2024-02-20T19:30:49.048" v="31061"/>
        <pc:sldMkLst>
          <pc:docMk/>
          <pc:sldMk cId="3972091571" sldId="2147483583"/>
        </pc:sldMkLst>
        <pc:spChg chg="mod">
          <ac:chgData name="Abdi, Adnan" userId="503e002c-9b3b-4180-87fb-acabeb2b158a" providerId="ADAL" clId="{5C2CD6D4-C7A9-4CEF-AA9C-BC2977F70622}" dt="2024-02-20T12:53:00.632" v="18393" actId="947"/>
          <ac:spMkLst>
            <pc:docMk/>
            <pc:sldMk cId="3972091571" sldId="2147483583"/>
            <ac:spMk id="2" creationId="{DEE6BA1A-552D-6223-50A7-FFD0AC51754C}"/>
          </ac:spMkLst>
        </pc:spChg>
        <pc:spChg chg="mod">
          <ac:chgData name="Abdi, Adnan" userId="503e002c-9b3b-4180-87fb-acabeb2b158a" providerId="ADAL" clId="{5C2CD6D4-C7A9-4CEF-AA9C-BC2977F70622}" dt="2024-02-20T12:53:00.632" v="18385" actId="947"/>
          <ac:spMkLst>
            <pc:docMk/>
            <pc:sldMk cId="3972091571" sldId="2147483583"/>
            <ac:spMk id="1046" creationId="{95EC80B0-0119-D96F-6D7A-8B1826698C24}"/>
          </ac:spMkLst>
        </pc:spChg>
        <pc:spChg chg="mod">
          <ac:chgData name="Abdi, Adnan" userId="503e002c-9b3b-4180-87fb-acabeb2b158a" providerId="ADAL" clId="{5C2CD6D4-C7A9-4CEF-AA9C-BC2977F70622}" dt="2024-02-20T12:53:00.632" v="18391" actId="947"/>
          <ac:spMkLst>
            <pc:docMk/>
            <pc:sldMk cId="3972091571" sldId="2147483583"/>
            <ac:spMk id="1047" creationId="{64860582-F0EB-EAF9-50EF-4FEFF21A867C}"/>
          </ac:spMkLst>
        </pc:spChg>
        <pc:spChg chg="mod">
          <ac:chgData name="Abdi, Adnan" userId="503e002c-9b3b-4180-87fb-acabeb2b158a" providerId="ADAL" clId="{5C2CD6D4-C7A9-4CEF-AA9C-BC2977F70622}" dt="2024-02-20T12:53:00.632" v="18383" actId="947"/>
          <ac:spMkLst>
            <pc:docMk/>
            <pc:sldMk cId="3972091571" sldId="2147483583"/>
            <ac:spMk id="1048" creationId="{1EACD212-7A49-4351-A387-F8448E87B6BF}"/>
          </ac:spMkLst>
        </pc:spChg>
        <pc:spChg chg="mod">
          <ac:chgData name="Abdi, Adnan" userId="503e002c-9b3b-4180-87fb-acabeb2b158a" providerId="ADAL" clId="{5C2CD6D4-C7A9-4CEF-AA9C-BC2977F70622}" dt="2024-02-20T12:53:00.632" v="18381" actId="947"/>
          <ac:spMkLst>
            <pc:docMk/>
            <pc:sldMk cId="3972091571" sldId="2147483583"/>
            <ac:spMk id="1049" creationId="{62A180B4-165D-B873-F3FE-450BFD9BE560}"/>
          </ac:spMkLst>
        </pc:spChg>
        <pc:spChg chg="mod">
          <ac:chgData name="Abdi, Adnan" userId="503e002c-9b3b-4180-87fb-acabeb2b158a" providerId="ADAL" clId="{5C2CD6D4-C7A9-4CEF-AA9C-BC2977F70622}" dt="2024-02-20T12:53:00.632" v="18379" actId="947"/>
          <ac:spMkLst>
            <pc:docMk/>
            <pc:sldMk cId="3972091571" sldId="2147483583"/>
            <ac:spMk id="1050" creationId="{050E6028-FD82-12B2-8A6E-D086C1698279}"/>
          </ac:spMkLst>
        </pc:spChg>
        <pc:spChg chg="mod">
          <ac:chgData name="Abdi, Adnan" userId="503e002c-9b3b-4180-87fb-acabeb2b158a" providerId="ADAL" clId="{5C2CD6D4-C7A9-4CEF-AA9C-BC2977F70622}" dt="2024-02-20T12:53:00.616" v="18377" actId="947"/>
          <ac:spMkLst>
            <pc:docMk/>
            <pc:sldMk cId="3972091571" sldId="2147483583"/>
            <ac:spMk id="1051" creationId="{B1E64E2B-0000-25E8-B860-849998761CB9}"/>
          </ac:spMkLst>
        </pc:spChg>
        <pc:spChg chg="mod">
          <ac:chgData name="Abdi, Adnan" userId="503e002c-9b3b-4180-87fb-acabeb2b158a" providerId="ADAL" clId="{5C2CD6D4-C7A9-4CEF-AA9C-BC2977F70622}" dt="2024-02-20T12:53:00.616" v="18375" actId="947"/>
          <ac:spMkLst>
            <pc:docMk/>
            <pc:sldMk cId="3972091571" sldId="2147483583"/>
            <ac:spMk id="1052" creationId="{20283957-8864-44F2-827D-EA3192B284AA}"/>
          </ac:spMkLst>
        </pc:spChg>
        <pc:spChg chg="mod">
          <ac:chgData name="Abdi, Adnan" userId="503e002c-9b3b-4180-87fb-acabeb2b158a" providerId="ADAL" clId="{5C2CD6D4-C7A9-4CEF-AA9C-BC2977F70622}" dt="2024-02-20T12:53:00.616" v="18373" actId="947"/>
          <ac:spMkLst>
            <pc:docMk/>
            <pc:sldMk cId="3972091571" sldId="2147483583"/>
            <ac:spMk id="1053" creationId="{EF02A040-2F37-59A7-EB94-FECD5C6C20B5}"/>
          </ac:spMkLst>
        </pc:spChg>
        <pc:spChg chg="mod">
          <ac:chgData name="Abdi, Adnan" userId="503e002c-9b3b-4180-87fb-acabeb2b158a" providerId="ADAL" clId="{5C2CD6D4-C7A9-4CEF-AA9C-BC2977F70622}" dt="2024-02-20T12:53:00.616" v="18371" actId="947"/>
          <ac:spMkLst>
            <pc:docMk/>
            <pc:sldMk cId="3972091571" sldId="2147483583"/>
            <ac:spMk id="1054" creationId="{F0DC5801-724E-DACE-2084-3E087CC6C532}"/>
          </ac:spMkLst>
        </pc:spChg>
        <pc:spChg chg="mod">
          <ac:chgData name="Abdi, Adnan" userId="503e002c-9b3b-4180-87fb-acabeb2b158a" providerId="ADAL" clId="{5C2CD6D4-C7A9-4CEF-AA9C-BC2977F70622}" dt="2024-02-20T12:53:00.632" v="18389" actId="947"/>
          <ac:spMkLst>
            <pc:docMk/>
            <pc:sldMk cId="3972091571" sldId="2147483583"/>
            <ac:spMk id="1056" creationId="{97D30ED3-E1E4-4794-8385-56977E06C815}"/>
          </ac:spMkLst>
        </pc:spChg>
        <pc:spChg chg="mod">
          <ac:chgData name="Abdi, Adnan" userId="503e002c-9b3b-4180-87fb-acabeb2b158a" providerId="ADAL" clId="{5C2CD6D4-C7A9-4CEF-AA9C-BC2977F70622}" dt="2024-02-20T12:53:00.632" v="18387" actId="947"/>
          <ac:spMkLst>
            <pc:docMk/>
            <pc:sldMk cId="3972091571" sldId="2147483583"/>
            <ac:spMk id="1058" creationId="{BB8C2706-81ED-FCA0-4647-29F876663B79}"/>
          </ac:spMkLst>
        </pc:spChg>
        <pc:spChg chg="mod">
          <ac:chgData name="Abdi, Adnan" userId="503e002c-9b3b-4180-87fb-acabeb2b158a" providerId="ADAL" clId="{5C2CD6D4-C7A9-4CEF-AA9C-BC2977F70622}" dt="2024-02-20T12:53:00.616" v="18369" actId="947"/>
          <ac:spMkLst>
            <pc:docMk/>
            <pc:sldMk cId="3972091571" sldId="2147483583"/>
            <ac:spMk id="1059" creationId="{53CD73BB-A3D4-0BFF-450C-F0AC8C25E795}"/>
          </ac:spMkLst>
        </pc:spChg>
        <pc:spChg chg="mod">
          <ac:chgData name="Abdi, Adnan" userId="503e002c-9b3b-4180-87fb-acabeb2b158a" providerId="ADAL" clId="{5C2CD6D4-C7A9-4CEF-AA9C-BC2977F70622}" dt="2024-02-20T12:53:00.600" v="18367" actId="947"/>
          <ac:spMkLst>
            <pc:docMk/>
            <pc:sldMk cId="3972091571" sldId="2147483583"/>
            <ac:spMk id="1060" creationId="{EF868E28-77BE-FC6E-77E7-1EBB91226D12}"/>
          </ac:spMkLst>
        </pc:spChg>
        <pc:spChg chg="mod">
          <ac:chgData name="Abdi, Adnan" userId="503e002c-9b3b-4180-87fb-acabeb2b158a" providerId="ADAL" clId="{5C2CD6D4-C7A9-4CEF-AA9C-BC2977F70622}" dt="2024-02-20T12:53:00.600" v="18365" actId="947"/>
          <ac:spMkLst>
            <pc:docMk/>
            <pc:sldMk cId="3972091571" sldId="2147483583"/>
            <ac:spMk id="1061" creationId="{75CBF105-459A-3D3C-E7BB-26636D75AC41}"/>
          </ac:spMkLst>
        </pc:spChg>
        <pc:spChg chg="mod">
          <ac:chgData name="Abdi, Adnan" userId="503e002c-9b3b-4180-87fb-acabeb2b158a" providerId="ADAL" clId="{5C2CD6D4-C7A9-4CEF-AA9C-BC2977F70622}" dt="2024-02-20T12:53:00.600" v="18363" actId="947"/>
          <ac:spMkLst>
            <pc:docMk/>
            <pc:sldMk cId="3972091571" sldId="2147483583"/>
            <ac:spMk id="1062" creationId="{67BA26D1-7FA8-3D40-4FD7-9B7336981D9C}"/>
          </ac:spMkLst>
        </pc:spChg>
        <pc:spChg chg="mod">
          <ac:chgData name="Abdi, Adnan" userId="503e002c-9b3b-4180-87fb-acabeb2b158a" providerId="ADAL" clId="{5C2CD6D4-C7A9-4CEF-AA9C-BC2977F70622}" dt="2024-02-20T12:53:00.549" v="18295" actId="947"/>
          <ac:spMkLst>
            <pc:docMk/>
            <pc:sldMk cId="3972091571" sldId="2147483583"/>
            <ac:spMk id="1081" creationId="{8E794C2B-B012-DD2A-B903-EF00BED965F9}"/>
          </ac:spMkLst>
        </pc:spChg>
        <pc:spChg chg="mod">
          <ac:chgData name="Abdi, Adnan" userId="503e002c-9b3b-4180-87fb-acabeb2b158a" providerId="ADAL" clId="{5C2CD6D4-C7A9-4CEF-AA9C-BC2977F70622}" dt="2024-02-20T12:53:00.534" v="18293" actId="947"/>
          <ac:spMkLst>
            <pc:docMk/>
            <pc:sldMk cId="3972091571" sldId="2147483583"/>
            <ac:spMk id="1082" creationId="{BF0811C4-744F-E54D-527F-3A9CEFA97B45}"/>
          </ac:spMkLst>
        </pc:spChg>
        <pc:spChg chg="mod">
          <ac:chgData name="Abdi, Adnan" userId="503e002c-9b3b-4180-87fb-acabeb2b158a" providerId="ADAL" clId="{5C2CD6D4-C7A9-4CEF-AA9C-BC2977F70622}" dt="2024-02-20T12:53:00.534" v="18291" actId="947"/>
          <ac:spMkLst>
            <pc:docMk/>
            <pc:sldMk cId="3972091571" sldId="2147483583"/>
            <ac:spMk id="1085" creationId="{9311149E-D0BC-E910-E62F-1FA0C942513B}"/>
          </ac:spMkLst>
        </pc:spChg>
        <pc:spChg chg="mod">
          <ac:chgData name="Abdi, Adnan" userId="503e002c-9b3b-4180-87fb-acabeb2b158a" providerId="ADAL" clId="{5C2CD6D4-C7A9-4CEF-AA9C-BC2977F70622}" dt="2024-02-20T12:53:00.534" v="18289" actId="947"/>
          <ac:spMkLst>
            <pc:docMk/>
            <pc:sldMk cId="3972091571" sldId="2147483583"/>
            <ac:spMk id="1086" creationId="{E61DB754-CBA1-A2D4-4ABD-1CFDAB3A50B0}"/>
          </ac:spMkLst>
        </pc:spChg>
        <pc:spChg chg="mod">
          <ac:chgData name="Abdi, Adnan" userId="503e002c-9b3b-4180-87fb-acabeb2b158a" providerId="ADAL" clId="{5C2CD6D4-C7A9-4CEF-AA9C-BC2977F70622}" dt="2024-02-20T12:53:00.549" v="18303" actId="947"/>
          <ac:spMkLst>
            <pc:docMk/>
            <pc:sldMk cId="3972091571" sldId="2147483583"/>
            <ac:spMk id="1088" creationId="{9C90A05C-2B67-99E9-95BD-D5B23BF160E8}"/>
          </ac:spMkLst>
        </pc:spChg>
        <pc:spChg chg="mod">
          <ac:chgData name="Abdi, Adnan" userId="503e002c-9b3b-4180-87fb-acabeb2b158a" providerId="ADAL" clId="{5C2CD6D4-C7A9-4CEF-AA9C-BC2977F70622}" dt="2024-02-20T12:53:00.549" v="18301" actId="947"/>
          <ac:spMkLst>
            <pc:docMk/>
            <pc:sldMk cId="3972091571" sldId="2147483583"/>
            <ac:spMk id="1089" creationId="{887C5A12-FB73-4771-47C6-7E3571838D11}"/>
          </ac:spMkLst>
        </pc:spChg>
        <pc:spChg chg="mod">
          <ac:chgData name="Abdi, Adnan" userId="503e002c-9b3b-4180-87fb-acabeb2b158a" providerId="ADAL" clId="{5C2CD6D4-C7A9-4CEF-AA9C-BC2977F70622}" dt="2024-02-20T12:53:00.549" v="18299" actId="947"/>
          <ac:spMkLst>
            <pc:docMk/>
            <pc:sldMk cId="3972091571" sldId="2147483583"/>
            <ac:spMk id="1092" creationId="{68486795-6FC0-E4C7-0179-31ADD74BB0E1}"/>
          </ac:spMkLst>
        </pc:spChg>
        <pc:spChg chg="mod">
          <ac:chgData name="Abdi, Adnan" userId="503e002c-9b3b-4180-87fb-acabeb2b158a" providerId="ADAL" clId="{5C2CD6D4-C7A9-4CEF-AA9C-BC2977F70622}" dt="2024-02-20T12:53:00.549" v="18297" actId="947"/>
          <ac:spMkLst>
            <pc:docMk/>
            <pc:sldMk cId="3972091571" sldId="2147483583"/>
            <ac:spMk id="1093" creationId="{40385FF7-14FD-4D83-00B3-0E666AE4F9C4}"/>
          </ac:spMkLst>
        </pc:spChg>
        <pc:spChg chg="mod">
          <ac:chgData name="Abdi, Adnan" userId="503e002c-9b3b-4180-87fb-acabeb2b158a" providerId="ADAL" clId="{5C2CD6D4-C7A9-4CEF-AA9C-BC2977F70622}" dt="2024-02-20T12:53:00.549" v="18311" actId="947"/>
          <ac:spMkLst>
            <pc:docMk/>
            <pc:sldMk cId="3972091571" sldId="2147483583"/>
            <ac:spMk id="1095" creationId="{6756D791-B191-5E07-0B1B-13FB8F3D4BB3}"/>
          </ac:spMkLst>
        </pc:spChg>
        <pc:spChg chg="mod">
          <ac:chgData name="Abdi, Adnan" userId="503e002c-9b3b-4180-87fb-acabeb2b158a" providerId="ADAL" clId="{5C2CD6D4-C7A9-4CEF-AA9C-BC2977F70622}" dt="2024-02-20T12:53:00.549" v="18309" actId="947"/>
          <ac:spMkLst>
            <pc:docMk/>
            <pc:sldMk cId="3972091571" sldId="2147483583"/>
            <ac:spMk id="1096" creationId="{929A2300-06BE-4075-4177-645EDD0438BA}"/>
          </ac:spMkLst>
        </pc:spChg>
        <pc:spChg chg="mod">
          <ac:chgData name="Abdi, Adnan" userId="503e002c-9b3b-4180-87fb-acabeb2b158a" providerId="ADAL" clId="{5C2CD6D4-C7A9-4CEF-AA9C-BC2977F70622}" dt="2024-02-20T12:53:00.549" v="18307" actId="947"/>
          <ac:spMkLst>
            <pc:docMk/>
            <pc:sldMk cId="3972091571" sldId="2147483583"/>
            <ac:spMk id="1099" creationId="{E3BC718A-76DB-37C1-2065-4C5AF89D66BA}"/>
          </ac:spMkLst>
        </pc:spChg>
        <pc:spChg chg="mod">
          <ac:chgData name="Abdi, Adnan" userId="503e002c-9b3b-4180-87fb-acabeb2b158a" providerId="ADAL" clId="{5C2CD6D4-C7A9-4CEF-AA9C-BC2977F70622}" dt="2024-02-20T12:53:00.549" v="18305" actId="947"/>
          <ac:spMkLst>
            <pc:docMk/>
            <pc:sldMk cId="3972091571" sldId="2147483583"/>
            <ac:spMk id="1100" creationId="{929A5BAB-D126-1197-0026-C9C27188CA07}"/>
          </ac:spMkLst>
        </pc:spChg>
        <pc:spChg chg="mod">
          <ac:chgData name="Abdi, Adnan" userId="503e002c-9b3b-4180-87fb-acabeb2b158a" providerId="ADAL" clId="{5C2CD6D4-C7A9-4CEF-AA9C-BC2977F70622}" dt="2024-02-20T12:53:00.570" v="18319" actId="947"/>
          <ac:spMkLst>
            <pc:docMk/>
            <pc:sldMk cId="3972091571" sldId="2147483583"/>
            <ac:spMk id="1102" creationId="{FB08F387-ECBA-02E6-1874-49410A901876}"/>
          </ac:spMkLst>
        </pc:spChg>
        <pc:spChg chg="mod">
          <ac:chgData name="Abdi, Adnan" userId="503e002c-9b3b-4180-87fb-acabeb2b158a" providerId="ADAL" clId="{5C2CD6D4-C7A9-4CEF-AA9C-BC2977F70622}" dt="2024-02-20T12:53:00.568" v="18317" actId="947"/>
          <ac:spMkLst>
            <pc:docMk/>
            <pc:sldMk cId="3972091571" sldId="2147483583"/>
            <ac:spMk id="1103" creationId="{9E64B700-8E14-2FF3-DEB5-CCDE7911DCAF}"/>
          </ac:spMkLst>
        </pc:spChg>
        <pc:spChg chg="mod">
          <ac:chgData name="Abdi, Adnan" userId="503e002c-9b3b-4180-87fb-acabeb2b158a" providerId="ADAL" clId="{5C2CD6D4-C7A9-4CEF-AA9C-BC2977F70622}" dt="2024-02-20T12:53:00.566" v="18315" actId="947"/>
          <ac:spMkLst>
            <pc:docMk/>
            <pc:sldMk cId="3972091571" sldId="2147483583"/>
            <ac:spMk id="1106" creationId="{B06C843E-B491-E3E5-E70C-7553EA632927}"/>
          </ac:spMkLst>
        </pc:spChg>
        <pc:spChg chg="mod">
          <ac:chgData name="Abdi, Adnan" userId="503e002c-9b3b-4180-87fb-acabeb2b158a" providerId="ADAL" clId="{5C2CD6D4-C7A9-4CEF-AA9C-BC2977F70622}" dt="2024-02-20T12:53:00.549" v="18313" actId="947"/>
          <ac:spMkLst>
            <pc:docMk/>
            <pc:sldMk cId="3972091571" sldId="2147483583"/>
            <ac:spMk id="1107" creationId="{C9F2F9DD-0B5E-9C37-B9E8-D698F958F2BC}"/>
          </ac:spMkLst>
        </pc:spChg>
        <pc:spChg chg="mod">
          <ac:chgData name="Abdi, Adnan" userId="503e002c-9b3b-4180-87fb-acabeb2b158a" providerId="ADAL" clId="{5C2CD6D4-C7A9-4CEF-AA9C-BC2977F70622}" dt="2024-02-20T12:53:00.573" v="18323" actId="947"/>
          <ac:spMkLst>
            <pc:docMk/>
            <pc:sldMk cId="3972091571" sldId="2147483583"/>
            <ac:spMk id="1110" creationId="{D2B03B24-6585-56EC-F2AC-3436C86F2F96}"/>
          </ac:spMkLst>
        </pc:spChg>
        <pc:spChg chg="mod">
          <ac:chgData name="Abdi, Adnan" userId="503e002c-9b3b-4180-87fb-acabeb2b158a" providerId="ADAL" clId="{5C2CD6D4-C7A9-4CEF-AA9C-BC2977F70622}" dt="2024-02-20T12:53:00.572" v="18321" actId="947"/>
          <ac:spMkLst>
            <pc:docMk/>
            <pc:sldMk cId="3972091571" sldId="2147483583"/>
            <ac:spMk id="1111" creationId="{58981D1C-3AED-FC3C-7EE1-D66F5105CA58}"/>
          </ac:spMkLst>
        </pc:spChg>
        <pc:spChg chg="mod">
          <ac:chgData name="Abdi, Adnan" userId="503e002c-9b3b-4180-87fb-acabeb2b158a" providerId="ADAL" clId="{5C2CD6D4-C7A9-4CEF-AA9C-BC2977F70622}" dt="2024-02-20T12:53:00.575" v="18325" actId="947"/>
          <ac:spMkLst>
            <pc:docMk/>
            <pc:sldMk cId="3972091571" sldId="2147483583"/>
            <ac:spMk id="1113" creationId="{A5C06FB0-23D1-4108-E564-E7239F8A6604}"/>
          </ac:spMkLst>
        </pc:spChg>
        <pc:spChg chg="mod">
          <ac:chgData name="Abdi, Adnan" userId="503e002c-9b3b-4180-87fb-acabeb2b158a" providerId="ADAL" clId="{5C2CD6D4-C7A9-4CEF-AA9C-BC2977F70622}" dt="2024-02-20T12:53:00.576" v="18327" actId="947"/>
          <ac:spMkLst>
            <pc:docMk/>
            <pc:sldMk cId="3972091571" sldId="2147483583"/>
            <ac:spMk id="1117" creationId="{20548002-1C14-D60C-DBF6-C6034AC06042}"/>
          </ac:spMkLst>
        </pc:spChg>
        <pc:spChg chg="mod">
          <ac:chgData name="Abdi, Adnan" userId="503e002c-9b3b-4180-87fb-acabeb2b158a" providerId="ADAL" clId="{5C2CD6D4-C7A9-4CEF-AA9C-BC2977F70622}" dt="2024-02-20T12:53:00.579" v="18331" actId="947"/>
          <ac:spMkLst>
            <pc:docMk/>
            <pc:sldMk cId="3972091571" sldId="2147483583"/>
            <ac:spMk id="1124" creationId="{90BFF176-EE49-749C-9A59-6B6813974428}"/>
          </ac:spMkLst>
        </pc:spChg>
        <pc:spChg chg="mod">
          <ac:chgData name="Abdi, Adnan" userId="503e002c-9b3b-4180-87fb-acabeb2b158a" providerId="ADAL" clId="{5C2CD6D4-C7A9-4CEF-AA9C-BC2977F70622}" dt="2024-02-20T12:53:00.578" v="18329" actId="947"/>
          <ac:spMkLst>
            <pc:docMk/>
            <pc:sldMk cId="3972091571" sldId="2147483583"/>
            <ac:spMk id="1125" creationId="{7CF2222A-5B3E-9A2F-ED9E-194618568DF3}"/>
          </ac:spMkLst>
        </pc:spChg>
        <pc:spChg chg="mod">
          <ac:chgData name="Abdi, Adnan" userId="503e002c-9b3b-4180-87fb-acabeb2b158a" providerId="ADAL" clId="{5C2CD6D4-C7A9-4CEF-AA9C-BC2977F70622}" dt="2024-02-20T12:53:00.589" v="18339" actId="947"/>
          <ac:spMkLst>
            <pc:docMk/>
            <pc:sldMk cId="3972091571" sldId="2147483583"/>
            <ac:spMk id="1126" creationId="{8D824B30-6278-9C02-6EF1-B07DCA82D9D4}"/>
          </ac:spMkLst>
        </pc:spChg>
        <pc:spChg chg="mod">
          <ac:chgData name="Abdi, Adnan" userId="503e002c-9b3b-4180-87fb-acabeb2b158a" providerId="ADAL" clId="{5C2CD6D4-C7A9-4CEF-AA9C-BC2977F70622}" dt="2024-02-20T12:53:00.587" v="18337" actId="947"/>
          <ac:spMkLst>
            <pc:docMk/>
            <pc:sldMk cId="3972091571" sldId="2147483583"/>
            <ac:spMk id="1127" creationId="{6FA3A20C-CE17-5A6D-8E75-A269CA135233}"/>
          </ac:spMkLst>
        </pc:spChg>
        <pc:spChg chg="mod">
          <ac:chgData name="Abdi, Adnan" userId="503e002c-9b3b-4180-87fb-acabeb2b158a" providerId="ADAL" clId="{5C2CD6D4-C7A9-4CEF-AA9C-BC2977F70622}" dt="2024-02-20T12:53:00.585" v="18335" actId="947"/>
          <ac:spMkLst>
            <pc:docMk/>
            <pc:sldMk cId="3972091571" sldId="2147483583"/>
            <ac:spMk id="1129" creationId="{4C893BF2-799C-883F-84E9-FDC01443D13E}"/>
          </ac:spMkLst>
        </pc:spChg>
        <pc:spChg chg="mod">
          <ac:chgData name="Abdi, Adnan" userId="503e002c-9b3b-4180-87fb-acabeb2b158a" providerId="ADAL" clId="{5C2CD6D4-C7A9-4CEF-AA9C-BC2977F70622}" dt="2024-02-20T12:53:00.582" v="18333" actId="947"/>
          <ac:spMkLst>
            <pc:docMk/>
            <pc:sldMk cId="3972091571" sldId="2147483583"/>
            <ac:spMk id="1130" creationId="{A8885E4B-A4F8-B425-BCC0-AB0959F99F70}"/>
          </ac:spMkLst>
        </pc:spChg>
        <pc:spChg chg="mod">
          <ac:chgData name="Abdi, Adnan" userId="503e002c-9b3b-4180-87fb-acabeb2b158a" providerId="ADAL" clId="{5C2CD6D4-C7A9-4CEF-AA9C-BC2977F70622}" dt="2024-02-20T12:53:00.594" v="18345" actId="947"/>
          <ac:spMkLst>
            <pc:docMk/>
            <pc:sldMk cId="3972091571" sldId="2147483583"/>
            <ac:spMk id="1132" creationId="{67B8E35C-74BA-7317-F9DC-CB0D548C69EF}"/>
          </ac:spMkLst>
        </pc:spChg>
        <pc:spChg chg="mod">
          <ac:chgData name="Abdi, Adnan" userId="503e002c-9b3b-4180-87fb-acabeb2b158a" providerId="ADAL" clId="{5C2CD6D4-C7A9-4CEF-AA9C-BC2977F70622}" dt="2024-02-20T12:53:00.592" v="18343" actId="947"/>
          <ac:spMkLst>
            <pc:docMk/>
            <pc:sldMk cId="3972091571" sldId="2147483583"/>
            <ac:spMk id="1134" creationId="{8B9050B9-9EC2-D169-6B85-33C04A2700EE}"/>
          </ac:spMkLst>
        </pc:spChg>
        <pc:spChg chg="mod">
          <ac:chgData name="Abdi, Adnan" userId="503e002c-9b3b-4180-87fb-acabeb2b158a" providerId="ADAL" clId="{5C2CD6D4-C7A9-4CEF-AA9C-BC2977F70622}" dt="2024-02-20T12:53:00.591" v="18341" actId="947"/>
          <ac:spMkLst>
            <pc:docMk/>
            <pc:sldMk cId="3972091571" sldId="2147483583"/>
            <ac:spMk id="1135" creationId="{E745E56F-772B-6AE0-04EC-AC0CF5A4C990}"/>
          </ac:spMkLst>
        </pc:spChg>
        <pc:spChg chg="mod">
          <ac:chgData name="Abdi, Adnan" userId="503e002c-9b3b-4180-87fb-acabeb2b158a" providerId="ADAL" clId="{5C2CD6D4-C7A9-4CEF-AA9C-BC2977F70622}" dt="2024-02-20T12:53:00.600" v="18353" actId="947"/>
          <ac:spMkLst>
            <pc:docMk/>
            <pc:sldMk cId="3972091571" sldId="2147483583"/>
            <ac:spMk id="1136" creationId="{17496C60-B8F1-829D-5EEE-B13A63521747}"/>
          </ac:spMkLst>
        </pc:spChg>
        <pc:spChg chg="mod">
          <ac:chgData name="Abdi, Adnan" userId="503e002c-9b3b-4180-87fb-acabeb2b158a" providerId="ADAL" clId="{5C2CD6D4-C7A9-4CEF-AA9C-BC2977F70622}" dt="2024-02-20T12:53:00.599" v="18351" actId="947"/>
          <ac:spMkLst>
            <pc:docMk/>
            <pc:sldMk cId="3972091571" sldId="2147483583"/>
            <ac:spMk id="1137" creationId="{7E953F40-E0F2-AF77-0E6B-0D0CBFCFBA41}"/>
          </ac:spMkLst>
        </pc:spChg>
        <pc:spChg chg="mod">
          <ac:chgData name="Abdi, Adnan" userId="503e002c-9b3b-4180-87fb-acabeb2b158a" providerId="ADAL" clId="{5C2CD6D4-C7A9-4CEF-AA9C-BC2977F70622}" dt="2024-02-20T12:53:00.598" v="18349" actId="947"/>
          <ac:spMkLst>
            <pc:docMk/>
            <pc:sldMk cId="3972091571" sldId="2147483583"/>
            <ac:spMk id="1139" creationId="{1212F0C1-C3C2-6052-C55D-212B8E3E3F04}"/>
          </ac:spMkLst>
        </pc:spChg>
        <pc:spChg chg="mod">
          <ac:chgData name="Abdi, Adnan" userId="503e002c-9b3b-4180-87fb-acabeb2b158a" providerId="ADAL" clId="{5C2CD6D4-C7A9-4CEF-AA9C-BC2977F70622}" dt="2024-02-20T12:53:00.596" v="18347" actId="947"/>
          <ac:spMkLst>
            <pc:docMk/>
            <pc:sldMk cId="3972091571" sldId="2147483583"/>
            <ac:spMk id="1149" creationId="{B95D96D3-88E3-64DA-4F48-099442D8B1C4}"/>
          </ac:spMkLst>
        </pc:spChg>
        <pc:spChg chg="mod">
          <ac:chgData name="Abdi, Adnan" userId="503e002c-9b3b-4180-87fb-acabeb2b158a" providerId="ADAL" clId="{5C2CD6D4-C7A9-4CEF-AA9C-BC2977F70622}" dt="2024-02-20T12:53:00.600" v="18361" actId="947"/>
          <ac:spMkLst>
            <pc:docMk/>
            <pc:sldMk cId="3972091571" sldId="2147483583"/>
            <ac:spMk id="1150" creationId="{84E63632-892C-86C3-EC96-305033353315}"/>
          </ac:spMkLst>
        </pc:spChg>
        <pc:spChg chg="mod">
          <ac:chgData name="Abdi, Adnan" userId="503e002c-9b3b-4180-87fb-acabeb2b158a" providerId="ADAL" clId="{5C2CD6D4-C7A9-4CEF-AA9C-BC2977F70622}" dt="2024-02-20T12:53:00.600" v="18359" actId="947"/>
          <ac:spMkLst>
            <pc:docMk/>
            <pc:sldMk cId="3972091571" sldId="2147483583"/>
            <ac:spMk id="1151" creationId="{E0AD2577-B0DE-E0A0-1D9F-2E2CCEAD9C86}"/>
          </ac:spMkLst>
        </pc:spChg>
        <pc:spChg chg="mod">
          <ac:chgData name="Abdi, Adnan" userId="503e002c-9b3b-4180-87fb-acabeb2b158a" providerId="ADAL" clId="{5C2CD6D4-C7A9-4CEF-AA9C-BC2977F70622}" dt="2024-02-20T12:53:00.600" v="18357" actId="947"/>
          <ac:spMkLst>
            <pc:docMk/>
            <pc:sldMk cId="3972091571" sldId="2147483583"/>
            <ac:spMk id="1154" creationId="{73DA2939-4ED6-5D14-DC48-72B1C8451A34}"/>
          </ac:spMkLst>
        </pc:spChg>
        <pc:spChg chg="mod">
          <ac:chgData name="Abdi, Adnan" userId="503e002c-9b3b-4180-87fb-acabeb2b158a" providerId="ADAL" clId="{5C2CD6D4-C7A9-4CEF-AA9C-BC2977F70622}" dt="2024-02-20T12:53:00.600" v="18355" actId="947"/>
          <ac:spMkLst>
            <pc:docMk/>
            <pc:sldMk cId="3972091571" sldId="2147483583"/>
            <ac:spMk id="1155" creationId="{C1DAA4F9-3CF4-DE5B-8F76-7A0A4FD90C96}"/>
          </ac:spMkLst>
        </pc:spChg>
        <pc:spChg chg="mod">
          <ac:chgData name="Abdi, Adnan" userId="503e002c-9b3b-4180-87fb-acabeb2b158a" providerId="ADAL" clId="{5C2CD6D4-C7A9-4CEF-AA9C-BC2977F70622}" dt="2024-02-20T12:53:00.687" v="18417" actId="947"/>
          <ac:spMkLst>
            <pc:docMk/>
            <pc:sldMk cId="3972091571" sldId="2147483583"/>
            <ac:spMk id="1159" creationId="{D4DA8167-1298-FE1F-CF93-79C46D726D8E}"/>
          </ac:spMkLst>
        </pc:spChg>
        <pc:spChg chg="mod">
          <ac:chgData name="Abdi, Adnan" userId="503e002c-9b3b-4180-87fb-acabeb2b158a" providerId="ADAL" clId="{5C2CD6D4-C7A9-4CEF-AA9C-BC2977F70622}" dt="2024-02-20T12:53:00.686" v="18415" actId="947"/>
          <ac:spMkLst>
            <pc:docMk/>
            <pc:sldMk cId="3972091571" sldId="2147483583"/>
            <ac:spMk id="1160" creationId="{6DEDDE20-F3E2-A269-D555-CFF1D0427968}"/>
          </ac:spMkLst>
        </pc:spChg>
        <pc:spChg chg="mod">
          <ac:chgData name="Abdi, Adnan" userId="503e002c-9b3b-4180-87fb-acabeb2b158a" providerId="ADAL" clId="{5C2CD6D4-C7A9-4CEF-AA9C-BC2977F70622}" dt="2024-02-20T12:53:00.534" v="18287" actId="947"/>
          <ac:spMkLst>
            <pc:docMk/>
            <pc:sldMk cId="3972091571" sldId="2147483583"/>
            <ac:spMk id="1173" creationId="{AC9B28B4-6D42-A70D-8D3B-E83B23197441}"/>
          </ac:spMkLst>
        </pc:spChg>
        <pc:spChg chg="mod">
          <ac:chgData name="Abdi, Adnan" userId="503e002c-9b3b-4180-87fb-acabeb2b158a" providerId="ADAL" clId="{5C2CD6D4-C7A9-4CEF-AA9C-BC2977F70622}" dt="2024-02-20T12:53:00.534" v="18285" actId="947"/>
          <ac:spMkLst>
            <pc:docMk/>
            <pc:sldMk cId="3972091571" sldId="2147483583"/>
            <ac:spMk id="1174" creationId="{087A4082-3323-0C69-4A68-51A924C41D29}"/>
          </ac:spMkLst>
        </pc:spChg>
        <pc:spChg chg="mod">
          <ac:chgData name="Abdi, Adnan" userId="503e002c-9b3b-4180-87fb-acabeb2b158a" providerId="ADAL" clId="{5C2CD6D4-C7A9-4CEF-AA9C-BC2977F70622}" dt="2024-02-20T12:53:00.534" v="18283" actId="947"/>
          <ac:spMkLst>
            <pc:docMk/>
            <pc:sldMk cId="3972091571" sldId="2147483583"/>
            <ac:spMk id="1175" creationId="{D46FCABF-A4EC-0228-B376-17F9E9FB592A}"/>
          </ac:spMkLst>
        </pc:spChg>
        <pc:spChg chg="mod">
          <ac:chgData name="Abdi, Adnan" userId="503e002c-9b3b-4180-87fb-acabeb2b158a" providerId="ADAL" clId="{5C2CD6D4-C7A9-4CEF-AA9C-BC2977F70622}" dt="2024-02-20T12:53:00.684" v="18413" actId="947"/>
          <ac:spMkLst>
            <pc:docMk/>
            <pc:sldMk cId="3972091571" sldId="2147483583"/>
            <ac:spMk id="1237" creationId="{85C8A8BC-FA46-E313-0087-77080CE7CDB3}"/>
          </ac:spMkLst>
        </pc:spChg>
        <pc:spChg chg="mod">
          <ac:chgData name="Abdi, Adnan" userId="503e002c-9b3b-4180-87fb-acabeb2b158a" providerId="ADAL" clId="{5C2CD6D4-C7A9-4CEF-AA9C-BC2977F70622}" dt="2024-02-20T12:53:00.682" v="18411" actId="947"/>
          <ac:spMkLst>
            <pc:docMk/>
            <pc:sldMk cId="3972091571" sldId="2147483583"/>
            <ac:spMk id="1238" creationId="{32742165-258D-6EA1-8DEB-2EF8917E7BDE}"/>
          </ac:spMkLst>
        </pc:spChg>
        <pc:spChg chg="mod">
          <ac:chgData name="Abdi, Adnan" userId="503e002c-9b3b-4180-87fb-acabeb2b158a" providerId="ADAL" clId="{5C2CD6D4-C7A9-4CEF-AA9C-BC2977F70622}" dt="2024-02-20T12:53:00.669" v="18397" actId="947"/>
          <ac:spMkLst>
            <pc:docMk/>
            <pc:sldMk cId="3972091571" sldId="2147483583"/>
            <ac:spMk id="1240" creationId="{EB06E71F-5E6E-1FB9-020F-06B88C5064D3}"/>
          </ac:spMkLst>
        </pc:spChg>
        <pc:spChg chg="mod">
          <ac:chgData name="Abdi, Adnan" userId="503e002c-9b3b-4180-87fb-acabeb2b158a" providerId="ADAL" clId="{5C2CD6D4-C7A9-4CEF-AA9C-BC2977F70622}" dt="2024-02-20T12:53:00.667" v="18395" actId="947"/>
          <ac:spMkLst>
            <pc:docMk/>
            <pc:sldMk cId="3972091571" sldId="2147483583"/>
            <ac:spMk id="1241" creationId="{00FE202F-7D86-BEB6-F8E5-6F7E4337765B}"/>
          </ac:spMkLst>
        </pc:spChg>
        <pc:spChg chg="mod">
          <ac:chgData name="Abdi, Adnan" userId="503e002c-9b3b-4180-87fb-acabeb2b158a" providerId="ADAL" clId="{5C2CD6D4-C7A9-4CEF-AA9C-BC2977F70622}" dt="2024-02-20T12:53:00.672" v="18401" actId="947"/>
          <ac:spMkLst>
            <pc:docMk/>
            <pc:sldMk cId="3972091571" sldId="2147483583"/>
            <ac:spMk id="1243" creationId="{0E3E8565-2B24-D86E-92D8-37C01F103039}"/>
          </ac:spMkLst>
        </pc:spChg>
        <pc:spChg chg="mod">
          <ac:chgData name="Abdi, Adnan" userId="503e002c-9b3b-4180-87fb-acabeb2b158a" providerId="ADAL" clId="{5C2CD6D4-C7A9-4CEF-AA9C-BC2977F70622}" dt="2024-02-20T12:53:00.670" v="18399" actId="947"/>
          <ac:spMkLst>
            <pc:docMk/>
            <pc:sldMk cId="3972091571" sldId="2147483583"/>
            <ac:spMk id="1244" creationId="{C5027E2B-4D32-C76D-F3B4-E0914C09A65D}"/>
          </ac:spMkLst>
        </pc:spChg>
        <pc:spChg chg="mod">
          <ac:chgData name="Abdi, Adnan" userId="503e002c-9b3b-4180-87fb-acabeb2b158a" providerId="ADAL" clId="{5C2CD6D4-C7A9-4CEF-AA9C-BC2977F70622}" dt="2024-02-20T12:53:00.675" v="18405" actId="947"/>
          <ac:spMkLst>
            <pc:docMk/>
            <pc:sldMk cId="3972091571" sldId="2147483583"/>
            <ac:spMk id="1246" creationId="{CF0066D1-BFFB-F7C9-CA3B-F9BA99762623}"/>
          </ac:spMkLst>
        </pc:spChg>
        <pc:spChg chg="mod">
          <ac:chgData name="Abdi, Adnan" userId="503e002c-9b3b-4180-87fb-acabeb2b158a" providerId="ADAL" clId="{5C2CD6D4-C7A9-4CEF-AA9C-BC2977F70622}" dt="2024-02-20T12:53:00.673" v="18403" actId="947"/>
          <ac:spMkLst>
            <pc:docMk/>
            <pc:sldMk cId="3972091571" sldId="2147483583"/>
            <ac:spMk id="1247" creationId="{3DF3CE11-4A1F-B41F-1348-27012A3BE18A}"/>
          </ac:spMkLst>
        </pc:spChg>
        <pc:spChg chg="mod">
          <ac:chgData name="Abdi, Adnan" userId="503e002c-9b3b-4180-87fb-acabeb2b158a" providerId="ADAL" clId="{5C2CD6D4-C7A9-4CEF-AA9C-BC2977F70622}" dt="2024-02-20T12:53:00.678" v="18409" actId="947"/>
          <ac:spMkLst>
            <pc:docMk/>
            <pc:sldMk cId="3972091571" sldId="2147483583"/>
            <ac:spMk id="1249" creationId="{3C67C8E9-AD2D-D7BA-0182-80023D1FEECC}"/>
          </ac:spMkLst>
        </pc:spChg>
        <pc:spChg chg="mod">
          <ac:chgData name="Abdi, Adnan" userId="503e002c-9b3b-4180-87fb-acabeb2b158a" providerId="ADAL" clId="{5C2CD6D4-C7A9-4CEF-AA9C-BC2977F70622}" dt="2024-02-20T12:53:00.676" v="18407" actId="947"/>
          <ac:spMkLst>
            <pc:docMk/>
            <pc:sldMk cId="3972091571" sldId="2147483583"/>
            <ac:spMk id="1250" creationId="{B9354121-B189-E085-565F-5829C6CF0D4E}"/>
          </ac:spMkLst>
        </pc:spChg>
        <pc:graphicFrameChg chg="mod">
          <ac:chgData name="Abdi, Adnan" userId="503e002c-9b3b-4180-87fb-acabeb2b158a" providerId="ADAL" clId="{5C2CD6D4-C7A9-4CEF-AA9C-BC2977F70622}" dt="2024-02-20T12:53:06.651" v="21070" actId="1076"/>
          <ac:graphicFrameMkLst>
            <pc:docMk/>
            <pc:sldMk cId="3972091571" sldId="2147483583"/>
            <ac:graphicFrameMk id="25" creationId="{61B6748A-9534-D9A5-DD98-B2041A82F8AA}"/>
          </ac:graphicFrameMkLst>
        </pc:graphicFrameChg>
      </pc:sldChg>
      <pc:sldChg chg="addSp modSp add mod ord modClrScheme chgLayout modNotes">
        <pc:chgData name="Abdi, Adnan" userId="503e002c-9b3b-4180-87fb-acabeb2b158a" providerId="ADAL" clId="{5C2CD6D4-C7A9-4CEF-AA9C-BC2977F70622}" dt="2024-02-23T15:32:09.917" v="71465"/>
        <pc:sldMkLst>
          <pc:docMk/>
          <pc:sldMk cId="1706326155" sldId="2147483584"/>
        </pc:sldMkLst>
        <pc:spChg chg="mod ord">
          <ac:chgData name="Abdi, Adnan" userId="503e002c-9b3b-4180-87fb-acabeb2b158a" providerId="ADAL" clId="{5C2CD6D4-C7A9-4CEF-AA9C-BC2977F70622}" dt="2024-02-20T12:53:00.502" v="18267" actId="947"/>
          <ac:spMkLst>
            <pc:docMk/>
            <pc:sldMk cId="1706326155" sldId="2147483584"/>
            <ac:spMk id="2" creationId="{10F2A187-2DBC-C4BA-DE08-E8496B07ABAC}"/>
          </ac:spMkLst>
        </pc:spChg>
        <pc:spChg chg="mod ord">
          <ac:chgData name="Abdi, Adnan" userId="503e002c-9b3b-4180-87fb-acabeb2b158a" providerId="ADAL" clId="{5C2CD6D4-C7A9-4CEF-AA9C-BC2977F70622}" dt="2024-02-20T12:53:00.502" v="18269" actId="947"/>
          <ac:spMkLst>
            <pc:docMk/>
            <pc:sldMk cId="1706326155" sldId="2147483584"/>
            <ac:spMk id="3" creationId="{EC58DA46-99FF-FC40-8E43-3A880FA1DD89}"/>
          </ac:spMkLst>
        </pc:spChg>
        <pc:spChg chg="add mod ord">
          <ac:chgData name="Abdi, Adnan" userId="503e002c-9b3b-4180-87fb-acabeb2b158a" providerId="ADAL" clId="{5C2CD6D4-C7A9-4CEF-AA9C-BC2977F70622}" dt="2024-02-23T15:32:09.917" v="71465"/>
          <ac:spMkLst>
            <pc:docMk/>
            <pc:sldMk cId="1706326155" sldId="2147483584"/>
            <ac:spMk id="4" creationId="{E3413BDF-F5EA-1BDF-51BF-B690C995369D}"/>
          </ac:spMkLst>
        </pc:spChg>
        <pc:spChg chg="mod ord">
          <ac:chgData name="Abdi, Adnan" userId="503e002c-9b3b-4180-87fb-acabeb2b158a" providerId="ADAL" clId="{5C2CD6D4-C7A9-4CEF-AA9C-BC2977F70622}" dt="2024-02-20T12:53:00.502" v="18265" actId="947"/>
          <ac:spMkLst>
            <pc:docMk/>
            <pc:sldMk cId="1706326155" sldId="2147483584"/>
            <ac:spMk id="8" creationId="{E73C6532-3274-AA7E-65C7-D9FDA88CC3D4}"/>
          </ac:spMkLst>
        </pc:spChg>
        <pc:graphicFrameChg chg="mod ord modVis replST">
          <ac:chgData name="Abdi, Adnan" userId="503e002c-9b3b-4180-87fb-acabeb2b158a" providerId="ADAL" clId="{5C2CD6D4-C7A9-4CEF-AA9C-BC2977F70622}" dt="2024-02-20T12:53:06.619" v="21062"/>
          <ac:graphicFrameMkLst>
            <pc:docMk/>
            <pc:sldMk cId="1706326155" sldId="2147483584"/>
            <ac:graphicFrameMk id="5" creationId="{F5002F89-6797-03C0-D1BD-6C0BFA8CA072}"/>
          </ac:graphicFrameMkLst>
        </pc:graphicFrameChg>
      </pc:sldChg>
      <pc:sldChg chg="addSp modSp mod ord modShow modNotes">
        <pc:chgData name="Abdi, Adnan" userId="503e002c-9b3b-4180-87fb-acabeb2b158a" providerId="ADAL" clId="{5C2CD6D4-C7A9-4CEF-AA9C-BC2977F70622}" dt="2024-02-23T15:32:09.917" v="71465"/>
        <pc:sldMkLst>
          <pc:docMk/>
          <pc:sldMk cId="2551518534" sldId="2147483585"/>
        </pc:sldMkLst>
        <pc:spChg chg="mod">
          <ac:chgData name="Abdi, Adnan" userId="503e002c-9b3b-4180-87fb-acabeb2b158a" providerId="ADAL" clId="{5C2CD6D4-C7A9-4CEF-AA9C-BC2977F70622}" dt="2024-02-20T12:53:00.502" v="18273" actId="947"/>
          <ac:spMkLst>
            <pc:docMk/>
            <pc:sldMk cId="2551518534" sldId="2147483585"/>
            <ac:spMk id="2" creationId="{211AC517-FAFD-7ACD-B636-5ED9BD37B9D5}"/>
          </ac:spMkLst>
        </pc:spChg>
        <pc:spChg chg="mod">
          <ac:chgData name="Abdi, Adnan" userId="503e002c-9b3b-4180-87fb-acabeb2b158a" providerId="ADAL" clId="{5C2CD6D4-C7A9-4CEF-AA9C-BC2977F70622}" dt="2024-02-20T12:53:00.502" v="18275" actId="947"/>
          <ac:spMkLst>
            <pc:docMk/>
            <pc:sldMk cId="2551518534" sldId="2147483585"/>
            <ac:spMk id="3" creationId="{5A6E2976-3EFA-0AB7-6C9E-273D1B342D48}"/>
          </ac:spMkLst>
        </pc:spChg>
        <pc:spChg chg="add mod">
          <ac:chgData name="Abdi, Adnan" userId="503e002c-9b3b-4180-87fb-acabeb2b158a" providerId="ADAL" clId="{5C2CD6D4-C7A9-4CEF-AA9C-BC2977F70622}" dt="2024-02-23T15:32:09.917" v="71465"/>
          <ac:spMkLst>
            <pc:docMk/>
            <pc:sldMk cId="2551518534" sldId="2147483585"/>
            <ac:spMk id="4" creationId="{45816E95-A43E-5C6C-2313-9C745C35FF53}"/>
          </ac:spMkLst>
        </pc:spChg>
        <pc:spChg chg="mod">
          <ac:chgData name="Abdi, Adnan" userId="503e002c-9b3b-4180-87fb-acabeb2b158a" providerId="ADAL" clId="{5C2CD6D4-C7A9-4CEF-AA9C-BC2977F70622}" dt="2024-02-20T12:53:00.518" v="18279" actId="947"/>
          <ac:spMkLst>
            <pc:docMk/>
            <pc:sldMk cId="2551518534" sldId="2147483585"/>
            <ac:spMk id="5" creationId="{1430C0A0-0762-41E6-CF72-EF6BDC202E7B}"/>
          </ac:spMkLst>
        </pc:spChg>
        <pc:spChg chg="mod">
          <ac:chgData name="Abdi, Adnan" userId="503e002c-9b3b-4180-87fb-acabeb2b158a" providerId="ADAL" clId="{5C2CD6D4-C7A9-4CEF-AA9C-BC2977F70622}" dt="2024-02-20T12:53:00.518" v="18281" actId="947"/>
          <ac:spMkLst>
            <pc:docMk/>
            <pc:sldMk cId="2551518534" sldId="2147483585"/>
            <ac:spMk id="8" creationId="{DF71A25C-9F54-8198-22E2-B5073FEF7903}"/>
          </ac:spMkLst>
        </pc:spChg>
        <pc:graphicFrameChg chg="mod ord modVis replST">
          <ac:chgData name="Abdi, Adnan" userId="503e002c-9b3b-4180-87fb-acabeb2b158a" providerId="ADAL" clId="{5C2CD6D4-C7A9-4CEF-AA9C-BC2977F70622}" dt="2024-02-20T12:53:06.651" v="21069"/>
          <ac:graphicFrameMkLst>
            <pc:docMk/>
            <pc:sldMk cId="2551518534" sldId="2147483585"/>
            <ac:graphicFrameMk id="6" creationId="{F12324F5-7E05-06F7-305E-BDB1BF1C8D76}"/>
          </ac:graphicFrameMkLst>
        </pc:graphicFrameChg>
      </pc:sldChg>
      <pc:sldChg chg="addSp delSp modSp mod">
        <pc:chgData name="Abdi, Adnan" userId="503e002c-9b3b-4180-87fb-acabeb2b158a" providerId="ADAL" clId="{5C2CD6D4-C7A9-4CEF-AA9C-BC2977F70622}" dt="2024-02-26T09:10:05.499" v="73102"/>
        <pc:sldMkLst>
          <pc:docMk/>
          <pc:sldMk cId="805076339" sldId="2147483586"/>
        </pc:sldMkLst>
        <pc:spChg chg="mod ord">
          <ac:chgData name="Abdi, Adnan" userId="503e002c-9b3b-4180-87fb-acabeb2b158a" providerId="ADAL" clId="{5C2CD6D4-C7A9-4CEF-AA9C-BC2977F70622}" dt="2024-02-21T17:48:44.190" v="51931"/>
          <ac:spMkLst>
            <pc:docMk/>
            <pc:sldMk cId="805076339" sldId="2147483586"/>
            <ac:spMk id="4" creationId="{262773ED-D36A-881A-BBCC-06333F2FBA32}"/>
          </ac:spMkLst>
        </pc:spChg>
        <pc:spChg chg="add mod ord">
          <ac:chgData name="Abdi, Adnan" userId="503e002c-9b3b-4180-87fb-acabeb2b158a" providerId="ADAL" clId="{5C2CD6D4-C7A9-4CEF-AA9C-BC2977F70622}" dt="2024-02-26T09:10:05.499" v="73102"/>
          <ac:spMkLst>
            <pc:docMk/>
            <pc:sldMk cId="805076339" sldId="2147483586"/>
            <ac:spMk id="5" creationId="{466EECFC-7F57-1001-4C54-E053FD02A596}"/>
          </ac:spMkLst>
        </pc:spChg>
        <pc:spChg chg="add mod ord">
          <ac:chgData name="Abdi, Adnan" userId="503e002c-9b3b-4180-87fb-acabeb2b158a" providerId="ADAL" clId="{5C2CD6D4-C7A9-4CEF-AA9C-BC2977F70622}" dt="2024-02-23T15:32:09.917" v="71465"/>
          <ac:spMkLst>
            <pc:docMk/>
            <pc:sldMk cId="805076339" sldId="2147483586"/>
            <ac:spMk id="6" creationId="{922AD939-6BDC-6481-1BDE-245E7E24EFEA}"/>
          </ac:spMkLst>
        </pc:spChg>
        <pc:spChg chg="add mod">
          <ac:chgData name="Abdi, Adnan" userId="503e002c-9b3b-4180-87fb-acabeb2b158a" providerId="ADAL" clId="{5C2CD6D4-C7A9-4CEF-AA9C-BC2977F70622}" dt="2024-02-21T17:54:19.840" v="52906" actId="208"/>
          <ac:spMkLst>
            <pc:docMk/>
            <pc:sldMk cId="805076339" sldId="2147483586"/>
            <ac:spMk id="11" creationId="{CA11FF84-F91E-7E1B-9430-DF369DDF2DA4}"/>
          </ac:spMkLst>
        </pc:spChg>
        <pc:spChg chg="add del mod">
          <ac:chgData name="Abdi, Adnan" userId="503e002c-9b3b-4180-87fb-acabeb2b158a" providerId="ADAL" clId="{5C2CD6D4-C7A9-4CEF-AA9C-BC2977F70622}" dt="2024-02-21T17:44:32.176" v="51419" actId="478"/>
          <ac:spMkLst>
            <pc:docMk/>
            <pc:sldMk cId="805076339" sldId="2147483586"/>
            <ac:spMk id="14" creationId="{7AB3BBC8-0F4F-7D48-2B23-63C967AA99F2}"/>
          </ac:spMkLst>
        </pc:spChg>
        <pc:spChg chg="add mod">
          <ac:chgData name="Abdi, Adnan" userId="503e002c-9b3b-4180-87fb-acabeb2b158a" providerId="ADAL" clId="{5C2CD6D4-C7A9-4CEF-AA9C-BC2977F70622}" dt="2024-02-23T14:37:35.076" v="70994"/>
          <ac:spMkLst>
            <pc:docMk/>
            <pc:sldMk cId="805076339" sldId="2147483586"/>
            <ac:spMk id="23" creationId="{49F41DD7-5AB3-E7B5-4E41-7D4CA916BB5A}"/>
          </ac:spMkLst>
        </pc:spChg>
        <pc:spChg chg="mod">
          <ac:chgData name="Abdi, Adnan" userId="503e002c-9b3b-4180-87fb-acabeb2b158a" providerId="ADAL" clId="{5C2CD6D4-C7A9-4CEF-AA9C-BC2977F70622}" dt="2024-02-21T17:48:44.176" v="51912"/>
          <ac:spMkLst>
            <pc:docMk/>
            <pc:sldMk cId="805076339" sldId="2147483586"/>
            <ac:spMk id="24" creationId="{6537DC89-F377-B4DB-5732-2BEDF435F80E}"/>
          </ac:spMkLst>
        </pc:spChg>
        <pc:spChg chg="mod">
          <ac:chgData name="Abdi, Adnan" userId="503e002c-9b3b-4180-87fb-acabeb2b158a" providerId="ADAL" clId="{5C2CD6D4-C7A9-4CEF-AA9C-BC2977F70622}" dt="2024-02-21T17:48:44.177" v="51913"/>
          <ac:spMkLst>
            <pc:docMk/>
            <pc:sldMk cId="805076339" sldId="2147483586"/>
            <ac:spMk id="25" creationId="{EB9E5D9D-7CB6-4EB6-0D26-019B8A18CBC6}"/>
          </ac:spMkLst>
        </pc:spChg>
        <pc:spChg chg="mod">
          <ac:chgData name="Abdi, Adnan" userId="503e002c-9b3b-4180-87fb-acabeb2b158a" providerId="ADAL" clId="{5C2CD6D4-C7A9-4CEF-AA9C-BC2977F70622}" dt="2024-02-21T17:48:44.177" v="51914"/>
          <ac:spMkLst>
            <pc:docMk/>
            <pc:sldMk cId="805076339" sldId="2147483586"/>
            <ac:spMk id="26" creationId="{5295E371-481A-1922-EA81-3B1743E92F88}"/>
          </ac:spMkLst>
        </pc:spChg>
        <pc:spChg chg="mod">
          <ac:chgData name="Abdi, Adnan" userId="503e002c-9b3b-4180-87fb-acabeb2b158a" providerId="ADAL" clId="{5C2CD6D4-C7A9-4CEF-AA9C-BC2977F70622}" dt="2024-02-21T17:48:44.178" v="51915"/>
          <ac:spMkLst>
            <pc:docMk/>
            <pc:sldMk cId="805076339" sldId="2147483586"/>
            <ac:spMk id="27" creationId="{BD5A5F1F-2C78-A2CD-26B6-335913E7A245}"/>
          </ac:spMkLst>
        </pc:spChg>
        <pc:spChg chg="mod ord">
          <ac:chgData name="Abdi, Adnan" userId="503e002c-9b3b-4180-87fb-acabeb2b158a" providerId="ADAL" clId="{5C2CD6D4-C7A9-4CEF-AA9C-BC2977F70622}" dt="2024-02-21T17:48:44.162" v="51883"/>
          <ac:spMkLst>
            <pc:docMk/>
            <pc:sldMk cId="805076339" sldId="2147483586"/>
            <ac:spMk id="28" creationId="{D0F2F533-F545-9A04-3036-9EB7EFE10B6A}"/>
          </ac:spMkLst>
        </pc:spChg>
        <pc:spChg chg="mod ord">
          <ac:chgData name="Abdi, Adnan" userId="503e002c-9b3b-4180-87fb-acabeb2b158a" providerId="ADAL" clId="{5C2CD6D4-C7A9-4CEF-AA9C-BC2977F70622}" dt="2024-02-21T17:48:44.163" v="51885"/>
          <ac:spMkLst>
            <pc:docMk/>
            <pc:sldMk cId="805076339" sldId="2147483586"/>
            <ac:spMk id="29" creationId="{559E3F9E-D1D4-C364-DAE1-F7DAE8D40310}"/>
          </ac:spMkLst>
        </pc:spChg>
        <pc:spChg chg="mod ord">
          <ac:chgData name="Abdi, Adnan" userId="503e002c-9b3b-4180-87fb-acabeb2b158a" providerId="ADAL" clId="{5C2CD6D4-C7A9-4CEF-AA9C-BC2977F70622}" dt="2024-02-21T17:48:44.163" v="51887"/>
          <ac:spMkLst>
            <pc:docMk/>
            <pc:sldMk cId="805076339" sldId="2147483586"/>
            <ac:spMk id="30" creationId="{B49E7DF5-CBA9-46D8-3F84-D394D0352659}"/>
          </ac:spMkLst>
        </pc:spChg>
        <pc:spChg chg="mod ord">
          <ac:chgData name="Abdi, Adnan" userId="503e002c-9b3b-4180-87fb-acabeb2b158a" providerId="ADAL" clId="{5C2CD6D4-C7A9-4CEF-AA9C-BC2977F70622}" dt="2024-02-21T17:48:44.164" v="51889"/>
          <ac:spMkLst>
            <pc:docMk/>
            <pc:sldMk cId="805076339" sldId="2147483586"/>
            <ac:spMk id="31" creationId="{22A38F90-2A60-EACC-D81E-16339E98DE25}"/>
          </ac:spMkLst>
        </pc:spChg>
        <pc:spChg chg="mod ord">
          <ac:chgData name="Abdi, Adnan" userId="503e002c-9b3b-4180-87fb-acabeb2b158a" providerId="ADAL" clId="{5C2CD6D4-C7A9-4CEF-AA9C-BC2977F70622}" dt="2024-02-21T17:48:44.165" v="51891"/>
          <ac:spMkLst>
            <pc:docMk/>
            <pc:sldMk cId="805076339" sldId="2147483586"/>
            <ac:spMk id="32" creationId="{16973211-1C9C-6AA5-986B-1EA00156E9D1}"/>
          </ac:spMkLst>
        </pc:spChg>
        <pc:spChg chg="mod ord">
          <ac:chgData name="Abdi, Adnan" userId="503e002c-9b3b-4180-87fb-acabeb2b158a" providerId="ADAL" clId="{5C2CD6D4-C7A9-4CEF-AA9C-BC2977F70622}" dt="2024-02-21T17:48:44.166" v="51893"/>
          <ac:spMkLst>
            <pc:docMk/>
            <pc:sldMk cId="805076339" sldId="2147483586"/>
            <ac:spMk id="33" creationId="{AAA4FCA3-E88C-997D-79FB-CFD1DCFA495E}"/>
          </ac:spMkLst>
        </pc:spChg>
        <pc:spChg chg="mod">
          <ac:chgData name="Abdi, Adnan" userId="503e002c-9b3b-4180-87fb-acabeb2b158a" providerId="ADAL" clId="{5C2CD6D4-C7A9-4CEF-AA9C-BC2977F70622}" dt="2024-02-21T17:48:44.178" v="51916"/>
          <ac:spMkLst>
            <pc:docMk/>
            <pc:sldMk cId="805076339" sldId="2147483586"/>
            <ac:spMk id="34" creationId="{0C27ED2B-DD9E-8A06-15BC-A15060906198}"/>
          </ac:spMkLst>
        </pc:spChg>
        <pc:spChg chg="mod">
          <ac:chgData name="Abdi, Adnan" userId="503e002c-9b3b-4180-87fb-acabeb2b158a" providerId="ADAL" clId="{5C2CD6D4-C7A9-4CEF-AA9C-BC2977F70622}" dt="2024-02-21T17:48:44.179" v="51917"/>
          <ac:spMkLst>
            <pc:docMk/>
            <pc:sldMk cId="805076339" sldId="2147483586"/>
            <ac:spMk id="35" creationId="{0B535C3F-5565-5370-FD6F-70C2031A0239}"/>
          </ac:spMkLst>
        </pc:spChg>
        <pc:spChg chg="mod ord">
          <ac:chgData name="Abdi, Adnan" userId="503e002c-9b3b-4180-87fb-acabeb2b158a" providerId="ADAL" clId="{5C2CD6D4-C7A9-4CEF-AA9C-BC2977F70622}" dt="2024-02-21T17:48:44.166" v="51895"/>
          <ac:spMkLst>
            <pc:docMk/>
            <pc:sldMk cId="805076339" sldId="2147483586"/>
            <ac:spMk id="37" creationId="{19C61A89-EF11-F97F-C85F-3BF2157BD852}"/>
          </ac:spMkLst>
        </pc:spChg>
        <pc:spChg chg="mod ord">
          <ac:chgData name="Abdi, Adnan" userId="503e002c-9b3b-4180-87fb-acabeb2b158a" providerId="ADAL" clId="{5C2CD6D4-C7A9-4CEF-AA9C-BC2977F70622}" dt="2024-02-21T17:48:44.167" v="51897"/>
          <ac:spMkLst>
            <pc:docMk/>
            <pc:sldMk cId="805076339" sldId="2147483586"/>
            <ac:spMk id="38" creationId="{755B70D6-EB26-64E1-B9C6-2800DDAFA023}"/>
          </ac:spMkLst>
        </pc:spChg>
        <pc:spChg chg="mod ord">
          <ac:chgData name="Abdi, Adnan" userId="503e002c-9b3b-4180-87fb-acabeb2b158a" providerId="ADAL" clId="{5C2CD6D4-C7A9-4CEF-AA9C-BC2977F70622}" dt="2024-02-21T17:48:44.168" v="51899"/>
          <ac:spMkLst>
            <pc:docMk/>
            <pc:sldMk cId="805076339" sldId="2147483586"/>
            <ac:spMk id="39" creationId="{C2EEE899-C965-7810-9351-EFEAB67255B9}"/>
          </ac:spMkLst>
        </pc:spChg>
        <pc:spChg chg="mod ord">
          <ac:chgData name="Abdi, Adnan" userId="503e002c-9b3b-4180-87fb-acabeb2b158a" providerId="ADAL" clId="{5C2CD6D4-C7A9-4CEF-AA9C-BC2977F70622}" dt="2024-02-21T17:48:44.168" v="51901"/>
          <ac:spMkLst>
            <pc:docMk/>
            <pc:sldMk cId="805076339" sldId="2147483586"/>
            <ac:spMk id="40" creationId="{AE48ECA3-0B3F-4EAC-7D79-633E0E511B92}"/>
          </ac:spMkLst>
        </pc:spChg>
        <pc:spChg chg="mod ord">
          <ac:chgData name="Abdi, Adnan" userId="503e002c-9b3b-4180-87fb-acabeb2b158a" providerId="ADAL" clId="{5C2CD6D4-C7A9-4CEF-AA9C-BC2977F70622}" dt="2024-02-21T17:48:44.169" v="51903"/>
          <ac:spMkLst>
            <pc:docMk/>
            <pc:sldMk cId="805076339" sldId="2147483586"/>
            <ac:spMk id="41" creationId="{D45B152F-8042-DA74-14EA-FB7376462E93}"/>
          </ac:spMkLst>
        </pc:spChg>
        <pc:spChg chg="mod ord">
          <ac:chgData name="Abdi, Adnan" userId="503e002c-9b3b-4180-87fb-acabeb2b158a" providerId="ADAL" clId="{5C2CD6D4-C7A9-4CEF-AA9C-BC2977F70622}" dt="2024-02-21T17:48:44.171" v="51905"/>
          <ac:spMkLst>
            <pc:docMk/>
            <pc:sldMk cId="805076339" sldId="2147483586"/>
            <ac:spMk id="42" creationId="{BCFC615A-E11C-6B4B-89C7-0F28E3F26638}"/>
          </ac:spMkLst>
        </pc:spChg>
        <pc:spChg chg="mod ord">
          <ac:chgData name="Abdi, Adnan" userId="503e002c-9b3b-4180-87fb-acabeb2b158a" providerId="ADAL" clId="{5C2CD6D4-C7A9-4CEF-AA9C-BC2977F70622}" dt="2024-02-21T17:48:44.173" v="51907"/>
          <ac:spMkLst>
            <pc:docMk/>
            <pc:sldMk cId="805076339" sldId="2147483586"/>
            <ac:spMk id="43" creationId="{84A6B2E0-03F1-D30B-D3DD-5B9A6ED49988}"/>
          </ac:spMkLst>
        </pc:spChg>
        <pc:spChg chg="mod ord">
          <ac:chgData name="Abdi, Adnan" userId="503e002c-9b3b-4180-87fb-acabeb2b158a" providerId="ADAL" clId="{5C2CD6D4-C7A9-4CEF-AA9C-BC2977F70622}" dt="2024-02-21T17:48:44.174" v="51909"/>
          <ac:spMkLst>
            <pc:docMk/>
            <pc:sldMk cId="805076339" sldId="2147483586"/>
            <ac:spMk id="44" creationId="{B5A3133E-A60A-AEA5-76BB-2CE799F215EF}"/>
          </ac:spMkLst>
        </pc:spChg>
        <pc:spChg chg="mod ord">
          <ac:chgData name="Abdi, Adnan" userId="503e002c-9b3b-4180-87fb-acabeb2b158a" providerId="ADAL" clId="{5C2CD6D4-C7A9-4CEF-AA9C-BC2977F70622}" dt="2024-02-21T17:48:44.176" v="51911"/>
          <ac:spMkLst>
            <pc:docMk/>
            <pc:sldMk cId="805076339" sldId="2147483586"/>
            <ac:spMk id="45" creationId="{6EB64CD5-754D-AE4F-86AE-1F8B5B1713FB}"/>
          </ac:spMkLst>
        </pc:spChg>
        <pc:spChg chg="mod">
          <ac:chgData name="Abdi, Adnan" userId="503e002c-9b3b-4180-87fb-acabeb2b158a" providerId="ADAL" clId="{5C2CD6D4-C7A9-4CEF-AA9C-BC2977F70622}" dt="2024-02-21T17:48:44.179" v="51918"/>
          <ac:spMkLst>
            <pc:docMk/>
            <pc:sldMk cId="805076339" sldId="2147483586"/>
            <ac:spMk id="46" creationId="{AC3EC8E5-234D-4C9C-ED79-ABBA88A8781B}"/>
          </ac:spMkLst>
        </pc:spChg>
        <pc:spChg chg="mod ord">
          <ac:chgData name="Abdi, Adnan" userId="503e002c-9b3b-4180-87fb-acabeb2b158a" providerId="ADAL" clId="{5C2CD6D4-C7A9-4CEF-AA9C-BC2977F70622}" dt="2024-02-21T17:48:44.160" v="51876"/>
          <ac:spMkLst>
            <pc:docMk/>
            <pc:sldMk cId="805076339" sldId="2147483586"/>
            <ac:spMk id="47" creationId="{EE6D6F96-9A48-5A44-B2F4-6EBF4B5BD7A0}"/>
          </ac:spMkLst>
        </pc:spChg>
        <pc:spChg chg="mod">
          <ac:chgData name="Abdi, Adnan" userId="503e002c-9b3b-4180-87fb-acabeb2b158a" providerId="ADAL" clId="{5C2CD6D4-C7A9-4CEF-AA9C-BC2977F70622}" dt="2024-02-21T17:48:44.179" v="51919"/>
          <ac:spMkLst>
            <pc:docMk/>
            <pc:sldMk cId="805076339" sldId="2147483586"/>
            <ac:spMk id="48" creationId="{1338A0EB-4480-935A-AE83-68669C06A456}"/>
          </ac:spMkLst>
        </pc:spChg>
        <pc:spChg chg="mod">
          <ac:chgData name="Abdi, Adnan" userId="503e002c-9b3b-4180-87fb-acabeb2b158a" providerId="ADAL" clId="{5C2CD6D4-C7A9-4CEF-AA9C-BC2977F70622}" dt="2024-02-21T17:48:44.180" v="51920"/>
          <ac:spMkLst>
            <pc:docMk/>
            <pc:sldMk cId="805076339" sldId="2147483586"/>
            <ac:spMk id="49" creationId="{07B36BCC-DA94-8BA3-0969-D57D7419C328}"/>
          </ac:spMkLst>
        </pc:spChg>
        <pc:spChg chg="mod ord">
          <ac:chgData name="Abdi, Adnan" userId="503e002c-9b3b-4180-87fb-acabeb2b158a" providerId="ADAL" clId="{5C2CD6D4-C7A9-4CEF-AA9C-BC2977F70622}" dt="2024-02-21T17:48:44.161" v="51881"/>
          <ac:spMkLst>
            <pc:docMk/>
            <pc:sldMk cId="805076339" sldId="2147483586"/>
            <ac:spMk id="50" creationId="{6F34BE38-CBE8-109E-FAA7-E5BAB23CB198}"/>
          </ac:spMkLst>
        </pc:spChg>
        <pc:spChg chg="mod">
          <ac:chgData name="Abdi, Adnan" userId="503e002c-9b3b-4180-87fb-acabeb2b158a" providerId="ADAL" clId="{5C2CD6D4-C7A9-4CEF-AA9C-BC2977F70622}" dt="2024-02-21T17:48:44.180" v="51921"/>
          <ac:spMkLst>
            <pc:docMk/>
            <pc:sldMk cId="805076339" sldId="2147483586"/>
            <ac:spMk id="51" creationId="{B92F7A82-09B0-0AB3-246C-DD62FF9CF8A2}"/>
          </ac:spMkLst>
        </pc:spChg>
        <pc:spChg chg="mod">
          <ac:chgData name="Abdi, Adnan" userId="503e002c-9b3b-4180-87fb-acabeb2b158a" providerId="ADAL" clId="{5C2CD6D4-C7A9-4CEF-AA9C-BC2977F70622}" dt="2024-02-21T17:48:44.181" v="51922"/>
          <ac:spMkLst>
            <pc:docMk/>
            <pc:sldMk cId="805076339" sldId="2147483586"/>
            <ac:spMk id="52" creationId="{50C38333-C424-B82E-3C4C-77B6D9FFB4CC}"/>
          </ac:spMkLst>
        </pc:spChg>
        <pc:spChg chg="mod">
          <ac:chgData name="Abdi, Adnan" userId="503e002c-9b3b-4180-87fb-acabeb2b158a" providerId="ADAL" clId="{5C2CD6D4-C7A9-4CEF-AA9C-BC2977F70622}" dt="2024-02-21T17:48:44.181" v="51923"/>
          <ac:spMkLst>
            <pc:docMk/>
            <pc:sldMk cId="805076339" sldId="2147483586"/>
            <ac:spMk id="53" creationId="{CCFA7DED-A5B1-B2C4-C3FD-A42E51E9B608}"/>
          </ac:spMkLst>
        </pc:spChg>
        <pc:spChg chg="mod">
          <ac:chgData name="Abdi, Adnan" userId="503e002c-9b3b-4180-87fb-acabeb2b158a" providerId="ADAL" clId="{5C2CD6D4-C7A9-4CEF-AA9C-BC2977F70622}" dt="2024-02-21T17:48:44.182" v="51924"/>
          <ac:spMkLst>
            <pc:docMk/>
            <pc:sldMk cId="805076339" sldId="2147483586"/>
            <ac:spMk id="54" creationId="{9879CB70-FBAA-BA5D-E903-8ED6A6384CC1}"/>
          </ac:spMkLst>
        </pc:spChg>
        <pc:spChg chg="mod">
          <ac:chgData name="Abdi, Adnan" userId="503e002c-9b3b-4180-87fb-acabeb2b158a" providerId="ADAL" clId="{5C2CD6D4-C7A9-4CEF-AA9C-BC2977F70622}" dt="2024-02-21T17:48:44.182" v="51925"/>
          <ac:spMkLst>
            <pc:docMk/>
            <pc:sldMk cId="805076339" sldId="2147483586"/>
            <ac:spMk id="55" creationId="{532DA259-E3FE-6E41-8F88-37FDA4913528}"/>
          </ac:spMkLst>
        </pc:spChg>
        <pc:spChg chg="mod">
          <ac:chgData name="Abdi, Adnan" userId="503e002c-9b3b-4180-87fb-acabeb2b158a" providerId="ADAL" clId="{5C2CD6D4-C7A9-4CEF-AA9C-BC2977F70622}" dt="2024-02-21T17:48:44.186" v="51926"/>
          <ac:spMkLst>
            <pc:docMk/>
            <pc:sldMk cId="805076339" sldId="2147483586"/>
            <ac:spMk id="56" creationId="{51C7A53B-A596-144A-E07B-71D66B88C5F6}"/>
          </ac:spMkLst>
        </pc:spChg>
        <pc:spChg chg="mod">
          <ac:chgData name="Abdi, Adnan" userId="503e002c-9b3b-4180-87fb-acabeb2b158a" providerId="ADAL" clId="{5C2CD6D4-C7A9-4CEF-AA9C-BC2977F70622}" dt="2024-02-21T17:48:44.187" v="51927"/>
          <ac:spMkLst>
            <pc:docMk/>
            <pc:sldMk cId="805076339" sldId="2147483586"/>
            <ac:spMk id="57" creationId="{A6C7348E-02C3-4170-8E15-15FD629E6F1B}"/>
          </ac:spMkLst>
        </pc:spChg>
        <pc:spChg chg="mod">
          <ac:chgData name="Abdi, Adnan" userId="503e002c-9b3b-4180-87fb-acabeb2b158a" providerId="ADAL" clId="{5C2CD6D4-C7A9-4CEF-AA9C-BC2977F70622}" dt="2024-02-21T17:48:44.188" v="51928"/>
          <ac:spMkLst>
            <pc:docMk/>
            <pc:sldMk cId="805076339" sldId="2147483586"/>
            <ac:spMk id="58" creationId="{1ED07146-2464-D683-B847-AF4E1A6EA433}"/>
          </ac:spMkLst>
        </pc:spChg>
        <pc:spChg chg="mod">
          <ac:chgData name="Abdi, Adnan" userId="503e002c-9b3b-4180-87fb-acabeb2b158a" providerId="ADAL" clId="{5C2CD6D4-C7A9-4CEF-AA9C-BC2977F70622}" dt="2024-02-21T17:48:44.189" v="51929"/>
          <ac:spMkLst>
            <pc:docMk/>
            <pc:sldMk cId="805076339" sldId="2147483586"/>
            <ac:spMk id="59" creationId="{C2B9D283-941B-4AD0-4158-12D180CEF844}"/>
          </ac:spMkLst>
        </pc:spChg>
        <pc:spChg chg="mod ord">
          <ac:chgData name="Abdi, Adnan" userId="503e002c-9b3b-4180-87fb-acabeb2b158a" providerId="ADAL" clId="{5C2CD6D4-C7A9-4CEF-AA9C-BC2977F70622}" dt="2024-02-22T14:43:23.016" v="58262" actId="14100"/>
          <ac:spMkLst>
            <pc:docMk/>
            <pc:sldMk cId="805076339" sldId="2147483586"/>
            <ac:spMk id="163" creationId="{2D9AF636-C56F-701C-CD7E-36960884DDA5}"/>
          </ac:spMkLst>
        </pc:spChg>
        <pc:spChg chg="del mod ord">
          <ac:chgData name="Abdi, Adnan" userId="503e002c-9b3b-4180-87fb-acabeb2b158a" providerId="ADAL" clId="{5C2CD6D4-C7A9-4CEF-AA9C-BC2977F70622}" dt="2024-02-21T17:21:39.333" v="50584" actId="478"/>
          <ac:spMkLst>
            <pc:docMk/>
            <pc:sldMk cId="805076339" sldId="2147483586"/>
            <ac:spMk id="166" creationId="{48CB80BD-D636-1035-CAFE-C326AC04C376}"/>
          </ac:spMkLst>
        </pc:spChg>
        <pc:spChg chg="del mod ord">
          <ac:chgData name="Abdi, Adnan" userId="503e002c-9b3b-4180-87fb-acabeb2b158a" providerId="ADAL" clId="{5C2CD6D4-C7A9-4CEF-AA9C-BC2977F70622}" dt="2024-02-21T17:21:39.333" v="50584" actId="478"/>
          <ac:spMkLst>
            <pc:docMk/>
            <pc:sldMk cId="805076339" sldId="2147483586"/>
            <ac:spMk id="167" creationId="{2A14BFD3-52DC-05A0-349E-82A57B5F3CAC}"/>
          </ac:spMkLst>
        </pc:spChg>
        <pc:graphicFrameChg chg="add del mod replST">
          <ac:chgData name="Abdi, Adnan" userId="503e002c-9b3b-4180-87fb-acabeb2b158a" providerId="ADAL" clId="{5C2CD6D4-C7A9-4CEF-AA9C-BC2977F70622}" dt="2024-02-21T16:08:24.331" v="44979"/>
          <ac:graphicFrameMkLst>
            <pc:docMk/>
            <pc:sldMk cId="805076339" sldId="2147483586"/>
            <ac:graphicFrameMk id="2" creationId="{677955B4-6A76-55DB-222D-0F9C8708FD5F}"/>
          </ac:graphicFrameMkLst>
        </pc:graphicFrameChg>
        <pc:graphicFrameChg chg="add del mod replST">
          <ac:chgData name="Abdi, Adnan" userId="503e002c-9b3b-4180-87fb-acabeb2b158a" providerId="ADAL" clId="{5C2CD6D4-C7A9-4CEF-AA9C-BC2977F70622}" dt="2024-02-21T17:22:05.237" v="50588"/>
          <ac:graphicFrameMkLst>
            <pc:docMk/>
            <pc:sldMk cId="805076339" sldId="2147483586"/>
            <ac:graphicFrameMk id="3" creationId="{08A72176-FB18-6F27-06BB-3E03ECA43353}"/>
          </ac:graphicFrameMkLst>
        </pc:graphicFrameChg>
        <pc:graphicFrameChg chg="add del mod replST">
          <ac:chgData name="Abdi, Adnan" userId="503e002c-9b3b-4180-87fb-acabeb2b158a" providerId="ADAL" clId="{5C2CD6D4-C7A9-4CEF-AA9C-BC2977F70622}" dt="2024-02-21T17:22:07.958" v="50665"/>
          <ac:graphicFrameMkLst>
            <pc:docMk/>
            <pc:sldMk cId="805076339" sldId="2147483586"/>
            <ac:graphicFrameMk id="7" creationId="{187DB4E6-7B90-85A4-871D-4C31E100C349}"/>
          </ac:graphicFrameMkLst>
        </pc:graphicFrameChg>
        <pc:graphicFrameChg chg="mod ord modGraphic">
          <ac:chgData name="Abdi, Adnan" userId="503e002c-9b3b-4180-87fb-acabeb2b158a" providerId="ADAL" clId="{5C2CD6D4-C7A9-4CEF-AA9C-BC2977F70622}" dt="2024-02-23T19:01:37.954" v="72976" actId="20577"/>
          <ac:graphicFrameMkLst>
            <pc:docMk/>
            <pc:sldMk cId="805076339" sldId="2147483586"/>
            <ac:graphicFrameMk id="8" creationId="{149D169D-9ABE-5F57-E16B-9A3195D5CB29}"/>
          </ac:graphicFrameMkLst>
        </pc:graphicFrameChg>
        <pc:graphicFrameChg chg="add del mod replST">
          <ac:chgData name="Abdi, Adnan" userId="503e002c-9b3b-4180-87fb-acabeb2b158a" providerId="ADAL" clId="{5C2CD6D4-C7A9-4CEF-AA9C-BC2977F70622}" dt="2024-02-21T17:26:44.373" v="50757"/>
          <ac:graphicFrameMkLst>
            <pc:docMk/>
            <pc:sldMk cId="805076339" sldId="2147483586"/>
            <ac:graphicFrameMk id="9" creationId="{DEC002DF-EA69-DA69-97A0-59DF3828B94F}"/>
          </ac:graphicFrameMkLst>
        </pc:graphicFrameChg>
        <pc:graphicFrameChg chg="add del mod replST">
          <ac:chgData name="Abdi, Adnan" userId="503e002c-9b3b-4180-87fb-acabeb2b158a" providerId="ADAL" clId="{5C2CD6D4-C7A9-4CEF-AA9C-BC2977F70622}" dt="2024-02-21T17:47:17.288" v="51430"/>
          <ac:graphicFrameMkLst>
            <pc:docMk/>
            <pc:sldMk cId="805076339" sldId="2147483586"/>
            <ac:graphicFrameMk id="10" creationId="{8569D933-6A72-C76D-DA96-834EA658DF40}"/>
          </ac:graphicFrameMkLst>
        </pc:graphicFrameChg>
        <pc:graphicFrameChg chg="mod">
          <ac:chgData name="Abdi, Adnan" userId="503e002c-9b3b-4180-87fb-acabeb2b158a" providerId="ADAL" clId="{5C2CD6D4-C7A9-4CEF-AA9C-BC2977F70622}" dt="2024-02-21T17:48:44.207" v="51942"/>
          <ac:graphicFrameMkLst>
            <pc:docMk/>
            <pc:sldMk cId="805076339" sldId="2147483586"/>
            <ac:graphicFrameMk id="16" creationId="{38CD42A9-5F70-6F2E-B937-4F607A4B417C}"/>
          </ac:graphicFrameMkLst>
        </pc:graphicFrameChg>
        <pc:graphicFrameChg chg="add del mod replST">
          <ac:chgData name="Abdi, Adnan" userId="503e002c-9b3b-4180-87fb-acabeb2b158a" providerId="ADAL" clId="{5C2CD6D4-C7A9-4CEF-AA9C-BC2977F70622}" dt="2024-02-21T17:47:19.848" v="51508"/>
          <ac:graphicFrameMkLst>
            <pc:docMk/>
            <pc:sldMk cId="805076339" sldId="2147483586"/>
            <ac:graphicFrameMk id="17" creationId="{CAC47B5C-B179-5CA5-9EF6-BFE52A19BE8E}"/>
          </ac:graphicFrameMkLst>
        </pc:graphicFrameChg>
        <pc:graphicFrameChg chg="add del mod replST">
          <ac:chgData name="Abdi, Adnan" userId="503e002c-9b3b-4180-87fb-acabeb2b158a" providerId="ADAL" clId="{5C2CD6D4-C7A9-4CEF-AA9C-BC2977F70622}" dt="2024-02-21T17:48:32.553" v="51632"/>
          <ac:graphicFrameMkLst>
            <pc:docMk/>
            <pc:sldMk cId="805076339" sldId="2147483586"/>
            <ac:graphicFrameMk id="18" creationId="{AA746C61-3904-E160-1D4A-5D821AE161D4}"/>
          </ac:graphicFrameMkLst>
        </pc:graphicFrameChg>
        <pc:graphicFrameChg chg="add del mod replST">
          <ac:chgData name="Abdi, Adnan" userId="503e002c-9b3b-4180-87fb-acabeb2b158a" providerId="ADAL" clId="{5C2CD6D4-C7A9-4CEF-AA9C-BC2977F70622}" dt="2024-02-21T17:48:35.593" v="51710"/>
          <ac:graphicFrameMkLst>
            <pc:docMk/>
            <pc:sldMk cId="805076339" sldId="2147483586"/>
            <ac:graphicFrameMk id="19" creationId="{5E2D90A7-AFBF-D957-92B6-0D0B9A338332}"/>
          </ac:graphicFrameMkLst>
        </pc:graphicFrameChg>
        <pc:graphicFrameChg chg="add del mod replST">
          <ac:chgData name="Abdi, Adnan" userId="503e002c-9b3b-4180-87fb-acabeb2b158a" providerId="ADAL" clId="{5C2CD6D4-C7A9-4CEF-AA9C-BC2977F70622}" dt="2024-02-21T17:48:41.936" v="51788"/>
          <ac:graphicFrameMkLst>
            <pc:docMk/>
            <pc:sldMk cId="805076339" sldId="2147483586"/>
            <ac:graphicFrameMk id="20" creationId="{31A21FD4-1A5E-7E71-0187-B595EB3F220A}"/>
          </ac:graphicFrameMkLst>
        </pc:graphicFrameChg>
        <pc:graphicFrameChg chg="add del mod replST">
          <ac:chgData name="Abdi, Adnan" userId="503e002c-9b3b-4180-87fb-acabeb2b158a" providerId="ADAL" clId="{5C2CD6D4-C7A9-4CEF-AA9C-BC2977F70622}" dt="2024-02-21T17:48:44.113" v="51866"/>
          <ac:graphicFrameMkLst>
            <pc:docMk/>
            <pc:sldMk cId="805076339" sldId="2147483586"/>
            <ac:graphicFrameMk id="21" creationId="{4D2C1C56-3305-47FB-630E-2833F7806026}"/>
          </ac:graphicFrameMkLst>
        </pc:graphicFrameChg>
        <pc:graphicFrameChg chg="add mod replST">
          <ac:chgData name="Abdi, Adnan" userId="503e002c-9b3b-4180-87fb-acabeb2b158a" providerId="ADAL" clId="{5C2CD6D4-C7A9-4CEF-AA9C-BC2977F70622}" dt="2024-02-21T17:48:44.161" v="51879"/>
          <ac:graphicFrameMkLst>
            <pc:docMk/>
            <pc:sldMk cId="805076339" sldId="2147483586"/>
            <ac:graphicFrameMk id="22" creationId="{8FC87AFB-BD7C-4EEE-DC08-B84567211E41}"/>
          </ac:graphicFrameMkLst>
        </pc:graphicFrameChg>
        <pc:graphicFrameChg chg="del">
          <ac:chgData name="Abdi, Adnan" userId="503e002c-9b3b-4180-87fb-acabeb2b158a" providerId="ADAL" clId="{5C2CD6D4-C7A9-4CEF-AA9C-BC2977F70622}" dt="2024-02-21T16:08:15.733" v="44902"/>
          <ac:graphicFrameMkLst>
            <pc:docMk/>
            <pc:sldMk cId="805076339" sldId="2147483586"/>
            <ac:graphicFrameMk id="171" creationId="{31F879B2-CCDA-20D1-FACC-A4505368472A}"/>
          </ac:graphicFrameMkLst>
        </pc:graphicFrameChg>
        <pc:cxnChg chg="mod ord">
          <ac:chgData name="Abdi, Adnan" userId="503e002c-9b3b-4180-87fb-acabeb2b158a" providerId="ADAL" clId="{5C2CD6D4-C7A9-4CEF-AA9C-BC2977F70622}" dt="2024-02-21T17:48:44.160" v="51878"/>
          <ac:cxnSpMkLst>
            <pc:docMk/>
            <pc:sldMk cId="805076339" sldId="2147483586"/>
            <ac:cxnSpMk id="12" creationId="{6A6E4E9F-0335-24BA-FF2F-80D45E4BC7CD}"/>
          </ac:cxnSpMkLst>
        </pc:cxnChg>
      </pc:sldChg>
      <pc:sldChg chg="addSp delSp modSp add mod modClrScheme modShow chgLayout modNotes">
        <pc:chgData name="Abdi, Adnan" userId="503e002c-9b3b-4180-87fb-acabeb2b158a" providerId="ADAL" clId="{5C2CD6D4-C7A9-4CEF-AA9C-BC2977F70622}" dt="2024-02-21T12:25:09.291" v="39490"/>
        <pc:sldMkLst>
          <pc:docMk/>
          <pc:sldMk cId="1036427297" sldId="2147483586"/>
        </pc:sldMkLst>
        <pc:spChg chg="mod ord">
          <ac:chgData name="Abdi, Adnan" userId="503e002c-9b3b-4180-87fb-acabeb2b158a" providerId="ADAL" clId="{5C2CD6D4-C7A9-4CEF-AA9C-BC2977F70622}" dt="2024-02-21T12:23:05.956" v="39470"/>
          <ac:spMkLst>
            <pc:docMk/>
            <pc:sldMk cId="1036427297" sldId="2147483586"/>
            <ac:spMk id="4" creationId="{262773ED-D36A-881A-BBCC-06333F2FBA32}"/>
          </ac:spMkLst>
        </pc:spChg>
        <pc:spChg chg="del mod">
          <ac:chgData name="Abdi, Adnan" userId="503e002c-9b3b-4180-87fb-acabeb2b158a" providerId="ADAL" clId="{5C2CD6D4-C7A9-4CEF-AA9C-BC2977F70622}" dt="2024-02-21T12:12:42.087" v="39014" actId="478"/>
          <ac:spMkLst>
            <pc:docMk/>
            <pc:sldMk cId="1036427297" sldId="2147483586"/>
            <ac:spMk id="9" creationId="{B96488FC-CD0D-0172-EEA2-6AF43FB0F0C3}"/>
          </ac:spMkLst>
        </pc:spChg>
        <pc:spChg chg="mod">
          <ac:chgData name="Abdi, Adnan" userId="503e002c-9b3b-4180-87fb-acabeb2b158a" providerId="ADAL" clId="{5C2CD6D4-C7A9-4CEF-AA9C-BC2977F70622}" dt="2024-02-21T12:23:05.947" v="39451"/>
          <ac:spMkLst>
            <pc:docMk/>
            <pc:sldMk cId="1036427297" sldId="2147483586"/>
            <ac:spMk id="24" creationId="{6537DC89-F377-B4DB-5732-2BEDF435F80E}"/>
          </ac:spMkLst>
        </pc:spChg>
        <pc:spChg chg="mod">
          <ac:chgData name="Abdi, Adnan" userId="503e002c-9b3b-4180-87fb-acabeb2b158a" providerId="ADAL" clId="{5C2CD6D4-C7A9-4CEF-AA9C-BC2977F70622}" dt="2024-02-21T12:23:05.948" v="39452"/>
          <ac:spMkLst>
            <pc:docMk/>
            <pc:sldMk cId="1036427297" sldId="2147483586"/>
            <ac:spMk id="25" creationId="{EB9E5D9D-7CB6-4EB6-0D26-019B8A18CBC6}"/>
          </ac:spMkLst>
        </pc:spChg>
        <pc:spChg chg="mod">
          <ac:chgData name="Abdi, Adnan" userId="503e002c-9b3b-4180-87fb-acabeb2b158a" providerId="ADAL" clId="{5C2CD6D4-C7A9-4CEF-AA9C-BC2977F70622}" dt="2024-02-21T12:23:05.948" v="39453"/>
          <ac:spMkLst>
            <pc:docMk/>
            <pc:sldMk cId="1036427297" sldId="2147483586"/>
            <ac:spMk id="26" creationId="{5295E371-481A-1922-EA81-3B1743E92F88}"/>
          </ac:spMkLst>
        </pc:spChg>
        <pc:spChg chg="mod">
          <ac:chgData name="Abdi, Adnan" userId="503e002c-9b3b-4180-87fb-acabeb2b158a" providerId="ADAL" clId="{5C2CD6D4-C7A9-4CEF-AA9C-BC2977F70622}" dt="2024-02-21T12:23:05.949" v="39454"/>
          <ac:spMkLst>
            <pc:docMk/>
            <pc:sldMk cId="1036427297" sldId="2147483586"/>
            <ac:spMk id="27" creationId="{BD5A5F1F-2C78-A2CD-26B6-335913E7A245}"/>
          </ac:spMkLst>
        </pc:spChg>
        <pc:spChg chg="mod ord">
          <ac:chgData name="Abdi, Adnan" userId="503e002c-9b3b-4180-87fb-acabeb2b158a" providerId="ADAL" clId="{5C2CD6D4-C7A9-4CEF-AA9C-BC2977F70622}" dt="2024-02-21T12:23:05.940" v="39422"/>
          <ac:spMkLst>
            <pc:docMk/>
            <pc:sldMk cId="1036427297" sldId="2147483586"/>
            <ac:spMk id="28" creationId="{D0F2F533-F545-9A04-3036-9EB7EFE10B6A}"/>
          </ac:spMkLst>
        </pc:spChg>
        <pc:spChg chg="mod ord">
          <ac:chgData name="Abdi, Adnan" userId="503e002c-9b3b-4180-87fb-acabeb2b158a" providerId="ADAL" clId="{5C2CD6D4-C7A9-4CEF-AA9C-BC2977F70622}" dt="2024-02-21T12:23:05.941" v="39424"/>
          <ac:spMkLst>
            <pc:docMk/>
            <pc:sldMk cId="1036427297" sldId="2147483586"/>
            <ac:spMk id="29" creationId="{559E3F9E-D1D4-C364-DAE1-F7DAE8D40310}"/>
          </ac:spMkLst>
        </pc:spChg>
        <pc:spChg chg="mod ord">
          <ac:chgData name="Abdi, Adnan" userId="503e002c-9b3b-4180-87fb-acabeb2b158a" providerId="ADAL" clId="{5C2CD6D4-C7A9-4CEF-AA9C-BC2977F70622}" dt="2024-02-21T12:23:05.941" v="39426"/>
          <ac:spMkLst>
            <pc:docMk/>
            <pc:sldMk cId="1036427297" sldId="2147483586"/>
            <ac:spMk id="30" creationId="{B49E7DF5-CBA9-46D8-3F84-D394D0352659}"/>
          </ac:spMkLst>
        </pc:spChg>
        <pc:spChg chg="mod ord">
          <ac:chgData name="Abdi, Adnan" userId="503e002c-9b3b-4180-87fb-acabeb2b158a" providerId="ADAL" clId="{5C2CD6D4-C7A9-4CEF-AA9C-BC2977F70622}" dt="2024-02-21T12:23:05.942" v="39428"/>
          <ac:spMkLst>
            <pc:docMk/>
            <pc:sldMk cId="1036427297" sldId="2147483586"/>
            <ac:spMk id="31" creationId="{22A38F90-2A60-EACC-D81E-16339E98DE25}"/>
          </ac:spMkLst>
        </pc:spChg>
        <pc:spChg chg="mod ord">
          <ac:chgData name="Abdi, Adnan" userId="503e002c-9b3b-4180-87fb-acabeb2b158a" providerId="ADAL" clId="{5C2CD6D4-C7A9-4CEF-AA9C-BC2977F70622}" dt="2024-02-21T12:23:05.942" v="39430"/>
          <ac:spMkLst>
            <pc:docMk/>
            <pc:sldMk cId="1036427297" sldId="2147483586"/>
            <ac:spMk id="32" creationId="{16973211-1C9C-6AA5-986B-1EA00156E9D1}"/>
          </ac:spMkLst>
        </pc:spChg>
        <pc:spChg chg="mod ord">
          <ac:chgData name="Abdi, Adnan" userId="503e002c-9b3b-4180-87fb-acabeb2b158a" providerId="ADAL" clId="{5C2CD6D4-C7A9-4CEF-AA9C-BC2977F70622}" dt="2024-02-21T12:23:05.942" v="39432"/>
          <ac:spMkLst>
            <pc:docMk/>
            <pc:sldMk cId="1036427297" sldId="2147483586"/>
            <ac:spMk id="33" creationId="{AAA4FCA3-E88C-997D-79FB-CFD1DCFA495E}"/>
          </ac:spMkLst>
        </pc:spChg>
        <pc:spChg chg="mod">
          <ac:chgData name="Abdi, Adnan" userId="503e002c-9b3b-4180-87fb-acabeb2b158a" providerId="ADAL" clId="{5C2CD6D4-C7A9-4CEF-AA9C-BC2977F70622}" dt="2024-02-21T12:23:05.949" v="39455"/>
          <ac:spMkLst>
            <pc:docMk/>
            <pc:sldMk cId="1036427297" sldId="2147483586"/>
            <ac:spMk id="34" creationId="{0C27ED2B-DD9E-8A06-15BC-A15060906198}"/>
          </ac:spMkLst>
        </pc:spChg>
        <pc:spChg chg="mod">
          <ac:chgData name="Abdi, Adnan" userId="503e002c-9b3b-4180-87fb-acabeb2b158a" providerId="ADAL" clId="{5C2CD6D4-C7A9-4CEF-AA9C-BC2977F70622}" dt="2024-02-21T12:23:05.950" v="39456"/>
          <ac:spMkLst>
            <pc:docMk/>
            <pc:sldMk cId="1036427297" sldId="2147483586"/>
            <ac:spMk id="35" creationId="{0B535C3F-5565-5370-FD6F-70C2031A0239}"/>
          </ac:spMkLst>
        </pc:spChg>
        <pc:spChg chg="mod ord">
          <ac:chgData name="Abdi, Adnan" userId="503e002c-9b3b-4180-87fb-acabeb2b158a" providerId="ADAL" clId="{5C2CD6D4-C7A9-4CEF-AA9C-BC2977F70622}" dt="2024-02-21T12:23:05.943" v="39434"/>
          <ac:spMkLst>
            <pc:docMk/>
            <pc:sldMk cId="1036427297" sldId="2147483586"/>
            <ac:spMk id="37" creationId="{19C61A89-EF11-F97F-C85F-3BF2157BD852}"/>
          </ac:spMkLst>
        </pc:spChg>
        <pc:spChg chg="mod ord">
          <ac:chgData name="Abdi, Adnan" userId="503e002c-9b3b-4180-87fb-acabeb2b158a" providerId="ADAL" clId="{5C2CD6D4-C7A9-4CEF-AA9C-BC2977F70622}" dt="2024-02-21T12:23:05.943" v="39436"/>
          <ac:spMkLst>
            <pc:docMk/>
            <pc:sldMk cId="1036427297" sldId="2147483586"/>
            <ac:spMk id="38" creationId="{755B70D6-EB26-64E1-B9C6-2800DDAFA023}"/>
          </ac:spMkLst>
        </pc:spChg>
        <pc:spChg chg="mod ord">
          <ac:chgData name="Abdi, Adnan" userId="503e002c-9b3b-4180-87fb-acabeb2b158a" providerId="ADAL" clId="{5C2CD6D4-C7A9-4CEF-AA9C-BC2977F70622}" dt="2024-02-21T12:23:05.944" v="39438"/>
          <ac:spMkLst>
            <pc:docMk/>
            <pc:sldMk cId="1036427297" sldId="2147483586"/>
            <ac:spMk id="39" creationId="{C2EEE899-C965-7810-9351-EFEAB67255B9}"/>
          </ac:spMkLst>
        </pc:spChg>
        <pc:spChg chg="mod ord">
          <ac:chgData name="Abdi, Adnan" userId="503e002c-9b3b-4180-87fb-acabeb2b158a" providerId="ADAL" clId="{5C2CD6D4-C7A9-4CEF-AA9C-BC2977F70622}" dt="2024-02-21T12:23:05.944" v="39440"/>
          <ac:spMkLst>
            <pc:docMk/>
            <pc:sldMk cId="1036427297" sldId="2147483586"/>
            <ac:spMk id="40" creationId="{AE48ECA3-0B3F-4EAC-7D79-633E0E511B92}"/>
          </ac:spMkLst>
        </pc:spChg>
        <pc:spChg chg="mod ord">
          <ac:chgData name="Abdi, Adnan" userId="503e002c-9b3b-4180-87fb-acabeb2b158a" providerId="ADAL" clId="{5C2CD6D4-C7A9-4CEF-AA9C-BC2977F70622}" dt="2024-02-21T12:23:05.945" v="39442"/>
          <ac:spMkLst>
            <pc:docMk/>
            <pc:sldMk cId="1036427297" sldId="2147483586"/>
            <ac:spMk id="41" creationId="{D45B152F-8042-DA74-14EA-FB7376462E93}"/>
          </ac:spMkLst>
        </pc:spChg>
        <pc:spChg chg="mod ord">
          <ac:chgData name="Abdi, Adnan" userId="503e002c-9b3b-4180-87fb-acabeb2b158a" providerId="ADAL" clId="{5C2CD6D4-C7A9-4CEF-AA9C-BC2977F70622}" dt="2024-02-21T12:23:05.945" v="39444"/>
          <ac:spMkLst>
            <pc:docMk/>
            <pc:sldMk cId="1036427297" sldId="2147483586"/>
            <ac:spMk id="42" creationId="{BCFC615A-E11C-6B4B-89C7-0F28E3F26638}"/>
          </ac:spMkLst>
        </pc:spChg>
        <pc:spChg chg="mod ord">
          <ac:chgData name="Abdi, Adnan" userId="503e002c-9b3b-4180-87fb-acabeb2b158a" providerId="ADAL" clId="{5C2CD6D4-C7A9-4CEF-AA9C-BC2977F70622}" dt="2024-02-21T12:23:05.946" v="39446"/>
          <ac:spMkLst>
            <pc:docMk/>
            <pc:sldMk cId="1036427297" sldId="2147483586"/>
            <ac:spMk id="43" creationId="{84A6B2E0-03F1-D30B-D3DD-5B9A6ED49988}"/>
          </ac:spMkLst>
        </pc:spChg>
        <pc:spChg chg="mod ord">
          <ac:chgData name="Abdi, Adnan" userId="503e002c-9b3b-4180-87fb-acabeb2b158a" providerId="ADAL" clId="{5C2CD6D4-C7A9-4CEF-AA9C-BC2977F70622}" dt="2024-02-21T12:23:05.946" v="39448"/>
          <ac:spMkLst>
            <pc:docMk/>
            <pc:sldMk cId="1036427297" sldId="2147483586"/>
            <ac:spMk id="44" creationId="{B5A3133E-A60A-AEA5-76BB-2CE799F215EF}"/>
          </ac:spMkLst>
        </pc:spChg>
        <pc:spChg chg="mod ord">
          <ac:chgData name="Abdi, Adnan" userId="503e002c-9b3b-4180-87fb-acabeb2b158a" providerId="ADAL" clId="{5C2CD6D4-C7A9-4CEF-AA9C-BC2977F70622}" dt="2024-02-21T12:23:05.947" v="39450"/>
          <ac:spMkLst>
            <pc:docMk/>
            <pc:sldMk cId="1036427297" sldId="2147483586"/>
            <ac:spMk id="45" creationId="{6EB64CD5-754D-AE4F-86AE-1F8B5B1713FB}"/>
          </ac:spMkLst>
        </pc:spChg>
        <pc:spChg chg="mod">
          <ac:chgData name="Abdi, Adnan" userId="503e002c-9b3b-4180-87fb-acabeb2b158a" providerId="ADAL" clId="{5C2CD6D4-C7A9-4CEF-AA9C-BC2977F70622}" dt="2024-02-21T12:23:05.950" v="39457"/>
          <ac:spMkLst>
            <pc:docMk/>
            <pc:sldMk cId="1036427297" sldId="2147483586"/>
            <ac:spMk id="46" creationId="{AC3EC8E5-234D-4C9C-ED79-ABBA88A8781B}"/>
          </ac:spMkLst>
        </pc:spChg>
        <pc:spChg chg="mod ord">
          <ac:chgData name="Abdi, Adnan" userId="503e002c-9b3b-4180-87fb-acabeb2b158a" providerId="ADAL" clId="{5C2CD6D4-C7A9-4CEF-AA9C-BC2977F70622}" dt="2024-02-21T12:23:05.938" v="39415"/>
          <ac:spMkLst>
            <pc:docMk/>
            <pc:sldMk cId="1036427297" sldId="2147483586"/>
            <ac:spMk id="47" creationId="{EE6D6F96-9A48-5A44-B2F4-6EBF4B5BD7A0}"/>
          </ac:spMkLst>
        </pc:spChg>
        <pc:spChg chg="mod">
          <ac:chgData name="Abdi, Adnan" userId="503e002c-9b3b-4180-87fb-acabeb2b158a" providerId="ADAL" clId="{5C2CD6D4-C7A9-4CEF-AA9C-BC2977F70622}" dt="2024-02-21T12:23:05.951" v="39458"/>
          <ac:spMkLst>
            <pc:docMk/>
            <pc:sldMk cId="1036427297" sldId="2147483586"/>
            <ac:spMk id="48" creationId="{1338A0EB-4480-935A-AE83-68669C06A456}"/>
          </ac:spMkLst>
        </pc:spChg>
        <pc:spChg chg="mod">
          <ac:chgData name="Abdi, Adnan" userId="503e002c-9b3b-4180-87fb-acabeb2b158a" providerId="ADAL" clId="{5C2CD6D4-C7A9-4CEF-AA9C-BC2977F70622}" dt="2024-02-21T12:23:05.951" v="39459"/>
          <ac:spMkLst>
            <pc:docMk/>
            <pc:sldMk cId="1036427297" sldId="2147483586"/>
            <ac:spMk id="49" creationId="{07B36BCC-DA94-8BA3-0969-D57D7419C328}"/>
          </ac:spMkLst>
        </pc:spChg>
        <pc:spChg chg="mod ord">
          <ac:chgData name="Abdi, Adnan" userId="503e002c-9b3b-4180-87fb-acabeb2b158a" providerId="ADAL" clId="{5C2CD6D4-C7A9-4CEF-AA9C-BC2977F70622}" dt="2024-02-21T12:23:05.940" v="39420"/>
          <ac:spMkLst>
            <pc:docMk/>
            <pc:sldMk cId="1036427297" sldId="2147483586"/>
            <ac:spMk id="50" creationId="{6F34BE38-CBE8-109E-FAA7-E5BAB23CB198}"/>
          </ac:spMkLst>
        </pc:spChg>
        <pc:spChg chg="mod">
          <ac:chgData name="Abdi, Adnan" userId="503e002c-9b3b-4180-87fb-acabeb2b158a" providerId="ADAL" clId="{5C2CD6D4-C7A9-4CEF-AA9C-BC2977F70622}" dt="2024-02-21T12:23:05.952" v="39460"/>
          <ac:spMkLst>
            <pc:docMk/>
            <pc:sldMk cId="1036427297" sldId="2147483586"/>
            <ac:spMk id="51" creationId="{B92F7A82-09B0-0AB3-246C-DD62FF9CF8A2}"/>
          </ac:spMkLst>
        </pc:spChg>
        <pc:spChg chg="mod">
          <ac:chgData name="Abdi, Adnan" userId="503e002c-9b3b-4180-87fb-acabeb2b158a" providerId="ADAL" clId="{5C2CD6D4-C7A9-4CEF-AA9C-BC2977F70622}" dt="2024-02-21T12:23:05.952" v="39461"/>
          <ac:spMkLst>
            <pc:docMk/>
            <pc:sldMk cId="1036427297" sldId="2147483586"/>
            <ac:spMk id="52" creationId="{50C38333-C424-B82E-3C4C-77B6D9FFB4CC}"/>
          </ac:spMkLst>
        </pc:spChg>
        <pc:spChg chg="mod">
          <ac:chgData name="Abdi, Adnan" userId="503e002c-9b3b-4180-87fb-acabeb2b158a" providerId="ADAL" clId="{5C2CD6D4-C7A9-4CEF-AA9C-BC2977F70622}" dt="2024-02-21T12:23:05.953" v="39462"/>
          <ac:spMkLst>
            <pc:docMk/>
            <pc:sldMk cId="1036427297" sldId="2147483586"/>
            <ac:spMk id="53" creationId="{CCFA7DED-A5B1-B2C4-C3FD-A42E51E9B608}"/>
          </ac:spMkLst>
        </pc:spChg>
        <pc:spChg chg="mod">
          <ac:chgData name="Abdi, Adnan" userId="503e002c-9b3b-4180-87fb-acabeb2b158a" providerId="ADAL" clId="{5C2CD6D4-C7A9-4CEF-AA9C-BC2977F70622}" dt="2024-02-21T12:23:05.953" v="39463"/>
          <ac:spMkLst>
            <pc:docMk/>
            <pc:sldMk cId="1036427297" sldId="2147483586"/>
            <ac:spMk id="54" creationId="{9879CB70-FBAA-BA5D-E903-8ED6A6384CC1}"/>
          </ac:spMkLst>
        </pc:spChg>
        <pc:spChg chg="mod">
          <ac:chgData name="Abdi, Adnan" userId="503e002c-9b3b-4180-87fb-acabeb2b158a" providerId="ADAL" clId="{5C2CD6D4-C7A9-4CEF-AA9C-BC2977F70622}" dt="2024-02-21T12:23:05.954" v="39464"/>
          <ac:spMkLst>
            <pc:docMk/>
            <pc:sldMk cId="1036427297" sldId="2147483586"/>
            <ac:spMk id="55" creationId="{532DA259-E3FE-6E41-8F88-37FDA4913528}"/>
          </ac:spMkLst>
        </pc:spChg>
        <pc:spChg chg="mod">
          <ac:chgData name="Abdi, Adnan" userId="503e002c-9b3b-4180-87fb-acabeb2b158a" providerId="ADAL" clId="{5C2CD6D4-C7A9-4CEF-AA9C-BC2977F70622}" dt="2024-02-21T12:23:05.954" v="39465"/>
          <ac:spMkLst>
            <pc:docMk/>
            <pc:sldMk cId="1036427297" sldId="2147483586"/>
            <ac:spMk id="56" creationId="{51C7A53B-A596-144A-E07B-71D66B88C5F6}"/>
          </ac:spMkLst>
        </pc:spChg>
        <pc:spChg chg="mod">
          <ac:chgData name="Abdi, Adnan" userId="503e002c-9b3b-4180-87fb-acabeb2b158a" providerId="ADAL" clId="{5C2CD6D4-C7A9-4CEF-AA9C-BC2977F70622}" dt="2024-02-21T12:23:05.955" v="39466"/>
          <ac:spMkLst>
            <pc:docMk/>
            <pc:sldMk cId="1036427297" sldId="2147483586"/>
            <ac:spMk id="57" creationId="{A6C7348E-02C3-4170-8E15-15FD629E6F1B}"/>
          </ac:spMkLst>
        </pc:spChg>
        <pc:spChg chg="mod">
          <ac:chgData name="Abdi, Adnan" userId="503e002c-9b3b-4180-87fb-acabeb2b158a" providerId="ADAL" clId="{5C2CD6D4-C7A9-4CEF-AA9C-BC2977F70622}" dt="2024-02-21T12:23:05.955" v="39467"/>
          <ac:spMkLst>
            <pc:docMk/>
            <pc:sldMk cId="1036427297" sldId="2147483586"/>
            <ac:spMk id="58" creationId="{1ED07146-2464-D683-B847-AF4E1A6EA433}"/>
          </ac:spMkLst>
        </pc:spChg>
        <pc:spChg chg="mod">
          <ac:chgData name="Abdi, Adnan" userId="503e002c-9b3b-4180-87fb-acabeb2b158a" providerId="ADAL" clId="{5C2CD6D4-C7A9-4CEF-AA9C-BC2977F70622}" dt="2024-02-21T12:23:05.956" v="39468"/>
          <ac:spMkLst>
            <pc:docMk/>
            <pc:sldMk cId="1036427297" sldId="2147483586"/>
            <ac:spMk id="59" creationId="{C2B9D283-941B-4AD0-4158-12D180CEF844}"/>
          </ac:spMkLst>
        </pc:spChg>
        <pc:spChg chg="add mod">
          <ac:chgData name="Abdi, Adnan" userId="503e002c-9b3b-4180-87fb-acabeb2b158a" providerId="ADAL" clId="{5C2CD6D4-C7A9-4CEF-AA9C-BC2977F70622}" dt="2024-02-20T10:03:12.864" v="14626"/>
          <ac:spMkLst>
            <pc:docMk/>
            <pc:sldMk cId="1036427297" sldId="2147483586"/>
            <ac:spMk id="87" creationId="{7259F144-0407-6D6D-893C-2393740AD6EE}"/>
          </ac:spMkLst>
        </pc:spChg>
        <pc:spChg chg="add del">
          <ac:chgData name="Abdi, Adnan" userId="503e002c-9b3b-4180-87fb-acabeb2b158a" providerId="ADAL" clId="{5C2CD6D4-C7A9-4CEF-AA9C-BC2977F70622}" dt="2024-02-20T10:03:20.931" v="14628" actId="22"/>
          <ac:spMkLst>
            <pc:docMk/>
            <pc:sldMk cId="1036427297" sldId="2147483586"/>
            <ac:spMk id="89" creationId="{1E4CC284-3A74-8A15-EF94-1F3C020B0FD6}"/>
          </ac:spMkLst>
        </pc:spChg>
        <pc:spChg chg="add del mod">
          <ac:chgData name="Abdi, Adnan" userId="503e002c-9b3b-4180-87fb-acabeb2b158a" providerId="ADAL" clId="{5C2CD6D4-C7A9-4CEF-AA9C-BC2977F70622}" dt="2024-02-20T10:05:43.156" v="15758"/>
          <ac:spMkLst>
            <pc:docMk/>
            <pc:sldMk cId="1036427297" sldId="2147483586"/>
            <ac:spMk id="90" creationId="{FBFD139E-FCAC-4AEB-986F-3A6BCF4CDBB3}"/>
          </ac:spMkLst>
        </pc:spChg>
        <pc:spChg chg="add del mod">
          <ac:chgData name="Abdi, Adnan" userId="503e002c-9b3b-4180-87fb-acabeb2b158a" providerId="ADAL" clId="{5C2CD6D4-C7A9-4CEF-AA9C-BC2977F70622}" dt="2024-02-20T12:32:46.621" v="16670" actId="478"/>
          <ac:spMkLst>
            <pc:docMk/>
            <pc:sldMk cId="1036427297" sldId="2147483586"/>
            <ac:spMk id="94" creationId="{9BC88575-F14C-EF15-2584-BCFCBC11969D}"/>
          </ac:spMkLst>
        </pc:spChg>
        <pc:spChg chg="add del mod">
          <ac:chgData name="Abdi, Adnan" userId="503e002c-9b3b-4180-87fb-acabeb2b158a" providerId="ADAL" clId="{5C2CD6D4-C7A9-4CEF-AA9C-BC2977F70622}" dt="2024-02-21T11:15:49.473" v="32895" actId="478"/>
          <ac:spMkLst>
            <pc:docMk/>
            <pc:sldMk cId="1036427297" sldId="2147483586"/>
            <ac:spMk id="95" creationId="{549C350C-A202-A18E-21EF-A31C96D356A9}"/>
          </ac:spMkLst>
        </pc:spChg>
        <pc:spChg chg="add del mod">
          <ac:chgData name="Abdi, Adnan" userId="503e002c-9b3b-4180-87fb-acabeb2b158a" providerId="ADAL" clId="{5C2CD6D4-C7A9-4CEF-AA9C-BC2977F70622}" dt="2024-02-21T12:16:58.491" v="39057" actId="478"/>
          <ac:spMkLst>
            <pc:docMk/>
            <pc:sldMk cId="1036427297" sldId="2147483586"/>
            <ac:spMk id="162" creationId="{774CAC82-D618-4B2B-D40D-FA4FAC4CA2FC}"/>
          </ac:spMkLst>
        </pc:spChg>
        <pc:spChg chg="add mod ord">
          <ac:chgData name="Abdi, Adnan" userId="503e002c-9b3b-4180-87fb-acabeb2b158a" providerId="ADAL" clId="{5C2CD6D4-C7A9-4CEF-AA9C-BC2977F70622}" dt="2024-02-21T12:23:05.957" v="39472"/>
          <ac:spMkLst>
            <pc:docMk/>
            <pc:sldMk cId="1036427297" sldId="2147483586"/>
            <ac:spMk id="163" creationId="{2D9AF636-C56F-701C-CD7E-36960884DDA5}"/>
          </ac:spMkLst>
        </pc:spChg>
        <pc:spChg chg="add del mod ord">
          <ac:chgData name="Abdi, Adnan" userId="503e002c-9b3b-4180-87fb-acabeb2b158a" providerId="ADAL" clId="{5C2CD6D4-C7A9-4CEF-AA9C-BC2977F70622}" dt="2024-02-21T12:12:32.185" v="39011" actId="478"/>
          <ac:spMkLst>
            <pc:docMk/>
            <pc:sldMk cId="1036427297" sldId="2147483586"/>
            <ac:spMk id="164" creationId="{D94FD7FC-0C93-6C9D-FF31-C862401AC8B1}"/>
          </ac:spMkLst>
        </pc:spChg>
        <pc:spChg chg="add del mod ord">
          <ac:chgData name="Abdi, Adnan" userId="503e002c-9b3b-4180-87fb-acabeb2b158a" providerId="ADAL" clId="{5C2CD6D4-C7A9-4CEF-AA9C-BC2977F70622}" dt="2024-02-21T12:12:35.253" v="39012" actId="478"/>
          <ac:spMkLst>
            <pc:docMk/>
            <pc:sldMk cId="1036427297" sldId="2147483586"/>
            <ac:spMk id="165" creationId="{DB9C182F-FC34-399F-1C91-A24C958EE2EA}"/>
          </ac:spMkLst>
        </pc:spChg>
        <pc:spChg chg="add mod ord">
          <ac:chgData name="Abdi, Adnan" userId="503e002c-9b3b-4180-87fb-acabeb2b158a" providerId="ADAL" clId="{5C2CD6D4-C7A9-4CEF-AA9C-BC2977F70622}" dt="2024-02-21T12:23:05.957" v="39474"/>
          <ac:spMkLst>
            <pc:docMk/>
            <pc:sldMk cId="1036427297" sldId="2147483586"/>
            <ac:spMk id="166" creationId="{48CB80BD-D636-1035-CAFE-C326AC04C376}"/>
          </ac:spMkLst>
        </pc:spChg>
        <pc:spChg chg="add mod ord">
          <ac:chgData name="Abdi, Adnan" userId="503e002c-9b3b-4180-87fb-acabeb2b158a" providerId="ADAL" clId="{5C2CD6D4-C7A9-4CEF-AA9C-BC2977F70622}" dt="2024-02-21T12:23:05.958" v="39476"/>
          <ac:spMkLst>
            <pc:docMk/>
            <pc:sldMk cId="1036427297" sldId="2147483586"/>
            <ac:spMk id="167" creationId="{2A14BFD3-52DC-05A0-349E-82A57B5F3CAC}"/>
          </ac:spMkLst>
        </pc:spChg>
        <pc:graphicFrameChg chg="add del">
          <ac:chgData name="Abdi, Adnan" userId="503e002c-9b3b-4180-87fb-acabeb2b158a" providerId="ADAL" clId="{5C2CD6D4-C7A9-4CEF-AA9C-BC2977F70622}" dt="2024-02-21T12:22:24.767" v="39251"/>
          <ac:graphicFrameMkLst>
            <pc:docMk/>
            <pc:sldMk cId="1036427297" sldId="2147483586"/>
            <ac:graphicFrameMk id="2" creationId="{0076813C-1D47-21FA-635C-284DFDCA2C66}"/>
          </ac:graphicFrameMkLst>
        </pc:graphicFrameChg>
        <pc:graphicFrameChg chg="add del mod replST">
          <ac:chgData name="Abdi, Adnan" userId="503e002c-9b3b-4180-87fb-acabeb2b158a" providerId="ADAL" clId="{5C2CD6D4-C7A9-4CEF-AA9C-BC2977F70622}" dt="2024-02-20T09:44:19.353" v="11101"/>
          <ac:graphicFrameMkLst>
            <pc:docMk/>
            <pc:sldMk cId="1036427297" sldId="2147483586"/>
            <ac:graphicFrameMk id="2" creationId="{D2AB8711-E8CB-BFC9-F001-2C03104F11B3}"/>
          </ac:graphicFrameMkLst>
        </pc:graphicFrameChg>
        <pc:graphicFrameChg chg="del">
          <ac:chgData name="Abdi, Adnan" userId="503e002c-9b3b-4180-87fb-acabeb2b158a" providerId="ADAL" clId="{5C2CD6D4-C7A9-4CEF-AA9C-BC2977F70622}" dt="2024-02-20T09:44:04.764" v="11027"/>
          <ac:graphicFrameMkLst>
            <pc:docMk/>
            <pc:sldMk cId="1036427297" sldId="2147483586"/>
            <ac:graphicFrameMk id="3" creationId="{EB27C8B4-9D94-2B98-E099-ACA40261083A}"/>
          </ac:graphicFrameMkLst>
        </pc:graphicFrameChg>
        <pc:graphicFrameChg chg="add del mod replST">
          <ac:chgData name="Abdi, Adnan" userId="503e002c-9b3b-4180-87fb-acabeb2b158a" providerId="ADAL" clId="{5C2CD6D4-C7A9-4CEF-AA9C-BC2977F70622}" dt="2024-02-20T09:44:59.670" v="11184"/>
          <ac:graphicFrameMkLst>
            <pc:docMk/>
            <pc:sldMk cId="1036427297" sldId="2147483586"/>
            <ac:graphicFrameMk id="5" creationId="{662B3EE9-4486-4CD2-293F-BE60EFF3B5E5}"/>
          </ac:graphicFrameMkLst>
        </pc:graphicFrameChg>
        <pc:graphicFrameChg chg="add del mod replST">
          <ac:chgData name="Abdi, Adnan" userId="503e002c-9b3b-4180-87fb-acabeb2b158a" providerId="ADAL" clId="{5C2CD6D4-C7A9-4CEF-AA9C-BC2977F70622}" dt="2024-02-20T09:45:03.499" v="11256"/>
          <ac:graphicFrameMkLst>
            <pc:docMk/>
            <pc:sldMk cId="1036427297" sldId="2147483586"/>
            <ac:graphicFrameMk id="6" creationId="{D60869E9-40A5-2CEF-36F3-6EE21C4412B6}"/>
          </ac:graphicFrameMkLst>
        </pc:graphicFrameChg>
        <pc:graphicFrameChg chg="add del mod replST">
          <ac:chgData name="Abdi, Adnan" userId="503e002c-9b3b-4180-87fb-acabeb2b158a" providerId="ADAL" clId="{5C2CD6D4-C7A9-4CEF-AA9C-BC2977F70622}" dt="2024-02-20T09:45:09.176" v="11430"/>
          <ac:graphicFrameMkLst>
            <pc:docMk/>
            <pc:sldMk cId="1036427297" sldId="2147483586"/>
            <ac:graphicFrameMk id="7" creationId="{7303A375-FF7B-0436-22E7-BF587BFFB706}"/>
          </ac:graphicFrameMkLst>
        </pc:graphicFrameChg>
        <pc:graphicFrameChg chg="mod ord modGraphic">
          <ac:chgData name="Abdi, Adnan" userId="503e002c-9b3b-4180-87fb-acabeb2b158a" providerId="ADAL" clId="{5C2CD6D4-C7A9-4CEF-AA9C-BC2977F70622}" dt="2024-02-21T12:25:09.291" v="39490"/>
          <ac:graphicFrameMkLst>
            <pc:docMk/>
            <pc:sldMk cId="1036427297" sldId="2147483586"/>
            <ac:graphicFrameMk id="8" creationId="{149D169D-9ABE-5F57-E16B-9A3195D5CB29}"/>
          </ac:graphicFrameMkLst>
        </pc:graphicFrameChg>
        <pc:graphicFrameChg chg="add mod replST delST">
          <ac:chgData name="Abdi, Adnan" userId="503e002c-9b3b-4180-87fb-acabeb2b158a" providerId="ADAL" clId="{5C2CD6D4-C7A9-4CEF-AA9C-BC2977F70622}" dt="2024-02-20T09:45:05.683" v="11426"/>
          <ac:graphicFrameMkLst>
            <pc:docMk/>
            <pc:sldMk cId="1036427297" sldId="2147483586"/>
            <ac:graphicFrameMk id="10" creationId="{28B753FD-37DC-4B69-B94C-683BE41C60C6}"/>
          </ac:graphicFrameMkLst>
        </pc:graphicFrameChg>
        <pc:graphicFrameChg chg="add del mod replST">
          <ac:chgData name="Abdi, Adnan" userId="503e002c-9b3b-4180-87fb-acabeb2b158a" providerId="ADAL" clId="{5C2CD6D4-C7A9-4CEF-AA9C-BC2977F70622}" dt="2024-02-20T09:45:10.848" v="11502"/>
          <ac:graphicFrameMkLst>
            <pc:docMk/>
            <pc:sldMk cId="1036427297" sldId="2147483586"/>
            <ac:graphicFrameMk id="11" creationId="{9979135C-4C61-2056-0CBC-CD31C6DD6A09}"/>
          </ac:graphicFrameMkLst>
        </pc:graphicFrameChg>
        <pc:graphicFrameChg chg="add del mod replST">
          <ac:chgData name="Abdi, Adnan" userId="503e002c-9b3b-4180-87fb-acabeb2b158a" providerId="ADAL" clId="{5C2CD6D4-C7A9-4CEF-AA9C-BC2977F70622}" dt="2024-02-20T09:45:12.221" v="11574"/>
          <ac:graphicFrameMkLst>
            <pc:docMk/>
            <pc:sldMk cId="1036427297" sldId="2147483586"/>
            <ac:graphicFrameMk id="13" creationId="{8FC1E00B-08C9-3965-2F25-787DEC7DA747}"/>
          </ac:graphicFrameMkLst>
        </pc:graphicFrameChg>
        <pc:graphicFrameChg chg="add del mod replST">
          <ac:chgData name="Abdi, Adnan" userId="503e002c-9b3b-4180-87fb-acabeb2b158a" providerId="ADAL" clId="{5C2CD6D4-C7A9-4CEF-AA9C-BC2977F70622}" dt="2024-02-20T09:45:15.143" v="11646"/>
          <ac:graphicFrameMkLst>
            <pc:docMk/>
            <pc:sldMk cId="1036427297" sldId="2147483586"/>
            <ac:graphicFrameMk id="14" creationId="{654B4B02-2315-01F7-DBED-F88F2E44052B}"/>
          </ac:graphicFrameMkLst>
        </pc:graphicFrameChg>
        <pc:graphicFrameChg chg="add del mod replST">
          <ac:chgData name="Abdi, Adnan" userId="503e002c-9b3b-4180-87fb-acabeb2b158a" providerId="ADAL" clId="{5C2CD6D4-C7A9-4CEF-AA9C-BC2977F70622}" dt="2024-02-20T09:45:17.295" v="11718"/>
          <ac:graphicFrameMkLst>
            <pc:docMk/>
            <pc:sldMk cId="1036427297" sldId="2147483586"/>
            <ac:graphicFrameMk id="15" creationId="{A3407B93-610B-70B1-5F50-51C728E11C59}"/>
          </ac:graphicFrameMkLst>
        </pc:graphicFrameChg>
        <pc:graphicFrameChg chg="mod">
          <ac:chgData name="Abdi, Adnan" userId="503e002c-9b3b-4180-87fb-acabeb2b158a" providerId="ADAL" clId="{5C2CD6D4-C7A9-4CEF-AA9C-BC2977F70622}" dt="2024-02-21T12:23:05.968" v="39480"/>
          <ac:graphicFrameMkLst>
            <pc:docMk/>
            <pc:sldMk cId="1036427297" sldId="2147483586"/>
            <ac:graphicFrameMk id="16" creationId="{38CD42A9-5F70-6F2E-B937-4F607A4B417C}"/>
          </ac:graphicFrameMkLst>
        </pc:graphicFrameChg>
        <pc:graphicFrameChg chg="add del mod replST">
          <ac:chgData name="Abdi, Adnan" userId="503e002c-9b3b-4180-87fb-acabeb2b158a" providerId="ADAL" clId="{5C2CD6D4-C7A9-4CEF-AA9C-BC2977F70622}" dt="2024-02-20T09:45:27.971" v="11790"/>
          <ac:graphicFrameMkLst>
            <pc:docMk/>
            <pc:sldMk cId="1036427297" sldId="2147483586"/>
            <ac:graphicFrameMk id="17" creationId="{A6E8CFCA-5BCF-3390-6FC6-2265EA5C93E0}"/>
          </ac:graphicFrameMkLst>
        </pc:graphicFrameChg>
        <pc:graphicFrameChg chg="add del mod replST">
          <ac:chgData name="Abdi, Adnan" userId="503e002c-9b3b-4180-87fb-acabeb2b158a" providerId="ADAL" clId="{5C2CD6D4-C7A9-4CEF-AA9C-BC2977F70622}" dt="2024-02-20T09:45:33.383" v="11862"/>
          <ac:graphicFrameMkLst>
            <pc:docMk/>
            <pc:sldMk cId="1036427297" sldId="2147483586"/>
            <ac:graphicFrameMk id="18" creationId="{E5C0D303-8D14-D16E-7647-B3E696BB6F0F}"/>
          </ac:graphicFrameMkLst>
        </pc:graphicFrameChg>
        <pc:graphicFrameChg chg="add del mod replST">
          <ac:chgData name="Abdi, Adnan" userId="503e002c-9b3b-4180-87fb-acabeb2b158a" providerId="ADAL" clId="{5C2CD6D4-C7A9-4CEF-AA9C-BC2977F70622}" dt="2024-02-20T09:45:36.422" v="11934"/>
          <ac:graphicFrameMkLst>
            <pc:docMk/>
            <pc:sldMk cId="1036427297" sldId="2147483586"/>
            <ac:graphicFrameMk id="19" creationId="{EC05BE32-3E71-9C36-AF97-84FCAC0DF8AF}"/>
          </ac:graphicFrameMkLst>
        </pc:graphicFrameChg>
        <pc:graphicFrameChg chg="add del mod replST">
          <ac:chgData name="Abdi, Adnan" userId="503e002c-9b3b-4180-87fb-acabeb2b158a" providerId="ADAL" clId="{5C2CD6D4-C7A9-4CEF-AA9C-BC2977F70622}" dt="2024-02-20T09:45:38.069" v="12006"/>
          <ac:graphicFrameMkLst>
            <pc:docMk/>
            <pc:sldMk cId="1036427297" sldId="2147483586"/>
            <ac:graphicFrameMk id="20" creationId="{25C671D3-05F2-AF38-456F-73CFBDDB2059}"/>
          </ac:graphicFrameMkLst>
        </pc:graphicFrameChg>
        <pc:graphicFrameChg chg="add del mod replST">
          <ac:chgData name="Abdi, Adnan" userId="503e002c-9b3b-4180-87fb-acabeb2b158a" providerId="ADAL" clId="{5C2CD6D4-C7A9-4CEF-AA9C-BC2977F70622}" dt="2024-02-20T09:45:58.945" v="12180"/>
          <ac:graphicFrameMkLst>
            <pc:docMk/>
            <pc:sldMk cId="1036427297" sldId="2147483586"/>
            <ac:graphicFrameMk id="21" creationId="{C0159B42-A0B7-821C-644E-38FF0B3B108C}"/>
          </ac:graphicFrameMkLst>
        </pc:graphicFrameChg>
        <pc:graphicFrameChg chg="add mod replST delST">
          <ac:chgData name="Abdi, Adnan" userId="503e002c-9b3b-4180-87fb-acabeb2b158a" providerId="ADAL" clId="{5C2CD6D4-C7A9-4CEF-AA9C-BC2977F70622}" dt="2024-02-20T09:45:56.047" v="12176"/>
          <ac:graphicFrameMkLst>
            <pc:docMk/>
            <pc:sldMk cId="1036427297" sldId="2147483586"/>
            <ac:graphicFrameMk id="22" creationId="{16CA3324-E04A-9B83-D4AD-1CA3730EB66A}"/>
          </ac:graphicFrameMkLst>
        </pc:graphicFrameChg>
        <pc:graphicFrameChg chg="add del mod replST">
          <ac:chgData name="Abdi, Adnan" userId="503e002c-9b3b-4180-87fb-acabeb2b158a" providerId="ADAL" clId="{5C2CD6D4-C7A9-4CEF-AA9C-BC2977F70622}" dt="2024-02-20T09:46:01.650" v="12252"/>
          <ac:graphicFrameMkLst>
            <pc:docMk/>
            <pc:sldMk cId="1036427297" sldId="2147483586"/>
            <ac:graphicFrameMk id="23" creationId="{74CBE92D-7D79-A487-D32C-08EF94F3210F}"/>
          </ac:graphicFrameMkLst>
        </pc:graphicFrameChg>
        <pc:graphicFrameChg chg="add del mod replST">
          <ac:chgData name="Abdi, Adnan" userId="503e002c-9b3b-4180-87fb-acabeb2b158a" providerId="ADAL" clId="{5C2CD6D4-C7A9-4CEF-AA9C-BC2977F70622}" dt="2024-02-20T09:46:09.350" v="12324"/>
          <ac:graphicFrameMkLst>
            <pc:docMk/>
            <pc:sldMk cId="1036427297" sldId="2147483586"/>
            <ac:graphicFrameMk id="36" creationId="{F78E7E58-A760-93E8-4318-5D47BBF7EBAA}"/>
          </ac:graphicFrameMkLst>
        </pc:graphicFrameChg>
        <pc:graphicFrameChg chg="add del mod replST">
          <ac:chgData name="Abdi, Adnan" userId="503e002c-9b3b-4180-87fb-acabeb2b158a" providerId="ADAL" clId="{5C2CD6D4-C7A9-4CEF-AA9C-BC2977F70622}" dt="2024-02-20T09:46:13.058" v="12396"/>
          <ac:graphicFrameMkLst>
            <pc:docMk/>
            <pc:sldMk cId="1036427297" sldId="2147483586"/>
            <ac:graphicFrameMk id="60" creationId="{79C2F178-4E96-3159-8981-E95500356A3A}"/>
          </ac:graphicFrameMkLst>
        </pc:graphicFrameChg>
        <pc:graphicFrameChg chg="add del mod replST">
          <ac:chgData name="Abdi, Adnan" userId="503e002c-9b3b-4180-87fb-acabeb2b158a" providerId="ADAL" clId="{5C2CD6D4-C7A9-4CEF-AA9C-BC2977F70622}" dt="2024-02-20T09:46:16.018" v="12468"/>
          <ac:graphicFrameMkLst>
            <pc:docMk/>
            <pc:sldMk cId="1036427297" sldId="2147483586"/>
            <ac:graphicFrameMk id="61" creationId="{441AA85D-5F00-A8E6-F71E-816A1171D07D}"/>
          </ac:graphicFrameMkLst>
        </pc:graphicFrameChg>
        <pc:graphicFrameChg chg="add del mod replST">
          <ac:chgData name="Abdi, Adnan" userId="503e002c-9b3b-4180-87fb-acabeb2b158a" providerId="ADAL" clId="{5C2CD6D4-C7A9-4CEF-AA9C-BC2977F70622}" dt="2024-02-20T09:46:20.142" v="12540"/>
          <ac:graphicFrameMkLst>
            <pc:docMk/>
            <pc:sldMk cId="1036427297" sldId="2147483586"/>
            <ac:graphicFrameMk id="62" creationId="{A18B6D31-48BF-8554-07EF-D261E842C15F}"/>
          </ac:graphicFrameMkLst>
        </pc:graphicFrameChg>
        <pc:graphicFrameChg chg="add del mod replST">
          <ac:chgData name="Abdi, Adnan" userId="503e002c-9b3b-4180-87fb-acabeb2b158a" providerId="ADAL" clId="{5C2CD6D4-C7A9-4CEF-AA9C-BC2977F70622}" dt="2024-02-20T09:49:15.702" v="12679"/>
          <ac:graphicFrameMkLst>
            <pc:docMk/>
            <pc:sldMk cId="1036427297" sldId="2147483586"/>
            <ac:graphicFrameMk id="63" creationId="{01C1BD28-92F8-B177-1CFF-9DE1709944A1}"/>
          </ac:graphicFrameMkLst>
        </pc:graphicFrameChg>
        <pc:graphicFrameChg chg="add del mod replST">
          <ac:chgData name="Abdi, Adnan" userId="503e002c-9b3b-4180-87fb-acabeb2b158a" providerId="ADAL" clId="{5C2CD6D4-C7A9-4CEF-AA9C-BC2977F70622}" dt="2024-02-20T09:49:17.236" v="12751"/>
          <ac:graphicFrameMkLst>
            <pc:docMk/>
            <pc:sldMk cId="1036427297" sldId="2147483586"/>
            <ac:graphicFrameMk id="64" creationId="{F6ED6772-4A64-2453-2064-0FFCCDF2CEF1}"/>
          </ac:graphicFrameMkLst>
        </pc:graphicFrameChg>
        <pc:graphicFrameChg chg="add del mod replST">
          <ac:chgData name="Abdi, Adnan" userId="503e002c-9b3b-4180-87fb-acabeb2b158a" providerId="ADAL" clId="{5C2CD6D4-C7A9-4CEF-AA9C-BC2977F70622}" dt="2024-02-20T09:49:27.683" v="12823"/>
          <ac:graphicFrameMkLst>
            <pc:docMk/>
            <pc:sldMk cId="1036427297" sldId="2147483586"/>
            <ac:graphicFrameMk id="65" creationId="{5A151AC8-50BA-34D5-1C80-AA8627F796FE}"/>
          </ac:graphicFrameMkLst>
        </pc:graphicFrameChg>
        <pc:graphicFrameChg chg="add del mod replST">
          <ac:chgData name="Abdi, Adnan" userId="503e002c-9b3b-4180-87fb-acabeb2b158a" providerId="ADAL" clId="{5C2CD6D4-C7A9-4CEF-AA9C-BC2977F70622}" dt="2024-02-20T09:50:15.568" v="13126"/>
          <ac:graphicFrameMkLst>
            <pc:docMk/>
            <pc:sldMk cId="1036427297" sldId="2147483586"/>
            <ac:graphicFrameMk id="66" creationId="{0777F375-C57C-456A-FF1B-D57E55313713}"/>
          </ac:graphicFrameMkLst>
        </pc:graphicFrameChg>
        <pc:graphicFrameChg chg="add del mod replST delST">
          <ac:chgData name="Abdi, Adnan" userId="503e002c-9b3b-4180-87fb-acabeb2b158a" providerId="ADAL" clId="{5C2CD6D4-C7A9-4CEF-AA9C-BC2977F70622}" dt="2024-02-20T09:50:09.779" v="13122"/>
          <ac:graphicFrameMkLst>
            <pc:docMk/>
            <pc:sldMk cId="1036427297" sldId="2147483586"/>
            <ac:graphicFrameMk id="67" creationId="{D1DE09A7-6C98-E13B-BF23-C2570202996B}"/>
          </ac:graphicFrameMkLst>
        </pc:graphicFrameChg>
        <pc:graphicFrameChg chg="add mod replST delST">
          <ac:chgData name="Abdi, Adnan" userId="503e002c-9b3b-4180-87fb-acabeb2b158a" providerId="ADAL" clId="{5C2CD6D4-C7A9-4CEF-AA9C-BC2977F70622}" dt="2024-02-20T09:50:06.788" v="13091"/>
          <ac:graphicFrameMkLst>
            <pc:docMk/>
            <pc:sldMk cId="1036427297" sldId="2147483586"/>
            <ac:graphicFrameMk id="68" creationId="{E5F2FED1-8BAB-A085-6DE6-A976D1B9C513}"/>
          </ac:graphicFrameMkLst>
        </pc:graphicFrameChg>
        <pc:graphicFrameChg chg="add del mod replST">
          <ac:chgData name="Abdi, Adnan" userId="503e002c-9b3b-4180-87fb-acabeb2b158a" providerId="ADAL" clId="{5C2CD6D4-C7A9-4CEF-AA9C-BC2977F70622}" dt="2024-02-20T09:50:17.551" v="13198"/>
          <ac:graphicFrameMkLst>
            <pc:docMk/>
            <pc:sldMk cId="1036427297" sldId="2147483586"/>
            <ac:graphicFrameMk id="69" creationId="{F0DAF7A9-AF38-87E6-405C-B9BAD03BA05C}"/>
          </ac:graphicFrameMkLst>
        </pc:graphicFrameChg>
        <pc:graphicFrameChg chg="add del mod replST">
          <ac:chgData name="Abdi, Adnan" userId="503e002c-9b3b-4180-87fb-acabeb2b158a" providerId="ADAL" clId="{5C2CD6D4-C7A9-4CEF-AA9C-BC2977F70622}" dt="2024-02-20T09:50:19.877" v="13270"/>
          <ac:graphicFrameMkLst>
            <pc:docMk/>
            <pc:sldMk cId="1036427297" sldId="2147483586"/>
            <ac:graphicFrameMk id="70" creationId="{9B366570-B6BC-DA6B-AA46-33BB803F1FBE}"/>
          </ac:graphicFrameMkLst>
        </pc:graphicFrameChg>
        <pc:graphicFrameChg chg="add del mod replST">
          <ac:chgData name="Abdi, Adnan" userId="503e002c-9b3b-4180-87fb-acabeb2b158a" providerId="ADAL" clId="{5C2CD6D4-C7A9-4CEF-AA9C-BC2977F70622}" dt="2024-02-20T09:50:21.296" v="13342"/>
          <ac:graphicFrameMkLst>
            <pc:docMk/>
            <pc:sldMk cId="1036427297" sldId="2147483586"/>
            <ac:graphicFrameMk id="71" creationId="{9FEF5D50-E5DE-3E20-032D-AE0A5203DE90}"/>
          </ac:graphicFrameMkLst>
        </pc:graphicFrameChg>
        <pc:graphicFrameChg chg="add del mod replST">
          <ac:chgData name="Abdi, Adnan" userId="503e002c-9b3b-4180-87fb-acabeb2b158a" providerId="ADAL" clId="{5C2CD6D4-C7A9-4CEF-AA9C-BC2977F70622}" dt="2024-02-20T09:50:24.935" v="13414"/>
          <ac:graphicFrameMkLst>
            <pc:docMk/>
            <pc:sldMk cId="1036427297" sldId="2147483586"/>
            <ac:graphicFrameMk id="72" creationId="{536F6881-C73E-73F9-3568-239B93BCA181}"/>
          </ac:graphicFrameMkLst>
        </pc:graphicFrameChg>
        <pc:graphicFrameChg chg="add del mod replST">
          <ac:chgData name="Abdi, Adnan" userId="503e002c-9b3b-4180-87fb-acabeb2b158a" providerId="ADAL" clId="{5C2CD6D4-C7A9-4CEF-AA9C-BC2977F70622}" dt="2024-02-20T09:50:34.608" v="13486"/>
          <ac:graphicFrameMkLst>
            <pc:docMk/>
            <pc:sldMk cId="1036427297" sldId="2147483586"/>
            <ac:graphicFrameMk id="73" creationId="{2F6028A1-40A5-ADFE-5601-BFE2696B6D29}"/>
          </ac:graphicFrameMkLst>
        </pc:graphicFrameChg>
        <pc:graphicFrameChg chg="add del mod replST">
          <ac:chgData name="Abdi, Adnan" userId="503e002c-9b3b-4180-87fb-acabeb2b158a" providerId="ADAL" clId="{5C2CD6D4-C7A9-4CEF-AA9C-BC2977F70622}" dt="2024-02-20T10:00:45.854" v="13962"/>
          <ac:graphicFrameMkLst>
            <pc:docMk/>
            <pc:sldMk cId="1036427297" sldId="2147483586"/>
            <ac:graphicFrameMk id="74" creationId="{9D752610-D143-6DBB-CB3E-27A35B4F1168}"/>
          </ac:graphicFrameMkLst>
        </pc:graphicFrameChg>
        <pc:graphicFrameChg chg="add del mod replST delST">
          <ac:chgData name="Abdi, Adnan" userId="503e002c-9b3b-4180-87fb-acabeb2b158a" providerId="ADAL" clId="{5C2CD6D4-C7A9-4CEF-AA9C-BC2977F70622}" dt="2024-02-20T09:51:03.438" v="13759"/>
          <ac:graphicFrameMkLst>
            <pc:docMk/>
            <pc:sldMk cId="1036427297" sldId="2147483586"/>
            <ac:graphicFrameMk id="75" creationId="{A2643572-1B45-7509-DE41-FC54F53E2A15}"/>
          </ac:graphicFrameMkLst>
        </pc:graphicFrameChg>
        <pc:graphicFrameChg chg="add mod replST delST">
          <ac:chgData name="Abdi, Adnan" userId="503e002c-9b3b-4180-87fb-acabeb2b158a" providerId="ADAL" clId="{5C2CD6D4-C7A9-4CEF-AA9C-BC2977F70622}" dt="2024-02-20T09:51:03.158" v="13728"/>
          <ac:graphicFrameMkLst>
            <pc:docMk/>
            <pc:sldMk cId="1036427297" sldId="2147483586"/>
            <ac:graphicFrameMk id="76" creationId="{E046AF2F-F325-72C7-B89F-99BF354092F5}"/>
          </ac:graphicFrameMkLst>
        </pc:graphicFrameChg>
        <pc:graphicFrameChg chg="add del mod replST">
          <ac:chgData name="Abdi, Adnan" userId="503e002c-9b3b-4180-87fb-acabeb2b158a" providerId="ADAL" clId="{5C2CD6D4-C7A9-4CEF-AA9C-BC2977F70622}" dt="2024-02-20T10:00:47.375" v="14034"/>
          <ac:graphicFrameMkLst>
            <pc:docMk/>
            <pc:sldMk cId="1036427297" sldId="2147483586"/>
            <ac:graphicFrameMk id="77" creationId="{1B8689A1-EBBC-7225-3C1B-981C54CA4E49}"/>
          </ac:graphicFrameMkLst>
        </pc:graphicFrameChg>
        <pc:graphicFrameChg chg="add del mod replST">
          <ac:chgData name="Abdi, Adnan" userId="503e002c-9b3b-4180-87fb-acabeb2b158a" providerId="ADAL" clId="{5C2CD6D4-C7A9-4CEF-AA9C-BC2977F70622}" dt="2024-02-20T10:00:48.683" v="14106"/>
          <ac:graphicFrameMkLst>
            <pc:docMk/>
            <pc:sldMk cId="1036427297" sldId="2147483586"/>
            <ac:graphicFrameMk id="78" creationId="{806E0D23-6122-8E63-88F5-D3C9967509DD}"/>
          </ac:graphicFrameMkLst>
        </pc:graphicFrameChg>
        <pc:graphicFrameChg chg="add del mod replST">
          <ac:chgData name="Abdi, Adnan" userId="503e002c-9b3b-4180-87fb-acabeb2b158a" providerId="ADAL" clId="{5C2CD6D4-C7A9-4CEF-AA9C-BC2977F70622}" dt="2024-02-20T10:00:53.310" v="14178"/>
          <ac:graphicFrameMkLst>
            <pc:docMk/>
            <pc:sldMk cId="1036427297" sldId="2147483586"/>
            <ac:graphicFrameMk id="79" creationId="{A8185A07-9D7D-5F1B-DA97-E7E96899CF63}"/>
          </ac:graphicFrameMkLst>
        </pc:graphicFrameChg>
        <pc:graphicFrameChg chg="add del mod replST">
          <ac:chgData name="Abdi, Adnan" userId="503e002c-9b3b-4180-87fb-acabeb2b158a" providerId="ADAL" clId="{5C2CD6D4-C7A9-4CEF-AA9C-BC2977F70622}" dt="2024-02-20T10:00:57.572" v="14250"/>
          <ac:graphicFrameMkLst>
            <pc:docMk/>
            <pc:sldMk cId="1036427297" sldId="2147483586"/>
            <ac:graphicFrameMk id="80" creationId="{3CF9AC35-AA40-E368-392F-1A2B64220AF2}"/>
          </ac:graphicFrameMkLst>
        </pc:graphicFrameChg>
        <pc:graphicFrameChg chg="add del mod replST">
          <ac:chgData name="Abdi, Adnan" userId="503e002c-9b3b-4180-87fb-acabeb2b158a" providerId="ADAL" clId="{5C2CD6D4-C7A9-4CEF-AA9C-BC2977F70622}" dt="2024-02-20T10:01:00.694" v="14322"/>
          <ac:graphicFrameMkLst>
            <pc:docMk/>
            <pc:sldMk cId="1036427297" sldId="2147483586"/>
            <ac:graphicFrameMk id="81" creationId="{E72389AF-E303-B466-766F-89311364A0CE}"/>
          </ac:graphicFrameMkLst>
        </pc:graphicFrameChg>
        <pc:graphicFrameChg chg="add del mod replST">
          <ac:chgData name="Abdi, Adnan" userId="503e002c-9b3b-4180-87fb-acabeb2b158a" providerId="ADAL" clId="{5C2CD6D4-C7A9-4CEF-AA9C-BC2977F70622}" dt="2024-02-20T10:01:03.285" v="14394"/>
          <ac:graphicFrameMkLst>
            <pc:docMk/>
            <pc:sldMk cId="1036427297" sldId="2147483586"/>
            <ac:graphicFrameMk id="82" creationId="{2BFF491E-AC1B-9AA8-34DB-D3B794242864}"/>
          </ac:graphicFrameMkLst>
        </pc:graphicFrameChg>
        <pc:graphicFrameChg chg="add del mod replST">
          <ac:chgData name="Abdi, Adnan" userId="503e002c-9b3b-4180-87fb-acabeb2b158a" providerId="ADAL" clId="{5C2CD6D4-C7A9-4CEF-AA9C-BC2977F70622}" dt="2024-02-20T10:01:05.035" v="14466"/>
          <ac:graphicFrameMkLst>
            <pc:docMk/>
            <pc:sldMk cId="1036427297" sldId="2147483586"/>
            <ac:graphicFrameMk id="83" creationId="{0DF4E4E8-92FE-8FB3-6F36-358EB535D023}"/>
          </ac:graphicFrameMkLst>
        </pc:graphicFrameChg>
        <pc:graphicFrameChg chg="add del mod replST">
          <ac:chgData name="Abdi, Adnan" userId="503e002c-9b3b-4180-87fb-acabeb2b158a" providerId="ADAL" clId="{5C2CD6D4-C7A9-4CEF-AA9C-BC2977F70622}" dt="2024-02-20T10:01:06.391" v="14538"/>
          <ac:graphicFrameMkLst>
            <pc:docMk/>
            <pc:sldMk cId="1036427297" sldId="2147483586"/>
            <ac:graphicFrameMk id="84" creationId="{F68FACBF-84F2-8E0E-2CA7-1123DBB50EA9}"/>
          </ac:graphicFrameMkLst>
        </pc:graphicFrameChg>
        <pc:graphicFrameChg chg="add del mod replST">
          <ac:chgData name="Abdi, Adnan" userId="503e002c-9b3b-4180-87fb-acabeb2b158a" providerId="ADAL" clId="{5C2CD6D4-C7A9-4CEF-AA9C-BC2977F70622}" dt="2024-02-21T11:52:34.836" v="33666"/>
          <ac:graphicFrameMkLst>
            <pc:docMk/>
            <pc:sldMk cId="1036427297" sldId="2147483586"/>
            <ac:graphicFrameMk id="85" creationId="{4F464543-3C4B-ED8A-0962-20F11A5D77F6}"/>
          </ac:graphicFrameMkLst>
        </pc:graphicFrameChg>
        <pc:graphicFrameChg chg="add del mod replST delST">
          <ac:chgData name="Abdi, Adnan" userId="503e002c-9b3b-4180-87fb-acabeb2b158a" providerId="ADAL" clId="{5C2CD6D4-C7A9-4CEF-AA9C-BC2977F70622}" dt="2024-02-20T10:05:42.247" v="15752"/>
          <ac:graphicFrameMkLst>
            <pc:docMk/>
            <pc:sldMk cId="1036427297" sldId="2147483586"/>
            <ac:graphicFrameMk id="91" creationId="{32376D93-F188-F354-F12B-F41165598D53}"/>
          </ac:graphicFrameMkLst>
        </pc:graphicFrameChg>
        <pc:graphicFrameChg chg="add del mod replST delST">
          <ac:chgData name="Abdi, Adnan" userId="503e002c-9b3b-4180-87fb-acabeb2b158a" providerId="ADAL" clId="{5C2CD6D4-C7A9-4CEF-AA9C-BC2977F70622}" dt="2024-02-20T10:05:41.963" v="15648"/>
          <ac:graphicFrameMkLst>
            <pc:docMk/>
            <pc:sldMk cId="1036427297" sldId="2147483586"/>
            <ac:graphicFrameMk id="92" creationId="{F1363E1C-62EA-D027-8635-4ABB430474D8}"/>
          </ac:graphicFrameMkLst>
        </pc:graphicFrameChg>
        <pc:graphicFrameChg chg="add mod replST delST">
          <ac:chgData name="Abdi, Adnan" userId="503e002c-9b3b-4180-87fb-acabeb2b158a" providerId="ADAL" clId="{5C2CD6D4-C7A9-4CEF-AA9C-BC2977F70622}" dt="2024-02-20T10:05:41.700" v="15544"/>
          <ac:graphicFrameMkLst>
            <pc:docMk/>
            <pc:sldMk cId="1036427297" sldId="2147483586"/>
            <ac:graphicFrameMk id="93" creationId="{046DDE35-6395-7908-C553-3FDD191603DE}"/>
          </ac:graphicFrameMkLst>
        </pc:graphicFrameChg>
        <pc:graphicFrameChg chg="add del mod replST">
          <ac:chgData name="Abdi, Adnan" userId="503e002c-9b3b-4180-87fb-acabeb2b158a" providerId="ADAL" clId="{5C2CD6D4-C7A9-4CEF-AA9C-BC2977F70622}" dt="2024-02-21T11:52:39.464" v="33738"/>
          <ac:graphicFrameMkLst>
            <pc:docMk/>
            <pc:sldMk cId="1036427297" sldId="2147483586"/>
            <ac:graphicFrameMk id="97" creationId="{252CDE62-ADAF-E5DC-6977-09C89D4A4CDD}"/>
          </ac:graphicFrameMkLst>
        </pc:graphicFrameChg>
        <pc:graphicFrameChg chg="add del mod replST">
          <ac:chgData name="Abdi, Adnan" userId="503e002c-9b3b-4180-87fb-acabeb2b158a" providerId="ADAL" clId="{5C2CD6D4-C7A9-4CEF-AA9C-BC2977F70622}" dt="2024-02-21T11:52:46.745" v="33810"/>
          <ac:graphicFrameMkLst>
            <pc:docMk/>
            <pc:sldMk cId="1036427297" sldId="2147483586"/>
            <ac:graphicFrameMk id="98" creationId="{CADDBD00-EC11-2AE5-84F7-DE17F4773A86}"/>
          </ac:graphicFrameMkLst>
        </pc:graphicFrameChg>
        <pc:graphicFrameChg chg="add del mod replST">
          <ac:chgData name="Abdi, Adnan" userId="503e002c-9b3b-4180-87fb-acabeb2b158a" providerId="ADAL" clId="{5C2CD6D4-C7A9-4CEF-AA9C-BC2977F70622}" dt="2024-02-21T11:52:50.032" v="33882"/>
          <ac:graphicFrameMkLst>
            <pc:docMk/>
            <pc:sldMk cId="1036427297" sldId="2147483586"/>
            <ac:graphicFrameMk id="99" creationId="{894DB001-AD8B-6E40-3EE4-096C6E08B0EA}"/>
          </ac:graphicFrameMkLst>
        </pc:graphicFrameChg>
        <pc:graphicFrameChg chg="add del mod replST">
          <ac:chgData name="Abdi, Adnan" userId="503e002c-9b3b-4180-87fb-acabeb2b158a" providerId="ADAL" clId="{5C2CD6D4-C7A9-4CEF-AA9C-BC2977F70622}" dt="2024-02-21T11:52:53.333" v="33954"/>
          <ac:graphicFrameMkLst>
            <pc:docMk/>
            <pc:sldMk cId="1036427297" sldId="2147483586"/>
            <ac:graphicFrameMk id="100" creationId="{D846C833-AB7C-C4F5-70E2-40CDF09B26AF}"/>
          </ac:graphicFrameMkLst>
        </pc:graphicFrameChg>
        <pc:graphicFrameChg chg="add del mod replST">
          <ac:chgData name="Abdi, Adnan" userId="503e002c-9b3b-4180-87fb-acabeb2b158a" providerId="ADAL" clId="{5C2CD6D4-C7A9-4CEF-AA9C-BC2977F70622}" dt="2024-02-21T11:52:55.980" v="34026"/>
          <ac:graphicFrameMkLst>
            <pc:docMk/>
            <pc:sldMk cId="1036427297" sldId="2147483586"/>
            <ac:graphicFrameMk id="101" creationId="{A7659711-5441-3A8D-6F49-63D23AB89E59}"/>
          </ac:graphicFrameMkLst>
        </pc:graphicFrameChg>
        <pc:graphicFrameChg chg="add del mod replST">
          <ac:chgData name="Abdi, Adnan" userId="503e002c-9b3b-4180-87fb-acabeb2b158a" providerId="ADAL" clId="{5C2CD6D4-C7A9-4CEF-AA9C-BC2977F70622}" dt="2024-02-21T11:52:59.445" v="34098"/>
          <ac:graphicFrameMkLst>
            <pc:docMk/>
            <pc:sldMk cId="1036427297" sldId="2147483586"/>
            <ac:graphicFrameMk id="102" creationId="{CCE359C8-877C-0EBA-4142-9143396F370E}"/>
          </ac:graphicFrameMkLst>
        </pc:graphicFrameChg>
        <pc:graphicFrameChg chg="add del mod replST">
          <ac:chgData name="Abdi, Adnan" userId="503e002c-9b3b-4180-87fb-acabeb2b158a" providerId="ADAL" clId="{5C2CD6D4-C7A9-4CEF-AA9C-BC2977F70622}" dt="2024-02-21T11:55:29.055" v="34193"/>
          <ac:graphicFrameMkLst>
            <pc:docMk/>
            <pc:sldMk cId="1036427297" sldId="2147483586"/>
            <ac:graphicFrameMk id="103" creationId="{F4A3C3D1-A089-7275-77F2-3B60807F3C6C}"/>
          </ac:graphicFrameMkLst>
        </pc:graphicFrameChg>
        <pc:graphicFrameChg chg="add del mod replST">
          <ac:chgData name="Abdi, Adnan" userId="503e002c-9b3b-4180-87fb-acabeb2b158a" providerId="ADAL" clId="{5C2CD6D4-C7A9-4CEF-AA9C-BC2977F70622}" dt="2024-02-21T11:55:30.720" v="34265"/>
          <ac:graphicFrameMkLst>
            <pc:docMk/>
            <pc:sldMk cId="1036427297" sldId="2147483586"/>
            <ac:graphicFrameMk id="105" creationId="{089F5736-7A20-6373-201F-9EA6B52F238B}"/>
          </ac:graphicFrameMkLst>
        </pc:graphicFrameChg>
        <pc:graphicFrameChg chg="add del mod replST">
          <ac:chgData name="Abdi, Adnan" userId="503e002c-9b3b-4180-87fb-acabeb2b158a" providerId="ADAL" clId="{5C2CD6D4-C7A9-4CEF-AA9C-BC2977F70622}" dt="2024-02-21T11:55:36.027" v="34337"/>
          <ac:graphicFrameMkLst>
            <pc:docMk/>
            <pc:sldMk cId="1036427297" sldId="2147483586"/>
            <ac:graphicFrameMk id="106" creationId="{E069ED14-54CA-FDD6-3D54-5F75FFAC51AE}"/>
          </ac:graphicFrameMkLst>
        </pc:graphicFrameChg>
        <pc:graphicFrameChg chg="add del mod replST">
          <ac:chgData name="Abdi, Adnan" userId="503e002c-9b3b-4180-87fb-acabeb2b158a" providerId="ADAL" clId="{5C2CD6D4-C7A9-4CEF-AA9C-BC2977F70622}" dt="2024-02-21T11:55:42.942" v="34409"/>
          <ac:graphicFrameMkLst>
            <pc:docMk/>
            <pc:sldMk cId="1036427297" sldId="2147483586"/>
            <ac:graphicFrameMk id="107" creationId="{B57248FB-4DA3-72F5-03F2-FB5CF26391F2}"/>
          </ac:graphicFrameMkLst>
        </pc:graphicFrameChg>
        <pc:graphicFrameChg chg="add del mod replST">
          <ac:chgData name="Abdi, Adnan" userId="503e002c-9b3b-4180-87fb-acabeb2b158a" providerId="ADAL" clId="{5C2CD6D4-C7A9-4CEF-AA9C-BC2977F70622}" dt="2024-02-21T11:55:49.188" v="34481"/>
          <ac:graphicFrameMkLst>
            <pc:docMk/>
            <pc:sldMk cId="1036427297" sldId="2147483586"/>
            <ac:graphicFrameMk id="108" creationId="{FD4B0913-DC7C-6829-6505-9A205D0A92AF}"/>
          </ac:graphicFrameMkLst>
        </pc:graphicFrameChg>
        <pc:graphicFrameChg chg="add del mod replST">
          <ac:chgData name="Abdi, Adnan" userId="503e002c-9b3b-4180-87fb-acabeb2b158a" providerId="ADAL" clId="{5C2CD6D4-C7A9-4CEF-AA9C-BC2977F70622}" dt="2024-02-21T11:55:55.396" v="34553"/>
          <ac:graphicFrameMkLst>
            <pc:docMk/>
            <pc:sldMk cId="1036427297" sldId="2147483586"/>
            <ac:graphicFrameMk id="109" creationId="{EC75A938-6F41-4414-45B7-81617C5390D2}"/>
          </ac:graphicFrameMkLst>
        </pc:graphicFrameChg>
        <pc:graphicFrameChg chg="add del mod replST">
          <ac:chgData name="Abdi, Adnan" userId="503e002c-9b3b-4180-87fb-acabeb2b158a" providerId="ADAL" clId="{5C2CD6D4-C7A9-4CEF-AA9C-BC2977F70622}" dt="2024-02-21T11:55:57.639" v="34625"/>
          <ac:graphicFrameMkLst>
            <pc:docMk/>
            <pc:sldMk cId="1036427297" sldId="2147483586"/>
            <ac:graphicFrameMk id="110" creationId="{57F61DE7-39A2-CCB4-27A6-BDA242D4D25E}"/>
          </ac:graphicFrameMkLst>
        </pc:graphicFrameChg>
        <pc:graphicFrameChg chg="add del mod replST">
          <ac:chgData name="Abdi, Adnan" userId="503e002c-9b3b-4180-87fb-acabeb2b158a" providerId="ADAL" clId="{5C2CD6D4-C7A9-4CEF-AA9C-BC2977F70622}" dt="2024-02-21T11:56:05.715" v="34697"/>
          <ac:graphicFrameMkLst>
            <pc:docMk/>
            <pc:sldMk cId="1036427297" sldId="2147483586"/>
            <ac:graphicFrameMk id="111" creationId="{8E93D5F9-B0E1-14CC-66BD-E223AF64124B}"/>
          </ac:graphicFrameMkLst>
        </pc:graphicFrameChg>
        <pc:graphicFrameChg chg="add del mod replST">
          <ac:chgData name="Abdi, Adnan" userId="503e002c-9b3b-4180-87fb-acabeb2b158a" providerId="ADAL" clId="{5C2CD6D4-C7A9-4CEF-AA9C-BC2977F70622}" dt="2024-02-21T11:56:09.968" v="34769"/>
          <ac:graphicFrameMkLst>
            <pc:docMk/>
            <pc:sldMk cId="1036427297" sldId="2147483586"/>
            <ac:graphicFrameMk id="112" creationId="{FA0A6371-0268-1D29-64DD-AE617ECBE9FA}"/>
          </ac:graphicFrameMkLst>
        </pc:graphicFrameChg>
        <pc:graphicFrameChg chg="add del mod replST">
          <ac:chgData name="Abdi, Adnan" userId="503e002c-9b3b-4180-87fb-acabeb2b158a" providerId="ADAL" clId="{5C2CD6D4-C7A9-4CEF-AA9C-BC2977F70622}" dt="2024-02-21T11:56:16.547" v="34841"/>
          <ac:graphicFrameMkLst>
            <pc:docMk/>
            <pc:sldMk cId="1036427297" sldId="2147483586"/>
            <ac:graphicFrameMk id="113" creationId="{17151102-0024-FE8E-AF9F-4ED61B97BDFE}"/>
          </ac:graphicFrameMkLst>
        </pc:graphicFrameChg>
        <pc:graphicFrameChg chg="add del mod replST">
          <ac:chgData name="Abdi, Adnan" userId="503e002c-9b3b-4180-87fb-acabeb2b158a" providerId="ADAL" clId="{5C2CD6D4-C7A9-4CEF-AA9C-BC2977F70622}" dt="2024-02-21T11:56:20.964" v="34913"/>
          <ac:graphicFrameMkLst>
            <pc:docMk/>
            <pc:sldMk cId="1036427297" sldId="2147483586"/>
            <ac:graphicFrameMk id="114" creationId="{E91D8388-26AF-602D-DEBE-70704B4A0B2F}"/>
          </ac:graphicFrameMkLst>
        </pc:graphicFrameChg>
        <pc:graphicFrameChg chg="add del mod replST">
          <ac:chgData name="Abdi, Adnan" userId="503e002c-9b3b-4180-87fb-acabeb2b158a" providerId="ADAL" clId="{5C2CD6D4-C7A9-4CEF-AA9C-BC2977F70622}" dt="2024-02-21T11:56:26.529" v="34985"/>
          <ac:graphicFrameMkLst>
            <pc:docMk/>
            <pc:sldMk cId="1036427297" sldId="2147483586"/>
            <ac:graphicFrameMk id="115" creationId="{241D7559-439F-64CD-59D4-0A0682E33D95}"/>
          </ac:graphicFrameMkLst>
        </pc:graphicFrameChg>
        <pc:graphicFrameChg chg="add del mod replST">
          <ac:chgData name="Abdi, Adnan" userId="503e002c-9b3b-4180-87fb-acabeb2b158a" providerId="ADAL" clId="{5C2CD6D4-C7A9-4CEF-AA9C-BC2977F70622}" dt="2024-02-21T11:56:45.324" v="35057"/>
          <ac:graphicFrameMkLst>
            <pc:docMk/>
            <pc:sldMk cId="1036427297" sldId="2147483586"/>
            <ac:graphicFrameMk id="116" creationId="{BB210778-5EAC-34B1-E4F8-1EE81C82218B}"/>
          </ac:graphicFrameMkLst>
        </pc:graphicFrameChg>
        <pc:graphicFrameChg chg="add del mod replST">
          <ac:chgData name="Abdi, Adnan" userId="503e002c-9b3b-4180-87fb-acabeb2b158a" providerId="ADAL" clId="{5C2CD6D4-C7A9-4CEF-AA9C-BC2977F70622}" dt="2024-02-21T11:56:47.160" v="35129"/>
          <ac:graphicFrameMkLst>
            <pc:docMk/>
            <pc:sldMk cId="1036427297" sldId="2147483586"/>
            <ac:graphicFrameMk id="117" creationId="{431C5069-1527-C0F7-6D32-2193BFFF2AF1}"/>
          </ac:graphicFrameMkLst>
        </pc:graphicFrameChg>
        <pc:graphicFrameChg chg="add del mod replST">
          <ac:chgData name="Abdi, Adnan" userId="503e002c-9b3b-4180-87fb-acabeb2b158a" providerId="ADAL" clId="{5C2CD6D4-C7A9-4CEF-AA9C-BC2977F70622}" dt="2024-02-21T11:56:51.559" v="35201"/>
          <ac:graphicFrameMkLst>
            <pc:docMk/>
            <pc:sldMk cId="1036427297" sldId="2147483586"/>
            <ac:graphicFrameMk id="118" creationId="{AA9D1264-7882-3992-B9AE-C8FE2502C4DE}"/>
          </ac:graphicFrameMkLst>
        </pc:graphicFrameChg>
        <pc:graphicFrameChg chg="add del mod replST">
          <ac:chgData name="Abdi, Adnan" userId="503e002c-9b3b-4180-87fb-acabeb2b158a" providerId="ADAL" clId="{5C2CD6D4-C7A9-4CEF-AA9C-BC2977F70622}" dt="2024-02-21T11:57:01.514" v="35273"/>
          <ac:graphicFrameMkLst>
            <pc:docMk/>
            <pc:sldMk cId="1036427297" sldId="2147483586"/>
            <ac:graphicFrameMk id="119" creationId="{EE309879-E6D5-2AB6-8A7F-4B3BB2ACE378}"/>
          </ac:graphicFrameMkLst>
        </pc:graphicFrameChg>
        <pc:graphicFrameChg chg="add del mod replST">
          <ac:chgData name="Abdi, Adnan" userId="503e002c-9b3b-4180-87fb-acabeb2b158a" providerId="ADAL" clId="{5C2CD6D4-C7A9-4CEF-AA9C-BC2977F70622}" dt="2024-02-21T11:57:03.909" v="35345"/>
          <ac:graphicFrameMkLst>
            <pc:docMk/>
            <pc:sldMk cId="1036427297" sldId="2147483586"/>
            <ac:graphicFrameMk id="120" creationId="{7DA3B5F6-8244-E220-289D-6CD16F752070}"/>
          </ac:graphicFrameMkLst>
        </pc:graphicFrameChg>
        <pc:graphicFrameChg chg="add del mod replST">
          <ac:chgData name="Abdi, Adnan" userId="503e002c-9b3b-4180-87fb-acabeb2b158a" providerId="ADAL" clId="{5C2CD6D4-C7A9-4CEF-AA9C-BC2977F70622}" dt="2024-02-21T11:57:08.037" v="35417"/>
          <ac:graphicFrameMkLst>
            <pc:docMk/>
            <pc:sldMk cId="1036427297" sldId="2147483586"/>
            <ac:graphicFrameMk id="121" creationId="{DB3EF9BC-1CEE-7134-2AB6-FF7FD545DFA9}"/>
          </ac:graphicFrameMkLst>
        </pc:graphicFrameChg>
        <pc:graphicFrameChg chg="add del mod replST">
          <ac:chgData name="Abdi, Adnan" userId="503e002c-9b3b-4180-87fb-acabeb2b158a" providerId="ADAL" clId="{5C2CD6D4-C7A9-4CEF-AA9C-BC2977F70622}" dt="2024-02-21T11:57:10.603" v="35489"/>
          <ac:graphicFrameMkLst>
            <pc:docMk/>
            <pc:sldMk cId="1036427297" sldId="2147483586"/>
            <ac:graphicFrameMk id="122" creationId="{5D80EAA2-6C44-2DEE-E7FE-7EABE140FE63}"/>
          </ac:graphicFrameMkLst>
        </pc:graphicFrameChg>
        <pc:graphicFrameChg chg="add del mod replST">
          <ac:chgData name="Abdi, Adnan" userId="503e002c-9b3b-4180-87fb-acabeb2b158a" providerId="ADAL" clId="{5C2CD6D4-C7A9-4CEF-AA9C-BC2977F70622}" dt="2024-02-21T11:57:14.678" v="35561"/>
          <ac:graphicFrameMkLst>
            <pc:docMk/>
            <pc:sldMk cId="1036427297" sldId="2147483586"/>
            <ac:graphicFrameMk id="123" creationId="{61E934E7-A004-DA23-4EDE-52FB13BDAC21}"/>
          </ac:graphicFrameMkLst>
        </pc:graphicFrameChg>
        <pc:graphicFrameChg chg="add del mod replST">
          <ac:chgData name="Abdi, Adnan" userId="503e002c-9b3b-4180-87fb-acabeb2b158a" providerId="ADAL" clId="{5C2CD6D4-C7A9-4CEF-AA9C-BC2977F70622}" dt="2024-02-21T11:57:19.212" v="35633"/>
          <ac:graphicFrameMkLst>
            <pc:docMk/>
            <pc:sldMk cId="1036427297" sldId="2147483586"/>
            <ac:graphicFrameMk id="124" creationId="{F9398E43-2099-F015-C733-E3740840D3B7}"/>
          </ac:graphicFrameMkLst>
        </pc:graphicFrameChg>
        <pc:graphicFrameChg chg="add del mod replST">
          <ac:chgData name="Abdi, Adnan" userId="503e002c-9b3b-4180-87fb-acabeb2b158a" providerId="ADAL" clId="{5C2CD6D4-C7A9-4CEF-AA9C-BC2977F70622}" dt="2024-02-21T11:57:23.907" v="35705"/>
          <ac:graphicFrameMkLst>
            <pc:docMk/>
            <pc:sldMk cId="1036427297" sldId="2147483586"/>
            <ac:graphicFrameMk id="125" creationId="{200F1069-5749-19C0-BFFB-B86110359120}"/>
          </ac:graphicFrameMkLst>
        </pc:graphicFrameChg>
        <pc:graphicFrameChg chg="add del mod replST">
          <ac:chgData name="Abdi, Adnan" userId="503e002c-9b3b-4180-87fb-acabeb2b158a" providerId="ADAL" clId="{5C2CD6D4-C7A9-4CEF-AA9C-BC2977F70622}" dt="2024-02-21T11:57:27.712" v="35777"/>
          <ac:graphicFrameMkLst>
            <pc:docMk/>
            <pc:sldMk cId="1036427297" sldId="2147483586"/>
            <ac:graphicFrameMk id="126" creationId="{EB02FA5A-230C-7C84-7D0E-DC60E837FA0D}"/>
          </ac:graphicFrameMkLst>
        </pc:graphicFrameChg>
        <pc:graphicFrameChg chg="add del mod replST">
          <ac:chgData name="Abdi, Adnan" userId="503e002c-9b3b-4180-87fb-acabeb2b158a" providerId="ADAL" clId="{5C2CD6D4-C7A9-4CEF-AA9C-BC2977F70622}" dt="2024-02-21T11:57:31.786" v="35849"/>
          <ac:graphicFrameMkLst>
            <pc:docMk/>
            <pc:sldMk cId="1036427297" sldId="2147483586"/>
            <ac:graphicFrameMk id="127" creationId="{76CC606A-5020-2AC7-0B7D-8170B6680F54}"/>
          </ac:graphicFrameMkLst>
        </pc:graphicFrameChg>
        <pc:graphicFrameChg chg="add del mod replST">
          <ac:chgData name="Abdi, Adnan" userId="503e002c-9b3b-4180-87fb-acabeb2b158a" providerId="ADAL" clId="{5C2CD6D4-C7A9-4CEF-AA9C-BC2977F70622}" dt="2024-02-21T11:57:33.765" v="35921"/>
          <ac:graphicFrameMkLst>
            <pc:docMk/>
            <pc:sldMk cId="1036427297" sldId="2147483586"/>
            <ac:graphicFrameMk id="128" creationId="{7FFC0860-1E1F-E5C8-F884-C26CA13E9651}"/>
          </ac:graphicFrameMkLst>
        </pc:graphicFrameChg>
        <pc:graphicFrameChg chg="add del mod replST">
          <ac:chgData name="Abdi, Adnan" userId="503e002c-9b3b-4180-87fb-acabeb2b158a" providerId="ADAL" clId="{5C2CD6D4-C7A9-4CEF-AA9C-BC2977F70622}" dt="2024-02-21T11:57:35.695" v="35993"/>
          <ac:graphicFrameMkLst>
            <pc:docMk/>
            <pc:sldMk cId="1036427297" sldId="2147483586"/>
            <ac:graphicFrameMk id="129" creationId="{243F047F-400C-09D0-B1A1-08D638C9C81E}"/>
          </ac:graphicFrameMkLst>
        </pc:graphicFrameChg>
        <pc:graphicFrameChg chg="add del mod replST">
          <ac:chgData name="Abdi, Adnan" userId="503e002c-9b3b-4180-87fb-acabeb2b158a" providerId="ADAL" clId="{5C2CD6D4-C7A9-4CEF-AA9C-BC2977F70622}" dt="2024-02-21T11:57:48.307" v="36065"/>
          <ac:graphicFrameMkLst>
            <pc:docMk/>
            <pc:sldMk cId="1036427297" sldId="2147483586"/>
            <ac:graphicFrameMk id="130" creationId="{DD0058DD-3E06-0271-CE86-9781620DEA02}"/>
          </ac:graphicFrameMkLst>
        </pc:graphicFrameChg>
        <pc:graphicFrameChg chg="add del mod replST">
          <ac:chgData name="Abdi, Adnan" userId="503e002c-9b3b-4180-87fb-acabeb2b158a" providerId="ADAL" clId="{5C2CD6D4-C7A9-4CEF-AA9C-BC2977F70622}" dt="2024-02-21T11:57:54.638" v="36137"/>
          <ac:graphicFrameMkLst>
            <pc:docMk/>
            <pc:sldMk cId="1036427297" sldId="2147483586"/>
            <ac:graphicFrameMk id="131" creationId="{C0ECD5A3-5E72-73A8-89A8-065C3C80200E}"/>
          </ac:graphicFrameMkLst>
        </pc:graphicFrameChg>
        <pc:graphicFrameChg chg="add del mod replST">
          <ac:chgData name="Abdi, Adnan" userId="503e002c-9b3b-4180-87fb-acabeb2b158a" providerId="ADAL" clId="{5C2CD6D4-C7A9-4CEF-AA9C-BC2977F70622}" dt="2024-02-21T11:58:00.141" v="36209"/>
          <ac:graphicFrameMkLst>
            <pc:docMk/>
            <pc:sldMk cId="1036427297" sldId="2147483586"/>
            <ac:graphicFrameMk id="132" creationId="{2E092F2E-8B65-0CAE-EEA9-909E9B2F1C64}"/>
          </ac:graphicFrameMkLst>
        </pc:graphicFrameChg>
        <pc:graphicFrameChg chg="add del mod replST">
          <ac:chgData name="Abdi, Adnan" userId="503e002c-9b3b-4180-87fb-acabeb2b158a" providerId="ADAL" clId="{5C2CD6D4-C7A9-4CEF-AA9C-BC2977F70622}" dt="2024-02-21T11:58:01.912" v="36281"/>
          <ac:graphicFrameMkLst>
            <pc:docMk/>
            <pc:sldMk cId="1036427297" sldId="2147483586"/>
            <ac:graphicFrameMk id="133" creationId="{CB86FD13-1B79-F1E7-1B5E-F5FCE1DB98BB}"/>
          </ac:graphicFrameMkLst>
        </pc:graphicFrameChg>
        <pc:graphicFrameChg chg="add del mod replST">
          <ac:chgData name="Abdi, Adnan" userId="503e002c-9b3b-4180-87fb-acabeb2b158a" providerId="ADAL" clId="{5C2CD6D4-C7A9-4CEF-AA9C-BC2977F70622}" dt="2024-02-21T11:58:05.356" v="36353"/>
          <ac:graphicFrameMkLst>
            <pc:docMk/>
            <pc:sldMk cId="1036427297" sldId="2147483586"/>
            <ac:graphicFrameMk id="134" creationId="{403529B6-F0C2-FAB8-6A90-389FAE8CFBEF}"/>
          </ac:graphicFrameMkLst>
        </pc:graphicFrameChg>
        <pc:graphicFrameChg chg="add del mod replST">
          <ac:chgData name="Abdi, Adnan" userId="503e002c-9b3b-4180-87fb-acabeb2b158a" providerId="ADAL" clId="{5C2CD6D4-C7A9-4CEF-AA9C-BC2977F70622}" dt="2024-02-21T11:59:45.728" v="36467"/>
          <ac:graphicFrameMkLst>
            <pc:docMk/>
            <pc:sldMk cId="1036427297" sldId="2147483586"/>
            <ac:graphicFrameMk id="135" creationId="{BD856D62-7617-8789-55DB-AC4326F2CC60}"/>
          </ac:graphicFrameMkLst>
        </pc:graphicFrameChg>
        <pc:graphicFrameChg chg="add del mod replST">
          <ac:chgData name="Abdi, Adnan" userId="503e002c-9b3b-4180-87fb-acabeb2b158a" providerId="ADAL" clId="{5C2CD6D4-C7A9-4CEF-AA9C-BC2977F70622}" dt="2024-02-21T11:59:48.437" v="36539"/>
          <ac:graphicFrameMkLst>
            <pc:docMk/>
            <pc:sldMk cId="1036427297" sldId="2147483586"/>
            <ac:graphicFrameMk id="136" creationId="{227D856C-D9ED-75EE-E8DC-39B7BE44684C}"/>
          </ac:graphicFrameMkLst>
        </pc:graphicFrameChg>
        <pc:graphicFrameChg chg="add del mod replST">
          <ac:chgData name="Abdi, Adnan" userId="503e002c-9b3b-4180-87fb-acabeb2b158a" providerId="ADAL" clId="{5C2CD6D4-C7A9-4CEF-AA9C-BC2977F70622}" dt="2024-02-21T11:59:50.997" v="36611"/>
          <ac:graphicFrameMkLst>
            <pc:docMk/>
            <pc:sldMk cId="1036427297" sldId="2147483586"/>
            <ac:graphicFrameMk id="137" creationId="{6443D26D-45F6-5C9C-4EB3-3574CA8D0681}"/>
          </ac:graphicFrameMkLst>
        </pc:graphicFrameChg>
        <pc:graphicFrameChg chg="add del mod replST">
          <ac:chgData name="Abdi, Adnan" userId="503e002c-9b3b-4180-87fb-acabeb2b158a" providerId="ADAL" clId="{5C2CD6D4-C7A9-4CEF-AA9C-BC2977F70622}" dt="2024-02-21T11:59:53.927" v="36683"/>
          <ac:graphicFrameMkLst>
            <pc:docMk/>
            <pc:sldMk cId="1036427297" sldId="2147483586"/>
            <ac:graphicFrameMk id="138" creationId="{C0D8E72E-AC9B-4126-7145-8F9045DA31B9}"/>
          </ac:graphicFrameMkLst>
        </pc:graphicFrameChg>
        <pc:graphicFrameChg chg="add del mod replST">
          <ac:chgData name="Abdi, Adnan" userId="503e002c-9b3b-4180-87fb-acabeb2b158a" providerId="ADAL" clId="{5C2CD6D4-C7A9-4CEF-AA9C-BC2977F70622}" dt="2024-02-21T11:59:55.868" v="36755"/>
          <ac:graphicFrameMkLst>
            <pc:docMk/>
            <pc:sldMk cId="1036427297" sldId="2147483586"/>
            <ac:graphicFrameMk id="139" creationId="{978E3A36-7C62-2F79-9B91-921199805515}"/>
          </ac:graphicFrameMkLst>
        </pc:graphicFrameChg>
        <pc:graphicFrameChg chg="add del mod replST">
          <ac:chgData name="Abdi, Adnan" userId="503e002c-9b3b-4180-87fb-acabeb2b158a" providerId="ADAL" clId="{5C2CD6D4-C7A9-4CEF-AA9C-BC2977F70622}" dt="2024-02-21T11:59:59.101" v="36827"/>
          <ac:graphicFrameMkLst>
            <pc:docMk/>
            <pc:sldMk cId="1036427297" sldId="2147483586"/>
            <ac:graphicFrameMk id="140" creationId="{D3BBEF9A-50AA-F5F4-8070-A237BD854C58}"/>
          </ac:graphicFrameMkLst>
        </pc:graphicFrameChg>
        <pc:graphicFrameChg chg="add del mod replST">
          <ac:chgData name="Abdi, Adnan" userId="503e002c-9b3b-4180-87fb-acabeb2b158a" providerId="ADAL" clId="{5C2CD6D4-C7A9-4CEF-AA9C-BC2977F70622}" dt="2024-02-21T12:00:01.955" v="36899"/>
          <ac:graphicFrameMkLst>
            <pc:docMk/>
            <pc:sldMk cId="1036427297" sldId="2147483586"/>
            <ac:graphicFrameMk id="141" creationId="{FD23B121-2956-E2B4-91B2-79990221BBC1}"/>
          </ac:graphicFrameMkLst>
        </pc:graphicFrameChg>
        <pc:graphicFrameChg chg="add del mod replST">
          <ac:chgData name="Abdi, Adnan" userId="503e002c-9b3b-4180-87fb-acabeb2b158a" providerId="ADAL" clId="{5C2CD6D4-C7A9-4CEF-AA9C-BC2977F70622}" dt="2024-02-21T12:00:07.772" v="36975"/>
          <ac:graphicFrameMkLst>
            <pc:docMk/>
            <pc:sldMk cId="1036427297" sldId="2147483586"/>
            <ac:graphicFrameMk id="142" creationId="{1194B91F-BEA0-5A75-58E6-734DC7E5D1B2}"/>
          </ac:graphicFrameMkLst>
        </pc:graphicFrameChg>
        <pc:graphicFrameChg chg="add del mod replST">
          <ac:chgData name="Abdi, Adnan" userId="503e002c-9b3b-4180-87fb-acabeb2b158a" providerId="ADAL" clId="{5C2CD6D4-C7A9-4CEF-AA9C-BC2977F70622}" dt="2024-02-21T12:10:19.983" v="37704"/>
          <ac:graphicFrameMkLst>
            <pc:docMk/>
            <pc:sldMk cId="1036427297" sldId="2147483586"/>
            <ac:graphicFrameMk id="143" creationId="{E31836AB-2B50-7812-29F2-EB40B139467A}"/>
          </ac:graphicFrameMkLst>
        </pc:graphicFrameChg>
        <pc:graphicFrameChg chg="add del mod replST">
          <ac:chgData name="Abdi, Adnan" userId="503e002c-9b3b-4180-87fb-acabeb2b158a" providerId="ADAL" clId="{5C2CD6D4-C7A9-4CEF-AA9C-BC2977F70622}" dt="2024-02-21T12:10:25.653" v="37776"/>
          <ac:graphicFrameMkLst>
            <pc:docMk/>
            <pc:sldMk cId="1036427297" sldId="2147483586"/>
            <ac:graphicFrameMk id="144" creationId="{59FA57E8-0BF2-CA8B-83D5-5001C7E72E5E}"/>
          </ac:graphicFrameMkLst>
        </pc:graphicFrameChg>
        <pc:graphicFrameChg chg="add del mod replST">
          <ac:chgData name="Abdi, Adnan" userId="503e002c-9b3b-4180-87fb-acabeb2b158a" providerId="ADAL" clId="{5C2CD6D4-C7A9-4CEF-AA9C-BC2977F70622}" dt="2024-02-21T12:10:27.198" v="37848"/>
          <ac:graphicFrameMkLst>
            <pc:docMk/>
            <pc:sldMk cId="1036427297" sldId="2147483586"/>
            <ac:graphicFrameMk id="145" creationId="{DF373BF8-420F-8C95-9705-9440EA01F7B7}"/>
          </ac:graphicFrameMkLst>
        </pc:graphicFrameChg>
        <pc:graphicFrameChg chg="add del mod replST">
          <ac:chgData name="Abdi, Adnan" userId="503e002c-9b3b-4180-87fb-acabeb2b158a" providerId="ADAL" clId="{5C2CD6D4-C7A9-4CEF-AA9C-BC2977F70622}" dt="2024-02-21T12:10:29.313" v="37920"/>
          <ac:graphicFrameMkLst>
            <pc:docMk/>
            <pc:sldMk cId="1036427297" sldId="2147483586"/>
            <ac:graphicFrameMk id="146" creationId="{316A41D3-4D45-E3BE-058F-EDB4D37CB76A}"/>
          </ac:graphicFrameMkLst>
        </pc:graphicFrameChg>
        <pc:graphicFrameChg chg="add del mod replST">
          <ac:chgData name="Abdi, Adnan" userId="503e002c-9b3b-4180-87fb-acabeb2b158a" providerId="ADAL" clId="{5C2CD6D4-C7A9-4CEF-AA9C-BC2977F70622}" dt="2024-02-21T12:10:33.434" v="37992"/>
          <ac:graphicFrameMkLst>
            <pc:docMk/>
            <pc:sldMk cId="1036427297" sldId="2147483586"/>
            <ac:graphicFrameMk id="147" creationId="{87086C5F-E74B-1BE8-6FA0-71082196DAA1}"/>
          </ac:graphicFrameMkLst>
        </pc:graphicFrameChg>
        <pc:graphicFrameChg chg="add del mod replST">
          <ac:chgData name="Abdi, Adnan" userId="503e002c-9b3b-4180-87fb-acabeb2b158a" providerId="ADAL" clId="{5C2CD6D4-C7A9-4CEF-AA9C-BC2977F70622}" dt="2024-02-21T12:10:38.808" v="38064"/>
          <ac:graphicFrameMkLst>
            <pc:docMk/>
            <pc:sldMk cId="1036427297" sldId="2147483586"/>
            <ac:graphicFrameMk id="148" creationId="{A5D6DBA3-42AA-CF54-2CAD-454D0A2F8AD5}"/>
          </ac:graphicFrameMkLst>
        </pc:graphicFrameChg>
        <pc:graphicFrameChg chg="add del mod replST">
          <ac:chgData name="Abdi, Adnan" userId="503e002c-9b3b-4180-87fb-acabeb2b158a" providerId="ADAL" clId="{5C2CD6D4-C7A9-4CEF-AA9C-BC2977F70622}" dt="2024-02-21T12:10:40.590" v="38136"/>
          <ac:graphicFrameMkLst>
            <pc:docMk/>
            <pc:sldMk cId="1036427297" sldId="2147483586"/>
            <ac:graphicFrameMk id="149" creationId="{7638D33A-1718-235C-2F47-E4E9E84A9E26}"/>
          </ac:graphicFrameMkLst>
        </pc:graphicFrameChg>
        <pc:graphicFrameChg chg="add del mod replST">
          <ac:chgData name="Abdi, Adnan" userId="503e002c-9b3b-4180-87fb-acabeb2b158a" providerId="ADAL" clId="{5C2CD6D4-C7A9-4CEF-AA9C-BC2977F70622}" dt="2024-02-21T12:10:41.473" v="38208"/>
          <ac:graphicFrameMkLst>
            <pc:docMk/>
            <pc:sldMk cId="1036427297" sldId="2147483586"/>
            <ac:graphicFrameMk id="150" creationId="{3D5E8C3A-BF6C-D4DF-8CAC-FA9C8C02732F}"/>
          </ac:graphicFrameMkLst>
        </pc:graphicFrameChg>
        <pc:graphicFrameChg chg="add del mod replST">
          <ac:chgData name="Abdi, Adnan" userId="503e002c-9b3b-4180-87fb-acabeb2b158a" providerId="ADAL" clId="{5C2CD6D4-C7A9-4CEF-AA9C-BC2977F70622}" dt="2024-02-21T12:10:46.018" v="38280"/>
          <ac:graphicFrameMkLst>
            <pc:docMk/>
            <pc:sldMk cId="1036427297" sldId="2147483586"/>
            <ac:graphicFrameMk id="151" creationId="{8BBC9CE8-96FC-57AD-D80F-F929E338B714}"/>
          </ac:graphicFrameMkLst>
        </pc:graphicFrameChg>
        <pc:graphicFrameChg chg="add del mod replST">
          <ac:chgData name="Abdi, Adnan" userId="503e002c-9b3b-4180-87fb-acabeb2b158a" providerId="ADAL" clId="{5C2CD6D4-C7A9-4CEF-AA9C-BC2977F70622}" dt="2024-02-21T12:10:54.695" v="38352"/>
          <ac:graphicFrameMkLst>
            <pc:docMk/>
            <pc:sldMk cId="1036427297" sldId="2147483586"/>
            <ac:graphicFrameMk id="152" creationId="{882E193B-47EE-D598-937D-F2F41DEB95D6}"/>
          </ac:graphicFrameMkLst>
        </pc:graphicFrameChg>
        <pc:graphicFrameChg chg="add del mod replST">
          <ac:chgData name="Abdi, Adnan" userId="503e002c-9b3b-4180-87fb-acabeb2b158a" providerId="ADAL" clId="{5C2CD6D4-C7A9-4CEF-AA9C-BC2977F70622}" dt="2024-02-21T12:10:58.295" v="38424"/>
          <ac:graphicFrameMkLst>
            <pc:docMk/>
            <pc:sldMk cId="1036427297" sldId="2147483586"/>
            <ac:graphicFrameMk id="153" creationId="{7936FE10-6136-787E-FA16-71735D6DAE79}"/>
          </ac:graphicFrameMkLst>
        </pc:graphicFrameChg>
        <pc:graphicFrameChg chg="add del mod replST">
          <ac:chgData name="Abdi, Adnan" userId="503e002c-9b3b-4180-87fb-acabeb2b158a" providerId="ADAL" clId="{5C2CD6D4-C7A9-4CEF-AA9C-BC2977F70622}" dt="2024-02-21T12:11:06.825" v="38496"/>
          <ac:graphicFrameMkLst>
            <pc:docMk/>
            <pc:sldMk cId="1036427297" sldId="2147483586"/>
            <ac:graphicFrameMk id="154" creationId="{1AE96D2C-39C1-0500-4E6C-7DED0A471082}"/>
          </ac:graphicFrameMkLst>
        </pc:graphicFrameChg>
        <pc:graphicFrameChg chg="add del mod replST">
          <ac:chgData name="Abdi, Adnan" userId="503e002c-9b3b-4180-87fb-acabeb2b158a" providerId="ADAL" clId="{5C2CD6D4-C7A9-4CEF-AA9C-BC2977F70622}" dt="2024-02-21T12:11:12.529" v="38568"/>
          <ac:graphicFrameMkLst>
            <pc:docMk/>
            <pc:sldMk cId="1036427297" sldId="2147483586"/>
            <ac:graphicFrameMk id="155" creationId="{713BD8C7-0BD7-B7A9-81D0-748423E2D7A2}"/>
          </ac:graphicFrameMkLst>
        </pc:graphicFrameChg>
        <pc:graphicFrameChg chg="add del mod replST">
          <ac:chgData name="Abdi, Adnan" userId="503e002c-9b3b-4180-87fb-acabeb2b158a" providerId="ADAL" clId="{5C2CD6D4-C7A9-4CEF-AA9C-BC2977F70622}" dt="2024-02-21T12:11:15.848" v="38640"/>
          <ac:graphicFrameMkLst>
            <pc:docMk/>
            <pc:sldMk cId="1036427297" sldId="2147483586"/>
            <ac:graphicFrameMk id="156" creationId="{D0607A67-F2EB-D491-91B3-CC6D1A2CF793}"/>
          </ac:graphicFrameMkLst>
        </pc:graphicFrameChg>
        <pc:graphicFrameChg chg="add del mod replST">
          <ac:chgData name="Abdi, Adnan" userId="503e002c-9b3b-4180-87fb-acabeb2b158a" providerId="ADAL" clId="{5C2CD6D4-C7A9-4CEF-AA9C-BC2977F70622}" dt="2024-02-21T12:11:19.344" v="38712"/>
          <ac:graphicFrameMkLst>
            <pc:docMk/>
            <pc:sldMk cId="1036427297" sldId="2147483586"/>
            <ac:graphicFrameMk id="157" creationId="{42FBD573-79A8-CDD7-60F7-D54119CEE02B}"/>
          </ac:graphicFrameMkLst>
        </pc:graphicFrameChg>
        <pc:graphicFrameChg chg="add del mod replST">
          <ac:chgData name="Abdi, Adnan" userId="503e002c-9b3b-4180-87fb-acabeb2b158a" providerId="ADAL" clId="{5C2CD6D4-C7A9-4CEF-AA9C-BC2977F70622}" dt="2024-02-21T12:11:22.446" v="38784"/>
          <ac:graphicFrameMkLst>
            <pc:docMk/>
            <pc:sldMk cId="1036427297" sldId="2147483586"/>
            <ac:graphicFrameMk id="158" creationId="{9A5F47FE-F186-12A5-5BE6-5AC92048F996}"/>
          </ac:graphicFrameMkLst>
        </pc:graphicFrameChg>
        <pc:graphicFrameChg chg="add del mod replST">
          <ac:chgData name="Abdi, Adnan" userId="503e002c-9b3b-4180-87fb-acabeb2b158a" providerId="ADAL" clId="{5C2CD6D4-C7A9-4CEF-AA9C-BC2977F70622}" dt="2024-02-21T12:11:25.566" v="38856"/>
          <ac:graphicFrameMkLst>
            <pc:docMk/>
            <pc:sldMk cId="1036427297" sldId="2147483586"/>
            <ac:graphicFrameMk id="159" creationId="{E30C0CA4-7BD5-2A4A-D4E1-6AF6CD46AEBC}"/>
          </ac:graphicFrameMkLst>
        </pc:graphicFrameChg>
        <pc:graphicFrameChg chg="add del mod replST">
          <ac:chgData name="Abdi, Adnan" userId="503e002c-9b3b-4180-87fb-acabeb2b158a" providerId="ADAL" clId="{5C2CD6D4-C7A9-4CEF-AA9C-BC2977F70622}" dt="2024-02-21T12:11:28.537" v="38928"/>
          <ac:graphicFrameMkLst>
            <pc:docMk/>
            <pc:sldMk cId="1036427297" sldId="2147483586"/>
            <ac:graphicFrameMk id="160" creationId="{B92CB1C1-1D93-B5B0-1EF3-18EFC58AB135}"/>
          </ac:graphicFrameMkLst>
        </pc:graphicFrameChg>
        <pc:graphicFrameChg chg="add mod replST">
          <ac:chgData name="Abdi, Adnan" userId="503e002c-9b3b-4180-87fb-acabeb2b158a" providerId="ADAL" clId="{5C2CD6D4-C7A9-4CEF-AA9C-BC2977F70622}" dt="2024-02-21T12:11:28.666" v="38942"/>
          <ac:graphicFrameMkLst>
            <pc:docMk/>
            <pc:sldMk cId="1036427297" sldId="2147483586"/>
            <ac:graphicFrameMk id="161" creationId="{B7433BAB-67AF-1B20-CEC8-26838CAF628D}"/>
          </ac:graphicFrameMkLst>
        </pc:graphicFrameChg>
        <pc:graphicFrameChg chg="add mod replST delST">
          <ac:chgData name="Abdi, Adnan" userId="503e002c-9b3b-4180-87fb-acabeb2b158a" providerId="ADAL" clId="{5C2CD6D4-C7A9-4CEF-AA9C-BC2977F70622}" dt="2024-02-21T12:22:22.104" v="39247"/>
          <ac:graphicFrameMkLst>
            <pc:docMk/>
            <pc:sldMk cId="1036427297" sldId="2147483586"/>
            <ac:graphicFrameMk id="168" creationId="{D7CE88C1-C1E0-4CDF-B392-A20B00D5F35F}"/>
          </ac:graphicFrameMkLst>
        </pc:graphicFrameChg>
        <pc:graphicFrameChg chg="add del mod replST">
          <ac:chgData name="Abdi, Adnan" userId="503e002c-9b3b-4180-87fb-acabeb2b158a" providerId="ADAL" clId="{5C2CD6D4-C7A9-4CEF-AA9C-BC2977F70622}" dt="2024-02-21T12:22:26.506" v="39328"/>
          <ac:graphicFrameMkLst>
            <pc:docMk/>
            <pc:sldMk cId="1036427297" sldId="2147483586"/>
            <ac:graphicFrameMk id="169" creationId="{31849700-8F39-4132-9730-EEB085B84628}"/>
          </ac:graphicFrameMkLst>
        </pc:graphicFrameChg>
        <pc:graphicFrameChg chg="add del mod replST">
          <ac:chgData name="Abdi, Adnan" userId="503e002c-9b3b-4180-87fb-acabeb2b158a" providerId="ADAL" clId="{5C2CD6D4-C7A9-4CEF-AA9C-BC2977F70622}" dt="2024-02-21T12:23:05.878" v="39405"/>
          <ac:graphicFrameMkLst>
            <pc:docMk/>
            <pc:sldMk cId="1036427297" sldId="2147483586"/>
            <ac:graphicFrameMk id="170" creationId="{F4CAF302-DDE8-08E0-BC64-D21B01683D47}"/>
          </ac:graphicFrameMkLst>
        </pc:graphicFrameChg>
        <pc:graphicFrameChg chg="add mod replST">
          <ac:chgData name="Abdi, Adnan" userId="503e002c-9b3b-4180-87fb-acabeb2b158a" providerId="ADAL" clId="{5C2CD6D4-C7A9-4CEF-AA9C-BC2977F70622}" dt="2024-02-21T12:23:05.939" v="39418"/>
          <ac:graphicFrameMkLst>
            <pc:docMk/>
            <pc:sldMk cId="1036427297" sldId="2147483586"/>
            <ac:graphicFrameMk id="171" creationId="{31F879B2-CCDA-20D1-FACC-A4505368472A}"/>
          </ac:graphicFrameMkLst>
        </pc:graphicFrameChg>
        <pc:cxnChg chg="mod ord">
          <ac:chgData name="Abdi, Adnan" userId="503e002c-9b3b-4180-87fb-acabeb2b158a" providerId="ADAL" clId="{5C2CD6D4-C7A9-4CEF-AA9C-BC2977F70622}" dt="2024-02-21T12:23:05.939" v="39417"/>
          <ac:cxnSpMkLst>
            <pc:docMk/>
            <pc:sldMk cId="1036427297" sldId="2147483586"/>
            <ac:cxnSpMk id="12" creationId="{6A6E4E9F-0335-24BA-FF2F-80D45E4BC7CD}"/>
          </ac:cxnSpMkLst>
        </pc:cxnChg>
      </pc:sldChg>
      <pc:sldChg chg="addSp delSp modSp add mod modNotes">
        <pc:chgData name="Abdi, Adnan" userId="503e002c-9b3b-4180-87fb-acabeb2b158a" providerId="ADAL" clId="{5C2CD6D4-C7A9-4CEF-AA9C-BC2977F70622}" dt="2024-02-20T12:59:27.646" v="21929" actId="20577"/>
        <pc:sldMkLst>
          <pc:docMk/>
          <pc:sldMk cId="1066583792" sldId="2147483587"/>
        </pc:sldMkLst>
        <pc:spChg chg="mod">
          <ac:chgData name="Abdi, Adnan" userId="503e002c-9b3b-4180-87fb-acabeb2b158a" providerId="ADAL" clId="{5C2CD6D4-C7A9-4CEF-AA9C-BC2977F70622}" dt="2024-02-20T12:53:01.336" v="18862" actId="947"/>
          <ac:spMkLst>
            <pc:docMk/>
            <pc:sldMk cId="1066583792" sldId="2147483587"/>
            <ac:spMk id="2" creationId="{551A0760-76B6-B0DA-473F-4F9BCE390A30}"/>
          </ac:spMkLst>
        </pc:spChg>
        <pc:spChg chg="mod">
          <ac:chgData name="Abdi, Adnan" userId="503e002c-9b3b-4180-87fb-acabeb2b158a" providerId="ADAL" clId="{5C2CD6D4-C7A9-4CEF-AA9C-BC2977F70622}" dt="2024-02-20T12:53:01.336" v="18864" actId="947"/>
          <ac:spMkLst>
            <pc:docMk/>
            <pc:sldMk cId="1066583792" sldId="2147483587"/>
            <ac:spMk id="3" creationId="{18FF0807-DAF8-B85E-04CD-C4F80F1262E3}"/>
          </ac:spMkLst>
        </pc:spChg>
        <pc:spChg chg="mod">
          <ac:chgData name="Abdi, Adnan" userId="503e002c-9b3b-4180-87fb-acabeb2b158a" providerId="ADAL" clId="{5C2CD6D4-C7A9-4CEF-AA9C-BC2977F70622}" dt="2024-02-20T12:53:01.336" v="18860" actId="947"/>
          <ac:spMkLst>
            <pc:docMk/>
            <pc:sldMk cId="1066583792" sldId="2147483587"/>
            <ac:spMk id="4" creationId="{D621C63B-DC3F-9AB3-994A-92E4128610F0}"/>
          </ac:spMkLst>
        </pc:spChg>
        <pc:spChg chg="add del mod">
          <ac:chgData name="Abdi, Adnan" userId="503e002c-9b3b-4180-87fb-acabeb2b158a" providerId="ADAL" clId="{5C2CD6D4-C7A9-4CEF-AA9C-BC2977F70622}" dt="2024-02-20T12:56:10.487" v="21625" actId="478"/>
          <ac:spMkLst>
            <pc:docMk/>
            <pc:sldMk cId="1066583792" sldId="2147483587"/>
            <ac:spMk id="5" creationId="{358EE178-8497-E2EB-B37D-37488B90875E}"/>
          </ac:spMkLst>
        </pc:spChg>
        <pc:spChg chg="mod">
          <ac:chgData name="Abdi, Adnan" userId="503e002c-9b3b-4180-87fb-acabeb2b158a" providerId="ADAL" clId="{5C2CD6D4-C7A9-4CEF-AA9C-BC2977F70622}" dt="2024-02-20T12:53:01.351" v="18866" actId="947"/>
          <ac:spMkLst>
            <pc:docMk/>
            <pc:sldMk cId="1066583792" sldId="2147483587"/>
            <ac:spMk id="6" creationId="{61799F6B-2F1C-D2CF-506D-950CE08F9792}"/>
          </ac:spMkLst>
        </pc:spChg>
        <pc:spChg chg="mod">
          <ac:chgData name="Abdi, Adnan" userId="503e002c-9b3b-4180-87fb-acabeb2b158a" providerId="ADAL" clId="{5C2CD6D4-C7A9-4CEF-AA9C-BC2977F70622}" dt="2024-02-20T12:53:01.351" v="18868" actId="947"/>
          <ac:spMkLst>
            <pc:docMk/>
            <pc:sldMk cId="1066583792" sldId="2147483587"/>
            <ac:spMk id="7" creationId="{662CAB21-6D45-B391-170F-469FE0A64245}"/>
          </ac:spMkLst>
        </pc:spChg>
        <pc:spChg chg="mod">
          <ac:chgData name="Abdi, Adnan" userId="503e002c-9b3b-4180-87fb-acabeb2b158a" providerId="ADAL" clId="{5C2CD6D4-C7A9-4CEF-AA9C-BC2977F70622}" dt="2024-02-20T12:59:27.646" v="21929" actId="20577"/>
          <ac:spMkLst>
            <pc:docMk/>
            <pc:sldMk cId="1066583792" sldId="2147483587"/>
            <ac:spMk id="8" creationId="{14FF434B-48AC-9C83-7483-A64B2B4C7A20}"/>
          </ac:spMkLst>
        </pc:spChg>
        <pc:spChg chg="mod">
          <ac:chgData name="Abdi, Adnan" userId="503e002c-9b3b-4180-87fb-acabeb2b158a" providerId="ADAL" clId="{5C2CD6D4-C7A9-4CEF-AA9C-BC2977F70622}" dt="2024-02-20T12:53:01.351" v="18872" actId="947"/>
          <ac:spMkLst>
            <pc:docMk/>
            <pc:sldMk cId="1066583792" sldId="2147483587"/>
            <ac:spMk id="9" creationId="{DCA9EE17-A63F-07D2-84EA-34CD67CEC5B1}"/>
          </ac:spMkLst>
        </pc:spChg>
        <pc:spChg chg="mod">
          <ac:chgData name="Abdi, Adnan" userId="503e002c-9b3b-4180-87fb-acabeb2b158a" providerId="ADAL" clId="{5C2CD6D4-C7A9-4CEF-AA9C-BC2977F70622}" dt="2024-02-20T12:56:03.460" v="21624" actId="6549"/>
          <ac:spMkLst>
            <pc:docMk/>
            <pc:sldMk cId="1066583792" sldId="2147483587"/>
            <ac:spMk id="10" creationId="{19FE99DC-1AED-7B2B-41A5-FB4A1B6E08DD}"/>
          </ac:spMkLst>
        </pc:spChg>
        <pc:spChg chg="mod">
          <ac:chgData name="Abdi, Adnan" userId="503e002c-9b3b-4180-87fb-acabeb2b158a" providerId="ADAL" clId="{5C2CD6D4-C7A9-4CEF-AA9C-BC2977F70622}" dt="2024-02-20T12:53:20.041" v="21147" actId="313"/>
          <ac:spMkLst>
            <pc:docMk/>
            <pc:sldMk cId="1066583792" sldId="2147483587"/>
            <ac:spMk id="11" creationId="{745E615C-2ACE-07D9-CED4-CCDC72792CAF}"/>
          </ac:spMkLst>
        </pc:spChg>
        <pc:spChg chg="mod">
          <ac:chgData name="Abdi, Adnan" userId="503e002c-9b3b-4180-87fb-acabeb2b158a" providerId="ADAL" clId="{5C2CD6D4-C7A9-4CEF-AA9C-BC2977F70622}" dt="2024-02-20T12:53:18.601" v="21146" actId="313"/>
          <ac:spMkLst>
            <pc:docMk/>
            <pc:sldMk cId="1066583792" sldId="2147483587"/>
            <ac:spMk id="12" creationId="{1D9FCD67-9F44-4506-3C7C-AE3E5B37478B}"/>
          </ac:spMkLst>
        </pc:spChg>
        <pc:spChg chg="mod">
          <ac:chgData name="Abdi, Adnan" userId="503e002c-9b3b-4180-87fb-acabeb2b158a" providerId="ADAL" clId="{5C2CD6D4-C7A9-4CEF-AA9C-BC2977F70622}" dt="2024-02-20T12:53:01.379" v="18881" actId="34136"/>
          <ac:spMkLst>
            <pc:docMk/>
            <pc:sldMk cId="1066583792" sldId="2147483587"/>
            <ac:spMk id="14" creationId="{56B4245E-9224-074A-606D-12F42ED133A6}"/>
          </ac:spMkLst>
        </pc:spChg>
        <pc:spChg chg="mod">
          <ac:chgData name="Abdi, Adnan" userId="503e002c-9b3b-4180-87fb-acabeb2b158a" providerId="ADAL" clId="{5C2CD6D4-C7A9-4CEF-AA9C-BC2977F70622}" dt="2024-02-20T12:53:01.379" v="18881" actId="34136"/>
          <ac:spMkLst>
            <pc:docMk/>
            <pc:sldMk cId="1066583792" sldId="2147483587"/>
            <ac:spMk id="15" creationId="{AD32FFC0-ABBE-96C9-EE74-079A3B07342E}"/>
          </ac:spMkLst>
        </pc:spChg>
        <pc:spChg chg="mod">
          <ac:chgData name="Abdi, Adnan" userId="503e002c-9b3b-4180-87fb-acabeb2b158a" providerId="ADAL" clId="{5C2CD6D4-C7A9-4CEF-AA9C-BC2977F70622}" dt="2024-02-20T12:53:01.386" v="18882" actId="34136"/>
          <ac:spMkLst>
            <pc:docMk/>
            <pc:sldMk cId="1066583792" sldId="2147483587"/>
            <ac:spMk id="17" creationId="{F71CCEFD-6AA8-3E3E-1B84-655F9830C633}"/>
          </ac:spMkLst>
        </pc:spChg>
        <pc:spChg chg="mod">
          <ac:chgData name="Abdi, Adnan" userId="503e002c-9b3b-4180-87fb-acabeb2b158a" providerId="ADAL" clId="{5C2CD6D4-C7A9-4CEF-AA9C-BC2977F70622}" dt="2024-02-20T12:53:01.386" v="18882" actId="34136"/>
          <ac:spMkLst>
            <pc:docMk/>
            <pc:sldMk cId="1066583792" sldId="2147483587"/>
            <ac:spMk id="18" creationId="{23829232-5663-BBF1-B9E9-A825D34E58C7}"/>
          </ac:spMkLst>
        </pc:spChg>
        <pc:spChg chg="mod">
          <ac:chgData name="Abdi, Adnan" userId="503e002c-9b3b-4180-87fb-acabeb2b158a" providerId="ADAL" clId="{5C2CD6D4-C7A9-4CEF-AA9C-BC2977F70622}" dt="2024-02-20T12:53:01.394" v="18884" actId="947"/>
          <ac:spMkLst>
            <pc:docMk/>
            <pc:sldMk cId="1066583792" sldId="2147483587"/>
            <ac:spMk id="19" creationId="{F283F5CA-D464-5F7A-58AA-DA593E9DF1F8}"/>
          </ac:spMkLst>
        </pc:spChg>
        <pc:spChg chg="mod">
          <ac:chgData name="Abdi, Adnan" userId="503e002c-9b3b-4180-87fb-acabeb2b158a" providerId="ADAL" clId="{5C2CD6D4-C7A9-4CEF-AA9C-BC2977F70622}" dt="2024-02-20T12:53:10.190" v="21140" actId="790"/>
          <ac:spMkLst>
            <pc:docMk/>
            <pc:sldMk cId="1066583792" sldId="2147483587"/>
            <ac:spMk id="20" creationId="{1319F30A-B07B-0540-07CE-D4DC01D20CD6}"/>
          </ac:spMkLst>
        </pc:spChg>
        <pc:spChg chg="mod">
          <ac:chgData name="Abdi, Adnan" userId="503e002c-9b3b-4180-87fb-acabeb2b158a" providerId="ADAL" clId="{5C2CD6D4-C7A9-4CEF-AA9C-BC2977F70622}" dt="2024-02-20T12:54:12.905" v="21247" actId="20577"/>
          <ac:spMkLst>
            <pc:docMk/>
            <pc:sldMk cId="1066583792" sldId="2147483587"/>
            <ac:spMk id="21" creationId="{1217BC1C-102B-D970-CC2E-1C3FCA27A8B2}"/>
          </ac:spMkLst>
        </pc:spChg>
        <pc:spChg chg="mod">
          <ac:chgData name="Abdi, Adnan" userId="503e002c-9b3b-4180-87fb-acabeb2b158a" providerId="ADAL" clId="{5C2CD6D4-C7A9-4CEF-AA9C-BC2977F70622}" dt="2024-02-20T12:55:04.552" v="21424" actId="20577"/>
          <ac:spMkLst>
            <pc:docMk/>
            <pc:sldMk cId="1066583792" sldId="2147483587"/>
            <ac:spMk id="22" creationId="{E3F0F1B3-E6D5-DB39-7E53-24E646789402}"/>
          </ac:spMkLst>
        </pc:spChg>
        <pc:spChg chg="mod">
          <ac:chgData name="Abdi, Adnan" userId="503e002c-9b3b-4180-87fb-acabeb2b158a" providerId="ADAL" clId="{5C2CD6D4-C7A9-4CEF-AA9C-BC2977F70622}" dt="2024-02-20T12:53:01.405" v="18892" actId="947"/>
          <ac:spMkLst>
            <pc:docMk/>
            <pc:sldMk cId="1066583792" sldId="2147483587"/>
            <ac:spMk id="24" creationId="{20FDC876-27A8-EE5B-B422-ABCFA61CFE6A}"/>
          </ac:spMkLst>
        </pc:spChg>
        <pc:spChg chg="mod">
          <ac:chgData name="Abdi, Adnan" userId="503e002c-9b3b-4180-87fb-acabeb2b158a" providerId="ADAL" clId="{5C2CD6D4-C7A9-4CEF-AA9C-BC2977F70622}" dt="2024-02-20T12:58:58.793" v="21901" actId="20577"/>
          <ac:spMkLst>
            <pc:docMk/>
            <pc:sldMk cId="1066583792" sldId="2147483587"/>
            <ac:spMk id="25" creationId="{413A3E1D-B2AF-8F02-1CA9-B569274C2778}"/>
          </ac:spMkLst>
        </pc:spChg>
        <pc:grpChg chg="mod">
          <ac:chgData name="Abdi, Adnan" userId="503e002c-9b3b-4180-87fb-acabeb2b158a" providerId="ADAL" clId="{5C2CD6D4-C7A9-4CEF-AA9C-BC2977F70622}" dt="2024-02-20T12:53:01.379" v="18881" actId="34136"/>
          <ac:grpSpMkLst>
            <pc:docMk/>
            <pc:sldMk cId="1066583792" sldId="2147483587"/>
            <ac:grpSpMk id="13" creationId="{B81C3BF5-ADDA-FD12-3B4A-1156A6B8A7AA}"/>
          </ac:grpSpMkLst>
        </pc:grpChg>
        <pc:grpChg chg="mod">
          <ac:chgData name="Abdi, Adnan" userId="503e002c-9b3b-4180-87fb-acabeb2b158a" providerId="ADAL" clId="{5C2CD6D4-C7A9-4CEF-AA9C-BC2977F70622}" dt="2024-02-20T12:53:01.386" v="18882" actId="34136"/>
          <ac:grpSpMkLst>
            <pc:docMk/>
            <pc:sldMk cId="1066583792" sldId="2147483587"/>
            <ac:grpSpMk id="16" creationId="{54A6FAC6-955D-0118-3000-210C8AA43188}"/>
          </ac:grpSpMkLst>
        </pc:grpChg>
        <pc:graphicFrameChg chg="mod">
          <ac:chgData name="Abdi, Adnan" userId="503e002c-9b3b-4180-87fb-acabeb2b158a" providerId="ADAL" clId="{5C2CD6D4-C7A9-4CEF-AA9C-BC2977F70622}" dt="2024-02-20T12:53:10.701" v="21144"/>
          <ac:graphicFrameMkLst>
            <pc:docMk/>
            <pc:sldMk cId="1066583792" sldId="2147483587"/>
            <ac:graphicFrameMk id="26" creationId="{B1CC61E5-0241-A6BD-3ECF-06AC9F2AFA09}"/>
          </ac:graphicFrameMkLst>
        </pc:graphicFrameChg>
      </pc:sldChg>
      <pc:sldChg chg="addSp delSp modSp mod">
        <pc:chgData name="Abdi, Adnan" userId="503e002c-9b3b-4180-87fb-acabeb2b158a" providerId="ADAL" clId="{5C2CD6D4-C7A9-4CEF-AA9C-BC2977F70622}" dt="2024-02-26T09:10:14.007" v="73107"/>
        <pc:sldMkLst>
          <pc:docMk/>
          <pc:sldMk cId="1586721897" sldId="2147483587"/>
        </pc:sldMkLst>
        <pc:spChg chg="add del mod">
          <ac:chgData name="Abdi, Adnan" userId="503e002c-9b3b-4180-87fb-acabeb2b158a" providerId="ADAL" clId="{5C2CD6D4-C7A9-4CEF-AA9C-BC2977F70622}" dt="2024-02-26T09:10:14.007" v="73107"/>
          <ac:spMkLst>
            <pc:docMk/>
            <pc:sldMk cId="1586721897" sldId="2147483587"/>
            <ac:spMk id="3" creationId="{18FF0807-DAF8-B85E-04CD-C4F80F1262E3}"/>
          </ac:spMkLst>
        </pc:spChg>
        <pc:spChg chg="add">
          <ac:chgData name="Abdi, Adnan" userId="503e002c-9b3b-4180-87fb-acabeb2b158a" providerId="ADAL" clId="{5C2CD6D4-C7A9-4CEF-AA9C-BC2977F70622}" dt="2024-02-23T15:32:09.917" v="71465"/>
          <ac:spMkLst>
            <pc:docMk/>
            <pc:sldMk cId="1586721897" sldId="2147483587"/>
            <ac:spMk id="4" creationId="{D621C63B-DC3F-9AB3-994A-92E4128610F0}"/>
          </ac:spMkLst>
        </pc:spChg>
        <pc:spChg chg="add mod">
          <ac:chgData name="Abdi, Adnan" userId="503e002c-9b3b-4180-87fb-acabeb2b158a" providerId="ADAL" clId="{5C2CD6D4-C7A9-4CEF-AA9C-BC2977F70622}" dt="2024-02-23T18:39:17.985" v="71572"/>
          <ac:spMkLst>
            <pc:docMk/>
            <pc:sldMk cId="1586721897" sldId="2147483587"/>
            <ac:spMk id="5" creationId="{B9C5F245-E7BB-A627-7544-90CEE07D4B82}"/>
          </ac:spMkLst>
        </pc:spChg>
        <pc:spChg chg="mod">
          <ac:chgData name="Abdi, Adnan" userId="503e002c-9b3b-4180-87fb-acabeb2b158a" providerId="ADAL" clId="{5C2CD6D4-C7A9-4CEF-AA9C-BC2977F70622}" dt="2024-02-22T14:45:00.094" v="58271" actId="14100"/>
          <ac:spMkLst>
            <pc:docMk/>
            <pc:sldMk cId="1586721897" sldId="2147483587"/>
            <ac:spMk id="23" creationId="{578ED5AE-8F49-A9DD-3472-B4D9F168D43D}"/>
          </ac:spMkLst>
        </pc:spChg>
      </pc:sldChg>
      <pc:sldChg chg="addSp delSp modSp add mod">
        <pc:chgData name="Abdi, Adnan" userId="503e002c-9b3b-4180-87fb-acabeb2b158a" providerId="ADAL" clId="{5C2CD6D4-C7A9-4CEF-AA9C-BC2977F70622}" dt="2024-02-22T10:10:21.776" v="55946" actId="20577"/>
        <pc:sldMkLst>
          <pc:docMk/>
          <pc:sldMk cId="2979431457" sldId="2147483588"/>
        </pc:sldMkLst>
        <pc:spChg chg="mod ord">
          <ac:chgData name="Abdi, Adnan" userId="503e002c-9b3b-4180-87fb-acabeb2b158a" providerId="ADAL" clId="{5C2CD6D4-C7A9-4CEF-AA9C-BC2977F70622}" dt="2024-02-20T13:36:17.798" v="26428"/>
          <ac:spMkLst>
            <pc:docMk/>
            <pc:sldMk cId="2979431457" sldId="2147483588"/>
            <ac:spMk id="2" creationId="{551A0760-76B6-B0DA-473F-4F9BCE390A30}"/>
          </ac:spMkLst>
        </pc:spChg>
        <pc:spChg chg="mod ord">
          <ac:chgData name="Abdi, Adnan" userId="503e002c-9b3b-4180-87fb-acabeb2b158a" providerId="ADAL" clId="{5C2CD6D4-C7A9-4CEF-AA9C-BC2977F70622}" dt="2024-02-20T13:36:17.799" v="26430"/>
          <ac:spMkLst>
            <pc:docMk/>
            <pc:sldMk cId="2979431457" sldId="2147483588"/>
            <ac:spMk id="3" creationId="{18FF0807-DAF8-B85E-04CD-C4F80F1262E3}"/>
          </ac:spMkLst>
        </pc:spChg>
        <pc:spChg chg="add del mod modVis">
          <ac:chgData name="Abdi, Adnan" userId="503e002c-9b3b-4180-87fb-acabeb2b158a" providerId="ADAL" clId="{5C2CD6D4-C7A9-4CEF-AA9C-BC2977F70622}" dt="2024-02-20T13:31:25.113" v="23246"/>
          <ac:spMkLst>
            <pc:docMk/>
            <pc:sldMk cId="2979431457" sldId="2147483588"/>
            <ac:spMk id="4" creationId="{9D211C3E-1FE7-5EC9-14DF-D715DAF39F55}"/>
          </ac:spMkLst>
        </pc:spChg>
        <pc:spChg chg="mod ord">
          <ac:chgData name="Abdi, Adnan" userId="503e002c-9b3b-4180-87fb-acabeb2b158a" providerId="ADAL" clId="{5C2CD6D4-C7A9-4CEF-AA9C-BC2977F70622}" dt="2024-02-20T13:36:17.799" v="26432"/>
          <ac:spMkLst>
            <pc:docMk/>
            <pc:sldMk cId="2979431457" sldId="2147483588"/>
            <ac:spMk id="5" creationId="{904AF0DD-C736-641B-E724-FB2A35E7801D}"/>
          </ac:spMkLst>
        </pc:spChg>
        <pc:spChg chg="mod">
          <ac:chgData name="Abdi, Adnan" userId="503e002c-9b3b-4180-87fb-acabeb2b158a" providerId="ADAL" clId="{5C2CD6D4-C7A9-4CEF-AA9C-BC2977F70622}" dt="2024-02-20T13:36:27.654" v="26572" actId="313"/>
          <ac:spMkLst>
            <pc:docMk/>
            <pc:sldMk cId="2979431457" sldId="2147483588"/>
            <ac:spMk id="6" creationId="{7E624B2B-6B3A-A95A-9FB1-955A0F155E43}"/>
          </ac:spMkLst>
        </pc:spChg>
        <pc:spChg chg="mod">
          <ac:chgData name="Abdi, Adnan" userId="503e002c-9b3b-4180-87fb-acabeb2b158a" providerId="ADAL" clId="{5C2CD6D4-C7A9-4CEF-AA9C-BC2977F70622}" dt="2024-02-20T13:36:17.800" v="26434"/>
          <ac:spMkLst>
            <pc:docMk/>
            <pc:sldMk cId="2979431457" sldId="2147483588"/>
            <ac:spMk id="7" creationId="{C7EBDFB9-CDDA-A163-084A-A2FDD8481202}"/>
          </ac:spMkLst>
        </pc:spChg>
        <pc:spChg chg="mod">
          <ac:chgData name="Abdi, Adnan" userId="503e002c-9b3b-4180-87fb-acabeb2b158a" providerId="ADAL" clId="{5C2CD6D4-C7A9-4CEF-AA9C-BC2977F70622}" dt="2024-02-20T13:36:17.802" v="26435"/>
          <ac:spMkLst>
            <pc:docMk/>
            <pc:sldMk cId="2979431457" sldId="2147483588"/>
            <ac:spMk id="8" creationId="{509CA467-F98E-715A-FF85-069C4B346E94}"/>
          </ac:spMkLst>
        </pc:spChg>
        <pc:spChg chg="mod">
          <ac:chgData name="Abdi, Adnan" userId="503e002c-9b3b-4180-87fb-acabeb2b158a" providerId="ADAL" clId="{5C2CD6D4-C7A9-4CEF-AA9C-BC2977F70622}" dt="2024-02-20T13:36:17.802" v="26436"/>
          <ac:spMkLst>
            <pc:docMk/>
            <pc:sldMk cId="2979431457" sldId="2147483588"/>
            <ac:spMk id="9" creationId="{AC40E903-33AA-3C51-F348-AF542B46194F}"/>
          </ac:spMkLst>
        </pc:spChg>
        <pc:spChg chg="mod">
          <ac:chgData name="Abdi, Adnan" userId="503e002c-9b3b-4180-87fb-acabeb2b158a" providerId="ADAL" clId="{5C2CD6D4-C7A9-4CEF-AA9C-BC2977F70622}" dt="2024-02-20T13:36:17.803" v="26437"/>
          <ac:spMkLst>
            <pc:docMk/>
            <pc:sldMk cId="2979431457" sldId="2147483588"/>
            <ac:spMk id="10" creationId="{AED3C9AB-BB1A-A2BF-2DCF-C7B8E59ED87A}"/>
          </ac:spMkLst>
        </pc:spChg>
        <pc:spChg chg="del mod ord">
          <ac:chgData name="Abdi, Adnan" userId="503e002c-9b3b-4180-87fb-acabeb2b158a" providerId="ADAL" clId="{5C2CD6D4-C7A9-4CEF-AA9C-BC2977F70622}" dt="2024-02-20T14:54:40.514" v="30206" actId="478"/>
          <ac:spMkLst>
            <pc:docMk/>
            <pc:sldMk cId="2979431457" sldId="2147483588"/>
            <ac:spMk id="11" creationId="{F788230D-47DF-2D15-5D48-87708E4928B2}"/>
          </ac:spMkLst>
        </pc:spChg>
        <pc:spChg chg="mod ord">
          <ac:chgData name="Abdi, Adnan" userId="503e002c-9b3b-4180-87fb-acabeb2b158a" providerId="ADAL" clId="{5C2CD6D4-C7A9-4CEF-AA9C-BC2977F70622}" dt="2024-02-20T13:36:17.804" v="26439"/>
          <ac:spMkLst>
            <pc:docMk/>
            <pc:sldMk cId="2979431457" sldId="2147483588"/>
            <ac:spMk id="12" creationId="{0F6EC2C8-148E-08D4-83D4-9AA37827B597}"/>
          </ac:spMkLst>
        </pc:spChg>
        <pc:spChg chg="mod">
          <ac:chgData name="Abdi, Adnan" userId="503e002c-9b3b-4180-87fb-acabeb2b158a" providerId="ADAL" clId="{5C2CD6D4-C7A9-4CEF-AA9C-BC2977F70622}" dt="2024-02-20T13:36:17.805" v="26441"/>
          <ac:spMkLst>
            <pc:docMk/>
            <pc:sldMk cId="2979431457" sldId="2147483588"/>
            <ac:spMk id="14" creationId="{042DD343-6B62-B921-B582-087610584A52}"/>
          </ac:spMkLst>
        </pc:spChg>
        <pc:spChg chg="mod">
          <ac:chgData name="Abdi, Adnan" userId="503e002c-9b3b-4180-87fb-acabeb2b158a" providerId="ADAL" clId="{5C2CD6D4-C7A9-4CEF-AA9C-BC2977F70622}" dt="2024-02-20T13:36:17.805" v="26442"/>
          <ac:spMkLst>
            <pc:docMk/>
            <pc:sldMk cId="2979431457" sldId="2147483588"/>
            <ac:spMk id="15" creationId="{7D9C0861-AE06-53FA-92EC-0BEFE2F70AFE}"/>
          </ac:spMkLst>
        </pc:spChg>
        <pc:spChg chg="mod">
          <ac:chgData name="Abdi, Adnan" userId="503e002c-9b3b-4180-87fb-acabeb2b158a" providerId="ADAL" clId="{5C2CD6D4-C7A9-4CEF-AA9C-BC2977F70622}" dt="2024-02-20T13:36:17.806" v="26443"/>
          <ac:spMkLst>
            <pc:docMk/>
            <pc:sldMk cId="2979431457" sldId="2147483588"/>
            <ac:spMk id="16" creationId="{7EE98975-ACF9-60EA-7A8D-4F86FAC6CC37}"/>
          </ac:spMkLst>
        </pc:spChg>
        <pc:spChg chg="mod">
          <ac:chgData name="Abdi, Adnan" userId="503e002c-9b3b-4180-87fb-acabeb2b158a" providerId="ADAL" clId="{5C2CD6D4-C7A9-4CEF-AA9C-BC2977F70622}" dt="2024-02-20T13:36:17.806" v="26444"/>
          <ac:spMkLst>
            <pc:docMk/>
            <pc:sldMk cId="2979431457" sldId="2147483588"/>
            <ac:spMk id="17" creationId="{20CBCBEC-C02C-210C-82F7-12C0821CC5C4}"/>
          </ac:spMkLst>
        </pc:spChg>
        <pc:spChg chg="mod">
          <ac:chgData name="Abdi, Adnan" userId="503e002c-9b3b-4180-87fb-acabeb2b158a" providerId="ADAL" clId="{5C2CD6D4-C7A9-4CEF-AA9C-BC2977F70622}" dt="2024-02-20T13:36:17.807" v="26445"/>
          <ac:spMkLst>
            <pc:docMk/>
            <pc:sldMk cId="2979431457" sldId="2147483588"/>
            <ac:spMk id="18" creationId="{21296A22-1473-7F56-FACA-1CB8E5B11E4C}"/>
          </ac:spMkLst>
        </pc:spChg>
        <pc:spChg chg="mod">
          <ac:chgData name="Abdi, Adnan" userId="503e002c-9b3b-4180-87fb-acabeb2b158a" providerId="ADAL" clId="{5C2CD6D4-C7A9-4CEF-AA9C-BC2977F70622}" dt="2024-02-20T13:36:17.807" v="26446"/>
          <ac:spMkLst>
            <pc:docMk/>
            <pc:sldMk cId="2979431457" sldId="2147483588"/>
            <ac:spMk id="19" creationId="{6FA4D75D-36C1-157A-E638-34FA99E7A321}"/>
          </ac:spMkLst>
        </pc:spChg>
        <pc:spChg chg="mod">
          <ac:chgData name="Abdi, Adnan" userId="503e002c-9b3b-4180-87fb-acabeb2b158a" providerId="ADAL" clId="{5C2CD6D4-C7A9-4CEF-AA9C-BC2977F70622}" dt="2024-02-20T13:36:17.808" v="26447"/>
          <ac:spMkLst>
            <pc:docMk/>
            <pc:sldMk cId="2979431457" sldId="2147483588"/>
            <ac:spMk id="20" creationId="{53EB66FB-5A6E-BD62-2F8B-104E969CA30A}"/>
          </ac:spMkLst>
        </pc:spChg>
        <pc:spChg chg="mod">
          <ac:chgData name="Abdi, Adnan" userId="503e002c-9b3b-4180-87fb-acabeb2b158a" providerId="ADAL" clId="{5C2CD6D4-C7A9-4CEF-AA9C-BC2977F70622}" dt="2024-02-20T13:36:17.808" v="26448"/>
          <ac:spMkLst>
            <pc:docMk/>
            <pc:sldMk cId="2979431457" sldId="2147483588"/>
            <ac:spMk id="21" creationId="{0075642A-7690-EDE1-68F7-01C3C22FA03C}"/>
          </ac:spMkLst>
        </pc:spChg>
        <pc:spChg chg="mod">
          <ac:chgData name="Abdi, Adnan" userId="503e002c-9b3b-4180-87fb-acabeb2b158a" providerId="ADAL" clId="{5C2CD6D4-C7A9-4CEF-AA9C-BC2977F70622}" dt="2024-02-20T13:36:17.810" v="26449"/>
          <ac:spMkLst>
            <pc:docMk/>
            <pc:sldMk cId="2979431457" sldId="2147483588"/>
            <ac:spMk id="22" creationId="{7DF98394-00F8-44C9-554D-90022B99CCD5}"/>
          </ac:spMkLst>
        </pc:spChg>
        <pc:spChg chg="mod ord">
          <ac:chgData name="Abdi, Adnan" userId="503e002c-9b3b-4180-87fb-acabeb2b158a" providerId="ADAL" clId="{5C2CD6D4-C7A9-4CEF-AA9C-BC2977F70622}" dt="2024-02-20T13:36:17.812" v="26453"/>
          <ac:spMkLst>
            <pc:docMk/>
            <pc:sldMk cId="2979431457" sldId="2147483588"/>
            <ac:spMk id="24" creationId="{A45F945A-6A24-C366-4F58-34061E6914B7}"/>
          </ac:spMkLst>
        </pc:spChg>
        <pc:spChg chg="del mod ord">
          <ac:chgData name="Abdi, Adnan" userId="503e002c-9b3b-4180-87fb-acabeb2b158a" providerId="ADAL" clId="{5C2CD6D4-C7A9-4CEF-AA9C-BC2977F70622}" dt="2024-02-20T13:36:17.701" v="26373"/>
          <ac:spMkLst>
            <pc:docMk/>
            <pc:sldMk cId="2979431457" sldId="2147483588"/>
            <ac:spMk id="25" creationId="{669231AF-ABB7-FA9F-007C-C8FB62CB4BD7}"/>
          </ac:spMkLst>
        </pc:spChg>
        <pc:spChg chg="mod">
          <ac:chgData name="Abdi, Adnan" userId="503e002c-9b3b-4180-87fb-acabeb2b158a" providerId="ADAL" clId="{5C2CD6D4-C7A9-4CEF-AA9C-BC2977F70622}" dt="2024-02-20T13:36:17.813" v="26455"/>
          <ac:spMkLst>
            <pc:docMk/>
            <pc:sldMk cId="2979431457" sldId="2147483588"/>
            <ac:spMk id="26" creationId="{DE7E6193-0153-E1A0-489A-602DAA1F76BA}"/>
          </ac:spMkLst>
        </pc:spChg>
        <pc:spChg chg="mod">
          <ac:chgData name="Abdi, Adnan" userId="503e002c-9b3b-4180-87fb-acabeb2b158a" providerId="ADAL" clId="{5C2CD6D4-C7A9-4CEF-AA9C-BC2977F70622}" dt="2024-02-20T13:36:17.813" v="26456"/>
          <ac:spMkLst>
            <pc:docMk/>
            <pc:sldMk cId="2979431457" sldId="2147483588"/>
            <ac:spMk id="27" creationId="{1AD693D0-35F9-41A2-BC6D-7EC121F69963}"/>
          </ac:spMkLst>
        </pc:spChg>
        <pc:spChg chg="mod">
          <ac:chgData name="Abdi, Adnan" userId="503e002c-9b3b-4180-87fb-acabeb2b158a" providerId="ADAL" clId="{5C2CD6D4-C7A9-4CEF-AA9C-BC2977F70622}" dt="2024-02-20T13:36:17.814" v="26457"/>
          <ac:spMkLst>
            <pc:docMk/>
            <pc:sldMk cId="2979431457" sldId="2147483588"/>
            <ac:spMk id="28" creationId="{BBADFD8D-4D40-7D6D-5429-A631B375E464}"/>
          </ac:spMkLst>
        </pc:spChg>
        <pc:spChg chg="mod">
          <ac:chgData name="Abdi, Adnan" userId="503e002c-9b3b-4180-87fb-acabeb2b158a" providerId="ADAL" clId="{5C2CD6D4-C7A9-4CEF-AA9C-BC2977F70622}" dt="2024-02-20T13:36:17.814" v="26458"/>
          <ac:spMkLst>
            <pc:docMk/>
            <pc:sldMk cId="2979431457" sldId="2147483588"/>
            <ac:spMk id="29" creationId="{C8BCCA10-D4A7-8D35-8411-7BFA4512619D}"/>
          </ac:spMkLst>
        </pc:spChg>
        <pc:spChg chg="mod">
          <ac:chgData name="Abdi, Adnan" userId="503e002c-9b3b-4180-87fb-acabeb2b158a" providerId="ADAL" clId="{5C2CD6D4-C7A9-4CEF-AA9C-BC2977F70622}" dt="2024-02-20T13:36:17.815" v="26459"/>
          <ac:spMkLst>
            <pc:docMk/>
            <pc:sldMk cId="2979431457" sldId="2147483588"/>
            <ac:spMk id="30" creationId="{981184D8-D7DD-E55C-E318-91D5BA7615E9}"/>
          </ac:spMkLst>
        </pc:spChg>
        <pc:spChg chg="mod">
          <ac:chgData name="Abdi, Adnan" userId="503e002c-9b3b-4180-87fb-acabeb2b158a" providerId="ADAL" clId="{5C2CD6D4-C7A9-4CEF-AA9C-BC2977F70622}" dt="2024-02-20T13:36:17.815" v="26460"/>
          <ac:spMkLst>
            <pc:docMk/>
            <pc:sldMk cId="2979431457" sldId="2147483588"/>
            <ac:spMk id="31" creationId="{6B27CC7B-ED07-71A5-912F-1A8560921E65}"/>
          </ac:spMkLst>
        </pc:spChg>
        <pc:spChg chg="mod">
          <ac:chgData name="Abdi, Adnan" userId="503e002c-9b3b-4180-87fb-acabeb2b158a" providerId="ADAL" clId="{5C2CD6D4-C7A9-4CEF-AA9C-BC2977F70622}" dt="2024-02-20T13:36:17.818" v="26461"/>
          <ac:spMkLst>
            <pc:docMk/>
            <pc:sldMk cId="2979431457" sldId="2147483588"/>
            <ac:spMk id="32" creationId="{30BFB511-3FE8-5200-979E-3C4AD1BB2FB4}"/>
          </ac:spMkLst>
        </pc:spChg>
        <pc:spChg chg="mod">
          <ac:chgData name="Abdi, Adnan" userId="503e002c-9b3b-4180-87fb-acabeb2b158a" providerId="ADAL" clId="{5C2CD6D4-C7A9-4CEF-AA9C-BC2977F70622}" dt="2024-02-20T13:36:17.819" v="26462"/>
          <ac:spMkLst>
            <pc:docMk/>
            <pc:sldMk cId="2979431457" sldId="2147483588"/>
            <ac:spMk id="33" creationId="{2E9EF003-9908-D7E6-D0D3-91EAB0667C3E}"/>
          </ac:spMkLst>
        </pc:spChg>
        <pc:spChg chg="mod">
          <ac:chgData name="Abdi, Adnan" userId="503e002c-9b3b-4180-87fb-acabeb2b158a" providerId="ADAL" clId="{5C2CD6D4-C7A9-4CEF-AA9C-BC2977F70622}" dt="2024-02-20T13:36:17.819" v="26463"/>
          <ac:spMkLst>
            <pc:docMk/>
            <pc:sldMk cId="2979431457" sldId="2147483588"/>
            <ac:spMk id="34" creationId="{6A1C4E45-74E8-6558-3070-8A1BB63E7B63}"/>
          </ac:spMkLst>
        </pc:spChg>
        <pc:spChg chg="mod">
          <ac:chgData name="Abdi, Adnan" userId="503e002c-9b3b-4180-87fb-acabeb2b158a" providerId="ADAL" clId="{5C2CD6D4-C7A9-4CEF-AA9C-BC2977F70622}" dt="2024-02-20T13:36:17.820" v="26464"/>
          <ac:spMkLst>
            <pc:docMk/>
            <pc:sldMk cId="2979431457" sldId="2147483588"/>
            <ac:spMk id="35" creationId="{2DB89FBB-1679-B05B-3118-780FABA99724}"/>
          </ac:spMkLst>
        </pc:spChg>
        <pc:spChg chg="mod">
          <ac:chgData name="Abdi, Adnan" userId="503e002c-9b3b-4180-87fb-acabeb2b158a" providerId="ADAL" clId="{5C2CD6D4-C7A9-4CEF-AA9C-BC2977F70622}" dt="2024-02-20T13:36:17.820" v="26465"/>
          <ac:spMkLst>
            <pc:docMk/>
            <pc:sldMk cId="2979431457" sldId="2147483588"/>
            <ac:spMk id="36" creationId="{4AC12EE4-AAE0-600C-5B34-A2D1A5622BAE}"/>
          </ac:spMkLst>
        </pc:spChg>
        <pc:spChg chg="mod">
          <ac:chgData name="Abdi, Adnan" userId="503e002c-9b3b-4180-87fb-acabeb2b158a" providerId="ADAL" clId="{5C2CD6D4-C7A9-4CEF-AA9C-BC2977F70622}" dt="2024-02-20T13:36:17.821" v="26466"/>
          <ac:spMkLst>
            <pc:docMk/>
            <pc:sldMk cId="2979431457" sldId="2147483588"/>
            <ac:spMk id="37" creationId="{35052140-8C82-2F66-AC8E-DDF823272006}"/>
          </ac:spMkLst>
        </pc:spChg>
        <pc:spChg chg="add del mod modVis">
          <ac:chgData name="Abdi, Adnan" userId="503e002c-9b3b-4180-87fb-acabeb2b158a" providerId="ADAL" clId="{5C2CD6D4-C7A9-4CEF-AA9C-BC2977F70622}" dt="2024-02-20T13:31:27.831" v="23496"/>
          <ac:spMkLst>
            <pc:docMk/>
            <pc:sldMk cId="2979431457" sldId="2147483588"/>
            <ac:spMk id="39" creationId="{18F76B7D-9F8C-8B16-CAE1-45A94F85E250}"/>
          </ac:spMkLst>
        </pc:spChg>
        <pc:spChg chg="mod">
          <ac:chgData name="Abdi, Adnan" userId="503e002c-9b3b-4180-87fb-acabeb2b158a" providerId="ADAL" clId="{5C2CD6D4-C7A9-4CEF-AA9C-BC2977F70622}" dt="2024-02-20T13:36:17.850" v="26541"/>
          <ac:spMkLst>
            <pc:docMk/>
            <pc:sldMk cId="2979431457" sldId="2147483588"/>
            <ac:spMk id="43" creationId="{0554625D-7C6E-62D2-65F3-422532503E2B}"/>
          </ac:spMkLst>
        </pc:spChg>
        <pc:spChg chg="mod ord">
          <ac:chgData name="Abdi, Adnan" userId="503e002c-9b3b-4180-87fb-acabeb2b158a" providerId="ADAL" clId="{5C2CD6D4-C7A9-4CEF-AA9C-BC2977F70622}" dt="2024-02-20T13:36:17.825" v="26478"/>
          <ac:spMkLst>
            <pc:docMk/>
            <pc:sldMk cId="2979431457" sldId="2147483588"/>
            <ac:spMk id="44" creationId="{2F53C558-95A0-4A38-769F-47657E73CFAB}"/>
          </ac:spMkLst>
        </pc:spChg>
        <pc:spChg chg="mod">
          <ac:chgData name="Abdi, Adnan" userId="503e002c-9b3b-4180-87fb-acabeb2b158a" providerId="ADAL" clId="{5C2CD6D4-C7A9-4CEF-AA9C-BC2977F70622}" dt="2024-02-20T13:36:17.827" v="26479"/>
          <ac:spMkLst>
            <pc:docMk/>
            <pc:sldMk cId="2979431457" sldId="2147483588"/>
            <ac:spMk id="45" creationId="{805A1461-642D-563D-1518-A73DC58BC6A5}"/>
          </ac:spMkLst>
        </pc:spChg>
        <pc:spChg chg="mod">
          <ac:chgData name="Abdi, Adnan" userId="503e002c-9b3b-4180-87fb-acabeb2b158a" providerId="ADAL" clId="{5C2CD6D4-C7A9-4CEF-AA9C-BC2977F70622}" dt="2024-02-20T13:36:17.828" v="26480"/>
          <ac:spMkLst>
            <pc:docMk/>
            <pc:sldMk cId="2979431457" sldId="2147483588"/>
            <ac:spMk id="46" creationId="{5EED3477-B67B-0FA6-E0C6-CA3B4D5561A4}"/>
          </ac:spMkLst>
        </pc:spChg>
        <pc:spChg chg="mod">
          <ac:chgData name="Abdi, Adnan" userId="503e002c-9b3b-4180-87fb-acabeb2b158a" providerId="ADAL" clId="{5C2CD6D4-C7A9-4CEF-AA9C-BC2977F70622}" dt="2024-02-20T13:36:17.828" v="26481"/>
          <ac:spMkLst>
            <pc:docMk/>
            <pc:sldMk cId="2979431457" sldId="2147483588"/>
            <ac:spMk id="47" creationId="{A3D86680-6949-E7B7-69B6-D46C6E9BFA1F}"/>
          </ac:spMkLst>
        </pc:spChg>
        <pc:spChg chg="mod">
          <ac:chgData name="Abdi, Adnan" userId="503e002c-9b3b-4180-87fb-acabeb2b158a" providerId="ADAL" clId="{5C2CD6D4-C7A9-4CEF-AA9C-BC2977F70622}" dt="2024-02-20T13:36:17.829" v="26482"/>
          <ac:spMkLst>
            <pc:docMk/>
            <pc:sldMk cId="2979431457" sldId="2147483588"/>
            <ac:spMk id="48" creationId="{9D1EB512-173B-BEA9-1C49-3647099823AD}"/>
          </ac:spMkLst>
        </pc:spChg>
        <pc:spChg chg="mod">
          <ac:chgData name="Abdi, Adnan" userId="503e002c-9b3b-4180-87fb-acabeb2b158a" providerId="ADAL" clId="{5C2CD6D4-C7A9-4CEF-AA9C-BC2977F70622}" dt="2024-02-20T13:36:17.829" v="26483"/>
          <ac:spMkLst>
            <pc:docMk/>
            <pc:sldMk cId="2979431457" sldId="2147483588"/>
            <ac:spMk id="49" creationId="{98BDB999-CE36-81D6-39F9-75631658FF89}"/>
          </ac:spMkLst>
        </pc:spChg>
        <pc:spChg chg="mod ord">
          <ac:chgData name="Abdi, Adnan" userId="503e002c-9b3b-4180-87fb-acabeb2b158a" providerId="ADAL" clId="{5C2CD6D4-C7A9-4CEF-AA9C-BC2977F70622}" dt="2024-02-20T13:36:17.830" v="26485"/>
          <ac:spMkLst>
            <pc:docMk/>
            <pc:sldMk cId="2979431457" sldId="2147483588"/>
            <ac:spMk id="50" creationId="{BA4CA0EB-846C-78CD-0FC5-4BC4385A1732}"/>
          </ac:spMkLst>
        </pc:spChg>
        <pc:spChg chg="mod">
          <ac:chgData name="Abdi, Adnan" userId="503e002c-9b3b-4180-87fb-acabeb2b158a" providerId="ADAL" clId="{5C2CD6D4-C7A9-4CEF-AA9C-BC2977F70622}" dt="2024-02-20T13:36:17.831" v="26486"/>
          <ac:spMkLst>
            <pc:docMk/>
            <pc:sldMk cId="2979431457" sldId="2147483588"/>
            <ac:spMk id="51" creationId="{6A4480EA-0783-867A-F314-2FB3F2334C1C}"/>
          </ac:spMkLst>
        </pc:spChg>
        <pc:spChg chg="mod">
          <ac:chgData name="Abdi, Adnan" userId="503e002c-9b3b-4180-87fb-acabeb2b158a" providerId="ADAL" clId="{5C2CD6D4-C7A9-4CEF-AA9C-BC2977F70622}" dt="2024-02-20T13:36:17.831" v="26487"/>
          <ac:spMkLst>
            <pc:docMk/>
            <pc:sldMk cId="2979431457" sldId="2147483588"/>
            <ac:spMk id="52" creationId="{7B80E7D0-3786-ECDC-3BDE-52E7D73BC0FB}"/>
          </ac:spMkLst>
        </pc:spChg>
        <pc:spChg chg="mod">
          <ac:chgData name="Abdi, Adnan" userId="503e002c-9b3b-4180-87fb-acabeb2b158a" providerId="ADAL" clId="{5C2CD6D4-C7A9-4CEF-AA9C-BC2977F70622}" dt="2024-02-20T13:36:17.832" v="26488"/>
          <ac:spMkLst>
            <pc:docMk/>
            <pc:sldMk cId="2979431457" sldId="2147483588"/>
            <ac:spMk id="53" creationId="{549FE3A0-1B08-7B40-A513-38052FF461ED}"/>
          </ac:spMkLst>
        </pc:spChg>
        <pc:spChg chg="mod">
          <ac:chgData name="Abdi, Adnan" userId="503e002c-9b3b-4180-87fb-acabeb2b158a" providerId="ADAL" clId="{5C2CD6D4-C7A9-4CEF-AA9C-BC2977F70622}" dt="2024-02-20T13:36:17.833" v="26489"/>
          <ac:spMkLst>
            <pc:docMk/>
            <pc:sldMk cId="2979431457" sldId="2147483588"/>
            <ac:spMk id="54" creationId="{FEFCCCDD-77E0-5253-0C42-7BD199E9B215}"/>
          </ac:spMkLst>
        </pc:spChg>
        <pc:spChg chg="mod">
          <ac:chgData name="Abdi, Adnan" userId="503e002c-9b3b-4180-87fb-acabeb2b158a" providerId="ADAL" clId="{5C2CD6D4-C7A9-4CEF-AA9C-BC2977F70622}" dt="2024-02-20T13:36:17.833" v="26490"/>
          <ac:spMkLst>
            <pc:docMk/>
            <pc:sldMk cId="2979431457" sldId="2147483588"/>
            <ac:spMk id="55" creationId="{443C3E15-0B2D-3F9E-0829-060167045147}"/>
          </ac:spMkLst>
        </pc:spChg>
        <pc:spChg chg="mod ord">
          <ac:chgData name="Abdi, Adnan" userId="503e002c-9b3b-4180-87fb-acabeb2b158a" providerId="ADAL" clId="{5C2CD6D4-C7A9-4CEF-AA9C-BC2977F70622}" dt="2024-02-20T13:36:17.834" v="26492"/>
          <ac:spMkLst>
            <pc:docMk/>
            <pc:sldMk cId="2979431457" sldId="2147483588"/>
            <ac:spMk id="56" creationId="{DEB97388-511B-BB6F-8086-930880E5F1BE}"/>
          </ac:spMkLst>
        </pc:spChg>
        <pc:spChg chg="mod">
          <ac:chgData name="Abdi, Adnan" userId="503e002c-9b3b-4180-87fb-acabeb2b158a" providerId="ADAL" clId="{5C2CD6D4-C7A9-4CEF-AA9C-BC2977F70622}" dt="2024-02-20T13:36:17.834" v="26493"/>
          <ac:spMkLst>
            <pc:docMk/>
            <pc:sldMk cId="2979431457" sldId="2147483588"/>
            <ac:spMk id="57" creationId="{A40C8CF1-2AA1-25BD-B394-4905BDD9FD53}"/>
          </ac:spMkLst>
        </pc:spChg>
        <pc:spChg chg="mod">
          <ac:chgData name="Abdi, Adnan" userId="503e002c-9b3b-4180-87fb-acabeb2b158a" providerId="ADAL" clId="{5C2CD6D4-C7A9-4CEF-AA9C-BC2977F70622}" dt="2024-02-20T13:36:17.834" v="26494"/>
          <ac:spMkLst>
            <pc:docMk/>
            <pc:sldMk cId="2979431457" sldId="2147483588"/>
            <ac:spMk id="58" creationId="{7ADEA06C-B3C7-CB0F-9763-70EFF2C73B76}"/>
          </ac:spMkLst>
        </pc:spChg>
        <pc:spChg chg="mod">
          <ac:chgData name="Abdi, Adnan" userId="503e002c-9b3b-4180-87fb-acabeb2b158a" providerId="ADAL" clId="{5C2CD6D4-C7A9-4CEF-AA9C-BC2977F70622}" dt="2024-02-20T13:36:17.834" v="26495"/>
          <ac:spMkLst>
            <pc:docMk/>
            <pc:sldMk cId="2979431457" sldId="2147483588"/>
            <ac:spMk id="59" creationId="{E2F34B3D-B50C-7A29-A411-FBABA2897AF0}"/>
          </ac:spMkLst>
        </pc:spChg>
        <pc:spChg chg="mod">
          <ac:chgData name="Abdi, Adnan" userId="503e002c-9b3b-4180-87fb-acabeb2b158a" providerId="ADAL" clId="{5C2CD6D4-C7A9-4CEF-AA9C-BC2977F70622}" dt="2024-02-20T13:36:17.834" v="26496"/>
          <ac:spMkLst>
            <pc:docMk/>
            <pc:sldMk cId="2979431457" sldId="2147483588"/>
            <ac:spMk id="60" creationId="{09118D09-58EB-9742-A59F-1204757A54FB}"/>
          </ac:spMkLst>
        </pc:spChg>
        <pc:spChg chg="mod">
          <ac:chgData name="Abdi, Adnan" userId="503e002c-9b3b-4180-87fb-acabeb2b158a" providerId="ADAL" clId="{5C2CD6D4-C7A9-4CEF-AA9C-BC2977F70622}" dt="2024-02-20T13:36:17.834" v="26497"/>
          <ac:spMkLst>
            <pc:docMk/>
            <pc:sldMk cId="2979431457" sldId="2147483588"/>
            <ac:spMk id="61" creationId="{7883F257-DF5A-B4EE-54BF-53387BE32A8D}"/>
          </ac:spMkLst>
        </pc:spChg>
        <pc:spChg chg="mod ord">
          <ac:chgData name="Abdi, Adnan" userId="503e002c-9b3b-4180-87fb-acabeb2b158a" providerId="ADAL" clId="{5C2CD6D4-C7A9-4CEF-AA9C-BC2977F70622}" dt="2024-02-20T13:36:17.834" v="26499"/>
          <ac:spMkLst>
            <pc:docMk/>
            <pc:sldMk cId="2979431457" sldId="2147483588"/>
            <ac:spMk id="62" creationId="{8C941C6D-E56B-D8FD-F36F-F3E2EECCF26C}"/>
          </ac:spMkLst>
        </pc:spChg>
        <pc:spChg chg="mod">
          <ac:chgData name="Abdi, Adnan" userId="503e002c-9b3b-4180-87fb-acabeb2b158a" providerId="ADAL" clId="{5C2CD6D4-C7A9-4CEF-AA9C-BC2977F70622}" dt="2024-02-20T13:36:17.834" v="26500"/>
          <ac:spMkLst>
            <pc:docMk/>
            <pc:sldMk cId="2979431457" sldId="2147483588"/>
            <ac:spMk id="63" creationId="{F6DD9591-4703-CCB7-8215-052A8F1E50C8}"/>
          </ac:spMkLst>
        </pc:spChg>
        <pc:spChg chg="mod">
          <ac:chgData name="Abdi, Adnan" userId="503e002c-9b3b-4180-87fb-acabeb2b158a" providerId="ADAL" clId="{5C2CD6D4-C7A9-4CEF-AA9C-BC2977F70622}" dt="2024-02-20T13:36:17.834" v="26501"/>
          <ac:spMkLst>
            <pc:docMk/>
            <pc:sldMk cId="2979431457" sldId="2147483588"/>
            <ac:spMk id="64" creationId="{34306094-62E5-4A20-4861-F13203EFFF6B}"/>
          </ac:spMkLst>
        </pc:spChg>
        <pc:spChg chg="mod">
          <ac:chgData name="Abdi, Adnan" userId="503e002c-9b3b-4180-87fb-acabeb2b158a" providerId="ADAL" clId="{5C2CD6D4-C7A9-4CEF-AA9C-BC2977F70622}" dt="2024-02-20T13:36:17.834" v="26502"/>
          <ac:spMkLst>
            <pc:docMk/>
            <pc:sldMk cId="2979431457" sldId="2147483588"/>
            <ac:spMk id="65" creationId="{A6BECFA4-9E16-920C-6956-A69A4FC03220}"/>
          </ac:spMkLst>
        </pc:spChg>
        <pc:spChg chg="mod">
          <ac:chgData name="Abdi, Adnan" userId="503e002c-9b3b-4180-87fb-acabeb2b158a" providerId="ADAL" clId="{5C2CD6D4-C7A9-4CEF-AA9C-BC2977F70622}" dt="2024-02-20T13:36:17.834" v="26503"/>
          <ac:spMkLst>
            <pc:docMk/>
            <pc:sldMk cId="2979431457" sldId="2147483588"/>
            <ac:spMk id="66" creationId="{5B624E33-F6A0-C26B-F725-3E2B37742EE0}"/>
          </ac:spMkLst>
        </pc:spChg>
        <pc:spChg chg="mod">
          <ac:chgData name="Abdi, Adnan" userId="503e002c-9b3b-4180-87fb-acabeb2b158a" providerId="ADAL" clId="{5C2CD6D4-C7A9-4CEF-AA9C-BC2977F70622}" dt="2024-02-20T13:36:17.834" v="26504"/>
          <ac:spMkLst>
            <pc:docMk/>
            <pc:sldMk cId="2979431457" sldId="2147483588"/>
            <ac:spMk id="67" creationId="{C263D87A-6899-553D-DE5E-7E7FF095FACB}"/>
          </ac:spMkLst>
        </pc:spChg>
        <pc:spChg chg="mod ord">
          <ac:chgData name="Abdi, Adnan" userId="503e002c-9b3b-4180-87fb-acabeb2b158a" providerId="ADAL" clId="{5C2CD6D4-C7A9-4CEF-AA9C-BC2977F70622}" dt="2024-02-20T13:36:17.834" v="26506"/>
          <ac:spMkLst>
            <pc:docMk/>
            <pc:sldMk cId="2979431457" sldId="2147483588"/>
            <ac:spMk id="68" creationId="{60A6EDEB-79C2-8D39-2A76-E3D80831AA9D}"/>
          </ac:spMkLst>
        </pc:spChg>
        <pc:spChg chg="mod">
          <ac:chgData name="Abdi, Adnan" userId="503e002c-9b3b-4180-87fb-acabeb2b158a" providerId="ADAL" clId="{5C2CD6D4-C7A9-4CEF-AA9C-BC2977F70622}" dt="2024-02-20T13:36:17.834" v="26507"/>
          <ac:spMkLst>
            <pc:docMk/>
            <pc:sldMk cId="2979431457" sldId="2147483588"/>
            <ac:spMk id="69" creationId="{520F6DB1-F836-692D-CECD-F4B7B29CB482}"/>
          </ac:spMkLst>
        </pc:spChg>
        <pc:spChg chg="mod">
          <ac:chgData name="Abdi, Adnan" userId="503e002c-9b3b-4180-87fb-acabeb2b158a" providerId="ADAL" clId="{5C2CD6D4-C7A9-4CEF-AA9C-BC2977F70622}" dt="2024-02-20T13:36:17.834" v="26508"/>
          <ac:spMkLst>
            <pc:docMk/>
            <pc:sldMk cId="2979431457" sldId="2147483588"/>
            <ac:spMk id="70" creationId="{C2C8256C-C46C-3C97-88D1-942A72D1CBF9}"/>
          </ac:spMkLst>
        </pc:spChg>
        <pc:spChg chg="mod">
          <ac:chgData name="Abdi, Adnan" userId="503e002c-9b3b-4180-87fb-acabeb2b158a" providerId="ADAL" clId="{5C2CD6D4-C7A9-4CEF-AA9C-BC2977F70622}" dt="2024-02-20T13:36:17.834" v="26509"/>
          <ac:spMkLst>
            <pc:docMk/>
            <pc:sldMk cId="2979431457" sldId="2147483588"/>
            <ac:spMk id="71" creationId="{9534C55F-0096-111B-010E-6DAD16F3FED8}"/>
          </ac:spMkLst>
        </pc:spChg>
        <pc:spChg chg="mod">
          <ac:chgData name="Abdi, Adnan" userId="503e002c-9b3b-4180-87fb-acabeb2b158a" providerId="ADAL" clId="{5C2CD6D4-C7A9-4CEF-AA9C-BC2977F70622}" dt="2024-02-20T13:36:17.834" v="26510"/>
          <ac:spMkLst>
            <pc:docMk/>
            <pc:sldMk cId="2979431457" sldId="2147483588"/>
            <ac:spMk id="72" creationId="{94FCB038-9062-C84A-8F51-59989B819371}"/>
          </ac:spMkLst>
        </pc:spChg>
        <pc:spChg chg="mod">
          <ac:chgData name="Abdi, Adnan" userId="503e002c-9b3b-4180-87fb-acabeb2b158a" providerId="ADAL" clId="{5C2CD6D4-C7A9-4CEF-AA9C-BC2977F70622}" dt="2024-02-20T13:36:17.834" v="26511"/>
          <ac:spMkLst>
            <pc:docMk/>
            <pc:sldMk cId="2979431457" sldId="2147483588"/>
            <ac:spMk id="73" creationId="{4FBC1306-2951-E284-FB2C-0534E16488E5}"/>
          </ac:spMkLst>
        </pc:spChg>
        <pc:spChg chg="mod ord">
          <ac:chgData name="Abdi, Adnan" userId="503e002c-9b3b-4180-87fb-acabeb2b158a" providerId="ADAL" clId="{5C2CD6D4-C7A9-4CEF-AA9C-BC2977F70622}" dt="2024-02-20T13:36:17.834" v="26513"/>
          <ac:spMkLst>
            <pc:docMk/>
            <pc:sldMk cId="2979431457" sldId="2147483588"/>
            <ac:spMk id="74" creationId="{95C366A9-6862-81B5-088F-6F57D48E9E3D}"/>
          </ac:spMkLst>
        </pc:spChg>
        <pc:spChg chg="mod">
          <ac:chgData name="Abdi, Adnan" userId="503e002c-9b3b-4180-87fb-acabeb2b158a" providerId="ADAL" clId="{5C2CD6D4-C7A9-4CEF-AA9C-BC2977F70622}" dt="2024-02-20T13:36:17.834" v="26514"/>
          <ac:spMkLst>
            <pc:docMk/>
            <pc:sldMk cId="2979431457" sldId="2147483588"/>
            <ac:spMk id="75" creationId="{DB9B4F68-D404-BE3D-5C0A-7D527B76FD5F}"/>
          </ac:spMkLst>
        </pc:spChg>
        <pc:spChg chg="mod">
          <ac:chgData name="Abdi, Adnan" userId="503e002c-9b3b-4180-87fb-acabeb2b158a" providerId="ADAL" clId="{5C2CD6D4-C7A9-4CEF-AA9C-BC2977F70622}" dt="2024-02-20T13:36:17.834" v="26515"/>
          <ac:spMkLst>
            <pc:docMk/>
            <pc:sldMk cId="2979431457" sldId="2147483588"/>
            <ac:spMk id="76" creationId="{0391D58F-BB98-6FE8-9975-4F9960B975FB}"/>
          </ac:spMkLst>
        </pc:spChg>
        <pc:spChg chg="mod">
          <ac:chgData name="Abdi, Adnan" userId="503e002c-9b3b-4180-87fb-acabeb2b158a" providerId="ADAL" clId="{5C2CD6D4-C7A9-4CEF-AA9C-BC2977F70622}" dt="2024-02-20T13:36:17.834" v="26516"/>
          <ac:spMkLst>
            <pc:docMk/>
            <pc:sldMk cId="2979431457" sldId="2147483588"/>
            <ac:spMk id="77" creationId="{59F25E7F-1FFB-7230-7A20-6524FC236038}"/>
          </ac:spMkLst>
        </pc:spChg>
        <pc:spChg chg="mod">
          <ac:chgData name="Abdi, Adnan" userId="503e002c-9b3b-4180-87fb-acabeb2b158a" providerId="ADAL" clId="{5C2CD6D4-C7A9-4CEF-AA9C-BC2977F70622}" dt="2024-02-20T13:36:17.834" v="26517"/>
          <ac:spMkLst>
            <pc:docMk/>
            <pc:sldMk cId="2979431457" sldId="2147483588"/>
            <ac:spMk id="78" creationId="{02A37BCD-B733-06C0-AB78-B5B1CC7C4A0E}"/>
          </ac:spMkLst>
        </pc:spChg>
        <pc:spChg chg="mod">
          <ac:chgData name="Abdi, Adnan" userId="503e002c-9b3b-4180-87fb-acabeb2b158a" providerId="ADAL" clId="{5C2CD6D4-C7A9-4CEF-AA9C-BC2977F70622}" dt="2024-02-20T13:36:17.834" v="26518"/>
          <ac:spMkLst>
            <pc:docMk/>
            <pc:sldMk cId="2979431457" sldId="2147483588"/>
            <ac:spMk id="79" creationId="{529E8FB9-6374-32E5-1A95-F0A0F5760D0C}"/>
          </ac:spMkLst>
        </pc:spChg>
        <pc:spChg chg="mod ord">
          <ac:chgData name="Abdi, Adnan" userId="503e002c-9b3b-4180-87fb-acabeb2b158a" providerId="ADAL" clId="{5C2CD6D4-C7A9-4CEF-AA9C-BC2977F70622}" dt="2024-02-20T13:36:17.834" v="26520"/>
          <ac:spMkLst>
            <pc:docMk/>
            <pc:sldMk cId="2979431457" sldId="2147483588"/>
            <ac:spMk id="80" creationId="{BC68EAE7-8F55-2729-8CCB-2E42DFC2335F}"/>
          </ac:spMkLst>
        </pc:spChg>
        <pc:spChg chg="mod">
          <ac:chgData name="Abdi, Adnan" userId="503e002c-9b3b-4180-87fb-acabeb2b158a" providerId="ADAL" clId="{5C2CD6D4-C7A9-4CEF-AA9C-BC2977F70622}" dt="2024-02-20T13:36:17.834" v="26521"/>
          <ac:spMkLst>
            <pc:docMk/>
            <pc:sldMk cId="2979431457" sldId="2147483588"/>
            <ac:spMk id="81" creationId="{95E316D7-F5CE-B329-E73F-8BCABCE2AB46}"/>
          </ac:spMkLst>
        </pc:spChg>
        <pc:spChg chg="mod">
          <ac:chgData name="Abdi, Adnan" userId="503e002c-9b3b-4180-87fb-acabeb2b158a" providerId="ADAL" clId="{5C2CD6D4-C7A9-4CEF-AA9C-BC2977F70622}" dt="2024-02-20T13:36:17.834" v="26522"/>
          <ac:spMkLst>
            <pc:docMk/>
            <pc:sldMk cId="2979431457" sldId="2147483588"/>
            <ac:spMk id="82" creationId="{1762F242-28CC-C769-6395-5B36FEE9D5FD}"/>
          </ac:spMkLst>
        </pc:spChg>
        <pc:spChg chg="mod">
          <ac:chgData name="Abdi, Adnan" userId="503e002c-9b3b-4180-87fb-acabeb2b158a" providerId="ADAL" clId="{5C2CD6D4-C7A9-4CEF-AA9C-BC2977F70622}" dt="2024-02-20T13:36:17.850" v="26533"/>
          <ac:spMkLst>
            <pc:docMk/>
            <pc:sldMk cId="2979431457" sldId="2147483588"/>
            <ac:spMk id="83" creationId="{6A517DB3-A259-ACF8-5ACD-A483AEBDD5B5}"/>
          </ac:spMkLst>
        </pc:spChg>
        <pc:spChg chg="mod">
          <ac:chgData name="Abdi, Adnan" userId="503e002c-9b3b-4180-87fb-acabeb2b158a" providerId="ADAL" clId="{5C2CD6D4-C7A9-4CEF-AA9C-BC2977F70622}" dt="2024-02-20T13:36:17.850" v="26525"/>
          <ac:spMkLst>
            <pc:docMk/>
            <pc:sldMk cId="2979431457" sldId="2147483588"/>
            <ac:spMk id="84" creationId="{CA243931-827C-0B6C-D517-00B7512CB0F0}"/>
          </ac:spMkLst>
        </pc:spChg>
        <pc:spChg chg="mod">
          <ac:chgData name="Abdi, Adnan" userId="503e002c-9b3b-4180-87fb-acabeb2b158a" providerId="ADAL" clId="{5C2CD6D4-C7A9-4CEF-AA9C-BC2977F70622}" dt="2024-02-20T13:36:17.850" v="26526"/>
          <ac:spMkLst>
            <pc:docMk/>
            <pc:sldMk cId="2979431457" sldId="2147483588"/>
            <ac:spMk id="85" creationId="{77475196-C8D5-E87F-1DA6-17578D3009FB}"/>
          </ac:spMkLst>
        </pc:spChg>
        <pc:spChg chg="mod ord">
          <ac:chgData name="Abdi, Adnan" userId="503e002c-9b3b-4180-87fb-acabeb2b158a" providerId="ADAL" clId="{5C2CD6D4-C7A9-4CEF-AA9C-BC2977F70622}" dt="2024-02-20T13:36:17.850" v="26528"/>
          <ac:spMkLst>
            <pc:docMk/>
            <pc:sldMk cId="2979431457" sldId="2147483588"/>
            <ac:spMk id="86" creationId="{8B5E83E2-378A-6D21-2DFF-90909FEA66E4}"/>
          </ac:spMkLst>
        </pc:spChg>
        <pc:spChg chg="mod ord">
          <ac:chgData name="Abdi, Adnan" userId="503e002c-9b3b-4180-87fb-acabeb2b158a" providerId="ADAL" clId="{5C2CD6D4-C7A9-4CEF-AA9C-BC2977F70622}" dt="2024-02-20T13:36:17.850" v="26524"/>
          <ac:spMkLst>
            <pc:docMk/>
            <pc:sldMk cId="2979431457" sldId="2147483588"/>
            <ac:spMk id="87" creationId="{8BB88D57-110F-971E-4158-171CD829D728}"/>
          </ac:spMkLst>
        </pc:spChg>
        <pc:spChg chg="mod">
          <ac:chgData name="Abdi, Adnan" userId="503e002c-9b3b-4180-87fb-acabeb2b158a" providerId="ADAL" clId="{5C2CD6D4-C7A9-4CEF-AA9C-BC2977F70622}" dt="2024-02-20T13:36:17.850" v="26529"/>
          <ac:spMkLst>
            <pc:docMk/>
            <pc:sldMk cId="2979431457" sldId="2147483588"/>
            <ac:spMk id="88" creationId="{BDF5670E-C596-ECFC-D41B-130E719A3AE2}"/>
          </ac:spMkLst>
        </pc:spChg>
        <pc:spChg chg="mod">
          <ac:chgData name="Abdi, Adnan" userId="503e002c-9b3b-4180-87fb-acabeb2b158a" providerId="ADAL" clId="{5C2CD6D4-C7A9-4CEF-AA9C-BC2977F70622}" dt="2024-02-20T13:36:17.850" v="26531"/>
          <ac:spMkLst>
            <pc:docMk/>
            <pc:sldMk cId="2979431457" sldId="2147483588"/>
            <ac:spMk id="89" creationId="{D38B9884-44EC-93E5-2C0F-2A565EC41283}"/>
          </ac:spMkLst>
        </pc:spChg>
        <pc:spChg chg="mod">
          <ac:chgData name="Abdi, Adnan" userId="503e002c-9b3b-4180-87fb-acabeb2b158a" providerId="ADAL" clId="{5C2CD6D4-C7A9-4CEF-AA9C-BC2977F70622}" dt="2024-02-20T13:36:17.850" v="26532"/>
          <ac:spMkLst>
            <pc:docMk/>
            <pc:sldMk cId="2979431457" sldId="2147483588"/>
            <ac:spMk id="90" creationId="{78863797-8572-5656-F97C-61776E4FAAAD}"/>
          </ac:spMkLst>
        </pc:spChg>
        <pc:spChg chg="mod">
          <ac:chgData name="Abdi, Adnan" userId="503e002c-9b3b-4180-87fb-acabeb2b158a" providerId="ADAL" clId="{5C2CD6D4-C7A9-4CEF-AA9C-BC2977F70622}" dt="2024-02-20T13:36:17.850" v="26542"/>
          <ac:spMkLst>
            <pc:docMk/>
            <pc:sldMk cId="2979431457" sldId="2147483588"/>
            <ac:spMk id="91" creationId="{E39B64DF-EE1E-07A4-2BCF-2B36A0D0B117}"/>
          </ac:spMkLst>
        </pc:spChg>
        <pc:spChg chg="mod">
          <ac:chgData name="Abdi, Adnan" userId="503e002c-9b3b-4180-87fb-acabeb2b158a" providerId="ADAL" clId="{5C2CD6D4-C7A9-4CEF-AA9C-BC2977F70622}" dt="2024-02-20T13:36:17.850" v="26534"/>
          <ac:spMkLst>
            <pc:docMk/>
            <pc:sldMk cId="2979431457" sldId="2147483588"/>
            <ac:spMk id="92" creationId="{4D2B1ED1-0296-2E94-9463-D7AB4904761C}"/>
          </ac:spMkLst>
        </pc:spChg>
        <pc:spChg chg="mod">
          <ac:chgData name="Abdi, Adnan" userId="503e002c-9b3b-4180-87fb-acabeb2b158a" providerId="ADAL" clId="{5C2CD6D4-C7A9-4CEF-AA9C-BC2977F70622}" dt="2024-02-20T13:36:17.850" v="26535"/>
          <ac:spMkLst>
            <pc:docMk/>
            <pc:sldMk cId="2979431457" sldId="2147483588"/>
            <ac:spMk id="93" creationId="{4FB86E16-4977-20EA-6FF5-1CC61313937F}"/>
          </ac:spMkLst>
        </pc:spChg>
        <pc:spChg chg="mod">
          <ac:chgData name="Abdi, Adnan" userId="503e002c-9b3b-4180-87fb-acabeb2b158a" providerId="ADAL" clId="{5C2CD6D4-C7A9-4CEF-AA9C-BC2977F70622}" dt="2024-02-20T13:36:17.850" v="26536"/>
          <ac:spMkLst>
            <pc:docMk/>
            <pc:sldMk cId="2979431457" sldId="2147483588"/>
            <ac:spMk id="94" creationId="{68AB1EB9-144C-DEDB-E0C8-FF7A25DF6427}"/>
          </ac:spMkLst>
        </pc:spChg>
        <pc:spChg chg="mod">
          <ac:chgData name="Abdi, Adnan" userId="503e002c-9b3b-4180-87fb-acabeb2b158a" providerId="ADAL" clId="{5C2CD6D4-C7A9-4CEF-AA9C-BC2977F70622}" dt="2024-02-20T13:36:17.850" v="26530"/>
          <ac:spMkLst>
            <pc:docMk/>
            <pc:sldMk cId="2979431457" sldId="2147483588"/>
            <ac:spMk id="95" creationId="{D092AD21-9F4F-3DFD-20D2-2437D082C016}"/>
          </ac:spMkLst>
        </pc:spChg>
        <pc:spChg chg="mod">
          <ac:chgData name="Abdi, Adnan" userId="503e002c-9b3b-4180-87fb-acabeb2b158a" providerId="ADAL" clId="{5C2CD6D4-C7A9-4CEF-AA9C-BC2977F70622}" dt="2024-02-20T13:36:17.850" v="26539"/>
          <ac:spMkLst>
            <pc:docMk/>
            <pc:sldMk cId="2979431457" sldId="2147483588"/>
            <ac:spMk id="96" creationId="{65A5F7AD-DDD2-7CAA-532A-2E2A3507F048}"/>
          </ac:spMkLst>
        </pc:spChg>
        <pc:spChg chg="mod">
          <ac:chgData name="Abdi, Adnan" userId="503e002c-9b3b-4180-87fb-acabeb2b158a" providerId="ADAL" clId="{5C2CD6D4-C7A9-4CEF-AA9C-BC2977F70622}" dt="2024-02-20T13:36:17.850" v="26540"/>
          <ac:spMkLst>
            <pc:docMk/>
            <pc:sldMk cId="2979431457" sldId="2147483588"/>
            <ac:spMk id="97" creationId="{0A6CF955-9201-909D-9DA8-B29C814A9082}"/>
          </ac:spMkLst>
        </pc:spChg>
        <pc:spChg chg="mod">
          <ac:chgData name="Abdi, Adnan" userId="503e002c-9b3b-4180-87fb-acabeb2b158a" providerId="ADAL" clId="{5C2CD6D4-C7A9-4CEF-AA9C-BC2977F70622}" dt="2024-02-20T13:36:17.850" v="26537"/>
          <ac:spMkLst>
            <pc:docMk/>
            <pc:sldMk cId="2979431457" sldId="2147483588"/>
            <ac:spMk id="98" creationId="{24173BF2-CAF8-4D1D-BE61-65C3A91DFAEA}"/>
          </ac:spMkLst>
        </pc:spChg>
        <pc:spChg chg="mod">
          <ac:chgData name="Abdi, Adnan" userId="503e002c-9b3b-4180-87fb-acabeb2b158a" providerId="ADAL" clId="{5C2CD6D4-C7A9-4CEF-AA9C-BC2977F70622}" dt="2024-02-20T13:36:17.850" v="26538"/>
          <ac:spMkLst>
            <pc:docMk/>
            <pc:sldMk cId="2979431457" sldId="2147483588"/>
            <ac:spMk id="99" creationId="{15B2BE1D-7D8D-F3FB-893C-8643964E3964}"/>
          </ac:spMkLst>
        </pc:spChg>
        <pc:spChg chg="mod">
          <ac:chgData name="Abdi, Adnan" userId="503e002c-9b3b-4180-87fb-acabeb2b158a" providerId="ADAL" clId="{5C2CD6D4-C7A9-4CEF-AA9C-BC2977F70622}" dt="2024-02-20T13:36:17.850" v="26543"/>
          <ac:spMkLst>
            <pc:docMk/>
            <pc:sldMk cId="2979431457" sldId="2147483588"/>
            <ac:spMk id="100" creationId="{361F27D7-FB91-4C86-5FC6-7FEF9706C429}"/>
          </ac:spMkLst>
        </pc:spChg>
        <pc:spChg chg="mod ord">
          <ac:chgData name="Abdi, Adnan" userId="503e002c-9b3b-4180-87fb-acabeb2b158a" providerId="ADAL" clId="{5C2CD6D4-C7A9-4CEF-AA9C-BC2977F70622}" dt="2024-02-20T13:36:17.850" v="26545"/>
          <ac:spMkLst>
            <pc:docMk/>
            <pc:sldMk cId="2979431457" sldId="2147483588"/>
            <ac:spMk id="101" creationId="{40CAAA70-F467-0126-1C4B-55F8FF0D3C11}"/>
          </ac:spMkLst>
        </pc:spChg>
        <pc:spChg chg="mod ord">
          <ac:chgData name="Abdi, Adnan" userId="503e002c-9b3b-4180-87fb-acabeb2b158a" providerId="ADAL" clId="{5C2CD6D4-C7A9-4CEF-AA9C-BC2977F70622}" dt="2024-02-20T13:36:17.850" v="26547"/>
          <ac:spMkLst>
            <pc:docMk/>
            <pc:sldMk cId="2979431457" sldId="2147483588"/>
            <ac:spMk id="102" creationId="{A4F5A3E5-16B2-EF77-F554-DF0EBF9AEF3B}"/>
          </ac:spMkLst>
        </pc:spChg>
        <pc:spChg chg="mod ord">
          <ac:chgData name="Abdi, Adnan" userId="503e002c-9b3b-4180-87fb-acabeb2b158a" providerId="ADAL" clId="{5C2CD6D4-C7A9-4CEF-AA9C-BC2977F70622}" dt="2024-02-20T13:36:17.850" v="26549"/>
          <ac:spMkLst>
            <pc:docMk/>
            <pc:sldMk cId="2979431457" sldId="2147483588"/>
            <ac:spMk id="103" creationId="{43FCD4BF-8D6E-C310-ADD5-80F92CEFAC3A}"/>
          </ac:spMkLst>
        </pc:spChg>
        <pc:spChg chg="mod ord">
          <ac:chgData name="Abdi, Adnan" userId="503e002c-9b3b-4180-87fb-acabeb2b158a" providerId="ADAL" clId="{5C2CD6D4-C7A9-4CEF-AA9C-BC2977F70622}" dt="2024-02-20T13:36:17.864" v="26551"/>
          <ac:spMkLst>
            <pc:docMk/>
            <pc:sldMk cId="2979431457" sldId="2147483588"/>
            <ac:spMk id="104" creationId="{0C98A232-B4DD-E488-7027-CDEB1A73A5EA}"/>
          </ac:spMkLst>
        </pc:spChg>
        <pc:spChg chg="mod ord">
          <ac:chgData name="Abdi, Adnan" userId="503e002c-9b3b-4180-87fb-acabeb2b158a" providerId="ADAL" clId="{5C2CD6D4-C7A9-4CEF-AA9C-BC2977F70622}" dt="2024-02-20T13:36:17.864" v="26553"/>
          <ac:spMkLst>
            <pc:docMk/>
            <pc:sldMk cId="2979431457" sldId="2147483588"/>
            <ac:spMk id="105" creationId="{E36E6096-926D-AB85-19AD-9CA74FB3A36A}"/>
          </ac:spMkLst>
        </pc:spChg>
        <pc:spChg chg="mod ord">
          <ac:chgData name="Abdi, Adnan" userId="503e002c-9b3b-4180-87fb-acabeb2b158a" providerId="ADAL" clId="{5C2CD6D4-C7A9-4CEF-AA9C-BC2977F70622}" dt="2024-02-20T13:36:17.864" v="26555"/>
          <ac:spMkLst>
            <pc:docMk/>
            <pc:sldMk cId="2979431457" sldId="2147483588"/>
            <ac:spMk id="106" creationId="{4A377679-16C9-B091-3292-41B0BEB8FAFA}"/>
          </ac:spMkLst>
        </pc:spChg>
        <pc:spChg chg="mod ord">
          <ac:chgData name="Abdi, Adnan" userId="503e002c-9b3b-4180-87fb-acabeb2b158a" providerId="ADAL" clId="{5C2CD6D4-C7A9-4CEF-AA9C-BC2977F70622}" dt="2024-02-20T13:36:17.864" v="26557"/>
          <ac:spMkLst>
            <pc:docMk/>
            <pc:sldMk cId="2979431457" sldId="2147483588"/>
            <ac:spMk id="107" creationId="{9D58C52E-06D1-2D2E-0FFE-57463B8BE400}"/>
          </ac:spMkLst>
        </pc:spChg>
        <pc:spChg chg="mod ord">
          <ac:chgData name="Abdi, Adnan" userId="503e002c-9b3b-4180-87fb-acabeb2b158a" providerId="ADAL" clId="{5C2CD6D4-C7A9-4CEF-AA9C-BC2977F70622}" dt="2024-02-20T13:36:17.864" v="26559"/>
          <ac:spMkLst>
            <pc:docMk/>
            <pc:sldMk cId="2979431457" sldId="2147483588"/>
            <ac:spMk id="108" creationId="{728407F1-35EC-F8C6-DC9A-207C5C61E3DB}"/>
          </ac:spMkLst>
        </pc:spChg>
        <pc:spChg chg="mod ord">
          <ac:chgData name="Abdi, Adnan" userId="503e002c-9b3b-4180-87fb-acabeb2b158a" providerId="ADAL" clId="{5C2CD6D4-C7A9-4CEF-AA9C-BC2977F70622}" dt="2024-02-20T13:36:17.864" v="26561"/>
          <ac:spMkLst>
            <pc:docMk/>
            <pc:sldMk cId="2979431457" sldId="2147483588"/>
            <ac:spMk id="109" creationId="{FEFDDD24-76A9-BDB0-95FB-5D787D61631F}"/>
          </ac:spMkLst>
        </pc:spChg>
        <pc:spChg chg="del mod ord">
          <ac:chgData name="Abdi, Adnan" userId="503e002c-9b3b-4180-87fb-acabeb2b158a" providerId="ADAL" clId="{5C2CD6D4-C7A9-4CEF-AA9C-BC2977F70622}" dt="2024-02-20T13:37:06.948" v="26575" actId="478"/>
          <ac:spMkLst>
            <pc:docMk/>
            <pc:sldMk cId="2979431457" sldId="2147483588"/>
            <ac:spMk id="110" creationId="{FAF79456-D1D4-8C08-57DD-F99CBA2981CE}"/>
          </ac:spMkLst>
        </pc:spChg>
        <pc:spChg chg="del mod ord">
          <ac:chgData name="Abdi, Adnan" userId="503e002c-9b3b-4180-87fb-acabeb2b158a" providerId="ADAL" clId="{5C2CD6D4-C7A9-4CEF-AA9C-BC2977F70622}" dt="2024-02-20T13:36:17.715" v="26389"/>
          <ac:spMkLst>
            <pc:docMk/>
            <pc:sldMk cId="2979431457" sldId="2147483588"/>
            <ac:spMk id="111" creationId="{262EC4D6-0E29-CD85-8D95-6E2536FB389D}"/>
          </ac:spMkLst>
        </pc:spChg>
        <pc:spChg chg="add del mod modVis">
          <ac:chgData name="Abdi, Adnan" userId="503e002c-9b3b-4180-87fb-acabeb2b158a" providerId="ADAL" clId="{5C2CD6D4-C7A9-4CEF-AA9C-BC2977F70622}" dt="2024-02-20T13:31:33.742" v="23780"/>
          <ac:spMkLst>
            <pc:docMk/>
            <pc:sldMk cId="2979431457" sldId="2147483588"/>
            <ac:spMk id="112" creationId="{57A94A01-3608-CB54-A8C8-8063D8A522F5}"/>
          </ac:spMkLst>
        </pc:spChg>
        <pc:spChg chg="del mod ord">
          <ac:chgData name="Abdi, Adnan" userId="503e002c-9b3b-4180-87fb-acabeb2b158a" providerId="ADAL" clId="{5C2CD6D4-C7A9-4CEF-AA9C-BC2977F70622}" dt="2024-02-20T13:36:17.729" v="26405"/>
          <ac:spMkLst>
            <pc:docMk/>
            <pc:sldMk cId="2979431457" sldId="2147483588"/>
            <ac:spMk id="113" creationId="{F8ED9FEF-62D5-6FB6-F375-CC30727D8A66}"/>
          </ac:spMkLst>
        </pc:spChg>
        <pc:spChg chg="mod ord">
          <ac:chgData name="Abdi, Adnan" userId="503e002c-9b3b-4180-87fb-acabeb2b158a" providerId="ADAL" clId="{5C2CD6D4-C7A9-4CEF-AA9C-BC2977F70622}" dt="2024-02-22T10:10:21.776" v="55946" actId="20577"/>
          <ac:spMkLst>
            <pc:docMk/>
            <pc:sldMk cId="2979431457" sldId="2147483588"/>
            <ac:spMk id="117" creationId="{0E6AD056-2923-FF2A-C0FD-8AB2C6E62685}"/>
          </ac:spMkLst>
        </pc:spChg>
        <pc:spChg chg="add del mod modVis">
          <ac:chgData name="Abdi, Adnan" userId="503e002c-9b3b-4180-87fb-acabeb2b158a" providerId="ADAL" clId="{5C2CD6D4-C7A9-4CEF-AA9C-BC2977F70622}" dt="2024-02-20T13:31:38.263" v="24030"/>
          <ac:spMkLst>
            <pc:docMk/>
            <pc:sldMk cId="2979431457" sldId="2147483588"/>
            <ac:spMk id="118" creationId="{922333D3-406D-A91B-1AFC-8AA009BC2FCE}"/>
          </ac:spMkLst>
        </pc:spChg>
        <pc:spChg chg="add del mod modVis">
          <ac:chgData name="Abdi, Adnan" userId="503e002c-9b3b-4180-87fb-acabeb2b158a" providerId="ADAL" clId="{5C2CD6D4-C7A9-4CEF-AA9C-BC2977F70622}" dt="2024-02-20T13:31:43.925" v="24313"/>
          <ac:spMkLst>
            <pc:docMk/>
            <pc:sldMk cId="2979431457" sldId="2147483588"/>
            <ac:spMk id="120" creationId="{E82527E5-9876-A20C-3190-255D64119366}"/>
          </ac:spMkLst>
        </pc:spChg>
        <pc:spChg chg="add del mod modVis">
          <ac:chgData name="Abdi, Adnan" userId="503e002c-9b3b-4180-87fb-acabeb2b158a" providerId="ADAL" clId="{5C2CD6D4-C7A9-4CEF-AA9C-BC2977F70622}" dt="2024-02-20T13:31:45.543" v="24597"/>
          <ac:spMkLst>
            <pc:docMk/>
            <pc:sldMk cId="2979431457" sldId="2147483588"/>
            <ac:spMk id="122" creationId="{373D7DBF-F17E-BC7D-7632-45E6D388E905}"/>
          </ac:spMkLst>
        </pc:spChg>
        <pc:spChg chg="add del mod modVis">
          <ac:chgData name="Abdi, Adnan" userId="503e002c-9b3b-4180-87fb-acabeb2b158a" providerId="ADAL" clId="{5C2CD6D4-C7A9-4CEF-AA9C-BC2977F70622}" dt="2024-02-20T13:31:48.459" v="24847"/>
          <ac:spMkLst>
            <pc:docMk/>
            <pc:sldMk cId="2979431457" sldId="2147483588"/>
            <ac:spMk id="124" creationId="{63B346F1-6643-2E14-EF30-F8A7FD379517}"/>
          </ac:spMkLst>
        </pc:spChg>
        <pc:spChg chg="add del mod modVis">
          <ac:chgData name="Abdi, Adnan" userId="503e002c-9b3b-4180-87fb-acabeb2b158a" providerId="ADAL" clId="{5C2CD6D4-C7A9-4CEF-AA9C-BC2977F70622}" dt="2024-02-20T13:31:54.344" v="25138"/>
          <ac:spMkLst>
            <pc:docMk/>
            <pc:sldMk cId="2979431457" sldId="2147483588"/>
            <ac:spMk id="126" creationId="{2B914A79-3036-86DE-95E7-658C4A7C9BBD}"/>
          </ac:spMkLst>
        </pc:spChg>
        <pc:spChg chg="add del mod modVis">
          <ac:chgData name="Abdi, Adnan" userId="503e002c-9b3b-4180-87fb-acabeb2b158a" providerId="ADAL" clId="{5C2CD6D4-C7A9-4CEF-AA9C-BC2977F70622}" dt="2024-02-20T13:31:56.020" v="25388"/>
          <ac:spMkLst>
            <pc:docMk/>
            <pc:sldMk cId="2979431457" sldId="2147483588"/>
            <ac:spMk id="128" creationId="{9DFF2289-F6AE-5453-9BCD-5F58CC343435}"/>
          </ac:spMkLst>
        </pc:spChg>
        <pc:spChg chg="add del mod modVis">
          <ac:chgData name="Abdi, Adnan" userId="503e002c-9b3b-4180-87fb-acabeb2b158a" providerId="ADAL" clId="{5C2CD6D4-C7A9-4CEF-AA9C-BC2977F70622}" dt="2024-02-20T13:32:00.919" v="25683"/>
          <ac:spMkLst>
            <pc:docMk/>
            <pc:sldMk cId="2979431457" sldId="2147483588"/>
            <ac:spMk id="130" creationId="{2F2ABDB8-3040-AB24-27F5-C9086745953C}"/>
          </ac:spMkLst>
        </pc:spChg>
        <pc:spChg chg="add del mod modVis">
          <ac:chgData name="Abdi, Adnan" userId="503e002c-9b3b-4180-87fb-acabeb2b158a" providerId="ADAL" clId="{5C2CD6D4-C7A9-4CEF-AA9C-BC2977F70622}" dt="2024-02-20T13:32:02.733" v="25933"/>
          <ac:spMkLst>
            <pc:docMk/>
            <pc:sldMk cId="2979431457" sldId="2147483588"/>
            <ac:spMk id="132" creationId="{D76709A1-328F-0CFA-80C6-5AEBCE03EFA8}"/>
          </ac:spMkLst>
        </pc:spChg>
        <pc:spChg chg="add del mod modVis">
          <ac:chgData name="Abdi, Adnan" userId="503e002c-9b3b-4180-87fb-acabeb2b158a" providerId="ADAL" clId="{5C2CD6D4-C7A9-4CEF-AA9C-BC2977F70622}" dt="2024-02-20T13:36:17.864" v="26569"/>
          <ac:spMkLst>
            <pc:docMk/>
            <pc:sldMk cId="2979431457" sldId="2147483588"/>
            <ac:spMk id="134" creationId="{0F3138A1-CE00-B881-3863-DD80EC4272FD}"/>
          </ac:spMkLst>
        </pc:spChg>
        <pc:spChg chg="add mod ord replST">
          <ac:chgData name="Abdi, Adnan" userId="503e002c-9b3b-4180-87fb-acabeb2b158a" providerId="ADAL" clId="{5C2CD6D4-C7A9-4CEF-AA9C-BC2977F70622}" dt="2024-02-20T13:36:17.822" v="26470"/>
          <ac:spMkLst>
            <pc:docMk/>
            <pc:sldMk cId="2979431457" sldId="2147483588"/>
            <ac:spMk id="135" creationId="{C97869E3-07F7-5993-2E1B-19E50CDF5416}"/>
          </ac:spMkLst>
        </pc:spChg>
        <pc:spChg chg="add mod ord replST">
          <ac:chgData name="Abdi, Adnan" userId="503e002c-9b3b-4180-87fb-acabeb2b158a" providerId="ADAL" clId="{5C2CD6D4-C7A9-4CEF-AA9C-BC2977F70622}" dt="2024-02-20T13:36:17.823" v="26472"/>
          <ac:spMkLst>
            <pc:docMk/>
            <pc:sldMk cId="2979431457" sldId="2147483588"/>
            <ac:spMk id="136" creationId="{546C8BF3-5EF2-CD7B-8628-7AF12989B90C}"/>
          </ac:spMkLst>
        </pc:spChg>
        <pc:spChg chg="add mod ord replST">
          <ac:chgData name="Abdi, Adnan" userId="503e002c-9b3b-4180-87fb-acabeb2b158a" providerId="ADAL" clId="{5C2CD6D4-C7A9-4CEF-AA9C-BC2977F70622}" dt="2024-02-20T13:36:17.821" v="26468"/>
          <ac:spMkLst>
            <pc:docMk/>
            <pc:sldMk cId="2979431457" sldId="2147483588"/>
            <ac:spMk id="137" creationId="{45130CD5-D8D8-5878-900A-6BB420CCC4CC}"/>
          </ac:spMkLst>
        </pc:spChg>
        <pc:spChg chg="add mod">
          <ac:chgData name="Abdi, Adnan" userId="503e002c-9b3b-4180-87fb-acabeb2b158a" providerId="ADAL" clId="{5C2CD6D4-C7A9-4CEF-AA9C-BC2977F70622}" dt="2024-02-20T13:37:07.334" v="26576"/>
          <ac:spMkLst>
            <pc:docMk/>
            <pc:sldMk cId="2979431457" sldId="2147483588"/>
            <ac:spMk id="139" creationId="{5E2D2D1E-D39B-5442-C30D-984C78C3E4AF}"/>
          </ac:spMkLst>
        </pc:spChg>
        <pc:graphicFrameChg chg="del">
          <ac:chgData name="Abdi, Adnan" userId="503e002c-9b3b-4180-87fb-acabeb2b158a" providerId="ADAL" clId="{5C2CD6D4-C7A9-4CEF-AA9C-BC2977F70622}" dt="2024-02-20T13:31:24.296" v="22924"/>
          <ac:graphicFrameMkLst>
            <pc:docMk/>
            <pc:sldMk cId="2979431457" sldId="2147483588"/>
            <ac:graphicFrameMk id="13" creationId="{7A8357A2-A203-56F6-193E-5477AFC0D0EC}"/>
          </ac:graphicFrameMkLst>
        </pc:graphicFrameChg>
        <pc:graphicFrameChg chg="add del mod replST">
          <ac:chgData name="Abdi, Adnan" userId="503e002c-9b3b-4180-87fb-acabeb2b158a" providerId="ADAL" clId="{5C2CD6D4-C7A9-4CEF-AA9C-BC2977F70622}" dt="2024-02-20T13:31:27.650" v="23288"/>
          <ac:graphicFrameMkLst>
            <pc:docMk/>
            <pc:sldMk cId="2979431457" sldId="2147483588"/>
            <ac:graphicFrameMk id="38" creationId="{93B04DB6-D862-0D82-5376-922D122B54F8}"/>
          </ac:graphicFrameMkLst>
        </pc:graphicFrameChg>
        <pc:graphicFrameChg chg="add del mod replST">
          <ac:chgData name="Abdi, Adnan" userId="503e002c-9b3b-4180-87fb-acabeb2b158a" providerId="ADAL" clId="{5C2CD6D4-C7A9-4CEF-AA9C-BC2977F70622}" dt="2024-02-20T13:31:33.498" v="23572"/>
          <ac:graphicFrameMkLst>
            <pc:docMk/>
            <pc:sldMk cId="2979431457" sldId="2147483588"/>
            <ac:graphicFrameMk id="40" creationId="{B01E9304-C346-1332-6D49-CA7B44216460}"/>
          </ac:graphicFrameMkLst>
        </pc:graphicFrameChg>
        <pc:graphicFrameChg chg="mod">
          <ac:chgData name="Abdi, Adnan" userId="503e002c-9b3b-4180-87fb-acabeb2b158a" providerId="ADAL" clId="{5C2CD6D4-C7A9-4CEF-AA9C-BC2977F70622}" dt="2024-02-20T13:36:17.916" v="26571"/>
          <ac:graphicFrameMkLst>
            <pc:docMk/>
            <pc:sldMk cId="2979431457" sldId="2147483588"/>
            <ac:graphicFrameMk id="114" creationId="{E2D98394-C65C-A290-5DA9-6A9FB98B123B}"/>
          </ac:graphicFrameMkLst>
        </pc:graphicFrameChg>
        <pc:graphicFrameChg chg="del mod">
          <ac:chgData name="Abdi, Adnan" userId="503e002c-9b3b-4180-87fb-acabeb2b158a" providerId="ADAL" clId="{5C2CD6D4-C7A9-4CEF-AA9C-BC2977F70622}" dt="2024-02-20T13:36:17.748" v="26418"/>
          <ac:graphicFrameMkLst>
            <pc:docMk/>
            <pc:sldMk cId="2979431457" sldId="2147483588"/>
            <ac:graphicFrameMk id="115" creationId="{708CD469-B869-68BD-B8EB-9A6908B44862}"/>
          </ac:graphicFrameMkLst>
        </pc:graphicFrameChg>
        <pc:graphicFrameChg chg="add del mod replST">
          <ac:chgData name="Abdi, Adnan" userId="503e002c-9b3b-4180-87fb-acabeb2b158a" providerId="ADAL" clId="{5C2CD6D4-C7A9-4CEF-AA9C-BC2977F70622}" dt="2024-02-20T13:31:37.765" v="23822"/>
          <ac:graphicFrameMkLst>
            <pc:docMk/>
            <pc:sldMk cId="2979431457" sldId="2147483588"/>
            <ac:graphicFrameMk id="116" creationId="{DB70B576-8FF7-C9F3-F42B-93F9EE39C956}"/>
          </ac:graphicFrameMkLst>
        </pc:graphicFrameChg>
        <pc:graphicFrameChg chg="add del mod replST">
          <ac:chgData name="Abdi, Adnan" userId="503e002c-9b3b-4180-87fb-acabeb2b158a" providerId="ADAL" clId="{5C2CD6D4-C7A9-4CEF-AA9C-BC2977F70622}" dt="2024-02-20T13:31:43.597" v="24105"/>
          <ac:graphicFrameMkLst>
            <pc:docMk/>
            <pc:sldMk cId="2979431457" sldId="2147483588"/>
            <ac:graphicFrameMk id="119" creationId="{6E8A04AB-F509-31FB-E6F9-384F1EEA6FB0}"/>
          </ac:graphicFrameMkLst>
        </pc:graphicFrameChg>
        <pc:graphicFrameChg chg="add del mod replST">
          <ac:chgData name="Abdi, Adnan" userId="503e002c-9b3b-4180-87fb-acabeb2b158a" providerId="ADAL" clId="{5C2CD6D4-C7A9-4CEF-AA9C-BC2977F70622}" dt="2024-02-20T13:31:45.363" v="24389"/>
          <ac:graphicFrameMkLst>
            <pc:docMk/>
            <pc:sldMk cId="2979431457" sldId="2147483588"/>
            <ac:graphicFrameMk id="121" creationId="{726236DA-0CD3-AA52-48FE-8329D2B2A220}"/>
          </ac:graphicFrameMkLst>
        </pc:graphicFrameChg>
        <pc:graphicFrameChg chg="add del mod replST">
          <ac:chgData name="Abdi, Adnan" userId="503e002c-9b3b-4180-87fb-acabeb2b158a" providerId="ADAL" clId="{5C2CD6D4-C7A9-4CEF-AA9C-BC2977F70622}" dt="2024-02-20T13:31:48.183" v="24639"/>
          <ac:graphicFrameMkLst>
            <pc:docMk/>
            <pc:sldMk cId="2979431457" sldId="2147483588"/>
            <ac:graphicFrameMk id="123" creationId="{9BC1B126-24A5-F75C-EE41-CE7C1B79BD57}"/>
          </ac:graphicFrameMkLst>
        </pc:graphicFrameChg>
        <pc:graphicFrameChg chg="add del mod replST">
          <ac:chgData name="Abdi, Adnan" userId="503e002c-9b3b-4180-87fb-acabeb2b158a" providerId="ADAL" clId="{5C2CD6D4-C7A9-4CEF-AA9C-BC2977F70622}" dt="2024-02-20T13:31:54.187" v="24930"/>
          <ac:graphicFrameMkLst>
            <pc:docMk/>
            <pc:sldMk cId="2979431457" sldId="2147483588"/>
            <ac:graphicFrameMk id="125" creationId="{9239DA21-07DB-6119-3A59-4DCE47F11154}"/>
          </ac:graphicFrameMkLst>
        </pc:graphicFrameChg>
        <pc:graphicFrameChg chg="add del mod replST">
          <ac:chgData name="Abdi, Adnan" userId="503e002c-9b3b-4180-87fb-acabeb2b158a" providerId="ADAL" clId="{5C2CD6D4-C7A9-4CEF-AA9C-BC2977F70622}" dt="2024-02-20T13:31:55.859" v="25180"/>
          <ac:graphicFrameMkLst>
            <pc:docMk/>
            <pc:sldMk cId="2979431457" sldId="2147483588"/>
            <ac:graphicFrameMk id="127" creationId="{908BD130-E2DF-778F-8361-8438A702568C}"/>
          </ac:graphicFrameMkLst>
        </pc:graphicFrameChg>
        <pc:graphicFrameChg chg="add del mod replST">
          <ac:chgData name="Abdi, Adnan" userId="503e002c-9b3b-4180-87fb-acabeb2b158a" providerId="ADAL" clId="{5C2CD6D4-C7A9-4CEF-AA9C-BC2977F70622}" dt="2024-02-20T13:32:00.636" v="25475"/>
          <ac:graphicFrameMkLst>
            <pc:docMk/>
            <pc:sldMk cId="2979431457" sldId="2147483588"/>
            <ac:graphicFrameMk id="129" creationId="{9C4CA44F-D491-B40B-FEE3-E1A4980F4512}"/>
          </ac:graphicFrameMkLst>
        </pc:graphicFrameChg>
        <pc:graphicFrameChg chg="add del mod replST">
          <ac:chgData name="Abdi, Adnan" userId="503e002c-9b3b-4180-87fb-acabeb2b158a" providerId="ADAL" clId="{5C2CD6D4-C7A9-4CEF-AA9C-BC2977F70622}" dt="2024-02-20T13:32:02.545" v="25725"/>
          <ac:graphicFrameMkLst>
            <pc:docMk/>
            <pc:sldMk cId="2979431457" sldId="2147483588"/>
            <ac:graphicFrameMk id="131" creationId="{5BED149B-4DD5-DF40-1678-52D35F6365A1}"/>
          </ac:graphicFrameMkLst>
        </pc:graphicFrameChg>
        <pc:graphicFrameChg chg="add mod replST">
          <ac:chgData name="Abdi, Adnan" userId="503e002c-9b3b-4180-87fb-acabeb2b158a" providerId="ADAL" clId="{5C2CD6D4-C7A9-4CEF-AA9C-BC2977F70622}" dt="2024-02-20T13:36:17.804" v="26440"/>
          <ac:graphicFrameMkLst>
            <pc:docMk/>
            <pc:sldMk cId="2979431457" sldId="2147483588"/>
            <ac:graphicFrameMk id="133" creationId="{824AB010-12A7-0CEC-C40D-4DF781BD58DE}"/>
          </ac:graphicFrameMkLst>
        </pc:graphicFrameChg>
        <pc:graphicFrameChg chg="add mod replST">
          <ac:chgData name="Abdi, Adnan" userId="503e002c-9b3b-4180-87fb-acabeb2b158a" providerId="ADAL" clId="{5C2CD6D4-C7A9-4CEF-AA9C-BC2977F70622}" dt="2024-02-20T13:36:17.812" v="26454"/>
          <ac:graphicFrameMkLst>
            <pc:docMk/>
            <pc:sldMk cId="2979431457" sldId="2147483588"/>
            <ac:graphicFrameMk id="138" creationId="{95E2E17C-E0EA-EA59-F2E1-A487F4120636}"/>
          </ac:graphicFrameMkLst>
        </pc:graphicFrameChg>
        <pc:cxnChg chg="mod ord">
          <ac:chgData name="Abdi, Adnan" userId="503e002c-9b3b-4180-87fb-acabeb2b158a" providerId="ADAL" clId="{5C2CD6D4-C7A9-4CEF-AA9C-BC2977F70622}" dt="2024-02-20T13:36:17.811" v="26451"/>
          <ac:cxnSpMkLst>
            <pc:docMk/>
            <pc:sldMk cId="2979431457" sldId="2147483588"/>
            <ac:cxnSpMk id="23" creationId="{002FE36B-C6D1-798C-E926-2E8B3CFB926D}"/>
          </ac:cxnSpMkLst>
        </pc:cxnChg>
        <pc:cxnChg chg="mod ord">
          <ac:chgData name="Abdi, Adnan" userId="503e002c-9b3b-4180-87fb-acabeb2b158a" providerId="ADAL" clId="{5C2CD6D4-C7A9-4CEF-AA9C-BC2977F70622}" dt="2024-02-20T13:36:17.824" v="26474"/>
          <ac:cxnSpMkLst>
            <pc:docMk/>
            <pc:sldMk cId="2979431457" sldId="2147483588"/>
            <ac:cxnSpMk id="41" creationId="{FEDE17CA-9AEE-5D92-9727-EE284FD05B14}"/>
          </ac:cxnSpMkLst>
        </pc:cxnChg>
        <pc:cxnChg chg="mod ord">
          <ac:chgData name="Abdi, Adnan" userId="503e002c-9b3b-4180-87fb-acabeb2b158a" providerId="ADAL" clId="{5C2CD6D4-C7A9-4CEF-AA9C-BC2977F70622}" dt="2024-02-20T13:36:17.824" v="26476"/>
          <ac:cxnSpMkLst>
            <pc:docMk/>
            <pc:sldMk cId="2979431457" sldId="2147483588"/>
            <ac:cxnSpMk id="42" creationId="{A195E535-01DA-1C6E-2AAF-F66406850CEF}"/>
          </ac:cxnSpMkLst>
        </pc:cxnChg>
      </pc:sldChg>
      <pc:sldChg chg="addSp">
        <pc:chgData name="Abdi, Adnan" userId="503e002c-9b3b-4180-87fb-acabeb2b158a" providerId="ADAL" clId="{5C2CD6D4-C7A9-4CEF-AA9C-BC2977F70622}" dt="2024-02-23T15:32:09.917" v="71465"/>
        <pc:sldMkLst>
          <pc:docMk/>
          <pc:sldMk cId="37108236" sldId="2147483589"/>
        </pc:sldMkLst>
        <pc:spChg chg="add">
          <ac:chgData name="Abdi, Adnan" userId="503e002c-9b3b-4180-87fb-acabeb2b158a" providerId="ADAL" clId="{5C2CD6D4-C7A9-4CEF-AA9C-BC2977F70622}" dt="2024-02-23T15:32:09.917" v="71465"/>
          <ac:spMkLst>
            <pc:docMk/>
            <pc:sldMk cId="37108236" sldId="2147483589"/>
            <ac:spMk id="4" creationId="{D621C63B-DC3F-9AB3-994A-92E4128610F0}"/>
          </ac:spMkLst>
        </pc:spChg>
      </pc:sldChg>
      <pc:sldChg chg="addSp delSp modSp add mod">
        <pc:chgData name="Abdi, Adnan" userId="503e002c-9b3b-4180-87fb-acabeb2b158a" providerId="ADAL" clId="{5C2CD6D4-C7A9-4CEF-AA9C-BC2977F70622}" dt="2024-02-20T14:53:30.418" v="30202" actId="20577"/>
        <pc:sldMkLst>
          <pc:docMk/>
          <pc:sldMk cId="1965579048" sldId="2147483589"/>
        </pc:sldMkLst>
        <pc:spChg chg="mod">
          <ac:chgData name="Abdi, Adnan" userId="503e002c-9b3b-4180-87fb-acabeb2b158a" providerId="ADAL" clId="{5C2CD6D4-C7A9-4CEF-AA9C-BC2977F70622}" dt="2024-02-20T13:40:44.441" v="26893" actId="20577"/>
          <ac:spMkLst>
            <pc:docMk/>
            <pc:sldMk cId="1965579048" sldId="2147483589"/>
            <ac:spMk id="36" creationId="{D61DA5B7-3218-2006-BA12-39C23695AE6E}"/>
          </ac:spMkLst>
        </pc:spChg>
        <pc:spChg chg="mod">
          <ac:chgData name="Abdi, Adnan" userId="503e002c-9b3b-4180-87fb-acabeb2b158a" providerId="ADAL" clId="{5C2CD6D4-C7A9-4CEF-AA9C-BC2977F70622}" dt="2024-02-20T13:39:39.651" v="26821" actId="20577"/>
          <ac:spMkLst>
            <pc:docMk/>
            <pc:sldMk cId="1965579048" sldId="2147483589"/>
            <ac:spMk id="37" creationId="{8E283BF3-2C39-DC24-4287-CF0B25C9BE82}"/>
          </ac:spMkLst>
        </pc:spChg>
        <pc:spChg chg="mod">
          <ac:chgData name="Abdi, Adnan" userId="503e002c-9b3b-4180-87fb-acabeb2b158a" providerId="ADAL" clId="{5C2CD6D4-C7A9-4CEF-AA9C-BC2977F70622}" dt="2024-02-20T13:40:31.713" v="26882" actId="20577"/>
          <ac:spMkLst>
            <pc:docMk/>
            <pc:sldMk cId="1965579048" sldId="2147483589"/>
            <ac:spMk id="38" creationId="{362CFE38-9C88-04CB-2061-1AA2B33F408A}"/>
          </ac:spMkLst>
        </pc:spChg>
        <pc:spChg chg="mod">
          <ac:chgData name="Abdi, Adnan" userId="503e002c-9b3b-4180-87fb-acabeb2b158a" providerId="ADAL" clId="{5C2CD6D4-C7A9-4CEF-AA9C-BC2977F70622}" dt="2024-02-20T13:40:20.002" v="26878" actId="20577"/>
          <ac:spMkLst>
            <pc:docMk/>
            <pc:sldMk cId="1965579048" sldId="2147483589"/>
            <ac:spMk id="39" creationId="{FD94B9CD-D997-EEC3-00B8-8727A5185CDA}"/>
          </ac:spMkLst>
        </pc:spChg>
        <pc:spChg chg="mod">
          <ac:chgData name="Abdi, Adnan" userId="503e002c-9b3b-4180-87fb-acabeb2b158a" providerId="ADAL" clId="{5C2CD6D4-C7A9-4CEF-AA9C-BC2977F70622}" dt="2024-02-20T13:40:55.217" v="26898" actId="20577"/>
          <ac:spMkLst>
            <pc:docMk/>
            <pc:sldMk cId="1965579048" sldId="2147483589"/>
            <ac:spMk id="40" creationId="{8D4EC94F-4DC7-5DA9-CCE1-39088A252928}"/>
          </ac:spMkLst>
        </pc:spChg>
        <pc:spChg chg="mod">
          <ac:chgData name="Abdi, Adnan" userId="503e002c-9b3b-4180-87fb-acabeb2b158a" providerId="ADAL" clId="{5C2CD6D4-C7A9-4CEF-AA9C-BC2977F70622}" dt="2024-02-20T13:41:06.462" v="26903" actId="20577"/>
          <ac:spMkLst>
            <pc:docMk/>
            <pc:sldMk cId="1965579048" sldId="2147483589"/>
            <ac:spMk id="41" creationId="{5211DB1D-88AE-1545-6628-483916C1B2A7}"/>
          </ac:spMkLst>
        </pc:spChg>
        <pc:spChg chg="mod">
          <ac:chgData name="Abdi, Adnan" userId="503e002c-9b3b-4180-87fb-acabeb2b158a" providerId="ADAL" clId="{5C2CD6D4-C7A9-4CEF-AA9C-BC2977F70622}" dt="2024-02-20T14:53:13.301" v="30188" actId="20577"/>
          <ac:spMkLst>
            <pc:docMk/>
            <pc:sldMk cId="1965579048" sldId="2147483589"/>
            <ac:spMk id="43" creationId="{C957FCD6-79E3-C503-C92D-93BCABC39AEF}"/>
          </ac:spMkLst>
        </pc:spChg>
        <pc:spChg chg="mod">
          <ac:chgData name="Abdi, Adnan" userId="503e002c-9b3b-4180-87fb-acabeb2b158a" providerId="ADAL" clId="{5C2CD6D4-C7A9-4CEF-AA9C-BC2977F70622}" dt="2024-02-20T13:55:22.508" v="27031" actId="20577"/>
          <ac:spMkLst>
            <pc:docMk/>
            <pc:sldMk cId="1965579048" sldId="2147483589"/>
            <ac:spMk id="44" creationId="{B4021556-3B5F-F041-F26E-357CD42B7499}"/>
          </ac:spMkLst>
        </pc:spChg>
        <pc:spChg chg="mod">
          <ac:chgData name="Abdi, Adnan" userId="503e002c-9b3b-4180-87fb-acabeb2b158a" providerId="ADAL" clId="{5C2CD6D4-C7A9-4CEF-AA9C-BC2977F70622}" dt="2024-02-20T13:56:57.803" v="27060" actId="255"/>
          <ac:spMkLst>
            <pc:docMk/>
            <pc:sldMk cId="1965579048" sldId="2147483589"/>
            <ac:spMk id="45" creationId="{4657879F-3BC5-6301-1001-5ED1AEE61328}"/>
          </ac:spMkLst>
        </pc:spChg>
        <pc:spChg chg="mod">
          <ac:chgData name="Abdi, Adnan" userId="503e002c-9b3b-4180-87fb-acabeb2b158a" providerId="ADAL" clId="{5C2CD6D4-C7A9-4CEF-AA9C-BC2977F70622}" dt="2024-02-20T14:53:30.418" v="30202" actId="20577"/>
          <ac:spMkLst>
            <pc:docMk/>
            <pc:sldMk cId="1965579048" sldId="2147483589"/>
            <ac:spMk id="46" creationId="{614FD35D-7F32-2D3E-8845-D20014094152}"/>
          </ac:spMkLst>
        </pc:spChg>
        <pc:spChg chg="mod">
          <ac:chgData name="Abdi, Adnan" userId="503e002c-9b3b-4180-87fb-acabeb2b158a" providerId="ADAL" clId="{5C2CD6D4-C7A9-4CEF-AA9C-BC2977F70622}" dt="2024-02-20T13:57:03.855" v="27062" actId="255"/>
          <ac:spMkLst>
            <pc:docMk/>
            <pc:sldMk cId="1965579048" sldId="2147483589"/>
            <ac:spMk id="47" creationId="{C5496458-A953-531B-05A4-F5CC4D44D01C}"/>
          </ac:spMkLst>
        </pc:spChg>
        <pc:spChg chg="mod">
          <ac:chgData name="Abdi, Adnan" userId="503e002c-9b3b-4180-87fb-acabeb2b158a" providerId="ADAL" clId="{5C2CD6D4-C7A9-4CEF-AA9C-BC2977F70622}" dt="2024-02-20T13:56:32.816" v="27057" actId="20577"/>
          <ac:spMkLst>
            <pc:docMk/>
            <pc:sldMk cId="1965579048" sldId="2147483589"/>
            <ac:spMk id="48" creationId="{1C518AA0-C19D-6212-65A7-FC61A2F217EC}"/>
          </ac:spMkLst>
        </pc:spChg>
        <pc:spChg chg="mod">
          <ac:chgData name="Abdi, Adnan" userId="503e002c-9b3b-4180-87fb-acabeb2b158a" providerId="ADAL" clId="{5C2CD6D4-C7A9-4CEF-AA9C-BC2977F70622}" dt="2024-02-20T13:57:09.613" v="27064" actId="255"/>
          <ac:spMkLst>
            <pc:docMk/>
            <pc:sldMk cId="1965579048" sldId="2147483589"/>
            <ac:spMk id="49" creationId="{DC3A8934-BC51-C1BD-9E37-3C01E30634A5}"/>
          </ac:spMkLst>
        </pc:spChg>
        <pc:spChg chg="mod">
          <ac:chgData name="Abdi, Adnan" userId="503e002c-9b3b-4180-87fb-acabeb2b158a" providerId="ADAL" clId="{5C2CD6D4-C7A9-4CEF-AA9C-BC2977F70622}" dt="2024-02-20T13:55:50.318" v="27046" actId="20577"/>
          <ac:spMkLst>
            <pc:docMk/>
            <pc:sldMk cId="1965579048" sldId="2147483589"/>
            <ac:spMk id="50" creationId="{60EC45AC-D23A-6613-D408-4FB57FC0255E}"/>
          </ac:spMkLst>
        </pc:spChg>
        <pc:spChg chg="mod">
          <ac:chgData name="Abdi, Adnan" userId="503e002c-9b3b-4180-87fb-acabeb2b158a" providerId="ADAL" clId="{5C2CD6D4-C7A9-4CEF-AA9C-BC2977F70622}" dt="2024-02-20T13:57:11.922" v="27065" actId="255"/>
          <ac:spMkLst>
            <pc:docMk/>
            <pc:sldMk cId="1965579048" sldId="2147483589"/>
            <ac:spMk id="51" creationId="{D19B4448-A9F7-C160-12D9-32F81019B264}"/>
          </ac:spMkLst>
        </pc:spChg>
        <pc:spChg chg="mod">
          <ac:chgData name="Abdi, Adnan" userId="503e002c-9b3b-4180-87fb-acabeb2b158a" providerId="ADAL" clId="{5C2CD6D4-C7A9-4CEF-AA9C-BC2977F70622}" dt="2024-02-20T14:53:00.168" v="30186" actId="20577"/>
          <ac:spMkLst>
            <pc:docMk/>
            <pc:sldMk cId="1965579048" sldId="2147483589"/>
            <ac:spMk id="52" creationId="{97BE96F8-3E43-2E36-1C30-67F8C8DB1988}"/>
          </ac:spMkLst>
        </pc:spChg>
        <pc:spChg chg="mod">
          <ac:chgData name="Abdi, Adnan" userId="503e002c-9b3b-4180-87fb-acabeb2b158a" providerId="ADAL" clId="{5C2CD6D4-C7A9-4CEF-AA9C-BC2977F70622}" dt="2024-02-20T13:57:17.582" v="27067" actId="255"/>
          <ac:spMkLst>
            <pc:docMk/>
            <pc:sldMk cId="1965579048" sldId="2147483589"/>
            <ac:spMk id="53" creationId="{A6F89742-99AE-4CE2-861F-863085C718ED}"/>
          </ac:spMkLst>
        </pc:spChg>
        <pc:spChg chg="mod">
          <ac:chgData name="Abdi, Adnan" userId="503e002c-9b3b-4180-87fb-acabeb2b158a" providerId="ADAL" clId="{5C2CD6D4-C7A9-4CEF-AA9C-BC2977F70622}" dt="2024-02-20T13:38:08.290" v="26701" actId="20577"/>
          <ac:spMkLst>
            <pc:docMk/>
            <pc:sldMk cId="1965579048" sldId="2147483589"/>
            <ac:spMk id="61" creationId="{8DB294AC-22DE-386B-6722-4144688F46BD}"/>
          </ac:spMkLst>
        </pc:spChg>
        <pc:spChg chg="mod">
          <ac:chgData name="Abdi, Adnan" userId="503e002c-9b3b-4180-87fb-acabeb2b158a" providerId="ADAL" clId="{5C2CD6D4-C7A9-4CEF-AA9C-BC2977F70622}" dt="2024-02-20T13:38:15.338" v="26717" actId="20577"/>
          <ac:spMkLst>
            <pc:docMk/>
            <pc:sldMk cId="1965579048" sldId="2147483589"/>
            <ac:spMk id="65" creationId="{B59E81D2-0D6A-48FB-29AF-FD102A0DE538}"/>
          </ac:spMkLst>
        </pc:spChg>
        <pc:spChg chg="mod">
          <ac:chgData name="Abdi, Adnan" userId="503e002c-9b3b-4180-87fb-acabeb2b158a" providerId="ADAL" clId="{5C2CD6D4-C7A9-4CEF-AA9C-BC2977F70622}" dt="2024-02-20T13:38:19.021" v="26726" actId="20577"/>
          <ac:spMkLst>
            <pc:docMk/>
            <pc:sldMk cId="1965579048" sldId="2147483589"/>
            <ac:spMk id="69" creationId="{9B4041E9-BCF7-EA90-9210-44D98B29F5F5}"/>
          </ac:spMkLst>
        </pc:spChg>
        <pc:spChg chg="mod">
          <ac:chgData name="Abdi, Adnan" userId="503e002c-9b3b-4180-87fb-acabeb2b158a" providerId="ADAL" clId="{5C2CD6D4-C7A9-4CEF-AA9C-BC2977F70622}" dt="2024-02-20T13:38:25.966" v="26750" actId="20577"/>
          <ac:spMkLst>
            <pc:docMk/>
            <pc:sldMk cId="1965579048" sldId="2147483589"/>
            <ac:spMk id="73" creationId="{A9DBD651-9288-46F7-24E4-DE8BD6A52799}"/>
          </ac:spMkLst>
        </pc:spChg>
        <pc:spChg chg="mod">
          <ac:chgData name="Abdi, Adnan" userId="503e002c-9b3b-4180-87fb-acabeb2b158a" providerId="ADAL" clId="{5C2CD6D4-C7A9-4CEF-AA9C-BC2977F70622}" dt="2024-02-20T13:38:31.615" v="26768" actId="20577"/>
          <ac:spMkLst>
            <pc:docMk/>
            <pc:sldMk cId="1965579048" sldId="2147483589"/>
            <ac:spMk id="77" creationId="{402A7104-AD4B-1986-4C7B-D4D316213C46}"/>
          </ac:spMkLst>
        </pc:spChg>
        <pc:spChg chg="mod">
          <ac:chgData name="Abdi, Adnan" userId="503e002c-9b3b-4180-87fb-acabeb2b158a" providerId="ADAL" clId="{5C2CD6D4-C7A9-4CEF-AA9C-BC2977F70622}" dt="2024-02-20T13:38:46.364" v="26809" actId="14100"/>
          <ac:spMkLst>
            <pc:docMk/>
            <pc:sldMk cId="1965579048" sldId="2147483589"/>
            <ac:spMk id="81" creationId="{5FB79907-9AF7-A9B4-8E2F-D8E60E9285ED}"/>
          </ac:spMkLst>
        </pc:spChg>
        <pc:spChg chg="mod">
          <ac:chgData name="Abdi, Adnan" userId="503e002c-9b3b-4180-87fb-acabeb2b158a" providerId="ADAL" clId="{5C2CD6D4-C7A9-4CEF-AA9C-BC2977F70622}" dt="2024-02-20T13:56:55.358" v="27059" actId="255"/>
          <ac:spMkLst>
            <pc:docMk/>
            <pc:sldMk cId="1965579048" sldId="2147483589"/>
            <ac:spMk id="85" creationId="{60BECB16-66DC-ED92-B420-482909299A4E}"/>
          </ac:spMkLst>
        </pc:spChg>
        <pc:spChg chg="mod">
          <ac:chgData name="Abdi, Adnan" userId="503e002c-9b3b-4180-87fb-acabeb2b158a" providerId="ADAL" clId="{5C2CD6D4-C7A9-4CEF-AA9C-BC2977F70622}" dt="2024-02-20T13:41:29.995" v="26909" actId="20577"/>
          <ac:spMkLst>
            <pc:docMk/>
            <pc:sldMk cId="1965579048" sldId="2147483589"/>
            <ac:spMk id="87" creationId="{F68BE898-0494-067D-F821-332DE537965B}"/>
          </ac:spMkLst>
        </pc:spChg>
        <pc:spChg chg="mod">
          <ac:chgData name="Abdi, Adnan" userId="503e002c-9b3b-4180-87fb-acabeb2b158a" providerId="ADAL" clId="{5C2CD6D4-C7A9-4CEF-AA9C-BC2977F70622}" dt="2024-02-20T13:41:35.710" v="26918" actId="20577"/>
          <ac:spMkLst>
            <pc:docMk/>
            <pc:sldMk cId="1965579048" sldId="2147483589"/>
            <ac:spMk id="89" creationId="{482C91E3-F9E7-D9F5-B694-93AF59602BEE}"/>
          </ac:spMkLst>
        </pc:spChg>
        <pc:spChg chg="add mod">
          <ac:chgData name="Abdi, Adnan" userId="503e002c-9b3b-4180-87fb-acabeb2b158a" providerId="ADAL" clId="{5C2CD6D4-C7A9-4CEF-AA9C-BC2977F70622}" dt="2024-02-20T13:39:17.658" v="26811"/>
          <ac:spMkLst>
            <pc:docMk/>
            <pc:sldMk cId="1965579048" sldId="2147483589"/>
            <ac:spMk id="90" creationId="{214A0CB8-B91E-3DED-BC12-17A65645D0D4}"/>
          </ac:spMkLst>
        </pc:spChg>
        <pc:spChg chg="add mod">
          <ac:chgData name="Abdi, Adnan" userId="503e002c-9b3b-4180-87fb-acabeb2b158a" providerId="ADAL" clId="{5C2CD6D4-C7A9-4CEF-AA9C-BC2977F70622}" dt="2024-02-20T13:39:17.658" v="26811"/>
          <ac:spMkLst>
            <pc:docMk/>
            <pc:sldMk cId="1965579048" sldId="2147483589"/>
            <ac:spMk id="91" creationId="{ED124007-B719-9A75-7495-7588005B34B3}"/>
          </ac:spMkLst>
        </pc:spChg>
        <pc:spChg chg="mod">
          <ac:chgData name="Abdi, Adnan" userId="503e002c-9b3b-4180-87fb-acabeb2b158a" providerId="ADAL" clId="{5C2CD6D4-C7A9-4CEF-AA9C-BC2977F70622}" dt="2024-02-20T14:52:51.375" v="30182" actId="20577"/>
          <ac:spMkLst>
            <pc:docMk/>
            <pc:sldMk cId="1965579048" sldId="2147483589"/>
            <ac:spMk id="93" creationId="{8C41F1AD-D67F-FFAF-4C71-C09949D141B4}"/>
          </ac:spMkLst>
        </pc:spChg>
        <pc:spChg chg="add mod">
          <ac:chgData name="Abdi, Adnan" userId="503e002c-9b3b-4180-87fb-acabeb2b158a" providerId="ADAL" clId="{5C2CD6D4-C7A9-4CEF-AA9C-BC2977F70622}" dt="2024-02-20T13:39:17.658" v="26811"/>
          <ac:spMkLst>
            <pc:docMk/>
            <pc:sldMk cId="1965579048" sldId="2147483589"/>
            <ac:spMk id="94" creationId="{D2CB95B6-8489-7DFE-1FED-0DECE2701279}"/>
          </ac:spMkLst>
        </pc:spChg>
        <pc:spChg chg="add mod">
          <ac:chgData name="Abdi, Adnan" userId="503e002c-9b3b-4180-87fb-acabeb2b158a" providerId="ADAL" clId="{5C2CD6D4-C7A9-4CEF-AA9C-BC2977F70622}" dt="2024-02-20T13:39:17.658" v="26811"/>
          <ac:spMkLst>
            <pc:docMk/>
            <pc:sldMk cId="1965579048" sldId="2147483589"/>
            <ac:spMk id="95" creationId="{74015B4D-3ED8-3C2E-C0A2-811BE0ECFC03}"/>
          </ac:spMkLst>
        </pc:spChg>
        <pc:spChg chg="add mod">
          <ac:chgData name="Abdi, Adnan" userId="503e002c-9b3b-4180-87fb-acabeb2b158a" providerId="ADAL" clId="{5C2CD6D4-C7A9-4CEF-AA9C-BC2977F70622}" dt="2024-02-20T13:39:17.658" v="26811"/>
          <ac:spMkLst>
            <pc:docMk/>
            <pc:sldMk cId="1965579048" sldId="2147483589"/>
            <ac:spMk id="96" creationId="{6B3EF25D-E79D-5B1C-1B73-C86DA7945CEF}"/>
          </ac:spMkLst>
        </pc:spChg>
        <pc:spChg chg="add mod">
          <ac:chgData name="Abdi, Adnan" userId="503e002c-9b3b-4180-87fb-acabeb2b158a" providerId="ADAL" clId="{5C2CD6D4-C7A9-4CEF-AA9C-BC2977F70622}" dt="2024-02-20T13:39:17.658" v="26811"/>
          <ac:spMkLst>
            <pc:docMk/>
            <pc:sldMk cId="1965579048" sldId="2147483589"/>
            <ac:spMk id="97" creationId="{E4358F40-CEA7-BCCE-7736-E4A28D415EC2}"/>
          </ac:spMkLst>
        </pc:spChg>
        <pc:spChg chg="add mod">
          <ac:chgData name="Abdi, Adnan" userId="503e002c-9b3b-4180-87fb-acabeb2b158a" providerId="ADAL" clId="{5C2CD6D4-C7A9-4CEF-AA9C-BC2977F70622}" dt="2024-02-20T13:39:19.747" v="26812"/>
          <ac:spMkLst>
            <pc:docMk/>
            <pc:sldMk cId="1965579048" sldId="2147483589"/>
            <ac:spMk id="98" creationId="{311C574B-B6D2-9C1D-9854-59414C984950}"/>
          </ac:spMkLst>
        </pc:spChg>
        <pc:spChg chg="add mod">
          <ac:chgData name="Abdi, Adnan" userId="503e002c-9b3b-4180-87fb-acabeb2b158a" providerId="ADAL" clId="{5C2CD6D4-C7A9-4CEF-AA9C-BC2977F70622}" dt="2024-02-20T13:39:19.747" v="26812"/>
          <ac:spMkLst>
            <pc:docMk/>
            <pc:sldMk cId="1965579048" sldId="2147483589"/>
            <ac:spMk id="99" creationId="{063ED44C-50C2-7575-D285-02B42F25EE23}"/>
          </ac:spMkLst>
        </pc:spChg>
        <pc:spChg chg="add mod">
          <ac:chgData name="Abdi, Adnan" userId="503e002c-9b3b-4180-87fb-acabeb2b158a" providerId="ADAL" clId="{5C2CD6D4-C7A9-4CEF-AA9C-BC2977F70622}" dt="2024-02-20T13:39:19.747" v="26812"/>
          <ac:spMkLst>
            <pc:docMk/>
            <pc:sldMk cId="1965579048" sldId="2147483589"/>
            <ac:spMk id="100" creationId="{A4F56FEB-0400-9EDF-A733-7DC9CE9AFECD}"/>
          </ac:spMkLst>
        </pc:spChg>
        <pc:spChg chg="add mod">
          <ac:chgData name="Abdi, Adnan" userId="503e002c-9b3b-4180-87fb-acabeb2b158a" providerId="ADAL" clId="{5C2CD6D4-C7A9-4CEF-AA9C-BC2977F70622}" dt="2024-02-20T13:39:19.747" v="26812"/>
          <ac:spMkLst>
            <pc:docMk/>
            <pc:sldMk cId="1965579048" sldId="2147483589"/>
            <ac:spMk id="101" creationId="{72DB792E-530B-2C3F-1289-0EE70A5FE233}"/>
          </ac:spMkLst>
        </pc:spChg>
        <pc:spChg chg="add mod">
          <ac:chgData name="Abdi, Adnan" userId="503e002c-9b3b-4180-87fb-acabeb2b158a" providerId="ADAL" clId="{5C2CD6D4-C7A9-4CEF-AA9C-BC2977F70622}" dt="2024-02-20T13:39:19.747" v="26812"/>
          <ac:spMkLst>
            <pc:docMk/>
            <pc:sldMk cId="1965579048" sldId="2147483589"/>
            <ac:spMk id="102" creationId="{271E2223-BB08-D6DE-D7E1-71055612555D}"/>
          </ac:spMkLst>
        </pc:spChg>
        <pc:spChg chg="add mod">
          <ac:chgData name="Abdi, Adnan" userId="503e002c-9b3b-4180-87fb-acabeb2b158a" providerId="ADAL" clId="{5C2CD6D4-C7A9-4CEF-AA9C-BC2977F70622}" dt="2024-02-20T13:39:19.747" v="26812"/>
          <ac:spMkLst>
            <pc:docMk/>
            <pc:sldMk cId="1965579048" sldId="2147483589"/>
            <ac:spMk id="103" creationId="{28FDB268-C44F-86FA-3202-07DF09112744}"/>
          </ac:spMkLst>
        </pc:spChg>
        <pc:spChg chg="add del mod">
          <ac:chgData name="Abdi, Adnan" userId="503e002c-9b3b-4180-87fb-acabeb2b158a" providerId="ADAL" clId="{5C2CD6D4-C7A9-4CEF-AA9C-BC2977F70622}" dt="2024-02-20T13:41:50.970" v="26919" actId="478"/>
          <ac:spMkLst>
            <pc:docMk/>
            <pc:sldMk cId="1965579048" sldId="2147483589"/>
            <ac:spMk id="104" creationId="{0C7FF32F-95A8-4C40-DE50-131EC4CF0A34}"/>
          </ac:spMkLst>
        </pc:spChg>
        <pc:spChg chg="add del mod">
          <ac:chgData name="Abdi, Adnan" userId="503e002c-9b3b-4180-87fb-acabeb2b158a" providerId="ADAL" clId="{5C2CD6D4-C7A9-4CEF-AA9C-BC2977F70622}" dt="2024-02-20T13:41:50.970" v="26919" actId="478"/>
          <ac:spMkLst>
            <pc:docMk/>
            <pc:sldMk cId="1965579048" sldId="2147483589"/>
            <ac:spMk id="105" creationId="{A98EF3B5-50C5-2444-5EA8-DFC83465867D}"/>
          </ac:spMkLst>
        </pc:spChg>
        <pc:spChg chg="add del mod">
          <ac:chgData name="Abdi, Adnan" userId="503e002c-9b3b-4180-87fb-acabeb2b158a" providerId="ADAL" clId="{5C2CD6D4-C7A9-4CEF-AA9C-BC2977F70622}" dt="2024-02-20T13:41:50.970" v="26919" actId="478"/>
          <ac:spMkLst>
            <pc:docMk/>
            <pc:sldMk cId="1965579048" sldId="2147483589"/>
            <ac:spMk id="106" creationId="{62040E8A-BF4B-4B01-02B0-8968AAA3D358}"/>
          </ac:spMkLst>
        </pc:spChg>
        <pc:spChg chg="add del mod">
          <ac:chgData name="Abdi, Adnan" userId="503e002c-9b3b-4180-87fb-acabeb2b158a" providerId="ADAL" clId="{5C2CD6D4-C7A9-4CEF-AA9C-BC2977F70622}" dt="2024-02-20T13:41:50.970" v="26919" actId="478"/>
          <ac:spMkLst>
            <pc:docMk/>
            <pc:sldMk cId="1965579048" sldId="2147483589"/>
            <ac:spMk id="107" creationId="{EDB691D7-1D72-DD4B-E16C-3B5FBBB7A7C2}"/>
          </ac:spMkLst>
        </pc:spChg>
        <pc:spChg chg="add del mod">
          <ac:chgData name="Abdi, Adnan" userId="503e002c-9b3b-4180-87fb-acabeb2b158a" providerId="ADAL" clId="{5C2CD6D4-C7A9-4CEF-AA9C-BC2977F70622}" dt="2024-02-20T13:41:50.970" v="26919" actId="478"/>
          <ac:spMkLst>
            <pc:docMk/>
            <pc:sldMk cId="1965579048" sldId="2147483589"/>
            <ac:spMk id="108" creationId="{7A501849-3500-7C05-1E9C-5202982047D1}"/>
          </ac:spMkLst>
        </pc:spChg>
        <pc:spChg chg="add del mod">
          <ac:chgData name="Abdi, Adnan" userId="503e002c-9b3b-4180-87fb-acabeb2b158a" providerId="ADAL" clId="{5C2CD6D4-C7A9-4CEF-AA9C-BC2977F70622}" dt="2024-02-20T13:41:50.970" v="26919" actId="478"/>
          <ac:spMkLst>
            <pc:docMk/>
            <pc:sldMk cId="1965579048" sldId="2147483589"/>
            <ac:spMk id="109" creationId="{D6ACA095-9FA8-E587-3AC1-886BD7AC27D2}"/>
          </ac:spMkLst>
        </pc:spChg>
        <pc:spChg chg="add del">
          <ac:chgData name="Abdi, Adnan" userId="503e002c-9b3b-4180-87fb-acabeb2b158a" providerId="ADAL" clId="{5C2CD6D4-C7A9-4CEF-AA9C-BC2977F70622}" dt="2024-02-20T13:56:05.792" v="27048" actId="478"/>
          <ac:spMkLst>
            <pc:docMk/>
            <pc:sldMk cId="1965579048" sldId="2147483589"/>
            <ac:spMk id="110" creationId="{BB49CECD-7EBC-36B8-7572-361D32A34D30}"/>
          </ac:spMkLst>
        </pc:spChg>
        <pc:spChg chg="add">
          <ac:chgData name="Abdi, Adnan" userId="503e002c-9b3b-4180-87fb-acabeb2b158a" providerId="ADAL" clId="{5C2CD6D4-C7A9-4CEF-AA9C-BC2977F70622}" dt="2024-02-20T13:56:08.332" v="27049"/>
          <ac:spMkLst>
            <pc:docMk/>
            <pc:sldMk cId="1965579048" sldId="2147483589"/>
            <ac:spMk id="111" creationId="{A9A5122E-8B0C-4478-DA9D-370ECAC87603}"/>
          </ac:spMkLst>
        </pc:spChg>
        <pc:spChg chg="add">
          <ac:chgData name="Abdi, Adnan" userId="503e002c-9b3b-4180-87fb-acabeb2b158a" providerId="ADAL" clId="{5C2CD6D4-C7A9-4CEF-AA9C-BC2977F70622}" dt="2024-02-20T13:56:14.069" v="27050"/>
          <ac:spMkLst>
            <pc:docMk/>
            <pc:sldMk cId="1965579048" sldId="2147483589"/>
            <ac:spMk id="112" creationId="{5DF8FD2C-0A8B-7573-2BA0-B6E67D9D42AE}"/>
          </ac:spMkLst>
        </pc:spChg>
        <pc:spChg chg="add">
          <ac:chgData name="Abdi, Adnan" userId="503e002c-9b3b-4180-87fb-acabeb2b158a" providerId="ADAL" clId="{5C2CD6D4-C7A9-4CEF-AA9C-BC2977F70622}" dt="2024-02-20T13:56:18.180" v="27051"/>
          <ac:spMkLst>
            <pc:docMk/>
            <pc:sldMk cId="1965579048" sldId="2147483589"/>
            <ac:spMk id="113" creationId="{A3DA0E99-A1F7-2C63-3BCB-D290F762C40E}"/>
          </ac:spMkLst>
        </pc:spChg>
        <pc:spChg chg="add">
          <ac:chgData name="Abdi, Adnan" userId="503e002c-9b3b-4180-87fb-acabeb2b158a" providerId="ADAL" clId="{5C2CD6D4-C7A9-4CEF-AA9C-BC2977F70622}" dt="2024-02-20T14:51:30.369" v="29914"/>
          <ac:spMkLst>
            <pc:docMk/>
            <pc:sldMk cId="1965579048" sldId="2147483589"/>
            <ac:spMk id="114" creationId="{D450F60C-50ED-7F37-C1A1-AB15AABC47AD}"/>
          </ac:spMkLst>
        </pc:spChg>
        <pc:picChg chg="add mod ord">
          <ac:chgData name="Abdi, Adnan" userId="503e002c-9b3b-4180-87fb-acabeb2b158a" providerId="ADAL" clId="{5C2CD6D4-C7A9-4CEF-AA9C-BC2977F70622}" dt="2024-02-20T13:37:59.056" v="26641"/>
          <ac:picMkLst>
            <pc:docMk/>
            <pc:sldMk cId="1965579048" sldId="2147483589"/>
            <ac:picMk id="42" creationId="{8900669D-5DAB-7575-B0D2-813A9B44C386}"/>
          </ac:picMkLst>
        </pc:picChg>
        <pc:picChg chg="del mod ord">
          <ac:chgData name="Abdi, Adnan" userId="503e002c-9b3b-4180-87fb-acabeb2b158a" providerId="ADAL" clId="{5C2CD6D4-C7A9-4CEF-AA9C-BC2977F70622}" dt="2024-02-20T13:38:02.333" v="26690" actId="478"/>
          <ac:picMkLst>
            <pc:docMk/>
            <pc:sldMk cId="1965579048" sldId="2147483589"/>
            <ac:picMk id="55" creationId="{FA893628-277F-B9BB-E96A-AB045E0E5F73}"/>
          </ac:picMkLst>
        </pc:picChg>
      </pc:sldChg>
      <pc:sldChg chg="add ord">
        <pc:chgData name="Abdi, Adnan" userId="503e002c-9b3b-4180-87fb-acabeb2b158a" providerId="ADAL" clId="{5C2CD6D4-C7A9-4CEF-AA9C-BC2977F70622}" dt="2024-02-20T13:57:40.706" v="27069"/>
        <pc:sldMkLst>
          <pc:docMk/>
          <pc:sldMk cId="3017358938" sldId="2147483590"/>
        </pc:sldMkLst>
      </pc:sldChg>
      <pc:sldChg chg="addSp delSp modSp add mod ord">
        <pc:chgData name="Abdi, Adnan" userId="503e002c-9b3b-4180-87fb-acabeb2b158a" providerId="ADAL" clId="{5C2CD6D4-C7A9-4CEF-AA9C-BC2977F70622}" dt="2024-02-23T15:32:09.917" v="71465"/>
        <pc:sldMkLst>
          <pc:docMk/>
          <pc:sldMk cId="3137648856" sldId="2147483591"/>
        </pc:sldMkLst>
        <pc:spChg chg="mod ord">
          <ac:chgData name="Abdi, Adnan" userId="503e002c-9b3b-4180-87fb-acabeb2b158a" providerId="ADAL" clId="{5C2CD6D4-C7A9-4CEF-AA9C-BC2977F70622}" dt="2024-02-20T14:35:46.367" v="29553"/>
          <ac:spMkLst>
            <pc:docMk/>
            <pc:sldMk cId="3137648856" sldId="2147483591"/>
            <ac:spMk id="2" creationId="{551A0760-76B6-B0DA-473F-4F9BCE390A30}"/>
          </ac:spMkLst>
        </pc:spChg>
        <pc:spChg chg="mod ord">
          <ac:chgData name="Abdi, Adnan" userId="503e002c-9b3b-4180-87fb-acabeb2b158a" providerId="ADAL" clId="{5C2CD6D4-C7A9-4CEF-AA9C-BC2977F70622}" dt="2024-02-20T14:35:46.367" v="29555"/>
          <ac:spMkLst>
            <pc:docMk/>
            <pc:sldMk cId="3137648856" sldId="2147483591"/>
            <ac:spMk id="3" creationId="{18FF0807-DAF8-B85E-04CD-C4F80F1262E3}"/>
          </ac:spMkLst>
        </pc:spChg>
        <pc:spChg chg="add mod ord">
          <ac:chgData name="Abdi, Adnan" userId="503e002c-9b3b-4180-87fb-acabeb2b158a" providerId="ADAL" clId="{5C2CD6D4-C7A9-4CEF-AA9C-BC2977F70622}" dt="2024-02-20T14:35:46.380" v="29603"/>
          <ac:spMkLst>
            <pc:docMk/>
            <pc:sldMk cId="3137648856" sldId="2147483591"/>
            <ac:spMk id="4" creationId="{2328C26D-0429-E9EE-9285-889B00FBF666}"/>
          </ac:spMkLst>
        </pc:spChg>
        <pc:spChg chg="mod ord">
          <ac:chgData name="Abdi, Adnan" userId="503e002c-9b3b-4180-87fb-acabeb2b158a" providerId="ADAL" clId="{5C2CD6D4-C7A9-4CEF-AA9C-BC2977F70622}" dt="2024-02-20T14:35:46.367" v="29557"/>
          <ac:spMkLst>
            <pc:docMk/>
            <pc:sldMk cId="3137648856" sldId="2147483591"/>
            <ac:spMk id="5" creationId="{C43DD8F6-CAB4-CEE9-0BBD-299AC1DC80F0}"/>
          </ac:spMkLst>
        </pc:spChg>
        <pc:spChg chg="mod ord">
          <ac:chgData name="Abdi, Adnan" userId="503e002c-9b3b-4180-87fb-acabeb2b158a" providerId="ADAL" clId="{5C2CD6D4-C7A9-4CEF-AA9C-BC2977F70622}" dt="2024-02-23T14:46:40.380" v="71166" actId="14100"/>
          <ac:spMkLst>
            <pc:docMk/>
            <pc:sldMk cId="3137648856" sldId="2147483591"/>
            <ac:spMk id="7" creationId="{4D9B1145-0907-75A0-8B2A-A336555574B7}"/>
          </ac:spMkLst>
        </pc:spChg>
        <pc:spChg chg="mod ord">
          <ac:chgData name="Abdi, Adnan" userId="503e002c-9b3b-4180-87fb-acabeb2b158a" providerId="ADAL" clId="{5C2CD6D4-C7A9-4CEF-AA9C-BC2977F70622}" dt="2024-02-20T14:35:46.367" v="29559"/>
          <ac:spMkLst>
            <pc:docMk/>
            <pc:sldMk cId="3137648856" sldId="2147483591"/>
            <ac:spMk id="8" creationId="{EF9C8715-F61E-3DB6-57AF-37D692D61CF2}"/>
          </ac:spMkLst>
        </pc:spChg>
        <pc:spChg chg="mod ord">
          <ac:chgData name="Abdi, Adnan" userId="503e002c-9b3b-4180-87fb-acabeb2b158a" providerId="ADAL" clId="{5C2CD6D4-C7A9-4CEF-AA9C-BC2977F70622}" dt="2024-02-20T14:35:46.367" v="29561"/>
          <ac:spMkLst>
            <pc:docMk/>
            <pc:sldMk cId="3137648856" sldId="2147483591"/>
            <ac:spMk id="9" creationId="{222FDB08-DEF5-4833-FB0A-AB7207CED929}"/>
          </ac:spMkLst>
        </pc:spChg>
        <pc:spChg chg="add del mod modVis">
          <ac:chgData name="Abdi, Adnan" userId="503e002c-9b3b-4180-87fb-acabeb2b158a" providerId="ADAL" clId="{5C2CD6D4-C7A9-4CEF-AA9C-BC2977F70622}" dt="2024-02-20T14:35:17.833" v="28847"/>
          <ac:spMkLst>
            <pc:docMk/>
            <pc:sldMk cId="3137648856" sldId="2147483591"/>
            <ac:spMk id="11" creationId="{D11AE3BF-B47C-4862-B509-AC2F5AB21BFF}"/>
          </ac:spMkLst>
        </pc:spChg>
        <pc:spChg chg="mod">
          <ac:chgData name="Abdi, Adnan" userId="503e002c-9b3b-4180-87fb-acabeb2b158a" providerId="ADAL" clId="{5C2CD6D4-C7A9-4CEF-AA9C-BC2977F70622}" dt="2024-02-20T14:35:46.380" v="29569"/>
          <ac:spMkLst>
            <pc:docMk/>
            <pc:sldMk cId="3137648856" sldId="2147483591"/>
            <ac:spMk id="14" creationId="{27792815-A621-FF6D-699E-CA6FB903EFBB}"/>
          </ac:spMkLst>
        </pc:spChg>
        <pc:spChg chg="mod">
          <ac:chgData name="Abdi, Adnan" userId="503e002c-9b3b-4180-87fb-acabeb2b158a" providerId="ADAL" clId="{5C2CD6D4-C7A9-4CEF-AA9C-BC2977F70622}" dt="2024-02-20T14:35:46.380" v="29570"/>
          <ac:spMkLst>
            <pc:docMk/>
            <pc:sldMk cId="3137648856" sldId="2147483591"/>
            <ac:spMk id="15" creationId="{D7D0BC1A-4FEB-6153-9E9B-F939E38D473E}"/>
          </ac:spMkLst>
        </pc:spChg>
        <pc:spChg chg="mod">
          <ac:chgData name="Abdi, Adnan" userId="503e002c-9b3b-4180-87fb-acabeb2b158a" providerId="ADAL" clId="{5C2CD6D4-C7A9-4CEF-AA9C-BC2977F70622}" dt="2024-02-20T14:35:46.380" v="29571"/>
          <ac:spMkLst>
            <pc:docMk/>
            <pc:sldMk cId="3137648856" sldId="2147483591"/>
            <ac:spMk id="16" creationId="{59A4EC13-E3E0-0D9E-D692-389C7E59674E}"/>
          </ac:spMkLst>
        </pc:spChg>
        <pc:spChg chg="mod">
          <ac:chgData name="Abdi, Adnan" userId="503e002c-9b3b-4180-87fb-acabeb2b158a" providerId="ADAL" clId="{5C2CD6D4-C7A9-4CEF-AA9C-BC2977F70622}" dt="2024-02-20T14:35:46.380" v="29572"/>
          <ac:spMkLst>
            <pc:docMk/>
            <pc:sldMk cId="3137648856" sldId="2147483591"/>
            <ac:spMk id="17" creationId="{AB6CADBC-2FAA-2A17-0405-5BEAB8CD69EF}"/>
          </ac:spMkLst>
        </pc:spChg>
        <pc:spChg chg="mod ord">
          <ac:chgData name="Abdi, Adnan" userId="503e002c-9b3b-4180-87fb-acabeb2b158a" providerId="ADAL" clId="{5C2CD6D4-C7A9-4CEF-AA9C-BC2977F70622}" dt="2024-02-20T14:35:46.380" v="29574"/>
          <ac:spMkLst>
            <pc:docMk/>
            <pc:sldMk cId="3137648856" sldId="2147483591"/>
            <ac:spMk id="18" creationId="{0E71803C-747E-F5A4-01F4-091052AE7018}"/>
          </ac:spMkLst>
        </pc:spChg>
        <pc:spChg chg="mod">
          <ac:chgData name="Abdi, Adnan" userId="503e002c-9b3b-4180-87fb-acabeb2b158a" providerId="ADAL" clId="{5C2CD6D4-C7A9-4CEF-AA9C-BC2977F70622}" dt="2024-02-20T14:35:46.380" v="29575"/>
          <ac:spMkLst>
            <pc:docMk/>
            <pc:sldMk cId="3137648856" sldId="2147483591"/>
            <ac:spMk id="19" creationId="{60D48389-46CB-BD4B-592A-96D81994440E}"/>
          </ac:spMkLst>
        </pc:spChg>
        <pc:spChg chg="mod">
          <ac:chgData name="Abdi, Adnan" userId="503e002c-9b3b-4180-87fb-acabeb2b158a" providerId="ADAL" clId="{5C2CD6D4-C7A9-4CEF-AA9C-BC2977F70622}" dt="2024-02-20T14:36:19.552" v="29640" actId="20577"/>
          <ac:spMkLst>
            <pc:docMk/>
            <pc:sldMk cId="3137648856" sldId="2147483591"/>
            <ac:spMk id="20" creationId="{8ECD7D0C-FF3C-C0E2-1BA9-33023E75A90E}"/>
          </ac:spMkLst>
        </pc:spChg>
        <pc:spChg chg="mod">
          <ac:chgData name="Abdi, Adnan" userId="503e002c-9b3b-4180-87fb-acabeb2b158a" providerId="ADAL" clId="{5C2CD6D4-C7A9-4CEF-AA9C-BC2977F70622}" dt="2024-02-20T14:36:49.543" v="29720" actId="20577"/>
          <ac:spMkLst>
            <pc:docMk/>
            <pc:sldMk cId="3137648856" sldId="2147483591"/>
            <ac:spMk id="24" creationId="{D12170C9-FD66-4B4D-4E36-F083C6925B44}"/>
          </ac:spMkLst>
        </pc:spChg>
        <pc:spChg chg="mod">
          <ac:chgData name="Abdi, Adnan" userId="503e002c-9b3b-4180-87fb-acabeb2b158a" providerId="ADAL" clId="{5C2CD6D4-C7A9-4CEF-AA9C-BC2977F70622}" dt="2024-02-20T14:36:25.765" v="29656" actId="20577"/>
          <ac:spMkLst>
            <pc:docMk/>
            <pc:sldMk cId="3137648856" sldId="2147483591"/>
            <ac:spMk id="28" creationId="{EA03CF40-C363-FFCA-160D-00CF3B7585F9}"/>
          </ac:spMkLst>
        </pc:spChg>
        <pc:spChg chg="mod">
          <ac:chgData name="Abdi, Adnan" userId="503e002c-9b3b-4180-87fb-acabeb2b158a" providerId="ADAL" clId="{5C2CD6D4-C7A9-4CEF-AA9C-BC2977F70622}" dt="2024-02-20T14:36:15.090" v="29636" actId="14100"/>
          <ac:spMkLst>
            <pc:docMk/>
            <pc:sldMk cId="3137648856" sldId="2147483591"/>
            <ac:spMk id="32" creationId="{8F6041DD-DAEB-945E-EDEF-C057C3238280}"/>
          </ac:spMkLst>
        </pc:spChg>
        <pc:spChg chg="mod">
          <ac:chgData name="Abdi, Adnan" userId="503e002c-9b3b-4180-87fb-acabeb2b158a" providerId="ADAL" clId="{5C2CD6D4-C7A9-4CEF-AA9C-BC2977F70622}" dt="2024-02-20T14:36:35.676" v="29684" actId="20577"/>
          <ac:spMkLst>
            <pc:docMk/>
            <pc:sldMk cId="3137648856" sldId="2147483591"/>
            <ac:spMk id="36" creationId="{416BFBD9-3001-6838-AE39-380BD50F7542}"/>
          </ac:spMkLst>
        </pc:spChg>
        <pc:spChg chg="mod">
          <ac:chgData name="Abdi, Adnan" userId="503e002c-9b3b-4180-87fb-acabeb2b158a" providerId="ADAL" clId="{5C2CD6D4-C7A9-4CEF-AA9C-BC2977F70622}" dt="2024-02-20T14:36:29.956" v="29666" actId="20577"/>
          <ac:spMkLst>
            <pc:docMk/>
            <pc:sldMk cId="3137648856" sldId="2147483591"/>
            <ac:spMk id="40" creationId="{50D90D5F-01BB-DB5E-3B0B-568E83C95FF1}"/>
          </ac:spMkLst>
        </pc:spChg>
        <pc:spChg chg="mod">
          <ac:chgData name="Abdi, Adnan" userId="503e002c-9b3b-4180-87fb-acabeb2b158a" providerId="ADAL" clId="{5C2CD6D4-C7A9-4CEF-AA9C-BC2977F70622}" dt="2024-02-20T14:39:37.676" v="29737" actId="14100"/>
          <ac:spMkLst>
            <pc:docMk/>
            <pc:sldMk cId="3137648856" sldId="2147483591"/>
            <ac:spMk id="44" creationId="{1E839805-9BC8-6CC8-9CEF-2AD09DA29D83}"/>
          </ac:spMkLst>
        </pc:spChg>
        <pc:spChg chg="mod">
          <ac:chgData name="Abdi, Adnan" userId="503e002c-9b3b-4180-87fb-acabeb2b158a" providerId="ADAL" clId="{5C2CD6D4-C7A9-4CEF-AA9C-BC2977F70622}" dt="2024-02-20T14:40:19.010" v="29771" actId="20577"/>
          <ac:spMkLst>
            <pc:docMk/>
            <pc:sldMk cId="3137648856" sldId="2147483591"/>
            <ac:spMk id="45" creationId="{E4AE6D71-3D73-8057-A1BF-0E3FDCE67D4C}"/>
          </ac:spMkLst>
        </pc:spChg>
        <pc:spChg chg="mod">
          <ac:chgData name="Abdi, Adnan" userId="503e002c-9b3b-4180-87fb-acabeb2b158a" providerId="ADAL" clId="{5C2CD6D4-C7A9-4CEF-AA9C-BC2977F70622}" dt="2024-02-20T14:35:46.380" v="29590"/>
          <ac:spMkLst>
            <pc:docMk/>
            <pc:sldMk cId="3137648856" sldId="2147483591"/>
            <ac:spMk id="46" creationId="{4796AFF0-823F-6FEF-B096-56890707F2AC}"/>
          </ac:spMkLst>
        </pc:spChg>
        <pc:spChg chg="mod">
          <ac:chgData name="Abdi, Adnan" userId="503e002c-9b3b-4180-87fb-acabeb2b158a" providerId="ADAL" clId="{5C2CD6D4-C7A9-4CEF-AA9C-BC2977F70622}" dt="2024-02-20T14:40:47.126" v="29791" actId="20577"/>
          <ac:spMkLst>
            <pc:docMk/>
            <pc:sldMk cId="3137648856" sldId="2147483591"/>
            <ac:spMk id="47" creationId="{61B6CF17-140D-458D-5985-F3D127D71B5F}"/>
          </ac:spMkLst>
        </pc:spChg>
        <pc:spChg chg="mod">
          <ac:chgData name="Abdi, Adnan" userId="503e002c-9b3b-4180-87fb-acabeb2b158a" providerId="ADAL" clId="{5C2CD6D4-C7A9-4CEF-AA9C-BC2977F70622}" dt="2024-02-20T14:35:46.380" v="29592"/>
          <ac:spMkLst>
            <pc:docMk/>
            <pc:sldMk cId="3137648856" sldId="2147483591"/>
            <ac:spMk id="48" creationId="{19133354-B9CC-B9F5-2B2C-2AD276796F02}"/>
          </ac:spMkLst>
        </pc:spChg>
        <pc:spChg chg="mod">
          <ac:chgData name="Abdi, Adnan" userId="503e002c-9b3b-4180-87fb-acabeb2b158a" providerId="ADAL" clId="{5C2CD6D4-C7A9-4CEF-AA9C-BC2977F70622}" dt="2024-02-20T14:39:50.324" v="29741" actId="20577"/>
          <ac:spMkLst>
            <pc:docMk/>
            <pc:sldMk cId="3137648856" sldId="2147483591"/>
            <ac:spMk id="49" creationId="{E2FC73A7-ABC6-AA42-BE00-7775234991F9}"/>
          </ac:spMkLst>
        </pc:spChg>
        <pc:spChg chg="mod">
          <ac:chgData name="Abdi, Adnan" userId="503e002c-9b3b-4180-87fb-acabeb2b158a" providerId="ADAL" clId="{5C2CD6D4-C7A9-4CEF-AA9C-BC2977F70622}" dt="2024-02-20T14:41:35.443" v="29806" actId="20577"/>
          <ac:spMkLst>
            <pc:docMk/>
            <pc:sldMk cId="3137648856" sldId="2147483591"/>
            <ac:spMk id="50" creationId="{015DD286-77F0-397B-18FF-4DC72D0E9320}"/>
          </ac:spMkLst>
        </pc:spChg>
        <pc:spChg chg="mod">
          <ac:chgData name="Abdi, Adnan" userId="503e002c-9b3b-4180-87fb-acabeb2b158a" providerId="ADAL" clId="{5C2CD6D4-C7A9-4CEF-AA9C-BC2977F70622}" dt="2024-02-20T14:34:10.851" v="28669"/>
          <ac:spMkLst>
            <pc:docMk/>
            <pc:sldMk cId="3137648856" sldId="2147483591"/>
            <ac:spMk id="52" creationId="{BAAD1348-835D-949F-9609-4D193CF343B8}"/>
          </ac:spMkLst>
        </pc:spChg>
        <pc:spChg chg="mod">
          <ac:chgData name="Abdi, Adnan" userId="503e002c-9b3b-4180-87fb-acabeb2b158a" providerId="ADAL" clId="{5C2CD6D4-C7A9-4CEF-AA9C-BC2977F70622}" dt="2024-02-20T14:34:10.851" v="28669"/>
          <ac:spMkLst>
            <pc:docMk/>
            <pc:sldMk cId="3137648856" sldId="2147483591"/>
            <ac:spMk id="53" creationId="{661A77E2-4E50-8ABE-DB75-4E96CEA2E72F}"/>
          </ac:spMkLst>
        </pc:spChg>
        <pc:spChg chg="mod">
          <ac:chgData name="Abdi, Adnan" userId="503e002c-9b3b-4180-87fb-acabeb2b158a" providerId="ADAL" clId="{5C2CD6D4-C7A9-4CEF-AA9C-BC2977F70622}" dt="2024-02-20T14:34:10.851" v="28669"/>
          <ac:spMkLst>
            <pc:docMk/>
            <pc:sldMk cId="3137648856" sldId="2147483591"/>
            <ac:spMk id="54" creationId="{E462D0E1-B74B-9CD9-FC24-6AC62AA0523E}"/>
          </ac:spMkLst>
        </pc:spChg>
        <pc:spChg chg="mod">
          <ac:chgData name="Abdi, Adnan" userId="503e002c-9b3b-4180-87fb-acabeb2b158a" providerId="ADAL" clId="{5C2CD6D4-C7A9-4CEF-AA9C-BC2977F70622}" dt="2024-02-20T14:34:10.851" v="28669"/>
          <ac:spMkLst>
            <pc:docMk/>
            <pc:sldMk cId="3137648856" sldId="2147483591"/>
            <ac:spMk id="55" creationId="{F1D918F6-4FAB-F133-073B-4A0F0B63DFD9}"/>
          </ac:spMkLst>
        </pc:spChg>
        <pc:spChg chg="mod">
          <ac:chgData name="Abdi, Adnan" userId="503e002c-9b3b-4180-87fb-acabeb2b158a" providerId="ADAL" clId="{5C2CD6D4-C7A9-4CEF-AA9C-BC2977F70622}" dt="2024-02-20T14:34:10.851" v="28669"/>
          <ac:spMkLst>
            <pc:docMk/>
            <pc:sldMk cId="3137648856" sldId="2147483591"/>
            <ac:spMk id="56" creationId="{9B0E6D3F-2121-EFE5-08CF-2C2B5F2E8D44}"/>
          </ac:spMkLst>
        </pc:spChg>
        <pc:spChg chg="mod">
          <ac:chgData name="Abdi, Adnan" userId="503e002c-9b3b-4180-87fb-acabeb2b158a" providerId="ADAL" clId="{5C2CD6D4-C7A9-4CEF-AA9C-BC2977F70622}" dt="2024-02-20T14:34:10.851" v="28669"/>
          <ac:spMkLst>
            <pc:docMk/>
            <pc:sldMk cId="3137648856" sldId="2147483591"/>
            <ac:spMk id="57" creationId="{86D72865-78AB-F084-602D-96EA0F187C3B}"/>
          </ac:spMkLst>
        </pc:spChg>
        <pc:spChg chg="mod">
          <ac:chgData name="Abdi, Adnan" userId="503e002c-9b3b-4180-87fb-acabeb2b158a" providerId="ADAL" clId="{5C2CD6D4-C7A9-4CEF-AA9C-BC2977F70622}" dt="2024-02-20T14:34:10.851" v="28669"/>
          <ac:spMkLst>
            <pc:docMk/>
            <pc:sldMk cId="3137648856" sldId="2147483591"/>
            <ac:spMk id="58" creationId="{FE2BA3C7-FDEC-975C-8668-F0759DEA90CF}"/>
          </ac:spMkLst>
        </pc:spChg>
        <pc:spChg chg="mod">
          <ac:chgData name="Abdi, Adnan" userId="503e002c-9b3b-4180-87fb-acabeb2b158a" providerId="ADAL" clId="{5C2CD6D4-C7A9-4CEF-AA9C-BC2977F70622}" dt="2024-02-20T14:34:10.851" v="28669"/>
          <ac:spMkLst>
            <pc:docMk/>
            <pc:sldMk cId="3137648856" sldId="2147483591"/>
            <ac:spMk id="59" creationId="{F1D67FB8-B634-2713-3446-1AE03E8BBD7F}"/>
          </ac:spMkLst>
        </pc:spChg>
        <pc:spChg chg="mod">
          <ac:chgData name="Abdi, Adnan" userId="503e002c-9b3b-4180-87fb-acabeb2b158a" providerId="ADAL" clId="{5C2CD6D4-C7A9-4CEF-AA9C-BC2977F70622}" dt="2024-02-20T14:34:10.851" v="28669"/>
          <ac:spMkLst>
            <pc:docMk/>
            <pc:sldMk cId="3137648856" sldId="2147483591"/>
            <ac:spMk id="60" creationId="{79AFC0C7-FCA7-97A0-2769-54182822882F}"/>
          </ac:spMkLst>
        </pc:spChg>
        <pc:spChg chg="mod">
          <ac:chgData name="Abdi, Adnan" userId="503e002c-9b3b-4180-87fb-acabeb2b158a" providerId="ADAL" clId="{5C2CD6D4-C7A9-4CEF-AA9C-BC2977F70622}" dt="2024-02-20T14:34:10.851" v="28669"/>
          <ac:spMkLst>
            <pc:docMk/>
            <pc:sldMk cId="3137648856" sldId="2147483591"/>
            <ac:spMk id="61" creationId="{5E80AEB3-C6A2-9BB0-3B9B-71734142B283}"/>
          </ac:spMkLst>
        </pc:spChg>
        <pc:spChg chg="mod">
          <ac:chgData name="Abdi, Adnan" userId="503e002c-9b3b-4180-87fb-acabeb2b158a" providerId="ADAL" clId="{5C2CD6D4-C7A9-4CEF-AA9C-BC2977F70622}" dt="2024-02-20T14:41:00.974" v="29795" actId="20577"/>
          <ac:spMkLst>
            <pc:docMk/>
            <pc:sldMk cId="3137648856" sldId="2147483591"/>
            <ac:spMk id="64" creationId="{8B46263D-D48C-E81E-65E2-3F96D866EF53}"/>
          </ac:spMkLst>
        </pc:spChg>
        <pc:spChg chg="mod">
          <ac:chgData name="Abdi, Adnan" userId="503e002c-9b3b-4180-87fb-acabeb2b158a" providerId="ADAL" clId="{5C2CD6D4-C7A9-4CEF-AA9C-BC2977F70622}" dt="2024-02-20T14:58:37.585" v="30329" actId="20577"/>
          <ac:spMkLst>
            <pc:docMk/>
            <pc:sldMk cId="3137648856" sldId="2147483591"/>
            <ac:spMk id="69" creationId="{9A16AA90-BA06-F664-223D-40C5E04FD488}"/>
          </ac:spMkLst>
        </pc:spChg>
        <pc:spChg chg="mod">
          <ac:chgData name="Abdi, Adnan" userId="503e002c-9b3b-4180-87fb-acabeb2b158a" providerId="ADAL" clId="{5C2CD6D4-C7A9-4CEF-AA9C-BC2977F70622}" dt="2024-02-20T14:35:46.380" v="29599"/>
          <ac:spMkLst>
            <pc:docMk/>
            <pc:sldMk cId="3137648856" sldId="2147483591"/>
            <ac:spMk id="70" creationId="{10009112-67E4-73F0-AB89-08A7D0E3CC5D}"/>
          </ac:spMkLst>
        </pc:spChg>
        <pc:spChg chg="del">
          <ac:chgData name="Abdi, Adnan" userId="503e002c-9b3b-4180-87fb-acabeb2b158a" providerId="ADAL" clId="{5C2CD6D4-C7A9-4CEF-AA9C-BC2977F70622}" dt="2024-02-20T14:08:17.267" v="27071" actId="478"/>
          <ac:spMkLst>
            <pc:docMk/>
            <pc:sldMk cId="3137648856" sldId="2147483591"/>
            <ac:spMk id="71" creationId="{0513A808-3F34-EA50-F9AD-99F4D61D744A}"/>
          </ac:spMkLst>
        </pc:spChg>
        <pc:spChg chg="add del mod replST">
          <ac:chgData name="Abdi, Adnan" userId="503e002c-9b3b-4180-87fb-acabeb2b158a" providerId="ADAL" clId="{5C2CD6D4-C7A9-4CEF-AA9C-BC2977F70622}" dt="2024-02-20T14:35:33.321" v="29092"/>
          <ac:spMkLst>
            <pc:docMk/>
            <pc:sldMk cId="3137648856" sldId="2147483591"/>
            <ac:spMk id="72" creationId="{F8AD656F-11F2-89C9-FB55-75F8A34368AF}"/>
          </ac:spMkLst>
        </pc:spChg>
        <pc:spChg chg="add mod ord">
          <ac:chgData name="Abdi, Adnan" userId="503e002c-9b3b-4180-87fb-acabeb2b158a" providerId="ADAL" clId="{5C2CD6D4-C7A9-4CEF-AA9C-BC2977F70622}" dt="2024-02-23T15:32:09.917" v="71465"/>
          <ac:spMkLst>
            <pc:docMk/>
            <pc:sldMk cId="3137648856" sldId="2147483591"/>
            <ac:spMk id="75" creationId="{9343EB30-15DE-5399-09AD-5A2FD0F8AC56}"/>
          </ac:spMkLst>
        </pc:spChg>
        <pc:spChg chg="add del mod modVis">
          <ac:chgData name="Abdi, Adnan" userId="503e002c-9b3b-4180-87fb-acabeb2b158a" providerId="ADAL" clId="{5C2CD6D4-C7A9-4CEF-AA9C-BC2977F70622}" dt="2024-02-20T14:35:31.543" v="29085"/>
          <ac:spMkLst>
            <pc:docMk/>
            <pc:sldMk cId="3137648856" sldId="2147483591"/>
            <ac:spMk id="77" creationId="{8946B5C9-1438-FC1A-F2D3-02B50D853C44}"/>
          </ac:spMkLst>
        </pc:spChg>
        <pc:spChg chg="add del mod modVis">
          <ac:chgData name="Abdi, Adnan" userId="503e002c-9b3b-4180-87fb-acabeb2b158a" providerId="ADAL" clId="{5C2CD6D4-C7A9-4CEF-AA9C-BC2977F70622}" dt="2024-02-20T14:35:42.056" v="29270"/>
          <ac:spMkLst>
            <pc:docMk/>
            <pc:sldMk cId="3137648856" sldId="2147483591"/>
            <ac:spMk id="80" creationId="{53CE2168-EF19-69E5-BB88-FB14833A5114}"/>
          </ac:spMkLst>
        </pc:spChg>
        <pc:spChg chg="add del mod modVis">
          <ac:chgData name="Abdi, Adnan" userId="503e002c-9b3b-4180-87fb-acabeb2b158a" providerId="ADAL" clId="{5C2CD6D4-C7A9-4CEF-AA9C-BC2977F70622}" dt="2024-02-20T14:35:44.392" v="29384"/>
          <ac:spMkLst>
            <pc:docMk/>
            <pc:sldMk cId="3137648856" sldId="2147483591"/>
            <ac:spMk id="82" creationId="{F2B381BB-1652-E7D0-3021-C2585C4D1916}"/>
          </ac:spMkLst>
        </pc:spChg>
        <pc:spChg chg="add del mod modVis">
          <ac:chgData name="Abdi, Adnan" userId="503e002c-9b3b-4180-87fb-acabeb2b158a" providerId="ADAL" clId="{5C2CD6D4-C7A9-4CEF-AA9C-BC2977F70622}" dt="2024-02-20T14:35:45.461" v="29494"/>
          <ac:spMkLst>
            <pc:docMk/>
            <pc:sldMk cId="3137648856" sldId="2147483591"/>
            <ac:spMk id="84" creationId="{B1D6818C-A085-7EAC-06C3-5A65F67407DD}"/>
          </ac:spMkLst>
        </pc:spChg>
        <pc:spChg chg="add del mod modVis">
          <ac:chgData name="Abdi, Adnan" userId="503e002c-9b3b-4180-87fb-acabeb2b158a" providerId="ADAL" clId="{5C2CD6D4-C7A9-4CEF-AA9C-BC2977F70622}" dt="2024-02-20T14:35:46.380" v="29607"/>
          <ac:spMkLst>
            <pc:docMk/>
            <pc:sldMk cId="3137648856" sldId="2147483591"/>
            <ac:spMk id="86" creationId="{3F06C725-A106-8119-F0B1-65C3B87E6C7C}"/>
          </ac:spMkLst>
        </pc:spChg>
        <pc:spChg chg="add">
          <ac:chgData name="Abdi, Adnan" userId="503e002c-9b3b-4180-87fb-acabeb2b158a" providerId="ADAL" clId="{5C2CD6D4-C7A9-4CEF-AA9C-BC2977F70622}" dt="2024-02-20T14:41:06.169" v="29796"/>
          <ac:spMkLst>
            <pc:docMk/>
            <pc:sldMk cId="3137648856" sldId="2147483591"/>
            <ac:spMk id="88" creationId="{DAB3EAAA-4FF2-E74E-9410-1065EF0D61DD}"/>
          </ac:spMkLst>
        </pc:spChg>
        <pc:spChg chg="add">
          <ac:chgData name="Abdi, Adnan" userId="503e002c-9b3b-4180-87fb-acabeb2b158a" providerId="ADAL" clId="{5C2CD6D4-C7A9-4CEF-AA9C-BC2977F70622}" dt="2024-02-20T14:41:09.759" v="29797"/>
          <ac:spMkLst>
            <pc:docMk/>
            <pc:sldMk cId="3137648856" sldId="2147483591"/>
            <ac:spMk id="89" creationId="{AB71C988-9073-CEFD-EE16-6140E665BBE9}"/>
          </ac:spMkLst>
        </pc:spChg>
        <pc:spChg chg="add">
          <ac:chgData name="Abdi, Adnan" userId="503e002c-9b3b-4180-87fb-acabeb2b158a" providerId="ADAL" clId="{5C2CD6D4-C7A9-4CEF-AA9C-BC2977F70622}" dt="2024-02-20T14:41:22.414" v="29798"/>
          <ac:spMkLst>
            <pc:docMk/>
            <pc:sldMk cId="3137648856" sldId="2147483591"/>
            <ac:spMk id="90" creationId="{E4AC1DD3-53AA-7CD2-2A5A-601A3B49B860}"/>
          </ac:spMkLst>
        </pc:spChg>
        <pc:spChg chg="add del mod">
          <ac:chgData name="Abdi, Adnan" userId="503e002c-9b3b-4180-87fb-acabeb2b158a" providerId="ADAL" clId="{5C2CD6D4-C7A9-4CEF-AA9C-BC2977F70622}" dt="2024-02-20T14:41:29.620" v="29801" actId="478"/>
          <ac:spMkLst>
            <pc:docMk/>
            <pc:sldMk cId="3137648856" sldId="2147483591"/>
            <ac:spMk id="91" creationId="{9F9E53E7-D948-FBDB-67E0-445559516E57}"/>
          </ac:spMkLst>
        </pc:spChg>
        <pc:grpChg chg="mod">
          <ac:chgData name="Abdi, Adnan" userId="503e002c-9b3b-4180-87fb-acabeb2b158a" providerId="ADAL" clId="{5C2CD6D4-C7A9-4CEF-AA9C-BC2977F70622}" dt="2024-02-20T14:35:46.380" v="29577"/>
          <ac:grpSpMkLst>
            <pc:docMk/>
            <pc:sldMk cId="3137648856" sldId="2147483591"/>
            <ac:grpSpMk id="21" creationId="{97324234-5015-4C8D-9C27-500D558E9BFC}"/>
          </ac:grpSpMkLst>
        </pc:grpChg>
        <pc:grpChg chg="mod">
          <ac:chgData name="Abdi, Adnan" userId="503e002c-9b3b-4180-87fb-acabeb2b158a" providerId="ADAL" clId="{5C2CD6D4-C7A9-4CEF-AA9C-BC2977F70622}" dt="2024-02-20T14:35:46.380" v="29579"/>
          <ac:grpSpMkLst>
            <pc:docMk/>
            <pc:sldMk cId="3137648856" sldId="2147483591"/>
            <ac:grpSpMk id="25" creationId="{548BD66D-071E-C25D-D698-677B6F610C48}"/>
          </ac:grpSpMkLst>
        </pc:grpChg>
        <pc:grpChg chg="mod">
          <ac:chgData name="Abdi, Adnan" userId="503e002c-9b3b-4180-87fb-acabeb2b158a" providerId="ADAL" clId="{5C2CD6D4-C7A9-4CEF-AA9C-BC2977F70622}" dt="2024-02-20T14:35:46.380" v="29581"/>
          <ac:grpSpMkLst>
            <pc:docMk/>
            <pc:sldMk cId="3137648856" sldId="2147483591"/>
            <ac:grpSpMk id="29" creationId="{7313CDCE-9787-2390-5B57-DF2F4ECBFD6E}"/>
          </ac:grpSpMkLst>
        </pc:grpChg>
        <pc:grpChg chg="mod">
          <ac:chgData name="Abdi, Adnan" userId="503e002c-9b3b-4180-87fb-acabeb2b158a" providerId="ADAL" clId="{5C2CD6D4-C7A9-4CEF-AA9C-BC2977F70622}" dt="2024-02-20T14:35:46.380" v="29583"/>
          <ac:grpSpMkLst>
            <pc:docMk/>
            <pc:sldMk cId="3137648856" sldId="2147483591"/>
            <ac:grpSpMk id="33" creationId="{F9E98A99-FED6-5CA5-BE40-664EA27C9F68}"/>
          </ac:grpSpMkLst>
        </pc:grpChg>
        <pc:grpChg chg="mod">
          <ac:chgData name="Abdi, Adnan" userId="503e002c-9b3b-4180-87fb-acabeb2b158a" providerId="ADAL" clId="{5C2CD6D4-C7A9-4CEF-AA9C-BC2977F70622}" dt="2024-02-20T14:35:46.380" v="29585"/>
          <ac:grpSpMkLst>
            <pc:docMk/>
            <pc:sldMk cId="3137648856" sldId="2147483591"/>
            <ac:grpSpMk id="37" creationId="{EEC1029A-6C94-314C-53F5-74EA1C3BD10C}"/>
          </ac:grpSpMkLst>
        </pc:grpChg>
        <pc:grpChg chg="mod">
          <ac:chgData name="Abdi, Adnan" userId="503e002c-9b3b-4180-87fb-acabeb2b158a" providerId="ADAL" clId="{5C2CD6D4-C7A9-4CEF-AA9C-BC2977F70622}" dt="2024-02-20T14:35:46.380" v="29587"/>
          <ac:grpSpMkLst>
            <pc:docMk/>
            <pc:sldMk cId="3137648856" sldId="2147483591"/>
            <ac:grpSpMk id="41" creationId="{7BC07D09-D98A-7A2E-8509-FD18E91442FB}"/>
          </ac:grpSpMkLst>
        </pc:grpChg>
        <pc:grpChg chg="mod">
          <ac:chgData name="Abdi, Adnan" userId="503e002c-9b3b-4180-87fb-acabeb2b158a" providerId="ADAL" clId="{5C2CD6D4-C7A9-4CEF-AA9C-BC2977F70622}" dt="2024-02-20T14:35:46.380" v="29595"/>
          <ac:grpSpMkLst>
            <pc:docMk/>
            <pc:sldMk cId="3137648856" sldId="2147483591"/>
            <ac:grpSpMk id="51" creationId="{A96EACB9-C64A-D54F-F530-62620B3A5DBD}"/>
          </ac:grpSpMkLst>
        </pc:grpChg>
        <pc:grpChg chg="mod">
          <ac:chgData name="Abdi, Adnan" userId="503e002c-9b3b-4180-87fb-acabeb2b158a" providerId="ADAL" clId="{5C2CD6D4-C7A9-4CEF-AA9C-BC2977F70622}" dt="2024-02-20T14:35:46.380" v="29597"/>
          <ac:grpSpMkLst>
            <pc:docMk/>
            <pc:sldMk cId="3137648856" sldId="2147483591"/>
            <ac:grpSpMk id="65" creationId="{73C33016-7D61-2AFF-54AC-1C1644B2FEF0}"/>
          </ac:grpSpMkLst>
        </pc:grpChg>
        <pc:graphicFrameChg chg="del">
          <ac:chgData name="Abdi, Adnan" userId="503e002c-9b3b-4180-87fb-acabeb2b158a" providerId="ADAL" clId="{5C2CD6D4-C7A9-4CEF-AA9C-BC2977F70622}" dt="2024-02-20T14:35:17.765" v="28782"/>
          <ac:graphicFrameMkLst>
            <pc:docMk/>
            <pc:sldMk cId="3137648856" sldId="2147483591"/>
            <ac:graphicFrameMk id="6" creationId="{B55022C4-2C10-CF73-45F5-285BC49F635E}"/>
          </ac:graphicFrameMkLst>
        </pc:graphicFrameChg>
        <pc:graphicFrameChg chg="add del mod replST">
          <ac:chgData name="Abdi, Adnan" userId="503e002c-9b3b-4180-87fb-acabeb2b158a" providerId="ADAL" clId="{5C2CD6D4-C7A9-4CEF-AA9C-BC2977F70622}" dt="2024-02-20T14:35:31.511" v="29020"/>
          <ac:graphicFrameMkLst>
            <pc:docMk/>
            <pc:sldMk cId="3137648856" sldId="2147483591"/>
            <ac:graphicFrameMk id="73" creationId="{3D8381DC-ADB1-E1B2-460F-FFA2B0EE14F4}"/>
          </ac:graphicFrameMkLst>
        </pc:graphicFrameChg>
        <pc:graphicFrameChg chg="mod">
          <ac:chgData name="Abdi, Adnan" userId="503e002c-9b3b-4180-87fb-acabeb2b158a" providerId="ADAL" clId="{5C2CD6D4-C7A9-4CEF-AA9C-BC2977F70622}" dt="2024-02-20T14:35:46.396" v="29609"/>
          <ac:graphicFrameMkLst>
            <pc:docMk/>
            <pc:sldMk cId="3137648856" sldId="2147483591"/>
            <ac:graphicFrameMk id="74" creationId="{230561E8-6D71-0011-0EE5-3100F05BCF0F}"/>
          </ac:graphicFrameMkLst>
        </pc:graphicFrameChg>
        <pc:graphicFrameChg chg="add mod replST delST">
          <ac:chgData name="Abdi, Adnan" userId="503e002c-9b3b-4180-87fb-acabeb2b158a" providerId="ADAL" clId="{5C2CD6D4-C7A9-4CEF-AA9C-BC2977F70622}" dt="2024-02-20T14:35:21.169" v="28942" actId="1076"/>
          <ac:graphicFrameMkLst>
            <pc:docMk/>
            <pc:sldMk cId="3137648856" sldId="2147483591"/>
            <ac:graphicFrameMk id="76" creationId="{20C0A4D2-7C95-87F2-1584-851F471C6250}"/>
          </ac:graphicFrameMkLst>
        </pc:graphicFrameChg>
        <pc:graphicFrameChg chg="add del mod replST">
          <ac:chgData name="Abdi, Adnan" userId="503e002c-9b3b-4180-87fb-acabeb2b158a" providerId="ADAL" clId="{5C2CD6D4-C7A9-4CEF-AA9C-BC2977F70622}" dt="2024-02-20T14:35:33.328" v="29095"/>
          <ac:graphicFrameMkLst>
            <pc:docMk/>
            <pc:sldMk cId="3137648856" sldId="2147483591"/>
            <ac:graphicFrameMk id="78" creationId="{A066C88D-D3AC-6F9D-A033-BE01AB26331A}"/>
          </ac:graphicFrameMkLst>
        </pc:graphicFrameChg>
        <pc:graphicFrameChg chg="add del mod replST">
          <ac:chgData name="Abdi, Adnan" userId="503e002c-9b3b-4180-87fb-acabeb2b158a" providerId="ADAL" clId="{5C2CD6D4-C7A9-4CEF-AA9C-BC2977F70622}" dt="2024-02-20T14:35:42.027" v="29206"/>
          <ac:graphicFrameMkLst>
            <pc:docMk/>
            <pc:sldMk cId="3137648856" sldId="2147483591"/>
            <ac:graphicFrameMk id="79" creationId="{F9DCE34E-E8FD-9E38-AA41-E652CE401102}"/>
          </ac:graphicFrameMkLst>
        </pc:graphicFrameChg>
        <pc:graphicFrameChg chg="add del mod replST">
          <ac:chgData name="Abdi, Adnan" userId="503e002c-9b3b-4180-87fb-acabeb2b158a" providerId="ADAL" clId="{5C2CD6D4-C7A9-4CEF-AA9C-BC2977F70622}" dt="2024-02-20T14:35:44.326" v="29320"/>
          <ac:graphicFrameMkLst>
            <pc:docMk/>
            <pc:sldMk cId="3137648856" sldId="2147483591"/>
            <ac:graphicFrameMk id="81" creationId="{ADEB5EAA-E640-BDA9-C04B-FB9D6062356F}"/>
          </ac:graphicFrameMkLst>
        </pc:graphicFrameChg>
        <pc:graphicFrameChg chg="add del mod replST">
          <ac:chgData name="Abdi, Adnan" userId="503e002c-9b3b-4180-87fb-acabeb2b158a" providerId="ADAL" clId="{5C2CD6D4-C7A9-4CEF-AA9C-BC2977F70622}" dt="2024-02-20T14:35:45.434" v="29430"/>
          <ac:graphicFrameMkLst>
            <pc:docMk/>
            <pc:sldMk cId="3137648856" sldId="2147483591"/>
            <ac:graphicFrameMk id="83" creationId="{F4DB588B-3A0B-7B6F-EA2C-2BA5AA1CDE66}"/>
          </ac:graphicFrameMkLst>
        </pc:graphicFrameChg>
        <pc:graphicFrameChg chg="add del mod replST">
          <ac:chgData name="Abdi, Adnan" userId="503e002c-9b3b-4180-87fb-acabeb2b158a" providerId="ADAL" clId="{5C2CD6D4-C7A9-4CEF-AA9C-BC2977F70622}" dt="2024-02-20T14:35:46.352" v="29543"/>
          <ac:graphicFrameMkLst>
            <pc:docMk/>
            <pc:sldMk cId="3137648856" sldId="2147483591"/>
            <ac:graphicFrameMk id="85" creationId="{E1FEA8C6-A25F-E3AB-0AA1-8EBC12C7507C}"/>
          </ac:graphicFrameMkLst>
        </pc:graphicFrameChg>
        <pc:graphicFrameChg chg="add mod replST">
          <ac:chgData name="Abdi, Adnan" userId="503e002c-9b3b-4180-87fb-acabeb2b158a" providerId="ADAL" clId="{5C2CD6D4-C7A9-4CEF-AA9C-BC2977F70622}" dt="2024-02-20T14:35:46.367" v="29564"/>
          <ac:graphicFrameMkLst>
            <pc:docMk/>
            <pc:sldMk cId="3137648856" sldId="2147483591"/>
            <ac:graphicFrameMk id="87" creationId="{E5110CA2-DD6D-EF02-2B78-3628FAC1B220}"/>
          </ac:graphicFrameMkLst>
        </pc:graphicFrameChg>
        <pc:cxnChg chg="mod ord">
          <ac:chgData name="Abdi, Adnan" userId="503e002c-9b3b-4180-87fb-acabeb2b158a" providerId="ADAL" clId="{5C2CD6D4-C7A9-4CEF-AA9C-BC2977F70622}" dt="2024-02-20T14:35:46.367" v="29563"/>
          <ac:cxnSpMkLst>
            <pc:docMk/>
            <pc:sldMk cId="3137648856" sldId="2147483591"/>
            <ac:cxnSpMk id="10" creationId="{7B69F751-8CA8-36D5-2571-84818311D152}"/>
          </ac:cxnSpMkLst>
        </pc:cxnChg>
        <pc:cxnChg chg="mod ord">
          <ac:chgData name="Abdi, Adnan" userId="503e002c-9b3b-4180-87fb-acabeb2b158a" providerId="ADAL" clId="{5C2CD6D4-C7A9-4CEF-AA9C-BC2977F70622}" dt="2024-02-20T14:35:46.380" v="29566"/>
          <ac:cxnSpMkLst>
            <pc:docMk/>
            <pc:sldMk cId="3137648856" sldId="2147483591"/>
            <ac:cxnSpMk id="12" creationId="{A62143CA-C41D-EFD9-59B3-E2966BD752D5}"/>
          </ac:cxnSpMkLst>
        </pc:cxnChg>
        <pc:cxnChg chg="mod ord">
          <ac:chgData name="Abdi, Adnan" userId="503e002c-9b3b-4180-87fb-acabeb2b158a" providerId="ADAL" clId="{5C2CD6D4-C7A9-4CEF-AA9C-BC2977F70622}" dt="2024-02-20T14:35:46.380" v="29568"/>
          <ac:cxnSpMkLst>
            <pc:docMk/>
            <pc:sldMk cId="3137648856" sldId="2147483591"/>
            <ac:cxnSpMk id="13" creationId="{032A6FF6-395A-AC97-C0BE-60E5AF5E3C38}"/>
          </ac:cxnSpMkLst>
        </pc:cxnChg>
        <pc:cxnChg chg="mod">
          <ac:chgData name="Abdi, Adnan" userId="503e002c-9b3b-4180-87fb-acabeb2b158a" providerId="ADAL" clId="{5C2CD6D4-C7A9-4CEF-AA9C-BC2977F70622}" dt="2024-02-20T14:34:10.851" v="28669"/>
          <ac:cxnSpMkLst>
            <pc:docMk/>
            <pc:sldMk cId="3137648856" sldId="2147483591"/>
            <ac:cxnSpMk id="62" creationId="{4BB4643E-1120-32B6-1B98-23FE3888C67C}"/>
          </ac:cxnSpMkLst>
        </pc:cxnChg>
        <pc:cxnChg chg="mod">
          <ac:chgData name="Abdi, Adnan" userId="503e002c-9b3b-4180-87fb-acabeb2b158a" providerId="ADAL" clId="{5C2CD6D4-C7A9-4CEF-AA9C-BC2977F70622}" dt="2024-02-20T14:34:10.851" v="28669"/>
          <ac:cxnSpMkLst>
            <pc:docMk/>
            <pc:sldMk cId="3137648856" sldId="2147483591"/>
            <ac:cxnSpMk id="63" creationId="{2798A643-68B4-CF2B-C35D-5B18F875F1B8}"/>
          </ac:cxnSpMkLst>
        </pc:cxnChg>
      </pc:sldChg>
      <pc:sldChg chg="modSp add mod modShow">
        <pc:chgData name="Abdi, Adnan" userId="503e002c-9b3b-4180-87fb-acabeb2b158a" providerId="ADAL" clId="{5C2CD6D4-C7A9-4CEF-AA9C-BC2977F70622}" dt="2024-02-20T14:58:03.290" v="30272" actId="729"/>
        <pc:sldMkLst>
          <pc:docMk/>
          <pc:sldMk cId="2154558668" sldId="2147483592"/>
        </pc:sldMkLst>
        <pc:spChg chg="mod">
          <ac:chgData name="Abdi, Adnan" userId="503e002c-9b3b-4180-87fb-acabeb2b158a" providerId="ADAL" clId="{5C2CD6D4-C7A9-4CEF-AA9C-BC2977F70622}" dt="2024-02-20T14:49:48.326" v="29908" actId="2711"/>
          <ac:spMkLst>
            <pc:docMk/>
            <pc:sldMk cId="2154558668" sldId="2147483592"/>
            <ac:spMk id="21" creationId="{40F919DE-A8B3-C187-769F-F71CC2837DA5}"/>
          </ac:spMkLst>
        </pc:spChg>
        <pc:spChg chg="mod">
          <ac:chgData name="Abdi, Adnan" userId="503e002c-9b3b-4180-87fb-acabeb2b158a" providerId="ADAL" clId="{5C2CD6D4-C7A9-4CEF-AA9C-BC2977F70622}" dt="2024-02-20T14:49:30.582" v="29907" actId="2711"/>
          <ac:spMkLst>
            <pc:docMk/>
            <pc:sldMk cId="2154558668" sldId="2147483592"/>
            <ac:spMk id="36" creationId="{F56F7274-FCCA-D28B-4891-A17691D2FBF7}"/>
          </ac:spMkLst>
        </pc:spChg>
        <pc:spChg chg="mod">
          <ac:chgData name="Abdi, Adnan" userId="503e002c-9b3b-4180-87fb-acabeb2b158a" providerId="ADAL" clId="{5C2CD6D4-C7A9-4CEF-AA9C-BC2977F70622}" dt="2024-02-20T14:49:30.582" v="29907" actId="2711"/>
          <ac:spMkLst>
            <pc:docMk/>
            <pc:sldMk cId="2154558668" sldId="2147483592"/>
            <ac:spMk id="39" creationId="{2D1006B1-898B-7D62-9A53-1122B3FECDA3}"/>
          </ac:spMkLst>
        </pc:spChg>
        <pc:spChg chg="mod">
          <ac:chgData name="Abdi, Adnan" userId="503e002c-9b3b-4180-87fb-acabeb2b158a" providerId="ADAL" clId="{5C2CD6D4-C7A9-4CEF-AA9C-BC2977F70622}" dt="2024-02-20T14:47:26.347" v="29880"/>
          <ac:spMkLst>
            <pc:docMk/>
            <pc:sldMk cId="2154558668" sldId="2147483592"/>
            <ac:spMk id="59" creationId="{24A3ECBE-0778-BF19-B6FA-F0E21224625B}"/>
          </ac:spMkLst>
        </pc:spChg>
        <pc:spChg chg="mod">
          <ac:chgData name="Abdi, Adnan" userId="503e002c-9b3b-4180-87fb-acabeb2b158a" providerId="ADAL" clId="{5C2CD6D4-C7A9-4CEF-AA9C-BC2977F70622}" dt="2024-02-20T14:47:58.821" v="29882" actId="14100"/>
          <ac:spMkLst>
            <pc:docMk/>
            <pc:sldMk cId="2154558668" sldId="2147483592"/>
            <ac:spMk id="67" creationId="{124A1059-F69C-B5B6-8F44-6B086AF36E1F}"/>
          </ac:spMkLst>
        </pc:spChg>
        <pc:spChg chg="mod">
          <ac:chgData name="Abdi, Adnan" userId="503e002c-9b3b-4180-87fb-acabeb2b158a" providerId="ADAL" clId="{5C2CD6D4-C7A9-4CEF-AA9C-BC2977F70622}" dt="2024-02-20T14:47:58.821" v="29882" actId="14100"/>
          <ac:spMkLst>
            <pc:docMk/>
            <pc:sldMk cId="2154558668" sldId="2147483592"/>
            <ac:spMk id="68" creationId="{4926BA0F-83A1-AA14-AC97-A87274E01332}"/>
          </ac:spMkLst>
        </pc:spChg>
        <pc:spChg chg="mod">
          <ac:chgData name="Abdi, Adnan" userId="503e002c-9b3b-4180-87fb-acabeb2b158a" providerId="ADAL" clId="{5C2CD6D4-C7A9-4CEF-AA9C-BC2977F70622}" dt="2024-02-20T14:50:02.381" v="29909" actId="2711"/>
          <ac:spMkLst>
            <pc:docMk/>
            <pc:sldMk cId="2154558668" sldId="2147483592"/>
            <ac:spMk id="69" creationId="{1BF2ECA7-661E-8130-74A2-EB430249591E}"/>
          </ac:spMkLst>
        </pc:spChg>
        <pc:spChg chg="mod">
          <ac:chgData name="Abdi, Adnan" userId="503e002c-9b3b-4180-87fb-acabeb2b158a" providerId="ADAL" clId="{5C2CD6D4-C7A9-4CEF-AA9C-BC2977F70622}" dt="2024-02-20T14:54:12.422" v="30203" actId="14100"/>
          <ac:spMkLst>
            <pc:docMk/>
            <pc:sldMk cId="2154558668" sldId="2147483592"/>
            <ac:spMk id="89" creationId="{F65227DC-7E62-E2AC-9DB3-910191E2E54E}"/>
          </ac:spMkLst>
        </pc:spChg>
        <pc:spChg chg="mod">
          <ac:chgData name="Abdi, Adnan" userId="503e002c-9b3b-4180-87fb-acabeb2b158a" providerId="ADAL" clId="{5C2CD6D4-C7A9-4CEF-AA9C-BC2977F70622}" dt="2024-02-20T14:54:12.422" v="30203" actId="14100"/>
          <ac:spMkLst>
            <pc:docMk/>
            <pc:sldMk cId="2154558668" sldId="2147483592"/>
            <ac:spMk id="90" creationId="{7E30DE21-EBF6-1E19-B873-374ED5A92B80}"/>
          </ac:spMkLst>
        </pc:spChg>
        <pc:spChg chg="mod">
          <ac:chgData name="Abdi, Adnan" userId="503e002c-9b3b-4180-87fb-acabeb2b158a" providerId="ADAL" clId="{5C2CD6D4-C7A9-4CEF-AA9C-BC2977F70622}" dt="2024-02-20T14:49:08.683" v="29901"/>
          <ac:spMkLst>
            <pc:docMk/>
            <pc:sldMk cId="2154558668" sldId="2147483592"/>
            <ac:spMk id="99" creationId="{90197333-6DA8-1D7D-12D1-87C7ECFAF0A0}"/>
          </ac:spMkLst>
        </pc:spChg>
        <pc:spChg chg="mod">
          <ac:chgData name="Abdi, Adnan" userId="503e002c-9b3b-4180-87fb-acabeb2b158a" providerId="ADAL" clId="{5C2CD6D4-C7A9-4CEF-AA9C-BC2977F70622}" dt="2024-02-20T14:49:08.699" v="29906"/>
          <ac:spMkLst>
            <pc:docMk/>
            <pc:sldMk cId="2154558668" sldId="2147483592"/>
            <ac:spMk id="100" creationId="{D3246515-9407-3A0D-BDB6-344454B8FFB3}"/>
          </ac:spMkLst>
        </pc:spChg>
        <pc:spChg chg="mod">
          <ac:chgData name="Abdi, Adnan" userId="503e002c-9b3b-4180-87fb-acabeb2b158a" providerId="ADAL" clId="{5C2CD6D4-C7A9-4CEF-AA9C-BC2977F70622}" dt="2024-02-20T14:49:08.683" v="29905"/>
          <ac:spMkLst>
            <pc:docMk/>
            <pc:sldMk cId="2154558668" sldId="2147483592"/>
            <ac:spMk id="101" creationId="{DC26303B-A477-DA3D-E137-B56920E348A2}"/>
          </ac:spMkLst>
        </pc:spChg>
        <pc:spChg chg="mod">
          <ac:chgData name="Abdi, Adnan" userId="503e002c-9b3b-4180-87fb-acabeb2b158a" providerId="ADAL" clId="{5C2CD6D4-C7A9-4CEF-AA9C-BC2977F70622}" dt="2024-02-20T14:49:08.683" v="29902"/>
          <ac:spMkLst>
            <pc:docMk/>
            <pc:sldMk cId="2154558668" sldId="2147483592"/>
            <ac:spMk id="102" creationId="{978F306A-7ACC-D98E-C1EE-54AB3D3D6C73}"/>
          </ac:spMkLst>
        </pc:spChg>
        <pc:spChg chg="mod">
          <ac:chgData name="Abdi, Adnan" userId="503e002c-9b3b-4180-87fb-acabeb2b158a" providerId="ADAL" clId="{5C2CD6D4-C7A9-4CEF-AA9C-BC2977F70622}" dt="2024-02-20T14:49:08.683" v="29903"/>
          <ac:spMkLst>
            <pc:docMk/>
            <pc:sldMk cId="2154558668" sldId="2147483592"/>
            <ac:spMk id="103" creationId="{C97C4963-E123-86E1-91C2-8CD78ACA48FA}"/>
          </ac:spMkLst>
        </pc:spChg>
        <pc:spChg chg="mod">
          <ac:chgData name="Abdi, Adnan" userId="503e002c-9b3b-4180-87fb-acabeb2b158a" providerId="ADAL" clId="{5C2CD6D4-C7A9-4CEF-AA9C-BC2977F70622}" dt="2024-02-20T14:49:08.683" v="29904"/>
          <ac:spMkLst>
            <pc:docMk/>
            <pc:sldMk cId="2154558668" sldId="2147483592"/>
            <ac:spMk id="104" creationId="{A3658E37-51AA-72EC-F5B7-6917D4EF02F8}"/>
          </ac:spMkLst>
        </pc:spChg>
        <pc:spChg chg="mod">
          <ac:chgData name="Abdi, Adnan" userId="503e002c-9b3b-4180-87fb-acabeb2b158a" providerId="ADAL" clId="{5C2CD6D4-C7A9-4CEF-AA9C-BC2977F70622}" dt="2024-02-20T14:49:08.683" v="29900"/>
          <ac:spMkLst>
            <pc:docMk/>
            <pc:sldMk cId="2154558668" sldId="2147483592"/>
            <ac:spMk id="105" creationId="{1F72EFE6-E7CF-FD29-527A-197163BF8394}"/>
          </ac:spMkLst>
        </pc:spChg>
        <pc:spChg chg="mod">
          <ac:chgData name="Abdi, Adnan" userId="503e002c-9b3b-4180-87fb-acabeb2b158a" providerId="ADAL" clId="{5C2CD6D4-C7A9-4CEF-AA9C-BC2977F70622}" dt="2024-02-20T14:48:43.819" v="29892"/>
          <ac:spMkLst>
            <pc:docMk/>
            <pc:sldMk cId="2154558668" sldId="2147483592"/>
            <ac:spMk id="106" creationId="{1118D8B6-CD47-DE62-4E7C-F02EA517CEBE}"/>
          </ac:spMkLst>
        </pc:spChg>
        <pc:spChg chg="mod">
          <ac:chgData name="Abdi, Adnan" userId="503e002c-9b3b-4180-87fb-acabeb2b158a" providerId="ADAL" clId="{5C2CD6D4-C7A9-4CEF-AA9C-BC2977F70622}" dt="2024-02-20T14:47:13.461" v="29872" actId="1035"/>
          <ac:spMkLst>
            <pc:docMk/>
            <pc:sldMk cId="2154558668" sldId="2147483592"/>
            <ac:spMk id="108" creationId="{E40B30A0-2A4D-EB7B-8F27-2ABCD6544724}"/>
          </ac:spMkLst>
        </pc:spChg>
        <pc:spChg chg="mod">
          <ac:chgData name="Abdi, Adnan" userId="503e002c-9b3b-4180-87fb-acabeb2b158a" providerId="ADAL" clId="{5C2CD6D4-C7A9-4CEF-AA9C-BC2977F70622}" dt="2024-02-20T14:46:21.140" v="29842" actId="1076"/>
          <ac:spMkLst>
            <pc:docMk/>
            <pc:sldMk cId="2154558668" sldId="2147483592"/>
            <ac:spMk id="109" creationId="{4E6C057A-2E69-F38F-1BA8-23A9D6CDE4A7}"/>
          </ac:spMkLst>
        </pc:spChg>
        <pc:spChg chg="mod">
          <ac:chgData name="Abdi, Adnan" userId="503e002c-9b3b-4180-87fb-acabeb2b158a" providerId="ADAL" clId="{5C2CD6D4-C7A9-4CEF-AA9C-BC2977F70622}" dt="2024-02-20T14:46:52.692" v="29860" actId="1035"/>
          <ac:spMkLst>
            <pc:docMk/>
            <pc:sldMk cId="2154558668" sldId="2147483592"/>
            <ac:spMk id="110" creationId="{EF2E54DF-A722-5E17-F649-FA81B2F64A28}"/>
          </ac:spMkLst>
        </pc:spChg>
        <pc:spChg chg="mod">
          <ac:chgData name="Abdi, Adnan" userId="503e002c-9b3b-4180-87fb-acabeb2b158a" providerId="ADAL" clId="{5C2CD6D4-C7A9-4CEF-AA9C-BC2977F70622}" dt="2024-02-20T14:46:58.893" v="29862" actId="1035"/>
          <ac:spMkLst>
            <pc:docMk/>
            <pc:sldMk cId="2154558668" sldId="2147483592"/>
            <ac:spMk id="111" creationId="{F9F42158-141B-9582-B3E2-A8BD55EFDCAA}"/>
          </ac:spMkLst>
        </pc:spChg>
        <pc:spChg chg="mod">
          <ac:chgData name="Abdi, Adnan" userId="503e002c-9b3b-4180-87fb-acabeb2b158a" providerId="ADAL" clId="{5C2CD6D4-C7A9-4CEF-AA9C-BC2977F70622}" dt="2024-02-20T14:47:18.486" v="29876"/>
          <ac:spMkLst>
            <pc:docMk/>
            <pc:sldMk cId="2154558668" sldId="2147483592"/>
            <ac:spMk id="112" creationId="{A117D9F3-ACFB-C803-9B55-ACEF5F0F7DFA}"/>
          </ac:spMkLst>
        </pc:spChg>
        <pc:spChg chg="mod">
          <ac:chgData name="Abdi, Adnan" userId="503e002c-9b3b-4180-87fb-acabeb2b158a" providerId="ADAL" clId="{5C2CD6D4-C7A9-4CEF-AA9C-BC2977F70622}" dt="2024-02-20T14:46:45.265" v="29850"/>
          <ac:spMkLst>
            <pc:docMk/>
            <pc:sldMk cId="2154558668" sldId="2147483592"/>
            <ac:spMk id="113" creationId="{5A98E033-15C8-2E60-E83D-E2ABD3E970DB}"/>
          </ac:spMkLst>
        </pc:spChg>
        <pc:spChg chg="mod">
          <ac:chgData name="Abdi, Adnan" userId="503e002c-9b3b-4180-87fb-acabeb2b158a" providerId="ADAL" clId="{5C2CD6D4-C7A9-4CEF-AA9C-BC2977F70622}" dt="2024-02-20T14:46:52.692" v="29860" actId="1035"/>
          <ac:spMkLst>
            <pc:docMk/>
            <pc:sldMk cId="2154558668" sldId="2147483592"/>
            <ac:spMk id="114" creationId="{D061000F-DA61-E228-0A54-55BD079664A6}"/>
          </ac:spMkLst>
        </pc:spChg>
        <pc:spChg chg="mod">
          <ac:chgData name="Abdi, Adnan" userId="503e002c-9b3b-4180-87fb-acabeb2b158a" providerId="ADAL" clId="{5C2CD6D4-C7A9-4CEF-AA9C-BC2977F70622}" dt="2024-02-20T14:47:03.256" v="29866"/>
          <ac:spMkLst>
            <pc:docMk/>
            <pc:sldMk cId="2154558668" sldId="2147483592"/>
            <ac:spMk id="115" creationId="{4AA6FDD4-56B0-9DDC-87EA-8C316FA12FF5}"/>
          </ac:spMkLst>
        </pc:spChg>
        <pc:spChg chg="mod">
          <ac:chgData name="Abdi, Adnan" userId="503e002c-9b3b-4180-87fb-acabeb2b158a" providerId="ADAL" clId="{5C2CD6D4-C7A9-4CEF-AA9C-BC2977F70622}" dt="2024-02-20T14:47:26.343" v="29878"/>
          <ac:spMkLst>
            <pc:docMk/>
            <pc:sldMk cId="2154558668" sldId="2147483592"/>
            <ac:spMk id="116" creationId="{8C6ECAE2-6374-F609-4290-2DECD1F85708}"/>
          </ac:spMkLst>
        </pc:spChg>
        <pc:spChg chg="mod">
          <ac:chgData name="Abdi, Adnan" userId="503e002c-9b3b-4180-87fb-acabeb2b158a" providerId="ADAL" clId="{5C2CD6D4-C7A9-4CEF-AA9C-BC2977F70622}" dt="2024-02-20T14:47:18.486" v="29874"/>
          <ac:spMkLst>
            <pc:docMk/>
            <pc:sldMk cId="2154558668" sldId="2147483592"/>
            <ac:spMk id="127" creationId="{88B4B46A-0F96-E60E-75D5-30270CE5E9BB}"/>
          </ac:spMkLst>
        </pc:spChg>
        <pc:spChg chg="mod">
          <ac:chgData name="Abdi, Adnan" userId="503e002c-9b3b-4180-87fb-acabeb2b158a" providerId="ADAL" clId="{5C2CD6D4-C7A9-4CEF-AA9C-BC2977F70622}" dt="2024-02-20T14:46:45.265" v="29848"/>
          <ac:spMkLst>
            <pc:docMk/>
            <pc:sldMk cId="2154558668" sldId="2147483592"/>
            <ac:spMk id="128" creationId="{7F2031BB-6D40-1FBF-8A83-3F9049C55DA4}"/>
          </ac:spMkLst>
        </pc:spChg>
        <pc:spChg chg="mod">
          <ac:chgData name="Abdi, Adnan" userId="503e002c-9b3b-4180-87fb-acabeb2b158a" providerId="ADAL" clId="{5C2CD6D4-C7A9-4CEF-AA9C-BC2977F70622}" dt="2024-02-20T14:46:52.692" v="29860" actId="1035"/>
          <ac:spMkLst>
            <pc:docMk/>
            <pc:sldMk cId="2154558668" sldId="2147483592"/>
            <ac:spMk id="129" creationId="{060E0663-395C-5D71-86B1-E7D77FD503AA}"/>
          </ac:spMkLst>
        </pc:spChg>
        <pc:spChg chg="mod">
          <ac:chgData name="Abdi, Adnan" userId="503e002c-9b3b-4180-87fb-acabeb2b158a" providerId="ADAL" clId="{5C2CD6D4-C7A9-4CEF-AA9C-BC2977F70622}" dt="2024-02-20T14:47:03.256" v="29864"/>
          <ac:spMkLst>
            <pc:docMk/>
            <pc:sldMk cId="2154558668" sldId="2147483592"/>
            <ac:spMk id="130" creationId="{F6923AB5-8C60-3ABC-0D06-0BD85F2A3CD5}"/>
          </ac:spMkLst>
        </pc:spChg>
        <pc:spChg chg="mod">
          <ac:chgData name="Abdi, Adnan" userId="503e002c-9b3b-4180-87fb-acabeb2b158a" providerId="ADAL" clId="{5C2CD6D4-C7A9-4CEF-AA9C-BC2977F70622}" dt="2024-02-20T14:45:51.725" v="29829"/>
          <ac:spMkLst>
            <pc:docMk/>
            <pc:sldMk cId="2154558668" sldId="2147483592"/>
            <ac:spMk id="131" creationId="{788975D6-05CD-89C0-5102-B2D94F7920D5}"/>
          </ac:spMkLst>
        </pc:spChg>
        <pc:spChg chg="mod">
          <ac:chgData name="Abdi, Adnan" userId="503e002c-9b3b-4180-87fb-acabeb2b158a" providerId="ADAL" clId="{5C2CD6D4-C7A9-4CEF-AA9C-BC2977F70622}" dt="2024-02-20T14:45:27.798" v="29826" actId="2711"/>
          <ac:spMkLst>
            <pc:docMk/>
            <pc:sldMk cId="2154558668" sldId="2147483592"/>
            <ac:spMk id="132" creationId="{FD66EB41-54B0-C983-4C3D-F9846A119FB3}"/>
          </ac:spMkLst>
        </pc:spChg>
        <pc:spChg chg="mod">
          <ac:chgData name="Abdi, Adnan" userId="503e002c-9b3b-4180-87fb-acabeb2b158a" providerId="ADAL" clId="{5C2CD6D4-C7A9-4CEF-AA9C-BC2977F70622}" dt="2024-02-20T14:45:27.798" v="29826" actId="2711"/>
          <ac:spMkLst>
            <pc:docMk/>
            <pc:sldMk cId="2154558668" sldId="2147483592"/>
            <ac:spMk id="138" creationId="{F4556DC1-58D7-00F3-1CC6-DAD32889F5B1}"/>
          </ac:spMkLst>
        </pc:spChg>
        <pc:spChg chg="mod">
          <ac:chgData name="Abdi, Adnan" userId="503e002c-9b3b-4180-87fb-acabeb2b158a" providerId="ADAL" clId="{5C2CD6D4-C7A9-4CEF-AA9C-BC2977F70622}" dt="2024-02-20T14:45:27.798" v="29826" actId="2711"/>
          <ac:spMkLst>
            <pc:docMk/>
            <pc:sldMk cId="2154558668" sldId="2147483592"/>
            <ac:spMk id="139" creationId="{C5E00945-F663-D318-BE64-7F6C2DC7870E}"/>
          </ac:spMkLst>
        </pc:spChg>
        <pc:spChg chg="mod">
          <ac:chgData name="Abdi, Adnan" userId="503e002c-9b3b-4180-87fb-acabeb2b158a" providerId="ADAL" clId="{5C2CD6D4-C7A9-4CEF-AA9C-BC2977F70622}" dt="2024-02-20T14:45:27.798" v="29826" actId="2711"/>
          <ac:spMkLst>
            <pc:docMk/>
            <pc:sldMk cId="2154558668" sldId="2147483592"/>
            <ac:spMk id="140" creationId="{D06001BF-0049-5F77-C03E-A35363ECD257}"/>
          </ac:spMkLst>
        </pc:spChg>
        <pc:spChg chg="mod">
          <ac:chgData name="Abdi, Adnan" userId="503e002c-9b3b-4180-87fb-acabeb2b158a" providerId="ADAL" clId="{5C2CD6D4-C7A9-4CEF-AA9C-BC2977F70622}" dt="2024-02-20T14:45:27.798" v="29826" actId="2711"/>
          <ac:spMkLst>
            <pc:docMk/>
            <pc:sldMk cId="2154558668" sldId="2147483592"/>
            <ac:spMk id="141" creationId="{94135BD0-1BF1-9C8D-515F-35C466314C5A}"/>
          </ac:spMkLst>
        </pc:spChg>
        <pc:spChg chg="mod">
          <ac:chgData name="Abdi, Adnan" userId="503e002c-9b3b-4180-87fb-acabeb2b158a" providerId="ADAL" clId="{5C2CD6D4-C7A9-4CEF-AA9C-BC2977F70622}" dt="2024-02-20T14:45:27.798" v="29826" actId="2711"/>
          <ac:spMkLst>
            <pc:docMk/>
            <pc:sldMk cId="2154558668" sldId="2147483592"/>
            <ac:spMk id="142" creationId="{5450BC10-0C3F-6187-24D3-AFD54288BA7B}"/>
          </ac:spMkLst>
        </pc:spChg>
        <pc:spChg chg="mod">
          <ac:chgData name="Abdi, Adnan" userId="503e002c-9b3b-4180-87fb-acabeb2b158a" providerId="ADAL" clId="{5C2CD6D4-C7A9-4CEF-AA9C-BC2977F70622}" dt="2024-02-20T14:45:27.798" v="29826" actId="2711"/>
          <ac:spMkLst>
            <pc:docMk/>
            <pc:sldMk cId="2154558668" sldId="2147483592"/>
            <ac:spMk id="143" creationId="{A48868C2-713E-A307-9DC9-E7632D167F69}"/>
          </ac:spMkLst>
        </pc:spChg>
        <pc:spChg chg="mod">
          <ac:chgData name="Abdi, Adnan" userId="503e002c-9b3b-4180-87fb-acabeb2b158a" providerId="ADAL" clId="{5C2CD6D4-C7A9-4CEF-AA9C-BC2977F70622}" dt="2024-02-20T14:45:27.798" v="29826" actId="2711"/>
          <ac:spMkLst>
            <pc:docMk/>
            <pc:sldMk cId="2154558668" sldId="2147483592"/>
            <ac:spMk id="144" creationId="{7C4B8ED1-9734-1352-C830-48F496CD17B6}"/>
          </ac:spMkLst>
        </pc:spChg>
        <pc:spChg chg="mod">
          <ac:chgData name="Abdi, Adnan" userId="503e002c-9b3b-4180-87fb-acabeb2b158a" providerId="ADAL" clId="{5C2CD6D4-C7A9-4CEF-AA9C-BC2977F70622}" dt="2024-02-20T14:45:27.798" v="29826" actId="2711"/>
          <ac:spMkLst>
            <pc:docMk/>
            <pc:sldMk cId="2154558668" sldId="2147483592"/>
            <ac:spMk id="145" creationId="{697450C7-831C-C0B5-0546-6DE84B737B08}"/>
          </ac:spMkLst>
        </pc:spChg>
        <pc:spChg chg="mod">
          <ac:chgData name="Abdi, Adnan" userId="503e002c-9b3b-4180-87fb-acabeb2b158a" providerId="ADAL" clId="{5C2CD6D4-C7A9-4CEF-AA9C-BC2977F70622}" dt="2024-02-20T14:45:27.798" v="29826" actId="2711"/>
          <ac:spMkLst>
            <pc:docMk/>
            <pc:sldMk cId="2154558668" sldId="2147483592"/>
            <ac:spMk id="146" creationId="{F94C4AE3-F040-FF47-718F-31E4741DCDBF}"/>
          </ac:spMkLst>
        </pc:spChg>
        <pc:spChg chg="mod">
          <ac:chgData name="Abdi, Adnan" userId="503e002c-9b3b-4180-87fb-acabeb2b158a" providerId="ADAL" clId="{5C2CD6D4-C7A9-4CEF-AA9C-BC2977F70622}" dt="2024-02-20T14:45:27.798" v="29826" actId="2711"/>
          <ac:spMkLst>
            <pc:docMk/>
            <pc:sldMk cId="2154558668" sldId="2147483592"/>
            <ac:spMk id="147" creationId="{A29A0C86-FEAB-147F-8FD6-9A484FEB7ED9}"/>
          </ac:spMkLst>
        </pc:spChg>
        <pc:spChg chg="mod">
          <ac:chgData name="Abdi, Adnan" userId="503e002c-9b3b-4180-87fb-acabeb2b158a" providerId="ADAL" clId="{5C2CD6D4-C7A9-4CEF-AA9C-BC2977F70622}" dt="2024-02-20T14:45:27.798" v="29826" actId="2711"/>
          <ac:spMkLst>
            <pc:docMk/>
            <pc:sldMk cId="2154558668" sldId="2147483592"/>
            <ac:spMk id="148" creationId="{939ACCD7-4B9D-9CF2-2D36-B67BA3FD65B5}"/>
          </ac:spMkLst>
        </pc:spChg>
        <pc:spChg chg="mod">
          <ac:chgData name="Abdi, Adnan" userId="503e002c-9b3b-4180-87fb-acabeb2b158a" providerId="ADAL" clId="{5C2CD6D4-C7A9-4CEF-AA9C-BC2977F70622}" dt="2024-02-20T14:45:27.798" v="29826" actId="2711"/>
          <ac:spMkLst>
            <pc:docMk/>
            <pc:sldMk cId="2154558668" sldId="2147483592"/>
            <ac:spMk id="149" creationId="{B33FE652-814C-50E4-700E-F1F444BE4145}"/>
          </ac:spMkLst>
        </pc:spChg>
        <pc:spChg chg="mod">
          <ac:chgData name="Abdi, Adnan" userId="503e002c-9b3b-4180-87fb-acabeb2b158a" providerId="ADAL" clId="{5C2CD6D4-C7A9-4CEF-AA9C-BC2977F70622}" dt="2024-02-20T14:45:27.798" v="29826" actId="2711"/>
          <ac:spMkLst>
            <pc:docMk/>
            <pc:sldMk cId="2154558668" sldId="2147483592"/>
            <ac:spMk id="150" creationId="{C6908206-5590-3495-8FC6-7A4CA616931D}"/>
          </ac:spMkLst>
        </pc:spChg>
        <pc:spChg chg="mod">
          <ac:chgData name="Abdi, Adnan" userId="503e002c-9b3b-4180-87fb-acabeb2b158a" providerId="ADAL" clId="{5C2CD6D4-C7A9-4CEF-AA9C-BC2977F70622}" dt="2024-02-20T14:45:27.798" v="29826" actId="2711"/>
          <ac:spMkLst>
            <pc:docMk/>
            <pc:sldMk cId="2154558668" sldId="2147483592"/>
            <ac:spMk id="151" creationId="{915A31FE-B912-DA41-7CF9-68A456CA86AE}"/>
          </ac:spMkLst>
        </pc:spChg>
        <pc:grpChg chg="mod">
          <ac:chgData name="Abdi, Adnan" userId="503e002c-9b3b-4180-87fb-acabeb2b158a" providerId="ADAL" clId="{5C2CD6D4-C7A9-4CEF-AA9C-BC2977F70622}" dt="2024-02-20T14:47:58.821" v="29882" actId="14100"/>
          <ac:grpSpMkLst>
            <pc:docMk/>
            <pc:sldMk cId="2154558668" sldId="2147483592"/>
            <ac:grpSpMk id="66" creationId="{EAFD7208-8A37-3C59-0A65-646B59F45C65}"/>
          </ac:grpSpMkLst>
        </pc:grpChg>
        <pc:grpChg chg="mod">
          <ac:chgData name="Abdi, Adnan" userId="503e002c-9b3b-4180-87fb-acabeb2b158a" providerId="ADAL" clId="{5C2CD6D4-C7A9-4CEF-AA9C-BC2977F70622}" dt="2024-02-20T14:47:51.571" v="29881" actId="2711"/>
          <ac:grpSpMkLst>
            <pc:docMk/>
            <pc:sldMk cId="2154558668" sldId="2147483592"/>
            <ac:grpSpMk id="70" creationId="{C298259A-D1C1-95A4-B1D0-F62573B79A15}"/>
          </ac:grpSpMkLst>
        </pc:grpChg>
        <pc:grpChg chg="mod">
          <ac:chgData name="Abdi, Adnan" userId="503e002c-9b3b-4180-87fb-acabeb2b158a" providerId="ADAL" clId="{5C2CD6D4-C7A9-4CEF-AA9C-BC2977F70622}" dt="2024-02-20T14:47:51.571" v="29881" actId="2711"/>
          <ac:grpSpMkLst>
            <pc:docMk/>
            <pc:sldMk cId="2154558668" sldId="2147483592"/>
            <ac:grpSpMk id="73" creationId="{E0F372C0-CDB9-ABD5-4F7C-A1181415B3D5}"/>
          </ac:grpSpMkLst>
        </pc:grpChg>
        <pc:grpChg chg="mod">
          <ac:chgData name="Abdi, Adnan" userId="503e002c-9b3b-4180-87fb-acabeb2b158a" providerId="ADAL" clId="{5C2CD6D4-C7A9-4CEF-AA9C-BC2977F70622}" dt="2024-02-20T14:47:51.571" v="29881" actId="2711"/>
          <ac:grpSpMkLst>
            <pc:docMk/>
            <pc:sldMk cId="2154558668" sldId="2147483592"/>
            <ac:grpSpMk id="76" creationId="{05BF9C4E-1AAC-AB26-41FE-DA5BB26B0C6A}"/>
          </ac:grpSpMkLst>
        </pc:grpChg>
        <pc:grpChg chg="mod">
          <ac:chgData name="Abdi, Adnan" userId="503e002c-9b3b-4180-87fb-acabeb2b158a" providerId="ADAL" clId="{5C2CD6D4-C7A9-4CEF-AA9C-BC2977F70622}" dt="2024-02-20T14:47:51.571" v="29881" actId="2711"/>
          <ac:grpSpMkLst>
            <pc:docMk/>
            <pc:sldMk cId="2154558668" sldId="2147483592"/>
            <ac:grpSpMk id="79" creationId="{BED62B43-63B7-DE07-16B0-856A18801E5A}"/>
          </ac:grpSpMkLst>
        </pc:grpChg>
        <pc:grpChg chg="mod">
          <ac:chgData name="Abdi, Adnan" userId="503e002c-9b3b-4180-87fb-acabeb2b158a" providerId="ADAL" clId="{5C2CD6D4-C7A9-4CEF-AA9C-BC2977F70622}" dt="2024-02-20T14:47:51.571" v="29881" actId="2711"/>
          <ac:grpSpMkLst>
            <pc:docMk/>
            <pc:sldMk cId="2154558668" sldId="2147483592"/>
            <ac:grpSpMk id="82" creationId="{8C32F201-92EC-C348-814F-26E6C71E43E6}"/>
          </ac:grpSpMkLst>
        </pc:grpChg>
        <pc:grpChg chg="mod">
          <ac:chgData name="Abdi, Adnan" userId="503e002c-9b3b-4180-87fb-acabeb2b158a" providerId="ADAL" clId="{5C2CD6D4-C7A9-4CEF-AA9C-BC2977F70622}" dt="2024-02-20T14:47:51.571" v="29881" actId="2711"/>
          <ac:grpSpMkLst>
            <pc:docMk/>
            <pc:sldMk cId="2154558668" sldId="2147483592"/>
            <ac:grpSpMk id="85" creationId="{AA0E48E8-E70A-5A4A-47F1-52B2668B5DD4}"/>
          </ac:grpSpMkLst>
        </pc:grpChg>
        <pc:grpChg chg="mod">
          <ac:chgData name="Abdi, Adnan" userId="503e002c-9b3b-4180-87fb-acabeb2b158a" providerId="ADAL" clId="{5C2CD6D4-C7A9-4CEF-AA9C-BC2977F70622}" dt="2024-02-20T14:54:12.422" v="30203" actId="14100"/>
          <ac:grpSpMkLst>
            <pc:docMk/>
            <pc:sldMk cId="2154558668" sldId="2147483592"/>
            <ac:grpSpMk id="88" creationId="{19706DAB-C1C9-82BF-4E07-6A15FA8C4344}"/>
          </ac:grpSpMkLst>
        </pc:grpChg>
        <pc:graphicFrameChg chg="modGraphic">
          <ac:chgData name="Abdi, Adnan" userId="503e002c-9b3b-4180-87fb-acabeb2b158a" providerId="ADAL" clId="{5C2CD6D4-C7A9-4CEF-AA9C-BC2977F70622}" dt="2024-02-20T14:44:34.185" v="29825" actId="404"/>
          <ac:graphicFrameMkLst>
            <pc:docMk/>
            <pc:sldMk cId="2154558668" sldId="2147483592"/>
            <ac:graphicFrameMk id="6" creationId="{CB4BEEFC-C3F5-94B5-DBB8-EC3315D13178}"/>
          </ac:graphicFrameMkLst>
        </pc:graphicFrameChg>
        <pc:cxnChg chg="mod">
          <ac:chgData name="Abdi, Adnan" userId="503e002c-9b3b-4180-87fb-acabeb2b158a" providerId="ADAL" clId="{5C2CD6D4-C7A9-4CEF-AA9C-BC2977F70622}" dt="2024-02-20T14:50:40.811" v="29913" actId="1036"/>
          <ac:cxnSpMkLst>
            <pc:docMk/>
            <pc:sldMk cId="2154558668" sldId="2147483592"/>
            <ac:cxnSpMk id="40" creationId="{494DEB55-F1DB-7F4D-DD25-AD6E7C226EC5}"/>
          </ac:cxnSpMkLst>
        </pc:cxnChg>
      </pc:sldChg>
      <pc:sldChg chg="addSp modSp mod ord modShow">
        <pc:chgData name="Abdi, Adnan" userId="503e002c-9b3b-4180-87fb-acabeb2b158a" providerId="ADAL" clId="{5C2CD6D4-C7A9-4CEF-AA9C-BC2977F70622}" dt="2024-02-23T18:39:55.246" v="71591" actId="729"/>
        <pc:sldMkLst>
          <pc:docMk/>
          <pc:sldMk cId="1783604824" sldId="2147483593"/>
        </pc:sldMkLst>
        <pc:spChg chg="mod">
          <ac:chgData name="Abdi, Adnan" userId="503e002c-9b3b-4180-87fb-acabeb2b158a" providerId="ADAL" clId="{5C2CD6D4-C7A9-4CEF-AA9C-BC2977F70622}" dt="2024-02-21T13:10:25.904" v="40214" actId="20577"/>
          <ac:spMkLst>
            <pc:docMk/>
            <pc:sldMk cId="1783604824" sldId="2147483593"/>
            <ac:spMk id="9" creationId="{4B26B1E8-17AA-B189-D211-D3B5BE72648E}"/>
          </ac:spMkLst>
        </pc:spChg>
        <pc:spChg chg="add mod">
          <ac:chgData name="Abdi, Adnan" userId="503e002c-9b3b-4180-87fb-acabeb2b158a" providerId="ADAL" clId="{5C2CD6D4-C7A9-4CEF-AA9C-BC2977F70622}" dt="2024-02-23T15:32:09.917" v="71465"/>
          <ac:spMkLst>
            <pc:docMk/>
            <pc:sldMk cId="1783604824" sldId="2147483593"/>
            <ac:spMk id="243" creationId="{E8158CC9-BB1A-63D6-8F8C-B2878500C646}"/>
          </ac:spMkLst>
        </pc:spChg>
        <pc:graphicFrameChg chg="mod">
          <ac:chgData name="Abdi, Adnan" userId="503e002c-9b3b-4180-87fb-acabeb2b158a" providerId="ADAL" clId="{5C2CD6D4-C7A9-4CEF-AA9C-BC2977F70622}" dt="2024-02-21T12:07:00.305" v="37505"/>
          <ac:graphicFrameMkLst>
            <pc:docMk/>
            <pc:sldMk cId="1783604824" sldId="2147483593"/>
            <ac:graphicFrameMk id="5" creationId="{1DBB522C-E0A8-BBF0-E798-8627F458E5FD}"/>
          </ac:graphicFrameMkLst>
        </pc:graphicFrameChg>
      </pc:sldChg>
      <pc:sldChg chg="addSp delSp modSp add mod modClrScheme chgLayout">
        <pc:chgData name="Abdi, Adnan" userId="503e002c-9b3b-4180-87fb-acabeb2b158a" providerId="ADAL" clId="{5C2CD6D4-C7A9-4CEF-AA9C-BC2977F70622}" dt="2024-02-20T15:29:20.949" v="30627"/>
        <pc:sldMkLst>
          <pc:docMk/>
          <pc:sldMk cId="1676421662" sldId="2147483594"/>
        </pc:sldMkLst>
        <pc:spChg chg="add mod">
          <ac:chgData name="Abdi, Adnan" userId="503e002c-9b3b-4180-87fb-acabeb2b158a" providerId="ADAL" clId="{5C2CD6D4-C7A9-4CEF-AA9C-BC2977F70622}" dt="2024-02-20T15:26:41.800" v="30584" actId="21"/>
          <ac:spMkLst>
            <pc:docMk/>
            <pc:sldMk cId="1676421662" sldId="2147483594"/>
            <ac:spMk id="2" creationId="{68E9471E-BDF5-ACD4-FC79-C00A5F42ED1A}"/>
          </ac:spMkLst>
        </pc:spChg>
        <pc:spChg chg="mod">
          <ac:chgData name="Abdi, Adnan" userId="503e002c-9b3b-4180-87fb-acabeb2b158a" providerId="ADAL" clId="{5C2CD6D4-C7A9-4CEF-AA9C-BC2977F70622}" dt="2024-02-20T15:28:41.231" v="30614" actId="465"/>
          <ac:spMkLst>
            <pc:docMk/>
            <pc:sldMk cId="1676421662" sldId="2147483594"/>
            <ac:spMk id="3" creationId="{F0D37CF9-5EEF-91F5-1BC3-76A8A1D1303C}"/>
          </ac:spMkLst>
        </pc:spChg>
        <pc:spChg chg="mod">
          <ac:chgData name="Abdi, Adnan" userId="503e002c-9b3b-4180-87fb-acabeb2b158a" providerId="ADAL" clId="{5C2CD6D4-C7A9-4CEF-AA9C-BC2977F70622}" dt="2024-02-20T15:27:39.882" v="30599" actId="404"/>
          <ac:spMkLst>
            <pc:docMk/>
            <pc:sldMk cId="1676421662" sldId="2147483594"/>
            <ac:spMk id="4" creationId="{9D287119-0827-93CB-70FA-5F74758D5107}"/>
          </ac:spMkLst>
        </pc:spChg>
        <pc:spChg chg="mod">
          <ac:chgData name="Abdi, Adnan" userId="503e002c-9b3b-4180-87fb-acabeb2b158a" providerId="ADAL" clId="{5C2CD6D4-C7A9-4CEF-AA9C-BC2977F70622}" dt="2024-02-20T15:28:50.726" v="30617"/>
          <ac:spMkLst>
            <pc:docMk/>
            <pc:sldMk cId="1676421662" sldId="2147483594"/>
            <ac:spMk id="6" creationId="{F0DFA630-2BD3-73AD-DBB6-BEBC1B50338D}"/>
          </ac:spMkLst>
        </pc:spChg>
        <pc:spChg chg="mod">
          <ac:chgData name="Abdi, Adnan" userId="503e002c-9b3b-4180-87fb-acabeb2b158a" providerId="ADAL" clId="{5C2CD6D4-C7A9-4CEF-AA9C-BC2977F70622}" dt="2024-02-20T15:26:08.566" v="30578"/>
          <ac:spMkLst>
            <pc:docMk/>
            <pc:sldMk cId="1676421662" sldId="2147483594"/>
            <ac:spMk id="7" creationId="{FAFCDD3B-849A-2C8B-073F-A035BBED4C9D}"/>
          </ac:spMkLst>
        </pc:spChg>
        <pc:spChg chg="mod">
          <ac:chgData name="Abdi, Adnan" userId="503e002c-9b3b-4180-87fb-acabeb2b158a" providerId="ADAL" clId="{5C2CD6D4-C7A9-4CEF-AA9C-BC2977F70622}" dt="2024-02-20T15:28:39.578" v="30613" actId="465"/>
          <ac:spMkLst>
            <pc:docMk/>
            <pc:sldMk cId="1676421662" sldId="2147483594"/>
            <ac:spMk id="8" creationId="{0AA5F5CF-A36A-DAB9-2F14-40C5A44A4F00}"/>
          </ac:spMkLst>
        </pc:spChg>
        <pc:spChg chg="mod">
          <ac:chgData name="Abdi, Adnan" userId="503e002c-9b3b-4180-87fb-acabeb2b158a" providerId="ADAL" clId="{5C2CD6D4-C7A9-4CEF-AA9C-BC2977F70622}" dt="2024-02-20T15:28:27.475" v="30612" actId="1036"/>
          <ac:spMkLst>
            <pc:docMk/>
            <pc:sldMk cId="1676421662" sldId="2147483594"/>
            <ac:spMk id="9" creationId="{A210D8AC-878F-BB87-9F97-E4CD4EB66160}"/>
          </ac:spMkLst>
        </pc:spChg>
        <pc:spChg chg="mod">
          <ac:chgData name="Abdi, Adnan" userId="503e002c-9b3b-4180-87fb-acabeb2b158a" providerId="ADAL" clId="{5C2CD6D4-C7A9-4CEF-AA9C-BC2977F70622}" dt="2024-02-20T15:28:27.475" v="30612" actId="1036"/>
          <ac:spMkLst>
            <pc:docMk/>
            <pc:sldMk cId="1676421662" sldId="2147483594"/>
            <ac:spMk id="10" creationId="{B12A2133-F594-D250-8C00-157BE629A41B}"/>
          </ac:spMkLst>
        </pc:spChg>
        <pc:spChg chg="mod">
          <ac:chgData name="Abdi, Adnan" userId="503e002c-9b3b-4180-87fb-acabeb2b158a" providerId="ADAL" clId="{5C2CD6D4-C7A9-4CEF-AA9C-BC2977F70622}" dt="2024-02-20T15:28:27.475" v="30612" actId="1036"/>
          <ac:spMkLst>
            <pc:docMk/>
            <pc:sldMk cId="1676421662" sldId="2147483594"/>
            <ac:spMk id="11" creationId="{179B3804-D616-2B9F-E0A0-CF18BE930B1F}"/>
          </ac:spMkLst>
        </pc:spChg>
        <pc:spChg chg="add del">
          <ac:chgData name="Abdi, Adnan" userId="503e002c-9b3b-4180-87fb-acabeb2b158a" providerId="ADAL" clId="{5C2CD6D4-C7A9-4CEF-AA9C-BC2977F70622}" dt="2024-02-20T15:26:10.896" v="30580" actId="22"/>
          <ac:spMkLst>
            <pc:docMk/>
            <pc:sldMk cId="1676421662" sldId="2147483594"/>
            <ac:spMk id="12" creationId="{B6FD74D7-E320-1F63-7169-155B5BE6A367}"/>
          </ac:spMkLst>
        </pc:spChg>
        <pc:spChg chg="add mod ord">
          <ac:chgData name="Abdi, Adnan" userId="503e002c-9b3b-4180-87fb-acabeb2b158a" providerId="ADAL" clId="{5C2CD6D4-C7A9-4CEF-AA9C-BC2977F70622}" dt="2024-02-20T15:27:02.024" v="30596" actId="20577"/>
          <ac:spMkLst>
            <pc:docMk/>
            <pc:sldMk cId="1676421662" sldId="2147483594"/>
            <ac:spMk id="14" creationId="{8359BCD2-1510-E786-109C-EED1A5CBD121}"/>
          </ac:spMkLst>
        </pc:spChg>
        <pc:spChg chg="mod">
          <ac:chgData name="Abdi, Adnan" userId="503e002c-9b3b-4180-87fb-acabeb2b158a" providerId="ADAL" clId="{5C2CD6D4-C7A9-4CEF-AA9C-BC2977F70622}" dt="2024-02-20T15:27:39.882" v="30599" actId="404"/>
          <ac:spMkLst>
            <pc:docMk/>
            <pc:sldMk cId="1676421662" sldId="2147483594"/>
            <ac:spMk id="15" creationId="{A84C7EC2-D5BB-DCA1-2A19-25F4511CAC97}"/>
          </ac:spMkLst>
        </pc:spChg>
        <pc:spChg chg="add del mod ord">
          <ac:chgData name="Abdi, Adnan" userId="503e002c-9b3b-4180-87fb-acabeb2b158a" providerId="ADAL" clId="{5C2CD6D4-C7A9-4CEF-AA9C-BC2977F70622}" dt="2024-02-20T15:26:34.438" v="30583" actId="478"/>
          <ac:spMkLst>
            <pc:docMk/>
            <pc:sldMk cId="1676421662" sldId="2147483594"/>
            <ac:spMk id="16" creationId="{882B99B5-74C7-1E0D-CACE-39B58141F922}"/>
          </ac:spMkLst>
        </pc:spChg>
        <pc:spChg chg="mod">
          <ac:chgData name="Abdi, Adnan" userId="503e002c-9b3b-4180-87fb-acabeb2b158a" providerId="ADAL" clId="{5C2CD6D4-C7A9-4CEF-AA9C-BC2977F70622}" dt="2024-02-20T15:27:39.882" v="30599" actId="404"/>
          <ac:spMkLst>
            <pc:docMk/>
            <pc:sldMk cId="1676421662" sldId="2147483594"/>
            <ac:spMk id="17" creationId="{C3EA5D2A-5D80-74F7-7B30-4FA94A5500EE}"/>
          </ac:spMkLst>
        </pc:spChg>
        <pc:spChg chg="mod">
          <ac:chgData name="Abdi, Adnan" userId="503e002c-9b3b-4180-87fb-acabeb2b158a" providerId="ADAL" clId="{5C2CD6D4-C7A9-4CEF-AA9C-BC2977F70622}" dt="2024-02-20T15:27:39.882" v="30599" actId="404"/>
          <ac:spMkLst>
            <pc:docMk/>
            <pc:sldMk cId="1676421662" sldId="2147483594"/>
            <ac:spMk id="18" creationId="{F0756654-6020-B5E0-F35D-099731A3357B}"/>
          </ac:spMkLst>
        </pc:spChg>
        <pc:spChg chg="mod">
          <ac:chgData name="Abdi, Adnan" userId="503e002c-9b3b-4180-87fb-acabeb2b158a" providerId="ADAL" clId="{5C2CD6D4-C7A9-4CEF-AA9C-BC2977F70622}" dt="2024-02-20T15:27:39.882" v="30599" actId="404"/>
          <ac:spMkLst>
            <pc:docMk/>
            <pc:sldMk cId="1676421662" sldId="2147483594"/>
            <ac:spMk id="19" creationId="{D9856F3C-DC25-4DAC-C8E5-DE6C8CBF49E1}"/>
          </ac:spMkLst>
        </pc:spChg>
        <pc:spChg chg="add del mod ord">
          <ac:chgData name="Abdi, Adnan" userId="503e002c-9b3b-4180-87fb-acabeb2b158a" providerId="ADAL" clId="{5C2CD6D4-C7A9-4CEF-AA9C-BC2977F70622}" dt="2024-02-20T15:26:31.032" v="30582" actId="478"/>
          <ac:spMkLst>
            <pc:docMk/>
            <pc:sldMk cId="1676421662" sldId="2147483594"/>
            <ac:spMk id="20" creationId="{F7F8E4D3-BDF7-F595-2E62-D2C012810253}"/>
          </ac:spMkLst>
        </pc:spChg>
        <pc:spChg chg="mod">
          <ac:chgData name="Abdi, Adnan" userId="503e002c-9b3b-4180-87fb-acabeb2b158a" providerId="ADAL" clId="{5C2CD6D4-C7A9-4CEF-AA9C-BC2977F70622}" dt="2024-02-20T15:27:39.882" v="30599" actId="404"/>
          <ac:spMkLst>
            <pc:docMk/>
            <pc:sldMk cId="1676421662" sldId="2147483594"/>
            <ac:spMk id="34" creationId="{1928F3CE-DE64-69BF-5CF2-E4AA13CD759D}"/>
          </ac:spMkLst>
        </pc:spChg>
        <pc:spChg chg="mod">
          <ac:chgData name="Abdi, Adnan" userId="503e002c-9b3b-4180-87fb-acabeb2b158a" providerId="ADAL" clId="{5C2CD6D4-C7A9-4CEF-AA9C-BC2977F70622}" dt="2024-02-20T15:28:07.475" v="30604" actId="404"/>
          <ac:spMkLst>
            <pc:docMk/>
            <pc:sldMk cId="1676421662" sldId="2147483594"/>
            <ac:spMk id="39" creationId="{E3B8E8AF-5031-311E-6A35-F23CC1468977}"/>
          </ac:spMkLst>
        </pc:spChg>
        <pc:spChg chg="mod">
          <ac:chgData name="Abdi, Adnan" userId="503e002c-9b3b-4180-87fb-acabeb2b158a" providerId="ADAL" clId="{5C2CD6D4-C7A9-4CEF-AA9C-BC2977F70622}" dt="2024-02-20T15:28:07.475" v="30604" actId="404"/>
          <ac:spMkLst>
            <pc:docMk/>
            <pc:sldMk cId="1676421662" sldId="2147483594"/>
            <ac:spMk id="40" creationId="{9BDBDCDA-6CBB-5A31-92E9-8E7CA86343A8}"/>
          </ac:spMkLst>
        </pc:spChg>
        <pc:spChg chg="mod">
          <ac:chgData name="Abdi, Adnan" userId="503e002c-9b3b-4180-87fb-acabeb2b158a" providerId="ADAL" clId="{5C2CD6D4-C7A9-4CEF-AA9C-BC2977F70622}" dt="2024-02-20T15:28:07.475" v="30604" actId="404"/>
          <ac:spMkLst>
            <pc:docMk/>
            <pc:sldMk cId="1676421662" sldId="2147483594"/>
            <ac:spMk id="43" creationId="{6DB90930-21C9-221B-0032-FC93062612A2}"/>
          </ac:spMkLst>
        </pc:spChg>
        <pc:spChg chg="mod">
          <ac:chgData name="Abdi, Adnan" userId="503e002c-9b3b-4180-87fb-acabeb2b158a" providerId="ADAL" clId="{5C2CD6D4-C7A9-4CEF-AA9C-BC2977F70622}" dt="2024-02-20T15:28:07.475" v="30604" actId="404"/>
          <ac:spMkLst>
            <pc:docMk/>
            <pc:sldMk cId="1676421662" sldId="2147483594"/>
            <ac:spMk id="47" creationId="{7182237F-D58D-D4F2-1CFA-A994400E7CBD}"/>
          </ac:spMkLst>
        </pc:spChg>
        <pc:spChg chg="mod">
          <ac:chgData name="Abdi, Adnan" userId="503e002c-9b3b-4180-87fb-acabeb2b158a" providerId="ADAL" clId="{5C2CD6D4-C7A9-4CEF-AA9C-BC2977F70622}" dt="2024-02-20T15:28:41.231" v="30614" actId="465"/>
          <ac:spMkLst>
            <pc:docMk/>
            <pc:sldMk cId="1676421662" sldId="2147483594"/>
            <ac:spMk id="48" creationId="{583FF8C4-B528-EEFB-C6F1-CF95B1CDD01D}"/>
          </ac:spMkLst>
        </pc:spChg>
        <pc:spChg chg="mod">
          <ac:chgData name="Abdi, Adnan" userId="503e002c-9b3b-4180-87fb-acabeb2b158a" providerId="ADAL" clId="{5C2CD6D4-C7A9-4CEF-AA9C-BC2977F70622}" dt="2024-02-20T15:28:45.674" v="30615" actId="465"/>
          <ac:spMkLst>
            <pc:docMk/>
            <pc:sldMk cId="1676421662" sldId="2147483594"/>
            <ac:spMk id="91" creationId="{51CD05B8-7412-0239-DFD0-900FCEB2DED5}"/>
          </ac:spMkLst>
        </pc:spChg>
        <pc:spChg chg="mod">
          <ac:chgData name="Abdi, Adnan" userId="503e002c-9b3b-4180-87fb-acabeb2b158a" providerId="ADAL" clId="{5C2CD6D4-C7A9-4CEF-AA9C-BC2977F70622}" dt="2024-02-20T15:29:06.386" v="30619"/>
          <ac:spMkLst>
            <pc:docMk/>
            <pc:sldMk cId="1676421662" sldId="2147483594"/>
            <ac:spMk id="96" creationId="{E32C37C8-D070-496E-B1E5-0E17389ACE21}"/>
          </ac:spMkLst>
        </pc:spChg>
        <pc:spChg chg="mod">
          <ac:chgData name="Abdi, Adnan" userId="503e002c-9b3b-4180-87fb-acabeb2b158a" providerId="ADAL" clId="{5C2CD6D4-C7A9-4CEF-AA9C-BC2977F70622}" dt="2024-02-20T15:29:06.388" v="30621"/>
          <ac:spMkLst>
            <pc:docMk/>
            <pc:sldMk cId="1676421662" sldId="2147483594"/>
            <ac:spMk id="102" creationId="{FBEBCB73-8EEA-37FC-16F5-C61C2862A03B}"/>
          </ac:spMkLst>
        </pc:spChg>
        <pc:spChg chg="mod">
          <ac:chgData name="Abdi, Adnan" userId="503e002c-9b3b-4180-87fb-acabeb2b158a" providerId="ADAL" clId="{5C2CD6D4-C7A9-4CEF-AA9C-BC2977F70622}" dt="2024-02-20T15:28:45.674" v="30615" actId="465"/>
          <ac:spMkLst>
            <pc:docMk/>
            <pc:sldMk cId="1676421662" sldId="2147483594"/>
            <ac:spMk id="115" creationId="{2CAE815B-5BF1-9122-EFFE-9BB9E45BA52A}"/>
          </ac:spMkLst>
        </pc:spChg>
        <pc:spChg chg="mod">
          <ac:chgData name="Abdi, Adnan" userId="503e002c-9b3b-4180-87fb-acabeb2b158a" providerId="ADAL" clId="{5C2CD6D4-C7A9-4CEF-AA9C-BC2977F70622}" dt="2024-02-20T15:28:45.674" v="30615" actId="465"/>
          <ac:spMkLst>
            <pc:docMk/>
            <pc:sldMk cId="1676421662" sldId="2147483594"/>
            <ac:spMk id="121" creationId="{EF5084ED-3A9C-F260-CCB2-96BE2A75B567}"/>
          </ac:spMkLst>
        </pc:spChg>
        <pc:spChg chg="mod">
          <ac:chgData name="Abdi, Adnan" userId="503e002c-9b3b-4180-87fb-acabeb2b158a" providerId="ADAL" clId="{5C2CD6D4-C7A9-4CEF-AA9C-BC2977F70622}" dt="2024-02-20T15:29:16.614" v="30625"/>
          <ac:spMkLst>
            <pc:docMk/>
            <pc:sldMk cId="1676421662" sldId="2147483594"/>
            <ac:spMk id="126" creationId="{39DF3B38-1D59-F0C8-D624-C0E262ED33F3}"/>
          </ac:spMkLst>
        </pc:spChg>
        <pc:spChg chg="mod">
          <ac:chgData name="Abdi, Adnan" userId="503e002c-9b3b-4180-87fb-acabeb2b158a" providerId="ADAL" clId="{5C2CD6D4-C7A9-4CEF-AA9C-BC2977F70622}" dt="2024-02-20T15:28:07.475" v="30604" actId="404"/>
          <ac:spMkLst>
            <pc:docMk/>
            <pc:sldMk cId="1676421662" sldId="2147483594"/>
            <ac:spMk id="127" creationId="{5E1D94B0-B000-ABF6-4A67-353DDA679802}"/>
          </ac:spMkLst>
        </pc:spChg>
        <pc:spChg chg="mod">
          <ac:chgData name="Abdi, Adnan" userId="503e002c-9b3b-4180-87fb-acabeb2b158a" providerId="ADAL" clId="{5C2CD6D4-C7A9-4CEF-AA9C-BC2977F70622}" dt="2024-02-20T15:28:07.475" v="30604" actId="404"/>
          <ac:spMkLst>
            <pc:docMk/>
            <pc:sldMk cId="1676421662" sldId="2147483594"/>
            <ac:spMk id="128" creationId="{8541ED54-0A18-4FF2-D4C8-E8DEB0DED49E}"/>
          </ac:spMkLst>
        </pc:spChg>
        <pc:spChg chg="mod">
          <ac:chgData name="Abdi, Adnan" userId="503e002c-9b3b-4180-87fb-acabeb2b158a" providerId="ADAL" clId="{5C2CD6D4-C7A9-4CEF-AA9C-BC2977F70622}" dt="2024-02-20T15:29:06.388" v="30623"/>
          <ac:spMkLst>
            <pc:docMk/>
            <pc:sldMk cId="1676421662" sldId="2147483594"/>
            <ac:spMk id="132" creationId="{3D32E403-2530-438F-49FF-D6304A67B747}"/>
          </ac:spMkLst>
        </pc:spChg>
        <pc:spChg chg="mod">
          <ac:chgData name="Abdi, Adnan" userId="503e002c-9b3b-4180-87fb-acabeb2b158a" providerId="ADAL" clId="{5C2CD6D4-C7A9-4CEF-AA9C-BC2977F70622}" dt="2024-02-20T15:23:48.066" v="30387" actId="1036"/>
          <ac:spMkLst>
            <pc:docMk/>
            <pc:sldMk cId="1676421662" sldId="2147483594"/>
            <ac:spMk id="136" creationId="{17CCCCAA-7A3C-17CE-5358-AB917D524323}"/>
          </ac:spMkLst>
        </pc:spChg>
        <pc:spChg chg="mod">
          <ac:chgData name="Abdi, Adnan" userId="503e002c-9b3b-4180-87fb-acabeb2b158a" providerId="ADAL" clId="{5C2CD6D4-C7A9-4CEF-AA9C-BC2977F70622}" dt="2024-02-20T15:28:39.578" v="30613" actId="465"/>
          <ac:spMkLst>
            <pc:docMk/>
            <pc:sldMk cId="1676421662" sldId="2147483594"/>
            <ac:spMk id="139" creationId="{6B482937-0603-6FCD-EA7F-2063C4F9F81D}"/>
          </ac:spMkLst>
        </pc:spChg>
        <pc:spChg chg="mod">
          <ac:chgData name="Abdi, Adnan" userId="503e002c-9b3b-4180-87fb-acabeb2b158a" providerId="ADAL" clId="{5C2CD6D4-C7A9-4CEF-AA9C-BC2977F70622}" dt="2024-02-20T15:29:20.949" v="30627"/>
          <ac:spMkLst>
            <pc:docMk/>
            <pc:sldMk cId="1676421662" sldId="2147483594"/>
            <ac:spMk id="175" creationId="{8485A1F6-B5F5-0ABA-7F4F-C6ED75975F06}"/>
          </ac:spMkLst>
        </pc:spChg>
        <pc:spChg chg="mod">
          <ac:chgData name="Abdi, Adnan" userId="503e002c-9b3b-4180-87fb-acabeb2b158a" providerId="ADAL" clId="{5C2CD6D4-C7A9-4CEF-AA9C-BC2977F70622}" dt="2024-02-20T15:28:50.726" v="30616"/>
          <ac:spMkLst>
            <pc:docMk/>
            <pc:sldMk cId="1676421662" sldId="2147483594"/>
            <ac:spMk id="191" creationId="{91CBB7DF-B46B-A092-5E6E-451B10F0F577}"/>
          </ac:spMkLst>
        </pc:spChg>
        <pc:cxnChg chg="mod">
          <ac:chgData name="Abdi, Adnan" userId="503e002c-9b3b-4180-87fb-acabeb2b158a" providerId="ADAL" clId="{5C2CD6D4-C7A9-4CEF-AA9C-BC2977F70622}" dt="2024-02-20T15:29:16.614" v="30625"/>
          <ac:cxnSpMkLst>
            <pc:docMk/>
            <pc:sldMk cId="1676421662" sldId="2147483594"/>
            <ac:cxnSpMk id="83" creationId="{AEB09DD1-E9C9-EE28-BCE7-6FFA5EC4DEE9}"/>
          </ac:cxnSpMkLst>
        </pc:cxnChg>
        <pc:cxnChg chg="mod">
          <ac:chgData name="Abdi, Adnan" userId="503e002c-9b3b-4180-87fb-acabeb2b158a" providerId="ADAL" clId="{5C2CD6D4-C7A9-4CEF-AA9C-BC2977F70622}" dt="2024-02-20T15:29:16.614" v="30625"/>
          <ac:cxnSpMkLst>
            <pc:docMk/>
            <pc:sldMk cId="1676421662" sldId="2147483594"/>
            <ac:cxnSpMk id="84" creationId="{5331415C-798E-794C-E5E0-84E020A8185D}"/>
          </ac:cxnSpMkLst>
        </pc:cxnChg>
        <pc:cxnChg chg="mod">
          <ac:chgData name="Abdi, Adnan" userId="503e002c-9b3b-4180-87fb-acabeb2b158a" providerId="ADAL" clId="{5C2CD6D4-C7A9-4CEF-AA9C-BC2977F70622}" dt="2024-02-20T15:28:45.674" v="30615" actId="465"/>
          <ac:cxnSpMkLst>
            <pc:docMk/>
            <pc:sldMk cId="1676421662" sldId="2147483594"/>
            <ac:cxnSpMk id="85" creationId="{6F7EBA6F-D8A3-553A-B284-DBCA3C91BF6F}"/>
          </ac:cxnSpMkLst>
        </pc:cxnChg>
      </pc:sldChg>
      <pc:sldChg chg="addSp delSp modSp new del mod modClrScheme chgLayout">
        <pc:chgData name="Abdi, Adnan" userId="503e002c-9b3b-4180-87fb-acabeb2b158a" providerId="ADAL" clId="{5C2CD6D4-C7A9-4CEF-AA9C-BC2977F70622}" dt="2024-02-20T15:38:25.381" v="31059" actId="2696"/>
        <pc:sldMkLst>
          <pc:docMk/>
          <pc:sldMk cId="4037439052" sldId="2147483595"/>
        </pc:sldMkLst>
        <pc:spChg chg="mod ord">
          <ac:chgData name="Abdi, Adnan" userId="503e002c-9b3b-4180-87fb-acabeb2b158a" providerId="ADAL" clId="{5C2CD6D4-C7A9-4CEF-AA9C-BC2977F70622}" dt="2024-02-20T15:31:39.278" v="30737" actId="700"/>
          <ac:spMkLst>
            <pc:docMk/>
            <pc:sldMk cId="4037439052" sldId="2147483595"/>
            <ac:spMk id="2" creationId="{994CCD82-29B9-BF71-5562-E52DEBA7E714}"/>
          </ac:spMkLst>
        </pc:spChg>
        <pc:spChg chg="del">
          <ac:chgData name="Abdi, Adnan" userId="503e002c-9b3b-4180-87fb-acabeb2b158a" providerId="ADAL" clId="{5C2CD6D4-C7A9-4CEF-AA9C-BC2977F70622}" dt="2024-02-20T15:31:10.389" v="30716" actId="700"/>
          <ac:spMkLst>
            <pc:docMk/>
            <pc:sldMk cId="4037439052" sldId="2147483595"/>
            <ac:spMk id="3" creationId="{623067B9-F3A7-C6AB-EBB5-F37737606164}"/>
          </ac:spMkLst>
        </pc:spChg>
        <pc:spChg chg="add del mod ord">
          <ac:chgData name="Abdi, Adnan" userId="503e002c-9b3b-4180-87fb-acabeb2b158a" providerId="ADAL" clId="{5C2CD6D4-C7A9-4CEF-AA9C-BC2977F70622}" dt="2024-02-20T15:31:29.050" v="30736" actId="700"/>
          <ac:spMkLst>
            <pc:docMk/>
            <pc:sldMk cId="4037439052" sldId="2147483595"/>
            <ac:spMk id="4" creationId="{D4507E3E-66FE-287A-3576-878D426EDCF2}"/>
          </ac:spMkLst>
        </pc:spChg>
        <pc:spChg chg="add del mod ord">
          <ac:chgData name="Abdi, Adnan" userId="503e002c-9b3b-4180-87fb-acabeb2b158a" providerId="ADAL" clId="{5C2CD6D4-C7A9-4CEF-AA9C-BC2977F70622}" dt="2024-02-20T15:31:29.050" v="30736" actId="700"/>
          <ac:spMkLst>
            <pc:docMk/>
            <pc:sldMk cId="4037439052" sldId="2147483595"/>
            <ac:spMk id="5" creationId="{E9CDC005-4A5F-01FB-4472-90D3CECC0C49}"/>
          </ac:spMkLst>
        </pc:spChg>
        <pc:spChg chg="add del mod ord">
          <ac:chgData name="Abdi, Adnan" userId="503e002c-9b3b-4180-87fb-acabeb2b158a" providerId="ADAL" clId="{5C2CD6D4-C7A9-4CEF-AA9C-BC2977F70622}" dt="2024-02-20T15:31:29.050" v="30736" actId="700"/>
          <ac:spMkLst>
            <pc:docMk/>
            <pc:sldMk cId="4037439052" sldId="2147483595"/>
            <ac:spMk id="6" creationId="{83B7013C-3389-95EF-C950-6DED094D2BDF}"/>
          </ac:spMkLst>
        </pc:spChg>
        <pc:spChg chg="add del mod ord">
          <ac:chgData name="Abdi, Adnan" userId="503e002c-9b3b-4180-87fb-acabeb2b158a" providerId="ADAL" clId="{5C2CD6D4-C7A9-4CEF-AA9C-BC2977F70622}" dt="2024-02-20T15:31:29.050" v="30736" actId="700"/>
          <ac:spMkLst>
            <pc:docMk/>
            <pc:sldMk cId="4037439052" sldId="2147483595"/>
            <ac:spMk id="7" creationId="{C4B56FF0-76F4-4957-64FB-710378A97C63}"/>
          </ac:spMkLst>
        </pc:spChg>
        <pc:spChg chg="add del mod ord">
          <ac:chgData name="Abdi, Adnan" userId="503e002c-9b3b-4180-87fb-acabeb2b158a" providerId="ADAL" clId="{5C2CD6D4-C7A9-4CEF-AA9C-BC2977F70622}" dt="2024-02-20T15:31:19.912" v="30735" actId="700"/>
          <ac:spMkLst>
            <pc:docMk/>
            <pc:sldMk cId="4037439052" sldId="2147483595"/>
            <ac:spMk id="9" creationId="{DC46132E-2EB3-AD79-0E51-CFBBE1E6D4D0}"/>
          </ac:spMkLst>
        </pc:spChg>
        <pc:spChg chg="add del mod ord">
          <ac:chgData name="Abdi, Adnan" userId="503e002c-9b3b-4180-87fb-acabeb2b158a" providerId="ADAL" clId="{5C2CD6D4-C7A9-4CEF-AA9C-BC2977F70622}" dt="2024-02-20T15:31:19.912" v="30735" actId="700"/>
          <ac:spMkLst>
            <pc:docMk/>
            <pc:sldMk cId="4037439052" sldId="2147483595"/>
            <ac:spMk id="10" creationId="{4536F7D8-A75B-2A5C-4EDC-BFBE1B0FB2C9}"/>
          </ac:spMkLst>
        </pc:spChg>
        <pc:spChg chg="add del mod ord">
          <ac:chgData name="Abdi, Adnan" userId="503e002c-9b3b-4180-87fb-acabeb2b158a" providerId="ADAL" clId="{5C2CD6D4-C7A9-4CEF-AA9C-BC2977F70622}" dt="2024-02-20T15:31:19.912" v="30735" actId="700"/>
          <ac:spMkLst>
            <pc:docMk/>
            <pc:sldMk cId="4037439052" sldId="2147483595"/>
            <ac:spMk id="11" creationId="{29069983-ADC3-A52A-EB19-C9164FFCFB01}"/>
          </ac:spMkLst>
        </pc:spChg>
        <pc:spChg chg="add del mod ord">
          <ac:chgData name="Abdi, Adnan" userId="503e002c-9b3b-4180-87fb-acabeb2b158a" providerId="ADAL" clId="{5C2CD6D4-C7A9-4CEF-AA9C-BC2977F70622}" dt="2024-02-20T15:31:39.278" v="30737" actId="700"/>
          <ac:spMkLst>
            <pc:docMk/>
            <pc:sldMk cId="4037439052" sldId="2147483595"/>
            <ac:spMk id="12" creationId="{6251C916-263A-2F88-2CE4-F13ADA50739E}"/>
          </ac:spMkLst>
        </pc:spChg>
        <pc:spChg chg="add del mod ord">
          <ac:chgData name="Abdi, Adnan" userId="503e002c-9b3b-4180-87fb-acabeb2b158a" providerId="ADAL" clId="{5C2CD6D4-C7A9-4CEF-AA9C-BC2977F70622}" dt="2024-02-20T15:31:39.278" v="30737" actId="700"/>
          <ac:spMkLst>
            <pc:docMk/>
            <pc:sldMk cId="4037439052" sldId="2147483595"/>
            <ac:spMk id="13" creationId="{D47BCB83-BD82-F2BA-6B39-0A6E160F2B0D}"/>
          </ac:spMkLst>
        </pc:spChg>
        <pc:spChg chg="add del mod ord">
          <ac:chgData name="Abdi, Adnan" userId="503e002c-9b3b-4180-87fb-acabeb2b158a" providerId="ADAL" clId="{5C2CD6D4-C7A9-4CEF-AA9C-BC2977F70622}" dt="2024-02-20T15:31:39.278" v="30737" actId="700"/>
          <ac:spMkLst>
            <pc:docMk/>
            <pc:sldMk cId="4037439052" sldId="2147483595"/>
            <ac:spMk id="14" creationId="{DD449DA6-C15A-66ED-4FE8-C0FECD3A2980}"/>
          </ac:spMkLst>
        </pc:spChg>
        <pc:spChg chg="add mod ord">
          <ac:chgData name="Abdi, Adnan" userId="503e002c-9b3b-4180-87fb-acabeb2b158a" providerId="ADAL" clId="{5C2CD6D4-C7A9-4CEF-AA9C-BC2977F70622}" dt="2024-02-20T15:31:39.278" v="30737" actId="700"/>
          <ac:spMkLst>
            <pc:docMk/>
            <pc:sldMk cId="4037439052" sldId="2147483595"/>
            <ac:spMk id="15" creationId="{AA3F2749-07F3-16B3-EF33-149182ECE4D0}"/>
          </ac:spMkLst>
        </pc:spChg>
        <pc:spChg chg="add mod ord">
          <ac:chgData name="Abdi, Adnan" userId="503e002c-9b3b-4180-87fb-acabeb2b158a" providerId="ADAL" clId="{5C2CD6D4-C7A9-4CEF-AA9C-BC2977F70622}" dt="2024-02-20T15:31:39.278" v="30737" actId="700"/>
          <ac:spMkLst>
            <pc:docMk/>
            <pc:sldMk cId="4037439052" sldId="2147483595"/>
            <ac:spMk id="16" creationId="{40FDF172-103A-9D34-45CA-3A9A1C1793F3}"/>
          </ac:spMkLst>
        </pc:spChg>
        <pc:spChg chg="add mod ord">
          <ac:chgData name="Abdi, Adnan" userId="503e002c-9b3b-4180-87fb-acabeb2b158a" providerId="ADAL" clId="{5C2CD6D4-C7A9-4CEF-AA9C-BC2977F70622}" dt="2024-02-20T15:31:39.278" v="30737" actId="700"/>
          <ac:spMkLst>
            <pc:docMk/>
            <pc:sldMk cId="4037439052" sldId="2147483595"/>
            <ac:spMk id="17" creationId="{D9B80DDC-4011-930D-19ED-91847E078D78}"/>
          </ac:spMkLst>
        </pc:spChg>
        <pc:spChg chg="add mod">
          <ac:chgData name="Abdi, Adnan" userId="503e002c-9b3b-4180-87fb-acabeb2b158a" providerId="ADAL" clId="{5C2CD6D4-C7A9-4CEF-AA9C-BC2977F70622}" dt="2024-02-20T15:31:51.016" v="30738"/>
          <ac:spMkLst>
            <pc:docMk/>
            <pc:sldMk cId="4037439052" sldId="2147483595"/>
            <ac:spMk id="18" creationId="{5A7E1757-17C5-18B7-0F9E-880BE2E71E30}"/>
          </ac:spMkLst>
        </pc:spChg>
        <pc:graphicFrameChg chg="add mod ord modVis replST">
          <ac:chgData name="Abdi, Adnan" userId="503e002c-9b3b-4180-87fb-acabeb2b158a" providerId="ADAL" clId="{5C2CD6D4-C7A9-4CEF-AA9C-BC2977F70622}" dt="2024-02-20T15:31:11.293" v="30733"/>
          <ac:graphicFrameMkLst>
            <pc:docMk/>
            <pc:sldMk cId="4037439052" sldId="2147483595"/>
            <ac:graphicFrameMk id="8" creationId="{F7CA7E0E-8490-908F-6F42-17813D01B6CB}"/>
          </ac:graphicFrameMkLst>
        </pc:graphicFrameChg>
      </pc:sldChg>
      <pc:sldChg chg="addSp delSp modSp add mod ord">
        <pc:chgData name="Abdi, Adnan" userId="503e002c-9b3b-4180-87fb-acabeb2b158a" providerId="ADAL" clId="{5C2CD6D4-C7A9-4CEF-AA9C-BC2977F70622}" dt="2024-02-20T15:37:47.975" v="31057" actId="20577"/>
        <pc:sldMkLst>
          <pc:docMk/>
          <pc:sldMk cId="248202828" sldId="2147483596"/>
        </pc:sldMkLst>
        <pc:spChg chg="mod">
          <ac:chgData name="Abdi, Adnan" userId="503e002c-9b3b-4180-87fb-acabeb2b158a" providerId="ADAL" clId="{5C2CD6D4-C7A9-4CEF-AA9C-BC2977F70622}" dt="2024-02-20T15:33:43.489" v="30912" actId="20577"/>
          <ac:spMkLst>
            <pc:docMk/>
            <pc:sldMk cId="248202828" sldId="2147483596"/>
            <ac:spMk id="4" creationId="{D621C63B-DC3F-9AB3-994A-92E4128610F0}"/>
          </ac:spMkLst>
        </pc:spChg>
        <pc:spChg chg="mod">
          <ac:chgData name="Abdi, Adnan" userId="503e002c-9b3b-4180-87fb-acabeb2b158a" providerId="ADAL" clId="{5C2CD6D4-C7A9-4CEF-AA9C-BC2977F70622}" dt="2024-02-20T15:37:47.975" v="31057" actId="20577"/>
          <ac:spMkLst>
            <pc:docMk/>
            <pc:sldMk cId="248202828" sldId="2147483596"/>
            <ac:spMk id="5" creationId="{735CDA07-BBD4-3C57-AE1F-603BF981E88C}"/>
          </ac:spMkLst>
        </pc:spChg>
        <pc:spChg chg="add mod">
          <ac:chgData name="Abdi, Adnan" userId="503e002c-9b3b-4180-87fb-acabeb2b158a" providerId="ADAL" clId="{5C2CD6D4-C7A9-4CEF-AA9C-BC2977F70622}" dt="2024-02-20T15:35:26.757" v="31007" actId="207"/>
          <ac:spMkLst>
            <pc:docMk/>
            <pc:sldMk cId="248202828" sldId="2147483596"/>
            <ac:spMk id="15" creationId="{AAFFC309-740A-00D0-9BB7-587CDCF9BCFF}"/>
          </ac:spMkLst>
        </pc:spChg>
        <pc:spChg chg="add mod">
          <ac:chgData name="Abdi, Adnan" userId="503e002c-9b3b-4180-87fb-acabeb2b158a" providerId="ADAL" clId="{5C2CD6D4-C7A9-4CEF-AA9C-BC2977F70622}" dt="2024-02-20T15:36:43.847" v="31027"/>
          <ac:spMkLst>
            <pc:docMk/>
            <pc:sldMk cId="248202828" sldId="2147483596"/>
            <ac:spMk id="16" creationId="{4A25172A-A3D2-806E-FEAD-657309827EF0}"/>
          </ac:spMkLst>
        </pc:spChg>
        <pc:spChg chg="mod">
          <ac:chgData name="Abdi, Adnan" userId="503e002c-9b3b-4180-87fb-acabeb2b158a" providerId="ADAL" clId="{5C2CD6D4-C7A9-4CEF-AA9C-BC2977F70622}" dt="2024-02-20T15:32:37.527" v="30745"/>
          <ac:spMkLst>
            <pc:docMk/>
            <pc:sldMk cId="248202828" sldId="2147483596"/>
            <ac:spMk id="20" creationId="{28035F23-3A1B-D425-F263-6A9448928846}"/>
          </ac:spMkLst>
        </pc:spChg>
        <pc:spChg chg="mod">
          <ac:chgData name="Abdi, Adnan" userId="503e002c-9b3b-4180-87fb-acabeb2b158a" providerId="ADAL" clId="{5C2CD6D4-C7A9-4CEF-AA9C-BC2977F70622}" dt="2024-02-20T15:32:37.527" v="30745"/>
          <ac:spMkLst>
            <pc:docMk/>
            <pc:sldMk cId="248202828" sldId="2147483596"/>
            <ac:spMk id="21" creationId="{3C370D59-7509-8FD6-A8F9-805E8C289712}"/>
          </ac:spMkLst>
        </pc:spChg>
        <pc:spChg chg="add mod">
          <ac:chgData name="Abdi, Adnan" userId="503e002c-9b3b-4180-87fb-acabeb2b158a" providerId="ADAL" clId="{5C2CD6D4-C7A9-4CEF-AA9C-BC2977F70622}" dt="2024-02-20T15:32:37.527" v="30745"/>
          <ac:spMkLst>
            <pc:docMk/>
            <pc:sldMk cId="248202828" sldId="2147483596"/>
            <ac:spMk id="22" creationId="{092CF9BA-67B5-3E83-674F-85E92436F0AC}"/>
          </ac:spMkLst>
        </pc:spChg>
        <pc:spChg chg="add mod">
          <ac:chgData name="Abdi, Adnan" userId="503e002c-9b3b-4180-87fb-acabeb2b158a" providerId="ADAL" clId="{5C2CD6D4-C7A9-4CEF-AA9C-BC2977F70622}" dt="2024-02-20T15:37:04.438" v="31041"/>
          <ac:spMkLst>
            <pc:docMk/>
            <pc:sldMk cId="248202828" sldId="2147483596"/>
            <ac:spMk id="23" creationId="{A8AD6894-F03A-886C-007E-63F73F145E46}"/>
          </ac:spMkLst>
        </pc:spChg>
        <pc:spChg chg="add mod">
          <ac:chgData name="Abdi, Adnan" userId="503e002c-9b3b-4180-87fb-acabeb2b158a" providerId="ADAL" clId="{5C2CD6D4-C7A9-4CEF-AA9C-BC2977F70622}" dt="2024-02-20T15:35:00.285" v="31003"/>
          <ac:spMkLst>
            <pc:docMk/>
            <pc:sldMk cId="248202828" sldId="2147483596"/>
            <ac:spMk id="24" creationId="{FEF3EB37-A601-AD11-C312-411618B735FF}"/>
          </ac:spMkLst>
        </pc:spChg>
        <pc:spChg chg="add mod replST">
          <ac:chgData name="Abdi, Adnan" userId="503e002c-9b3b-4180-87fb-acabeb2b158a" providerId="ADAL" clId="{5C2CD6D4-C7A9-4CEF-AA9C-BC2977F70622}" dt="2024-02-20T15:33:04.502" v="30887" actId="207"/>
          <ac:spMkLst>
            <pc:docMk/>
            <pc:sldMk cId="248202828" sldId="2147483596"/>
            <ac:spMk id="25" creationId="{877E00AA-11D9-38A4-A2FE-8760E46BFA2E}"/>
          </ac:spMkLst>
        </pc:spChg>
        <pc:spChg chg="add mod replST">
          <ac:chgData name="Abdi, Adnan" userId="503e002c-9b3b-4180-87fb-acabeb2b158a" providerId="ADAL" clId="{5C2CD6D4-C7A9-4CEF-AA9C-BC2977F70622}" dt="2024-02-20T15:33:04.139" v="30879" actId="207"/>
          <ac:spMkLst>
            <pc:docMk/>
            <pc:sldMk cId="248202828" sldId="2147483596"/>
            <ac:spMk id="26" creationId="{FDD60C90-5E18-B0FA-A5B9-A26DC525B93E}"/>
          </ac:spMkLst>
        </pc:spChg>
        <pc:spChg chg="add mod replST">
          <ac:chgData name="Abdi, Adnan" userId="503e002c-9b3b-4180-87fb-acabeb2b158a" providerId="ADAL" clId="{5C2CD6D4-C7A9-4CEF-AA9C-BC2977F70622}" dt="2024-02-20T15:32:59.762" v="30868"/>
          <ac:spMkLst>
            <pc:docMk/>
            <pc:sldMk cId="248202828" sldId="2147483596"/>
            <ac:spMk id="28" creationId="{F615B5DB-079E-999A-FF12-9D7D19FC0736}"/>
          </ac:spMkLst>
        </pc:spChg>
        <pc:spChg chg="add mod replST">
          <ac:chgData name="Abdi, Adnan" userId="503e002c-9b3b-4180-87fb-acabeb2b158a" providerId="ADAL" clId="{5C2CD6D4-C7A9-4CEF-AA9C-BC2977F70622}" dt="2024-02-20T15:32:59.746" v="30865"/>
          <ac:spMkLst>
            <pc:docMk/>
            <pc:sldMk cId="248202828" sldId="2147483596"/>
            <ac:spMk id="29" creationId="{E33CB77A-CBF6-C2E2-56BD-38C4207252A8}"/>
          </ac:spMkLst>
        </pc:spChg>
        <pc:spChg chg="add mod replST">
          <ac:chgData name="Abdi, Adnan" userId="503e002c-9b3b-4180-87fb-acabeb2b158a" providerId="ADAL" clId="{5C2CD6D4-C7A9-4CEF-AA9C-BC2977F70622}" dt="2024-02-20T15:32:59.762" v="30867"/>
          <ac:spMkLst>
            <pc:docMk/>
            <pc:sldMk cId="248202828" sldId="2147483596"/>
            <ac:spMk id="30" creationId="{580FE89A-52D9-B75B-CE41-DFFA8ABA76C2}"/>
          </ac:spMkLst>
        </pc:spChg>
        <pc:spChg chg="add mod replST">
          <ac:chgData name="Abdi, Adnan" userId="503e002c-9b3b-4180-87fb-acabeb2b158a" providerId="ADAL" clId="{5C2CD6D4-C7A9-4CEF-AA9C-BC2977F70622}" dt="2024-02-20T15:32:59.762" v="30866"/>
          <ac:spMkLst>
            <pc:docMk/>
            <pc:sldMk cId="248202828" sldId="2147483596"/>
            <ac:spMk id="31" creationId="{8450B062-1A66-FED6-70E4-332FC0CF2A0C}"/>
          </ac:spMkLst>
        </pc:spChg>
        <pc:spChg chg="add mod">
          <ac:chgData name="Abdi, Adnan" userId="503e002c-9b3b-4180-87fb-acabeb2b158a" providerId="ADAL" clId="{5C2CD6D4-C7A9-4CEF-AA9C-BC2977F70622}" dt="2024-02-20T15:32:37.527" v="30745"/>
          <ac:spMkLst>
            <pc:docMk/>
            <pc:sldMk cId="248202828" sldId="2147483596"/>
            <ac:spMk id="32" creationId="{BB3ACEE0-2A4F-549F-7FB8-60E4DE6FC084}"/>
          </ac:spMkLst>
        </pc:spChg>
        <pc:spChg chg="add mod">
          <ac:chgData name="Abdi, Adnan" userId="503e002c-9b3b-4180-87fb-acabeb2b158a" providerId="ADAL" clId="{5C2CD6D4-C7A9-4CEF-AA9C-BC2977F70622}" dt="2024-02-20T15:32:37.527" v="30745"/>
          <ac:spMkLst>
            <pc:docMk/>
            <pc:sldMk cId="248202828" sldId="2147483596"/>
            <ac:spMk id="33" creationId="{204D34F6-6970-8F4C-0CE1-A0BC705FAD68}"/>
          </ac:spMkLst>
        </pc:spChg>
        <pc:spChg chg="add del mod modVis">
          <ac:chgData name="Abdi, Adnan" userId="503e002c-9b3b-4180-87fb-acabeb2b158a" providerId="ADAL" clId="{5C2CD6D4-C7A9-4CEF-AA9C-BC2977F70622}" dt="2024-02-20T15:32:37.658" v="30849"/>
          <ac:spMkLst>
            <pc:docMk/>
            <pc:sldMk cId="248202828" sldId="2147483596"/>
            <ac:spMk id="34" creationId="{167B17B1-515C-3672-DB4A-B994A2002F74}"/>
          </ac:spMkLst>
        </pc:spChg>
        <pc:spChg chg="add mod ord">
          <ac:chgData name="Abdi, Adnan" userId="503e002c-9b3b-4180-87fb-acabeb2b158a" providerId="ADAL" clId="{5C2CD6D4-C7A9-4CEF-AA9C-BC2977F70622}" dt="2024-02-20T15:37:01.346" v="31039"/>
          <ac:spMkLst>
            <pc:docMk/>
            <pc:sldMk cId="248202828" sldId="2147483596"/>
            <ac:spMk id="35" creationId="{9F5B1C07-69F1-6FE0-9A93-ECB52DB85889}"/>
          </ac:spMkLst>
        </pc:spChg>
        <pc:spChg chg="add mod ord">
          <ac:chgData name="Abdi, Adnan" userId="503e002c-9b3b-4180-87fb-acabeb2b158a" providerId="ADAL" clId="{5C2CD6D4-C7A9-4CEF-AA9C-BC2977F70622}" dt="2024-02-20T15:37:01.346" v="31037"/>
          <ac:spMkLst>
            <pc:docMk/>
            <pc:sldMk cId="248202828" sldId="2147483596"/>
            <ac:spMk id="36" creationId="{DF4F2D64-99B3-A47D-8FD4-864F023F94FE}"/>
          </ac:spMkLst>
        </pc:spChg>
        <pc:grpChg chg="del">
          <ac:chgData name="Abdi, Adnan" userId="503e002c-9b3b-4180-87fb-acabeb2b158a" providerId="ADAL" clId="{5C2CD6D4-C7A9-4CEF-AA9C-BC2977F70622}" dt="2024-02-20T15:32:02.378" v="30742" actId="478"/>
          <ac:grpSpMkLst>
            <pc:docMk/>
            <pc:sldMk cId="248202828" sldId="2147483596"/>
            <ac:grpSpMk id="7" creationId="{C35CFA1C-EFDC-188C-F1E1-307FA3F2CCCB}"/>
          </ac:grpSpMkLst>
        </pc:grpChg>
        <pc:grpChg chg="add mod">
          <ac:chgData name="Abdi, Adnan" userId="503e002c-9b3b-4180-87fb-acabeb2b158a" providerId="ADAL" clId="{5C2CD6D4-C7A9-4CEF-AA9C-BC2977F70622}" dt="2024-02-20T15:32:37.527" v="30745"/>
          <ac:grpSpMkLst>
            <pc:docMk/>
            <pc:sldMk cId="248202828" sldId="2147483596"/>
            <ac:grpSpMk id="17" creationId="{D689BD00-0152-03FC-61D6-AE86831FF946}"/>
          </ac:grpSpMkLst>
        </pc:grpChg>
        <pc:grpChg chg="mod">
          <ac:chgData name="Abdi, Adnan" userId="503e002c-9b3b-4180-87fb-acabeb2b158a" providerId="ADAL" clId="{5C2CD6D4-C7A9-4CEF-AA9C-BC2977F70622}" dt="2024-02-20T15:32:37.527" v="30745"/>
          <ac:grpSpMkLst>
            <pc:docMk/>
            <pc:sldMk cId="248202828" sldId="2147483596"/>
            <ac:grpSpMk id="19" creationId="{6A10E052-CEB7-A3C5-B26C-071FBDC81376}"/>
          </ac:grpSpMkLst>
        </pc:grpChg>
        <pc:graphicFrameChg chg="del mod">
          <ac:chgData name="Abdi, Adnan" userId="503e002c-9b3b-4180-87fb-acabeb2b158a" providerId="ADAL" clId="{5C2CD6D4-C7A9-4CEF-AA9C-BC2977F70622}" dt="2024-02-20T15:32:17.641" v="30744" actId="478"/>
          <ac:graphicFrameMkLst>
            <pc:docMk/>
            <pc:sldMk cId="248202828" sldId="2147483596"/>
            <ac:graphicFrameMk id="6" creationId="{E78D727D-6124-D4BD-8081-F3F02F6C30A0}"/>
          </ac:graphicFrameMkLst>
        </pc:graphicFrameChg>
        <pc:graphicFrameChg chg="mod">
          <ac:chgData name="Abdi, Adnan" userId="503e002c-9b3b-4180-87fb-acabeb2b158a" providerId="ADAL" clId="{5C2CD6D4-C7A9-4CEF-AA9C-BC2977F70622}" dt="2024-02-20T15:33:04.587" v="30890"/>
          <ac:graphicFrameMkLst>
            <pc:docMk/>
            <pc:sldMk cId="248202828" sldId="2147483596"/>
            <ac:graphicFrameMk id="14" creationId="{9B597BA4-F4CB-D5CE-9D8F-EFF22082973E}"/>
          </ac:graphicFrameMkLst>
        </pc:graphicFrameChg>
        <pc:cxnChg chg="mod">
          <ac:chgData name="Abdi, Adnan" userId="503e002c-9b3b-4180-87fb-acabeb2b158a" providerId="ADAL" clId="{5C2CD6D4-C7A9-4CEF-AA9C-BC2977F70622}" dt="2024-02-20T15:32:37.527" v="30745"/>
          <ac:cxnSpMkLst>
            <pc:docMk/>
            <pc:sldMk cId="248202828" sldId="2147483596"/>
            <ac:cxnSpMk id="18" creationId="{CE0CA050-C3AF-22E1-5126-480F39316449}"/>
          </ac:cxnSpMkLst>
        </pc:cxnChg>
        <pc:cxnChg chg="add mod replST">
          <ac:chgData name="Abdi, Adnan" userId="503e002c-9b3b-4180-87fb-acabeb2b158a" providerId="ADAL" clId="{5C2CD6D4-C7A9-4CEF-AA9C-BC2977F70622}" dt="2024-02-20T15:32:37.542" v="30746"/>
          <ac:cxnSpMkLst>
            <pc:docMk/>
            <pc:sldMk cId="248202828" sldId="2147483596"/>
            <ac:cxnSpMk id="27" creationId="{29CAAC28-9DD4-A770-D1D6-2B9BEF6D1570}"/>
          </ac:cxnSpMkLst>
        </pc:cxnChg>
      </pc:sldChg>
      <pc:sldChg chg="addSp">
        <pc:chgData name="Abdi, Adnan" userId="503e002c-9b3b-4180-87fb-acabeb2b158a" providerId="ADAL" clId="{5C2CD6D4-C7A9-4CEF-AA9C-BC2977F70622}" dt="2024-02-23T15:32:09.917" v="71465"/>
        <pc:sldMkLst>
          <pc:docMk/>
          <pc:sldMk cId="2438272984" sldId="2147483596"/>
        </pc:sldMkLst>
        <pc:spChg chg="add">
          <ac:chgData name="Abdi, Adnan" userId="503e002c-9b3b-4180-87fb-acabeb2b158a" providerId="ADAL" clId="{5C2CD6D4-C7A9-4CEF-AA9C-BC2977F70622}" dt="2024-02-23T15:32:09.917" v="71465"/>
          <ac:spMkLst>
            <pc:docMk/>
            <pc:sldMk cId="2438272984" sldId="2147483596"/>
            <ac:spMk id="4" creationId="{D621C63B-DC3F-9AB3-994A-92E4128610F0}"/>
          </ac:spMkLst>
        </pc:spChg>
      </pc:sldChg>
      <pc:sldChg chg="addSp delSp modSp mod">
        <pc:chgData name="Abdi, Adnan" userId="503e002c-9b3b-4180-87fb-acabeb2b158a" providerId="ADAL" clId="{5C2CD6D4-C7A9-4CEF-AA9C-BC2977F70622}" dt="2024-02-26T09:09:38.258" v="73093"/>
        <pc:sldMkLst>
          <pc:docMk/>
          <pc:sldMk cId="3293034707" sldId="2147483597"/>
        </pc:sldMkLst>
        <pc:spChg chg="mod">
          <ac:chgData name="Abdi, Adnan" userId="503e002c-9b3b-4180-87fb-acabeb2b158a" providerId="ADAL" clId="{5C2CD6D4-C7A9-4CEF-AA9C-BC2977F70622}" dt="2024-02-26T09:09:38.258" v="73093"/>
          <ac:spMkLst>
            <pc:docMk/>
            <pc:sldMk cId="3293034707" sldId="2147483597"/>
            <ac:spMk id="3" creationId="{8028E2A8-50AF-D68E-EA0B-C07F42BB2700}"/>
          </ac:spMkLst>
        </pc:spChg>
        <pc:spChg chg="add">
          <ac:chgData name="Abdi, Adnan" userId="503e002c-9b3b-4180-87fb-acabeb2b158a" providerId="ADAL" clId="{5C2CD6D4-C7A9-4CEF-AA9C-BC2977F70622}" dt="2024-02-23T15:32:09.917" v="71465"/>
          <ac:spMkLst>
            <pc:docMk/>
            <pc:sldMk cId="3293034707" sldId="2147483597"/>
            <ac:spMk id="4" creationId="{0EA2068B-7A5B-3528-CDE4-F3EA57DB2D14}"/>
          </ac:spMkLst>
        </pc:spChg>
        <pc:spChg chg="mod">
          <ac:chgData name="Abdi, Adnan" userId="503e002c-9b3b-4180-87fb-acabeb2b158a" providerId="ADAL" clId="{5C2CD6D4-C7A9-4CEF-AA9C-BC2977F70622}" dt="2024-02-21T13:05:24.278" v="39537" actId="20577"/>
          <ac:spMkLst>
            <pc:docMk/>
            <pc:sldMk cId="3293034707" sldId="2147483597"/>
            <ac:spMk id="5" creationId="{B58EE5ED-7569-E30B-AB77-400D5AB394D8}"/>
          </ac:spMkLst>
        </pc:spChg>
        <pc:spChg chg="mod">
          <ac:chgData name="Abdi, Adnan" userId="503e002c-9b3b-4180-87fb-acabeb2b158a" providerId="ADAL" clId="{5C2CD6D4-C7A9-4CEF-AA9C-BC2977F70622}" dt="2024-02-23T18:36:44.113" v="71554" actId="20577"/>
          <ac:spMkLst>
            <pc:docMk/>
            <pc:sldMk cId="3293034707" sldId="2147483597"/>
            <ac:spMk id="6" creationId="{02945BB6-CE38-6059-3335-9651C1C9987E}"/>
          </ac:spMkLst>
        </pc:spChg>
        <pc:spChg chg="del">
          <ac:chgData name="Abdi, Adnan" userId="503e002c-9b3b-4180-87fb-acabeb2b158a" providerId="ADAL" clId="{5C2CD6D4-C7A9-4CEF-AA9C-BC2977F70622}" dt="2024-02-21T07:59:47.473" v="31219" actId="478"/>
          <ac:spMkLst>
            <pc:docMk/>
            <pc:sldMk cId="3293034707" sldId="2147483597"/>
            <ac:spMk id="28" creationId="{7A79ADC1-CA41-B18B-881F-E4C80C1C2255}"/>
          </ac:spMkLst>
        </pc:spChg>
        <pc:spChg chg="del">
          <ac:chgData name="Abdi, Adnan" userId="503e002c-9b3b-4180-87fb-acabeb2b158a" providerId="ADAL" clId="{5C2CD6D4-C7A9-4CEF-AA9C-BC2977F70622}" dt="2024-02-21T07:59:44.178" v="31218" actId="478"/>
          <ac:spMkLst>
            <pc:docMk/>
            <pc:sldMk cId="3293034707" sldId="2147483597"/>
            <ac:spMk id="29" creationId="{028B2EEE-A569-D91F-A208-86B66303D998}"/>
          </ac:spMkLst>
        </pc:spChg>
        <pc:spChg chg="del">
          <ac:chgData name="Abdi, Adnan" userId="503e002c-9b3b-4180-87fb-acabeb2b158a" providerId="ADAL" clId="{5C2CD6D4-C7A9-4CEF-AA9C-BC2977F70622}" dt="2024-02-21T07:59:44.178" v="31218" actId="478"/>
          <ac:spMkLst>
            <pc:docMk/>
            <pc:sldMk cId="3293034707" sldId="2147483597"/>
            <ac:spMk id="37" creationId="{3E658E26-87A3-07A6-EE5D-CA2A27CA5BD3}"/>
          </ac:spMkLst>
        </pc:spChg>
        <pc:spChg chg="del">
          <ac:chgData name="Abdi, Adnan" userId="503e002c-9b3b-4180-87fb-acabeb2b158a" providerId="ADAL" clId="{5C2CD6D4-C7A9-4CEF-AA9C-BC2977F70622}" dt="2024-02-21T07:59:47.473" v="31219" actId="478"/>
          <ac:spMkLst>
            <pc:docMk/>
            <pc:sldMk cId="3293034707" sldId="2147483597"/>
            <ac:spMk id="46" creationId="{3F7115DC-2A0A-695B-25BB-8A9135D5B1BF}"/>
          </ac:spMkLst>
        </pc:spChg>
      </pc:sldChg>
      <pc:sldChg chg="addSp modSp mod">
        <pc:chgData name="Abdi, Adnan" userId="503e002c-9b3b-4180-87fb-acabeb2b158a" providerId="ADAL" clId="{5C2CD6D4-C7A9-4CEF-AA9C-BC2977F70622}" dt="2024-02-26T09:10:12.778" v="73106"/>
        <pc:sldMkLst>
          <pc:docMk/>
          <pc:sldMk cId="41052664" sldId="2147483598"/>
        </pc:sldMkLst>
        <pc:spChg chg="mod">
          <ac:chgData name="Abdi, Adnan" userId="503e002c-9b3b-4180-87fb-acabeb2b158a" providerId="ADAL" clId="{5C2CD6D4-C7A9-4CEF-AA9C-BC2977F70622}" dt="2024-02-26T09:10:12.778" v="73106"/>
          <ac:spMkLst>
            <pc:docMk/>
            <pc:sldMk cId="41052664" sldId="2147483598"/>
            <ac:spMk id="3" creationId="{F462CA51-9EAF-985A-38ED-2C060F44855E}"/>
          </ac:spMkLst>
        </pc:spChg>
        <pc:spChg chg="add">
          <ac:chgData name="Abdi, Adnan" userId="503e002c-9b3b-4180-87fb-acabeb2b158a" providerId="ADAL" clId="{5C2CD6D4-C7A9-4CEF-AA9C-BC2977F70622}" dt="2024-02-23T15:32:09.917" v="71465"/>
          <ac:spMkLst>
            <pc:docMk/>
            <pc:sldMk cId="41052664" sldId="2147483598"/>
            <ac:spMk id="4" creationId="{F9400000-C18F-D4D7-8C99-C8F6546F8E1F}"/>
          </ac:spMkLst>
        </pc:spChg>
        <pc:spChg chg="add mod">
          <ac:chgData name="Abdi, Adnan" userId="503e002c-9b3b-4180-87fb-acabeb2b158a" providerId="ADAL" clId="{5C2CD6D4-C7A9-4CEF-AA9C-BC2977F70622}" dt="2024-02-23T18:39:15.717" v="71570"/>
          <ac:spMkLst>
            <pc:docMk/>
            <pc:sldMk cId="41052664" sldId="2147483598"/>
            <ac:spMk id="5" creationId="{5F2987FA-F77C-6409-2D6D-5EBFE03F0016}"/>
          </ac:spMkLst>
        </pc:spChg>
      </pc:sldChg>
      <pc:sldChg chg="addSp modSp mod">
        <pc:chgData name="Abdi, Adnan" userId="503e002c-9b3b-4180-87fb-acabeb2b158a" providerId="ADAL" clId="{5C2CD6D4-C7A9-4CEF-AA9C-BC2977F70622}" dt="2024-02-26T09:09:56.505" v="73100"/>
        <pc:sldMkLst>
          <pc:docMk/>
          <pc:sldMk cId="647525745" sldId="2147483599"/>
        </pc:sldMkLst>
        <pc:spChg chg="mod">
          <ac:chgData name="Abdi, Adnan" userId="503e002c-9b3b-4180-87fb-acabeb2b158a" providerId="ADAL" clId="{5C2CD6D4-C7A9-4CEF-AA9C-BC2977F70622}" dt="2024-02-26T09:09:56.505" v="73100"/>
          <ac:spMkLst>
            <pc:docMk/>
            <pc:sldMk cId="647525745" sldId="2147483599"/>
            <ac:spMk id="3" creationId="{F462CA51-9EAF-985A-38ED-2C060F44855E}"/>
          </ac:spMkLst>
        </pc:spChg>
        <pc:spChg chg="add">
          <ac:chgData name="Abdi, Adnan" userId="503e002c-9b3b-4180-87fb-acabeb2b158a" providerId="ADAL" clId="{5C2CD6D4-C7A9-4CEF-AA9C-BC2977F70622}" dt="2024-02-23T15:32:09.917" v="71465"/>
          <ac:spMkLst>
            <pc:docMk/>
            <pc:sldMk cId="647525745" sldId="2147483599"/>
            <ac:spMk id="4" creationId="{F9400000-C18F-D4D7-8C99-C8F6546F8E1F}"/>
          </ac:spMkLst>
        </pc:spChg>
        <pc:spChg chg="add mod">
          <ac:chgData name="Abdi, Adnan" userId="503e002c-9b3b-4180-87fb-acabeb2b158a" providerId="ADAL" clId="{5C2CD6D4-C7A9-4CEF-AA9C-BC2977F70622}" dt="2024-02-23T18:39:04.989" v="71566"/>
          <ac:spMkLst>
            <pc:docMk/>
            <pc:sldMk cId="647525745" sldId="2147483599"/>
            <ac:spMk id="5" creationId="{26776909-F65F-01E9-48F8-1EDCC7CCF2E2}"/>
          </ac:spMkLst>
        </pc:spChg>
      </pc:sldChg>
      <pc:sldChg chg="addSp delSp modSp del mod">
        <pc:chgData name="Abdi, Adnan" userId="503e002c-9b3b-4180-87fb-acabeb2b158a" providerId="ADAL" clId="{5C2CD6D4-C7A9-4CEF-AA9C-BC2977F70622}" dt="2024-02-21T08:22:05.657" v="31240" actId="47"/>
        <pc:sldMkLst>
          <pc:docMk/>
          <pc:sldMk cId="2426597286" sldId="2147483600"/>
        </pc:sldMkLst>
        <pc:spChg chg="add del mod">
          <ac:chgData name="Abdi, Adnan" userId="503e002c-9b3b-4180-87fb-acabeb2b158a" providerId="ADAL" clId="{5C2CD6D4-C7A9-4CEF-AA9C-BC2977F70622}" dt="2024-02-21T08:14:35.571" v="31224" actId="478"/>
          <ac:spMkLst>
            <pc:docMk/>
            <pc:sldMk cId="2426597286" sldId="2147483600"/>
            <ac:spMk id="4" creationId="{A86D1CF7-A227-DE4D-52C5-E70D5AE691F0}"/>
          </ac:spMkLst>
        </pc:spChg>
        <pc:spChg chg="mod">
          <ac:chgData name="Abdi, Adnan" userId="503e002c-9b3b-4180-87fb-acabeb2b158a" providerId="ADAL" clId="{5C2CD6D4-C7A9-4CEF-AA9C-BC2977F70622}" dt="2024-02-21T08:14:41.349" v="31225" actId="207"/>
          <ac:spMkLst>
            <pc:docMk/>
            <pc:sldMk cId="2426597286" sldId="2147483600"/>
            <ac:spMk id="30" creationId="{46AE7763-FDD8-F724-7D3A-451486D85177}"/>
          </ac:spMkLst>
        </pc:spChg>
        <pc:spChg chg="mod">
          <ac:chgData name="Abdi, Adnan" userId="503e002c-9b3b-4180-87fb-acabeb2b158a" providerId="ADAL" clId="{5C2CD6D4-C7A9-4CEF-AA9C-BC2977F70622}" dt="2024-02-21T08:14:41.349" v="31225" actId="207"/>
          <ac:spMkLst>
            <pc:docMk/>
            <pc:sldMk cId="2426597286" sldId="2147483600"/>
            <ac:spMk id="31" creationId="{EA792194-A2E1-C7CE-5769-3FDDE7FAC180}"/>
          </ac:spMkLst>
        </pc:spChg>
        <pc:spChg chg="mod">
          <ac:chgData name="Abdi, Adnan" userId="503e002c-9b3b-4180-87fb-acabeb2b158a" providerId="ADAL" clId="{5C2CD6D4-C7A9-4CEF-AA9C-BC2977F70622}" dt="2024-02-21T08:14:41.349" v="31225" actId="207"/>
          <ac:spMkLst>
            <pc:docMk/>
            <pc:sldMk cId="2426597286" sldId="2147483600"/>
            <ac:spMk id="32" creationId="{3D80C78B-C36B-B6F3-DAB6-B246695988F7}"/>
          </ac:spMkLst>
        </pc:spChg>
        <pc:spChg chg="mod">
          <ac:chgData name="Abdi, Adnan" userId="503e002c-9b3b-4180-87fb-acabeb2b158a" providerId="ADAL" clId="{5C2CD6D4-C7A9-4CEF-AA9C-BC2977F70622}" dt="2024-02-21T08:14:41.349" v="31225" actId="207"/>
          <ac:spMkLst>
            <pc:docMk/>
            <pc:sldMk cId="2426597286" sldId="2147483600"/>
            <ac:spMk id="80" creationId="{46B8F458-819B-5313-8A47-F4A1F73A6118}"/>
          </ac:spMkLst>
        </pc:spChg>
        <pc:spChg chg="mod">
          <ac:chgData name="Abdi, Adnan" userId="503e002c-9b3b-4180-87fb-acabeb2b158a" providerId="ADAL" clId="{5C2CD6D4-C7A9-4CEF-AA9C-BC2977F70622}" dt="2024-02-21T08:14:47.896" v="31226" actId="208"/>
          <ac:spMkLst>
            <pc:docMk/>
            <pc:sldMk cId="2426597286" sldId="2147483600"/>
            <ac:spMk id="87" creationId="{95F1A457-B792-A971-3E7B-2E85A08031DC}"/>
          </ac:spMkLst>
        </pc:spChg>
        <pc:spChg chg="del mod">
          <ac:chgData name="Abdi, Adnan" userId="503e002c-9b3b-4180-87fb-acabeb2b158a" providerId="ADAL" clId="{5C2CD6D4-C7A9-4CEF-AA9C-BC2977F70622}" dt="2024-02-21T08:14:14.953" v="31220" actId="478"/>
          <ac:spMkLst>
            <pc:docMk/>
            <pc:sldMk cId="2426597286" sldId="2147483600"/>
            <ac:spMk id="90" creationId="{140B9F99-D481-525F-54F3-073FA92BA2BF}"/>
          </ac:spMkLst>
        </pc:spChg>
      </pc:sldChg>
      <pc:sldChg chg="addSp ord">
        <pc:chgData name="Abdi, Adnan" userId="503e002c-9b3b-4180-87fb-acabeb2b158a" providerId="ADAL" clId="{5C2CD6D4-C7A9-4CEF-AA9C-BC2977F70622}" dt="2024-02-23T19:30:34.822" v="73089"/>
        <pc:sldMkLst>
          <pc:docMk/>
          <pc:sldMk cId="2594962716" sldId="2147483601"/>
        </pc:sldMkLst>
        <pc:spChg chg="add">
          <ac:chgData name="Abdi, Adnan" userId="503e002c-9b3b-4180-87fb-acabeb2b158a" providerId="ADAL" clId="{5C2CD6D4-C7A9-4CEF-AA9C-BC2977F70622}" dt="2024-02-23T15:32:09.917" v="71465"/>
          <ac:spMkLst>
            <pc:docMk/>
            <pc:sldMk cId="2594962716" sldId="2147483601"/>
            <ac:spMk id="4" creationId="{E3413BDF-F5EA-1BDF-51BF-B690C995369D}"/>
          </ac:spMkLst>
        </pc:spChg>
      </pc:sldChg>
      <pc:sldChg chg="addSp">
        <pc:chgData name="Abdi, Adnan" userId="503e002c-9b3b-4180-87fb-acabeb2b158a" providerId="ADAL" clId="{5C2CD6D4-C7A9-4CEF-AA9C-BC2977F70622}" dt="2024-02-23T15:32:09.917" v="71465"/>
        <pc:sldMkLst>
          <pc:docMk/>
          <pc:sldMk cId="839864784" sldId="2147483602"/>
        </pc:sldMkLst>
        <pc:spChg chg="add">
          <ac:chgData name="Abdi, Adnan" userId="503e002c-9b3b-4180-87fb-acabeb2b158a" providerId="ADAL" clId="{5C2CD6D4-C7A9-4CEF-AA9C-BC2977F70622}" dt="2024-02-23T15:32:09.917" v="71465"/>
          <ac:spMkLst>
            <pc:docMk/>
            <pc:sldMk cId="839864784" sldId="2147483602"/>
            <ac:spMk id="5" creationId="{2E33EC18-B148-8578-CCFC-1431A60CC8DA}"/>
          </ac:spMkLst>
        </pc:spChg>
      </pc:sldChg>
      <pc:sldChg chg="addSp delSp modSp mod">
        <pc:chgData name="Abdi, Adnan" userId="503e002c-9b3b-4180-87fb-acabeb2b158a" providerId="ADAL" clId="{5C2CD6D4-C7A9-4CEF-AA9C-BC2977F70622}" dt="2024-02-20T19:31:50.817" v="31070"/>
        <pc:sldMkLst>
          <pc:docMk/>
          <pc:sldMk cId="2348689112" sldId="2147483602"/>
        </pc:sldMkLst>
        <pc:spChg chg="add del">
          <ac:chgData name="Abdi, Adnan" userId="503e002c-9b3b-4180-87fb-acabeb2b158a" providerId="ADAL" clId="{5C2CD6D4-C7A9-4CEF-AA9C-BC2977F70622}" dt="2024-02-20T19:31:24.590" v="31063" actId="22"/>
          <ac:spMkLst>
            <pc:docMk/>
            <pc:sldMk cId="2348689112" sldId="2147483602"/>
            <ac:spMk id="4" creationId="{17F9475B-CD8A-CF70-1BA9-AE17B113655E}"/>
          </ac:spMkLst>
        </pc:spChg>
        <pc:spChg chg="add mod">
          <ac:chgData name="Abdi, Adnan" userId="503e002c-9b3b-4180-87fb-acabeb2b158a" providerId="ADAL" clId="{5C2CD6D4-C7A9-4CEF-AA9C-BC2977F70622}" dt="2024-02-20T19:31:36.275" v="31068"/>
          <ac:spMkLst>
            <pc:docMk/>
            <pc:sldMk cId="2348689112" sldId="2147483602"/>
            <ac:spMk id="5" creationId="{2E33EC18-B148-8578-CCFC-1431A60CC8DA}"/>
          </ac:spMkLst>
        </pc:spChg>
        <pc:spChg chg="add mod">
          <ac:chgData name="Abdi, Adnan" userId="503e002c-9b3b-4180-87fb-acabeb2b158a" providerId="ADAL" clId="{5C2CD6D4-C7A9-4CEF-AA9C-BC2977F70622}" dt="2024-02-20T19:31:50.817" v="31070"/>
          <ac:spMkLst>
            <pc:docMk/>
            <pc:sldMk cId="2348689112" sldId="2147483602"/>
            <ac:spMk id="6" creationId="{A69EE9CB-BB2E-3D19-588C-C206BA9A0FD8}"/>
          </ac:spMkLst>
        </pc:spChg>
        <pc:spChg chg="del mod">
          <ac:chgData name="Abdi, Adnan" userId="503e002c-9b3b-4180-87fb-acabeb2b158a" providerId="ADAL" clId="{5C2CD6D4-C7A9-4CEF-AA9C-BC2977F70622}" dt="2024-02-20T19:31:38.596" v="31069" actId="478"/>
          <ac:spMkLst>
            <pc:docMk/>
            <pc:sldMk cId="2348689112" sldId="2147483602"/>
            <ac:spMk id="7" creationId="{FAFCDD3B-849A-2C8B-073F-A035BBED4C9D}"/>
          </ac:spMkLst>
        </pc:spChg>
      </pc:sldChg>
      <pc:sldChg chg="addSp modSp mod">
        <pc:chgData name="Abdi, Adnan" userId="503e002c-9b3b-4180-87fb-acabeb2b158a" providerId="ADAL" clId="{5C2CD6D4-C7A9-4CEF-AA9C-BC2977F70622}" dt="2024-02-26T09:09:54.117" v="73099"/>
        <pc:sldMkLst>
          <pc:docMk/>
          <pc:sldMk cId="2775471582" sldId="2147483603"/>
        </pc:sldMkLst>
        <pc:spChg chg="mod">
          <ac:chgData name="Abdi, Adnan" userId="503e002c-9b3b-4180-87fb-acabeb2b158a" providerId="ADAL" clId="{5C2CD6D4-C7A9-4CEF-AA9C-BC2977F70622}" dt="2024-02-26T09:09:54.117" v="73099"/>
          <ac:spMkLst>
            <pc:docMk/>
            <pc:sldMk cId="2775471582" sldId="2147483603"/>
            <ac:spMk id="3" creationId="{18FF0807-DAF8-B85E-04CD-C4F80F1262E3}"/>
          </ac:spMkLst>
        </pc:spChg>
        <pc:spChg chg="add">
          <ac:chgData name="Abdi, Adnan" userId="503e002c-9b3b-4180-87fb-acabeb2b158a" providerId="ADAL" clId="{5C2CD6D4-C7A9-4CEF-AA9C-BC2977F70622}" dt="2024-02-23T15:32:09.917" v="71465"/>
          <ac:spMkLst>
            <pc:docMk/>
            <pc:sldMk cId="2775471582" sldId="2147483603"/>
            <ac:spMk id="4" creationId="{D621C63B-DC3F-9AB3-994A-92E4128610F0}"/>
          </ac:spMkLst>
        </pc:spChg>
        <pc:spChg chg="mod">
          <ac:chgData name="Abdi, Adnan" userId="503e002c-9b3b-4180-87fb-acabeb2b158a" providerId="ADAL" clId="{5C2CD6D4-C7A9-4CEF-AA9C-BC2977F70622}" dt="2024-02-22T14:43:35.150" v="58263" actId="14100"/>
          <ac:spMkLst>
            <pc:docMk/>
            <pc:sldMk cId="2775471582" sldId="2147483603"/>
            <ac:spMk id="7" creationId="{655C5497-1A69-8645-BD38-1845C93346B4}"/>
          </ac:spMkLst>
        </pc:spChg>
        <pc:spChg chg="mod">
          <ac:chgData name="Abdi, Adnan" userId="503e002c-9b3b-4180-87fb-acabeb2b158a" providerId="ADAL" clId="{5C2CD6D4-C7A9-4CEF-AA9C-BC2977F70622}" dt="2024-02-23T14:59:51.090" v="71413"/>
          <ac:spMkLst>
            <pc:docMk/>
            <pc:sldMk cId="2775471582" sldId="2147483603"/>
            <ac:spMk id="8" creationId="{2C5DD0C3-EAB4-6AB1-C877-EE4374DC8597}"/>
          </ac:spMkLst>
        </pc:spChg>
        <pc:spChg chg="mod">
          <ac:chgData name="Abdi, Adnan" userId="503e002c-9b3b-4180-87fb-acabeb2b158a" providerId="ADAL" clId="{5C2CD6D4-C7A9-4CEF-AA9C-BC2977F70622}" dt="2024-02-23T18:35:17.379" v="71550" actId="20577"/>
          <ac:spMkLst>
            <pc:docMk/>
            <pc:sldMk cId="2775471582" sldId="2147483603"/>
            <ac:spMk id="18" creationId="{B3029324-9053-82B6-D2CE-C6100EEFDDBB}"/>
          </ac:spMkLst>
        </pc:spChg>
        <pc:spChg chg="mod">
          <ac:chgData name="Abdi, Adnan" userId="503e002c-9b3b-4180-87fb-acabeb2b158a" providerId="ADAL" clId="{5C2CD6D4-C7A9-4CEF-AA9C-BC2977F70622}" dt="2024-02-22T14:39:06.134" v="58249" actId="1076"/>
          <ac:spMkLst>
            <pc:docMk/>
            <pc:sldMk cId="2775471582" sldId="2147483603"/>
            <ac:spMk id="22" creationId="{8FDF5BBF-1E98-2952-42F2-CC3A457D8267}"/>
          </ac:spMkLst>
        </pc:spChg>
        <pc:spChg chg="add mod">
          <ac:chgData name="Abdi, Adnan" userId="503e002c-9b3b-4180-87fb-acabeb2b158a" providerId="ADAL" clId="{5C2CD6D4-C7A9-4CEF-AA9C-BC2977F70622}" dt="2024-02-23T18:38:59.504" v="71564"/>
          <ac:spMkLst>
            <pc:docMk/>
            <pc:sldMk cId="2775471582" sldId="2147483603"/>
            <ac:spMk id="37" creationId="{BBE6E5C5-E2B4-8AE8-5EAC-A5978DB93EAC}"/>
          </ac:spMkLst>
        </pc:spChg>
        <pc:picChg chg="mod">
          <ac:chgData name="Abdi, Adnan" userId="503e002c-9b3b-4180-87fb-acabeb2b158a" providerId="ADAL" clId="{5C2CD6D4-C7A9-4CEF-AA9C-BC2977F70622}" dt="2024-02-23T14:59:34.723" v="71412"/>
          <ac:picMkLst>
            <pc:docMk/>
            <pc:sldMk cId="2775471582" sldId="2147483603"/>
            <ac:picMk id="11" creationId="{D4F57697-47E0-1B6B-FB3C-B1E8A07EB093}"/>
          </ac:picMkLst>
        </pc:picChg>
      </pc:sldChg>
      <pc:sldChg chg="addSp modSp mod ord modShow">
        <pc:chgData name="Abdi, Adnan" userId="503e002c-9b3b-4180-87fb-acabeb2b158a" providerId="ADAL" clId="{5C2CD6D4-C7A9-4CEF-AA9C-BC2977F70622}" dt="2024-02-23T18:56:03.940" v="72960" actId="729"/>
        <pc:sldMkLst>
          <pc:docMk/>
          <pc:sldMk cId="2791291552" sldId="2147483605"/>
        </pc:sldMkLst>
        <pc:spChg chg="add">
          <ac:chgData name="Abdi, Adnan" userId="503e002c-9b3b-4180-87fb-acabeb2b158a" providerId="ADAL" clId="{5C2CD6D4-C7A9-4CEF-AA9C-BC2977F70622}" dt="2024-02-23T15:32:09.917" v="71465"/>
          <ac:spMkLst>
            <pc:docMk/>
            <pc:sldMk cId="2791291552" sldId="2147483605"/>
            <ac:spMk id="4" creationId="{7DAD173B-050D-ADC2-C16D-F8C1AF4A1564}"/>
          </ac:spMkLst>
        </pc:spChg>
        <pc:spChg chg="mod">
          <ac:chgData name="Abdi, Adnan" userId="503e002c-9b3b-4180-87fb-acabeb2b158a" providerId="ADAL" clId="{5C2CD6D4-C7A9-4CEF-AA9C-BC2977F70622}" dt="2024-02-23T18:55:50.482" v="72952" actId="20577"/>
          <ac:spMkLst>
            <pc:docMk/>
            <pc:sldMk cId="2791291552" sldId="2147483605"/>
            <ac:spMk id="8" creationId="{9806F401-BD29-CD8B-DF35-C83F70109977}"/>
          </ac:spMkLst>
        </pc:spChg>
        <pc:spChg chg="mod">
          <ac:chgData name="Abdi, Adnan" userId="503e002c-9b3b-4180-87fb-acabeb2b158a" providerId="ADAL" clId="{5C2CD6D4-C7A9-4CEF-AA9C-BC2977F70622}" dt="2024-02-21T17:44:02.416" v="51416" actId="1076"/>
          <ac:spMkLst>
            <pc:docMk/>
            <pc:sldMk cId="2791291552" sldId="2147483605"/>
            <ac:spMk id="60" creationId="{E1B0CAE8-DEC4-5C4E-1599-FE4D3AACC931}"/>
          </ac:spMkLst>
        </pc:spChg>
        <pc:spChg chg="add mod">
          <ac:chgData name="Abdi, Adnan" userId="503e002c-9b3b-4180-87fb-acabeb2b158a" providerId="ADAL" clId="{5C2CD6D4-C7A9-4CEF-AA9C-BC2977F70622}" dt="2024-02-23T18:38:51.810" v="71562"/>
          <ac:spMkLst>
            <pc:docMk/>
            <pc:sldMk cId="2791291552" sldId="2147483605"/>
            <ac:spMk id="69" creationId="{8E1CCCC0-6E99-7A40-1F8E-8843B669D906}"/>
          </ac:spMkLst>
        </pc:spChg>
      </pc:sldChg>
      <pc:sldChg chg="addSp delSp modSp mod">
        <pc:chgData name="Abdi, Adnan" userId="503e002c-9b3b-4180-87fb-acabeb2b158a" providerId="ADAL" clId="{5C2CD6D4-C7A9-4CEF-AA9C-BC2977F70622}" dt="2024-02-26T09:09:51.552" v="73098"/>
        <pc:sldMkLst>
          <pc:docMk/>
          <pc:sldMk cId="3239871205" sldId="2147483606"/>
        </pc:sldMkLst>
        <pc:spChg chg="add mod">
          <ac:chgData name="Abdi, Adnan" userId="503e002c-9b3b-4180-87fb-acabeb2b158a" providerId="ADAL" clId="{5C2CD6D4-C7A9-4CEF-AA9C-BC2977F70622}" dt="2024-02-23T15:32:09.917" v="71465"/>
          <ac:spMkLst>
            <pc:docMk/>
            <pc:sldMk cId="3239871205" sldId="2147483606"/>
            <ac:spMk id="5" creationId="{D9887F4F-E1B1-7623-D3FE-D1FB9CFA9263}"/>
          </ac:spMkLst>
        </pc:spChg>
        <pc:spChg chg="del mod">
          <ac:chgData name="Abdi, Adnan" userId="503e002c-9b3b-4180-87fb-acabeb2b158a" providerId="ADAL" clId="{5C2CD6D4-C7A9-4CEF-AA9C-BC2977F70622}" dt="2024-02-22T10:58:33.756" v="55952" actId="478"/>
          <ac:spMkLst>
            <pc:docMk/>
            <pc:sldMk cId="3239871205" sldId="2147483606"/>
            <ac:spMk id="7" creationId="{FAFCDD3B-849A-2C8B-073F-A035BBED4C9D}"/>
          </ac:spMkLst>
        </pc:spChg>
        <pc:spChg chg="add mod">
          <ac:chgData name="Abdi, Adnan" userId="503e002c-9b3b-4180-87fb-acabeb2b158a" providerId="ADAL" clId="{5C2CD6D4-C7A9-4CEF-AA9C-BC2977F70622}" dt="2024-02-26T09:09:51.552" v="73098"/>
          <ac:spMkLst>
            <pc:docMk/>
            <pc:sldMk cId="3239871205" sldId="2147483606"/>
            <ac:spMk id="12" creationId="{1AEEDF5B-C5FE-956E-0095-701A4B52AEB1}"/>
          </ac:spMkLst>
        </pc:spChg>
        <pc:spChg chg="add mod">
          <ac:chgData name="Abdi, Adnan" userId="503e002c-9b3b-4180-87fb-acabeb2b158a" providerId="ADAL" clId="{5C2CD6D4-C7A9-4CEF-AA9C-BC2977F70622}" dt="2024-02-23T14:36:51.336" v="70986"/>
          <ac:spMkLst>
            <pc:docMk/>
            <pc:sldMk cId="3239871205" sldId="2147483606"/>
            <ac:spMk id="16" creationId="{1C3A6DE7-22DD-D5BB-F7DB-199257A59342}"/>
          </ac:spMkLst>
        </pc:spChg>
        <pc:spChg chg="mod">
          <ac:chgData name="Abdi, Adnan" userId="503e002c-9b3b-4180-87fb-acabeb2b158a" providerId="ADAL" clId="{5C2CD6D4-C7A9-4CEF-AA9C-BC2977F70622}" dt="2024-02-23T18:42:25.202" v="72807" actId="20577"/>
          <ac:spMkLst>
            <pc:docMk/>
            <pc:sldMk cId="3239871205" sldId="2147483606"/>
            <ac:spMk id="39" creationId="{E3B8E8AF-5031-311E-6A35-F23CC1468977}"/>
          </ac:spMkLst>
        </pc:spChg>
        <pc:spChg chg="mod">
          <ac:chgData name="Abdi, Adnan" userId="503e002c-9b3b-4180-87fb-acabeb2b158a" providerId="ADAL" clId="{5C2CD6D4-C7A9-4CEF-AA9C-BC2977F70622}" dt="2024-02-23T18:42:51.384" v="72829" actId="20577"/>
          <ac:spMkLst>
            <pc:docMk/>
            <pc:sldMk cId="3239871205" sldId="2147483606"/>
            <ac:spMk id="40" creationId="{9BDBDCDA-6CBB-5A31-92E9-8E7CA86343A8}"/>
          </ac:spMkLst>
        </pc:spChg>
        <pc:spChg chg="mod">
          <ac:chgData name="Abdi, Adnan" userId="503e002c-9b3b-4180-87fb-acabeb2b158a" providerId="ADAL" clId="{5C2CD6D4-C7A9-4CEF-AA9C-BC2977F70622}" dt="2024-02-23T18:42:44.673" v="72823" actId="20577"/>
          <ac:spMkLst>
            <pc:docMk/>
            <pc:sldMk cId="3239871205" sldId="2147483606"/>
            <ac:spMk id="43" creationId="{6DB90930-21C9-221B-0032-FC93062612A2}"/>
          </ac:spMkLst>
        </pc:spChg>
        <pc:spChg chg="mod">
          <ac:chgData name="Abdi, Adnan" userId="503e002c-9b3b-4180-87fb-acabeb2b158a" providerId="ADAL" clId="{5C2CD6D4-C7A9-4CEF-AA9C-BC2977F70622}" dt="2024-02-23T18:42:57.449" v="72835" actId="20577"/>
          <ac:spMkLst>
            <pc:docMk/>
            <pc:sldMk cId="3239871205" sldId="2147483606"/>
            <ac:spMk id="47" creationId="{7182237F-D58D-D4F2-1CFA-A994400E7CBD}"/>
          </ac:spMkLst>
        </pc:spChg>
        <pc:spChg chg="mod">
          <ac:chgData name="Abdi, Adnan" userId="503e002c-9b3b-4180-87fb-acabeb2b158a" providerId="ADAL" clId="{5C2CD6D4-C7A9-4CEF-AA9C-BC2977F70622}" dt="2024-02-23T18:42:11.402" v="72799" actId="20577"/>
          <ac:spMkLst>
            <pc:docMk/>
            <pc:sldMk cId="3239871205" sldId="2147483606"/>
            <ac:spMk id="48" creationId="{583FF8C4-B528-EEFB-C6F1-CF95B1CDD01D}"/>
          </ac:spMkLst>
        </pc:spChg>
        <pc:spChg chg="mod">
          <ac:chgData name="Abdi, Adnan" userId="503e002c-9b3b-4180-87fb-acabeb2b158a" providerId="ADAL" clId="{5C2CD6D4-C7A9-4CEF-AA9C-BC2977F70622}" dt="2024-02-23T18:42:32.762" v="72813" actId="20577"/>
          <ac:spMkLst>
            <pc:docMk/>
            <pc:sldMk cId="3239871205" sldId="2147483606"/>
            <ac:spMk id="127" creationId="{5E1D94B0-B000-ABF6-4A67-353DDA679802}"/>
          </ac:spMkLst>
        </pc:spChg>
        <pc:spChg chg="mod">
          <ac:chgData name="Abdi, Adnan" userId="503e002c-9b3b-4180-87fb-acabeb2b158a" providerId="ADAL" clId="{5C2CD6D4-C7A9-4CEF-AA9C-BC2977F70622}" dt="2024-02-23T18:42:38.717" v="72817" actId="20577"/>
          <ac:spMkLst>
            <pc:docMk/>
            <pc:sldMk cId="3239871205" sldId="2147483606"/>
            <ac:spMk id="128" creationId="{8541ED54-0A18-4FF2-D4C8-E8DEB0DED49E}"/>
          </ac:spMkLst>
        </pc:spChg>
        <pc:spChg chg="mod">
          <ac:chgData name="Abdi, Adnan" userId="503e002c-9b3b-4180-87fb-acabeb2b158a" providerId="ADAL" clId="{5C2CD6D4-C7A9-4CEF-AA9C-BC2977F70622}" dt="2024-02-23T18:42:19.427" v="72805" actId="20577"/>
          <ac:spMkLst>
            <pc:docMk/>
            <pc:sldMk cId="3239871205" sldId="2147483606"/>
            <ac:spMk id="191" creationId="{91CBB7DF-B46B-A092-5E6E-451B10F0F577}"/>
          </ac:spMkLst>
        </pc:spChg>
      </pc:sldChg>
      <pc:sldChg chg="addSp delSp modSp new mod">
        <pc:chgData name="Abdi, Adnan" userId="503e002c-9b3b-4180-87fb-acabeb2b158a" providerId="ADAL" clId="{5C2CD6D4-C7A9-4CEF-AA9C-BC2977F70622}" dt="2024-02-26T09:10:25.432" v="73111"/>
        <pc:sldMkLst>
          <pc:docMk/>
          <pc:sldMk cId="2564153488" sldId="2147483607"/>
        </pc:sldMkLst>
        <pc:spChg chg="mod">
          <ac:chgData name="Abdi, Adnan" userId="503e002c-9b3b-4180-87fb-acabeb2b158a" providerId="ADAL" clId="{5C2CD6D4-C7A9-4CEF-AA9C-BC2977F70622}" dt="2024-02-26T09:10:25.432" v="73111"/>
          <ac:spMkLst>
            <pc:docMk/>
            <pc:sldMk cId="2564153488" sldId="2147483607"/>
            <ac:spMk id="3" creationId="{E61F54FD-301D-50D2-049C-775E4F28D645}"/>
          </ac:spMkLst>
        </pc:spChg>
        <pc:spChg chg="add">
          <ac:chgData name="Abdi, Adnan" userId="503e002c-9b3b-4180-87fb-acabeb2b158a" providerId="ADAL" clId="{5C2CD6D4-C7A9-4CEF-AA9C-BC2977F70622}" dt="2024-02-23T15:32:09.917" v="71465"/>
          <ac:spMkLst>
            <pc:docMk/>
            <pc:sldMk cId="2564153488" sldId="2147483607"/>
            <ac:spMk id="4" creationId="{D046A7B9-FBC8-3664-2D5D-651DF683D353}"/>
          </ac:spMkLst>
        </pc:spChg>
        <pc:spChg chg="mod">
          <ac:chgData name="Abdi, Adnan" userId="503e002c-9b3b-4180-87fb-acabeb2b158a" providerId="ADAL" clId="{5C2CD6D4-C7A9-4CEF-AA9C-BC2977F70622}" dt="2024-02-21T07:57:24.978" v="31211" actId="20577"/>
          <ac:spMkLst>
            <pc:docMk/>
            <pc:sldMk cId="2564153488" sldId="2147483607"/>
            <ac:spMk id="5" creationId="{7A4585FA-F6A3-1319-768E-EAB36FB8499E}"/>
          </ac:spMkLst>
        </pc:spChg>
        <pc:spChg chg="mod">
          <ac:chgData name="Abdi, Adnan" userId="503e002c-9b3b-4180-87fb-acabeb2b158a" providerId="ADAL" clId="{5C2CD6D4-C7A9-4CEF-AA9C-BC2977F70622}" dt="2024-02-22T14:46:08.262" v="58278" actId="14100"/>
          <ac:spMkLst>
            <pc:docMk/>
            <pc:sldMk cId="2564153488" sldId="2147483607"/>
            <ac:spMk id="6" creationId="{A0FD8DE8-7502-D220-4EDD-0CD169211AB5}"/>
          </ac:spMkLst>
        </pc:spChg>
        <pc:spChg chg="add mod">
          <ac:chgData name="Abdi, Adnan" userId="503e002c-9b3b-4180-87fb-acabeb2b158a" providerId="ADAL" clId="{5C2CD6D4-C7A9-4CEF-AA9C-BC2977F70622}" dt="2024-02-23T18:39:40.243" v="71580"/>
          <ac:spMkLst>
            <pc:docMk/>
            <pc:sldMk cId="2564153488" sldId="2147483607"/>
            <ac:spMk id="20" creationId="{80408C76-F398-7643-4606-2E0DC43105CC}"/>
          </ac:spMkLst>
        </pc:spChg>
        <pc:spChg chg="mod">
          <ac:chgData name="Abdi, Adnan" userId="503e002c-9b3b-4180-87fb-acabeb2b158a" providerId="ADAL" clId="{5C2CD6D4-C7A9-4CEF-AA9C-BC2977F70622}" dt="2024-02-23T14:45:54.724" v="71149" actId="20577"/>
          <ac:spMkLst>
            <pc:docMk/>
            <pc:sldMk cId="2564153488" sldId="2147483607"/>
            <ac:spMk id="49" creationId="{B5F23909-0CE2-4378-6026-F81A261AE437}"/>
          </ac:spMkLst>
        </pc:spChg>
        <pc:spChg chg="mod">
          <ac:chgData name="Abdi, Adnan" userId="503e002c-9b3b-4180-87fb-acabeb2b158a" providerId="ADAL" clId="{5C2CD6D4-C7A9-4CEF-AA9C-BC2977F70622}" dt="2024-02-23T15:01:00.007" v="71437" actId="1035"/>
          <ac:spMkLst>
            <pc:docMk/>
            <pc:sldMk cId="2564153488" sldId="2147483607"/>
            <ac:spMk id="112" creationId="{4445CFC4-7A3A-77CD-55B9-50106524C321}"/>
          </ac:spMkLst>
        </pc:spChg>
        <pc:spChg chg="mod">
          <ac:chgData name="Abdi, Adnan" userId="503e002c-9b3b-4180-87fb-acabeb2b158a" providerId="ADAL" clId="{5C2CD6D4-C7A9-4CEF-AA9C-BC2977F70622}" dt="2024-02-23T15:01:24.286" v="71440" actId="14100"/>
          <ac:spMkLst>
            <pc:docMk/>
            <pc:sldMk cId="2564153488" sldId="2147483607"/>
            <ac:spMk id="115" creationId="{632629E1-F4F8-FAF1-B86A-057578428D77}"/>
          </ac:spMkLst>
        </pc:spChg>
        <pc:spChg chg="del mod">
          <ac:chgData name="Abdi, Adnan" userId="503e002c-9b3b-4180-87fb-acabeb2b158a" providerId="ADAL" clId="{5C2CD6D4-C7A9-4CEF-AA9C-BC2977F70622}" dt="2024-02-23T14:43:00.907" v="71108"/>
          <ac:spMkLst>
            <pc:docMk/>
            <pc:sldMk cId="2564153488" sldId="2147483607"/>
            <ac:spMk id="134" creationId="{1C2B6742-FCDE-2122-61D9-014EBDE26E22}"/>
          </ac:spMkLst>
        </pc:spChg>
        <pc:cxnChg chg="mod">
          <ac:chgData name="Abdi, Adnan" userId="503e002c-9b3b-4180-87fb-acabeb2b158a" providerId="ADAL" clId="{5C2CD6D4-C7A9-4CEF-AA9C-BC2977F70622}" dt="2024-02-23T14:43:07.464" v="71118" actId="14100"/>
          <ac:cxnSpMkLst>
            <pc:docMk/>
            <pc:sldMk cId="2564153488" sldId="2147483607"/>
            <ac:cxnSpMk id="117" creationId="{7B20A710-EB12-88E8-A5D7-A494D6B2B3E3}"/>
          </ac:cxnSpMkLst>
        </pc:cxnChg>
      </pc:sldChg>
      <pc:sldChg chg="addSp delSp modSp mod">
        <pc:chgData name="Abdi, Adnan" userId="503e002c-9b3b-4180-87fb-acabeb2b158a" providerId="ADAL" clId="{5C2CD6D4-C7A9-4CEF-AA9C-BC2977F70622}" dt="2024-02-26T09:10:07.559" v="73103"/>
        <pc:sldMkLst>
          <pc:docMk/>
          <pc:sldMk cId="1453192854" sldId="2147483608"/>
        </pc:sldMkLst>
        <pc:spChg chg="mod ord">
          <ac:chgData name="Abdi, Adnan" userId="503e002c-9b3b-4180-87fb-acabeb2b158a" providerId="ADAL" clId="{5C2CD6D4-C7A9-4CEF-AA9C-BC2977F70622}" dt="2024-02-22T14:47:54.567" v="58288" actId="14100"/>
          <ac:spMkLst>
            <pc:docMk/>
            <pc:sldMk cId="1453192854" sldId="2147483608"/>
            <ac:spMk id="2" creationId="{9094C8BF-857F-D4FA-7FAF-9967FF750788}"/>
          </ac:spMkLst>
        </pc:spChg>
        <pc:spChg chg="mod ord">
          <ac:chgData name="Abdi, Adnan" userId="503e002c-9b3b-4180-87fb-acabeb2b158a" providerId="ADAL" clId="{5C2CD6D4-C7A9-4CEF-AA9C-BC2977F70622}" dt="2024-02-26T09:10:07.559" v="73103"/>
          <ac:spMkLst>
            <pc:docMk/>
            <pc:sldMk cId="1453192854" sldId="2147483608"/>
            <ac:spMk id="7" creationId="{A59E9125-7BBD-5E41-2E07-326235B97A54}"/>
          </ac:spMkLst>
        </pc:spChg>
        <pc:spChg chg="del mod ord">
          <ac:chgData name="Abdi, Adnan" userId="503e002c-9b3b-4180-87fb-acabeb2b158a" providerId="ADAL" clId="{5C2CD6D4-C7A9-4CEF-AA9C-BC2977F70622}" dt="2024-02-22T09:16:12.415" v="55864" actId="478"/>
          <ac:spMkLst>
            <pc:docMk/>
            <pc:sldMk cId="1453192854" sldId="2147483608"/>
            <ac:spMk id="8" creationId="{72D5D073-2FB8-23E6-6BBB-A2C7B9EA710E}"/>
          </ac:spMkLst>
        </pc:spChg>
        <pc:spChg chg="add del mod">
          <ac:chgData name="Abdi, Adnan" userId="503e002c-9b3b-4180-87fb-acabeb2b158a" providerId="ADAL" clId="{5C2CD6D4-C7A9-4CEF-AA9C-BC2977F70622}" dt="2024-02-21T15:12:26.129" v="42788" actId="478"/>
          <ac:spMkLst>
            <pc:docMk/>
            <pc:sldMk cId="1453192854" sldId="2147483608"/>
            <ac:spMk id="19" creationId="{A396C725-E78B-A135-A191-24E0073A596D}"/>
          </ac:spMkLst>
        </pc:spChg>
        <pc:spChg chg="add del mod">
          <ac:chgData name="Abdi, Adnan" userId="503e002c-9b3b-4180-87fb-acabeb2b158a" providerId="ADAL" clId="{5C2CD6D4-C7A9-4CEF-AA9C-BC2977F70622}" dt="2024-02-21T15:12:43.792" v="42792" actId="478"/>
          <ac:spMkLst>
            <pc:docMk/>
            <pc:sldMk cId="1453192854" sldId="2147483608"/>
            <ac:spMk id="20" creationId="{2FAF24F8-56D3-39D2-1525-589348CD9CF5}"/>
          </ac:spMkLst>
        </pc:spChg>
        <pc:spChg chg="add del mod">
          <ac:chgData name="Abdi, Adnan" userId="503e002c-9b3b-4180-87fb-acabeb2b158a" providerId="ADAL" clId="{5C2CD6D4-C7A9-4CEF-AA9C-BC2977F70622}" dt="2024-02-21T15:13:01.776" v="42795" actId="478"/>
          <ac:spMkLst>
            <pc:docMk/>
            <pc:sldMk cId="1453192854" sldId="2147483608"/>
            <ac:spMk id="21" creationId="{802DA501-E80E-BF53-A74F-A3314E20218A}"/>
          </ac:spMkLst>
        </pc:spChg>
        <pc:spChg chg="add mod">
          <ac:chgData name="Abdi, Adnan" userId="503e002c-9b3b-4180-87fb-acabeb2b158a" providerId="ADAL" clId="{5C2CD6D4-C7A9-4CEF-AA9C-BC2977F70622}" dt="2024-02-21T17:49:49.044" v="51945" actId="208"/>
          <ac:spMkLst>
            <pc:docMk/>
            <pc:sldMk cId="1453192854" sldId="2147483608"/>
            <ac:spMk id="23" creationId="{4E3AD327-97EF-63C7-8C7C-D949812FCED6}"/>
          </ac:spMkLst>
        </pc:spChg>
        <pc:spChg chg="mod ord topLvl">
          <ac:chgData name="Abdi, Adnan" userId="503e002c-9b3b-4180-87fb-acabeb2b158a" providerId="ADAL" clId="{5C2CD6D4-C7A9-4CEF-AA9C-BC2977F70622}" dt="2024-02-21T15:11:38.756" v="42781" actId="1036"/>
          <ac:spMkLst>
            <pc:docMk/>
            <pc:sldMk cId="1453192854" sldId="2147483608"/>
            <ac:spMk id="28" creationId="{2A3CC747-D036-780D-A83D-82D19598FFFF}"/>
          </ac:spMkLst>
        </pc:spChg>
        <pc:spChg chg="mod ord topLvl">
          <ac:chgData name="Abdi, Adnan" userId="503e002c-9b3b-4180-87fb-acabeb2b158a" providerId="ADAL" clId="{5C2CD6D4-C7A9-4CEF-AA9C-BC2977F70622}" dt="2024-02-21T17:49:44.438" v="51944" actId="207"/>
          <ac:spMkLst>
            <pc:docMk/>
            <pc:sldMk cId="1453192854" sldId="2147483608"/>
            <ac:spMk id="30" creationId="{46AE7763-FDD8-F724-7D3A-451486D85177}"/>
          </ac:spMkLst>
        </pc:spChg>
        <pc:spChg chg="mod ord topLvl">
          <ac:chgData name="Abdi, Adnan" userId="503e002c-9b3b-4180-87fb-acabeb2b158a" providerId="ADAL" clId="{5C2CD6D4-C7A9-4CEF-AA9C-BC2977F70622}" dt="2024-02-21T17:49:44.438" v="51944" actId="207"/>
          <ac:spMkLst>
            <pc:docMk/>
            <pc:sldMk cId="1453192854" sldId="2147483608"/>
            <ac:spMk id="31" creationId="{EA792194-A2E1-C7CE-5769-3FDDE7FAC180}"/>
          </ac:spMkLst>
        </pc:spChg>
        <pc:spChg chg="mod ord topLvl">
          <ac:chgData name="Abdi, Adnan" userId="503e002c-9b3b-4180-87fb-acabeb2b158a" providerId="ADAL" clId="{5C2CD6D4-C7A9-4CEF-AA9C-BC2977F70622}" dt="2024-02-21T17:49:44.438" v="51944" actId="207"/>
          <ac:spMkLst>
            <pc:docMk/>
            <pc:sldMk cId="1453192854" sldId="2147483608"/>
            <ac:spMk id="32" creationId="{3D80C78B-C36B-B6F3-DAB6-B246695988F7}"/>
          </ac:spMkLst>
        </pc:spChg>
        <pc:spChg chg="mod ord topLvl">
          <ac:chgData name="Abdi, Adnan" userId="503e002c-9b3b-4180-87fb-acabeb2b158a" providerId="ADAL" clId="{5C2CD6D4-C7A9-4CEF-AA9C-BC2977F70622}" dt="2024-02-21T17:52:37.659" v="52898" actId="208"/>
          <ac:spMkLst>
            <pc:docMk/>
            <pc:sldMk cId="1453192854" sldId="2147483608"/>
            <ac:spMk id="33" creationId="{41BB3F0C-F6BF-C46F-D735-76B535428440}"/>
          </ac:spMkLst>
        </pc:spChg>
        <pc:spChg chg="mod ord topLvl">
          <ac:chgData name="Abdi, Adnan" userId="503e002c-9b3b-4180-87fb-acabeb2b158a" providerId="ADAL" clId="{5C2CD6D4-C7A9-4CEF-AA9C-BC2977F70622}" dt="2024-02-21T17:52:37.659" v="52898" actId="208"/>
          <ac:spMkLst>
            <pc:docMk/>
            <pc:sldMk cId="1453192854" sldId="2147483608"/>
            <ac:spMk id="34" creationId="{FD6D485F-E772-FAF7-09FD-ACE19656E9D7}"/>
          </ac:spMkLst>
        </pc:spChg>
        <pc:spChg chg="mod ord topLvl">
          <ac:chgData name="Abdi, Adnan" userId="503e002c-9b3b-4180-87fb-acabeb2b158a" providerId="ADAL" clId="{5C2CD6D4-C7A9-4CEF-AA9C-BC2977F70622}" dt="2024-02-21T15:11:25.958" v="42666"/>
          <ac:spMkLst>
            <pc:docMk/>
            <pc:sldMk cId="1453192854" sldId="2147483608"/>
            <ac:spMk id="38" creationId="{17626B5F-1F6B-90EA-490A-F19BBBF9057C}"/>
          </ac:spMkLst>
        </pc:spChg>
        <pc:spChg chg="mod ord topLvl">
          <ac:chgData name="Abdi, Adnan" userId="503e002c-9b3b-4180-87fb-acabeb2b158a" providerId="ADAL" clId="{5C2CD6D4-C7A9-4CEF-AA9C-BC2977F70622}" dt="2024-02-21T15:11:25.960" v="42674"/>
          <ac:spMkLst>
            <pc:docMk/>
            <pc:sldMk cId="1453192854" sldId="2147483608"/>
            <ac:spMk id="42" creationId="{9453CE2C-EF7F-6738-5358-7905570F08F4}"/>
          </ac:spMkLst>
        </pc:spChg>
        <pc:spChg chg="mod ord topLvl">
          <ac:chgData name="Abdi, Adnan" userId="503e002c-9b3b-4180-87fb-acabeb2b158a" providerId="ADAL" clId="{5C2CD6D4-C7A9-4CEF-AA9C-BC2977F70622}" dt="2024-02-21T15:11:25.960" v="42676"/>
          <ac:spMkLst>
            <pc:docMk/>
            <pc:sldMk cId="1453192854" sldId="2147483608"/>
            <ac:spMk id="47" creationId="{17FE95C5-608A-FB87-ABC8-2CBBC791E498}"/>
          </ac:spMkLst>
        </pc:spChg>
        <pc:spChg chg="mod ord topLvl">
          <ac:chgData name="Abdi, Adnan" userId="503e002c-9b3b-4180-87fb-acabeb2b158a" providerId="ADAL" clId="{5C2CD6D4-C7A9-4CEF-AA9C-BC2977F70622}" dt="2024-02-21T15:17:09.535" v="43278" actId="207"/>
          <ac:spMkLst>
            <pc:docMk/>
            <pc:sldMk cId="1453192854" sldId="2147483608"/>
            <ac:spMk id="52" creationId="{F7E336FA-D192-DE4D-67A7-B7DD0629D0B2}"/>
          </ac:spMkLst>
        </pc:spChg>
        <pc:spChg chg="add del">
          <ac:chgData name="Abdi, Adnan" userId="503e002c-9b3b-4180-87fb-acabeb2b158a" providerId="ADAL" clId="{5C2CD6D4-C7A9-4CEF-AA9C-BC2977F70622}" dt="2024-02-21T16:03:38.124" v="44849" actId="22"/>
          <ac:spMkLst>
            <pc:docMk/>
            <pc:sldMk cId="1453192854" sldId="2147483608"/>
            <ac:spMk id="54" creationId="{16BC02B9-5165-A9F1-ED88-0421A19E82AD}"/>
          </ac:spMkLst>
        </pc:spChg>
        <pc:spChg chg="mod ord topLvl">
          <ac:chgData name="Abdi, Adnan" userId="503e002c-9b3b-4180-87fb-acabeb2b158a" providerId="ADAL" clId="{5C2CD6D4-C7A9-4CEF-AA9C-BC2977F70622}" dt="2024-02-21T15:11:25.964" v="42690"/>
          <ac:spMkLst>
            <pc:docMk/>
            <pc:sldMk cId="1453192854" sldId="2147483608"/>
            <ac:spMk id="57" creationId="{18ED3A90-883C-1E87-6519-A722E977C3ED}"/>
          </ac:spMkLst>
        </pc:spChg>
        <pc:spChg chg="add mod">
          <ac:chgData name="Abdi, Adnan" userId="503e002c-9b3b-4180-87fb-acabeb2b158a" providerId="ADAL" clId="{5C2CD6D4-C7A9-4CEF-AA9C-BC2977F70622}" dt="2024-02-21T16:04:21.925" v="44869" actId="20577"/>
          <ac:spMkLst>
            <pc:docMk/>
            <pc:sldMk cId="1453192854" sldId="2147483608"/>
            <ac:spMk id="58" creationId="{65667080-FAFE-BDCE-83F2-F2DE058A76FF}"/>
          </ac:spMkLst>
        </pc:spChg>
        <pc:spChg chg="mod ord topLvl">
          <ac:chgData name="Abdi, Adnan" userId="503e002c-9b3b-4180-87fb-acabeb2b158a" providerId="ADAL" clId="{5C2CD6D4-C7A9-4CEF-AA9C-BC2977F70622}" dt="2024-02-21T15:11:25.966" v="42702"/>
          <ac:spMkLst>
            <pc:docMk/>
            <pc:sldMk cId="1453192854" sldId="2147483608"/>
            <ac:spMk id="63" creationId="{1E3EC0DD-3116-FFA9-AB46-25AE41B92555}"/>
          </ac:spMkLst>
        </pc:spChg>
        <pc:spChg chg="add mod">
          <ac:chgData name="Abdi, Adnan" userId="503e002c-9b3b-4180-87fb-acabeb2b158a" providerId="ADAL" clId="{5C2CD6D4-C7A9-4CEF-AA9C-BC2977F70622}" dt="2024-02-22T11:46:21.899" v="56390" actId="14100"/>
          <ac:spMkLst>
            <pc:docMk/>
            <pc:sldMk cId="1453192854" sldId="2147483608"/>
            <ac:spMk id="64" creationId="{0C69BA15-8F2C-589C-11E8-70B2E48014EC}"/>
          </ac:spMkLst>
        </pc:spChg>
        <pc:spChg chg="add mod">
          <ac:chgData name="Abdi, Adnan" userId="503e002c-9b3b-4180-87fb-acabeb2b158a" providerId="ADAL" clId="{5C2CD6D4-C7A9-4CEF-AA9C-BC2977F70622}" dt="2024-02-23T15:32:09.917" v="71465"/>
          <ac:spMkLst>
            <pc:docMk/>
            <pc:sldMk cId="1453192854" sldId="2147483608"/>
            <ac:spMk id="65" creationId="{5ADA5EF3-4AF8-DFAB-CF8E-1B802ADD0B33}"/>
          </ac:spMkLst>
        </pc:spChg>
        <pc:spChg chg="add mod">
          <ac:chgData name="Abdi, Adnan" userId="503e002c-9b3b-4180-87fb-acabeb2b158a" providerId="ADAL" clId="{5C2CD6D4-C7A9-4CEF-AA9C-BC2977F70622}" dt="2024-02-22T14:43:49.701" v="58267"/>
          <ac:spMkLst>
            <pc:docMk/>
            <pc:sldMk cId="1453192854" sldId="2147483608"/>
            <ac:spMk id="66" creationId="{6B19FDB4-D83D-9FAF-4404-E7A7946E581C}"/>
          </ac:spMkLst>
        </pc:spChg>
        <pc:spChg chg="mod ord topLvl">
          <ac:chgData name="Abdi, Adnan" userId="503e002c-9b3b-4180-87fb-acabeb2b158a" providerId="ADAL" clId="{5C2CD6D4-C7A9-4CEF-AA9C-BC2977F70622}" dt="2024-02-21T15:11:25.968" v="42707"/>
          <ac:spMkLst>
            <pc:docMk/>
            <pc:sldMk cId="1453192854" sldId="2147483608"/>
            <ac:spMk id="68" creationId="{D699C75F-1C71-636D-8770-6B76A3D0AD31}"/>
          </ac:spMkLst>
        </pc:spChg>
        <pc:spChg chg="mod topLvl">
          <ac:chgData name="Abdi, Adnan" userId="503e002c-9b3b-4180-87fb-acabeb2b158a" providerId="ADAL" clId="{5C2CD6D4-C7A9-4CEF-AA9C-BC2977F70622}" dt="2024-02-21T15:11:25.968" v="42708"/>
          <ac:spMkLst>
            <pc:docMk/>
            <pc:sldMk cId="1453192854" sldId="2147483608"/>
            <ac:spMk id="69" creationId="{19999F36-5095-4B94-AC39-6B9F509E5285}"/>
          </ac:spMkLst>
        </pc:spChg>
        <pc:spChg chg="mod topLvl">
          <ac:chgData name="Abdi, Adnan" userId="503e002c-9b3b-4180-87fb-acabeb2b158a" providerId="ADAL" clId="{5C2CD6D4-C7A9-4CEF-AA9C-BC2977F70622}" dt="2024-02-21T15:11:25.969" v="42709"/>
          <ac:spMkLst>
            <pc:docMk/>
            <pc:sldMk cId="1453192854" sldId="2147483608"/>
            <ac:spMk id="70" creationId="{CDADE754-2FB6-BCBA-2738-9F4076C79ADB}"/>
          </ac:spMkLst>
        </pc:spChg>
        <pc:spChg chg="mod ord topLvl">
          <ac:chgData name="Abdi, Adnan" userId="503e002c-9b3b-4180-87fb-acabeb2b158a" providerId="ADAL" clId="{5C2CD6D4-C7A9-4CEF-AA9C-BC2977F70622}" dt="2024-02-21T15:11:25.970" v="42715"/>
          <ac:spMkLst>
            <pc:docMk/>
            <pc:sldMk cId="1453192854" sldId="2147483608"/>
            <ac:spMk id="73" creationId="{CF77391E-C7C4-E5D9-FE10-73AC2BB03795}"/>
          </ac:spMkLst>
        </pc:spChg>
        <pc:spChg chg="add mod">
          <ac:chgData name="Abdi, Adnan" userId="503e002c-9b3b-4180-87fb-acabeb2b158a" providerId="ADAL" clId="{5C2CD6D4-C7A9-4CEF-AA9C-BC2977F70622}" dt="2024-02-23T14:37:49.374" v="70996"/>
          <ac:spMkLst>
            <pc:docMk/>
            <pc:sldMk cId="1453192854" sldId="2147483608"/>
            <ac:spMk id="74" creationId="{BC075435-5930-09A4-9E1E-9ED5355908C6}"/>
          </ac:spMkLst>
        </pc:spChg>
        <pc:spChg chg="mod topLvl">
          <ac:chgData name="Abdi, Adnan" userId="503e002c-9b3b-4180-87fb-acabeb2b158a" providerId="ADAL" clId="{5C2CD6D4-C7A9-4CEF-AA9C-BC2977F70622}" dt="2024-02-21T15:11:25.970" v="42716"/>
          <ac:spMkLst>
            <pc:docMk/>
            <pc:sldMk cId="1453192854" sldId="2147483608"/>
            <ac:spMk id="77" creationId="{89D3A9B3-8DE3-A4A9-089E-EEE0FBD3DD97}"/>
          </ac:spMkLst>
        </pc:spChg>
        <pc:spChg chg="mod ord topLvl">
          <ac:chgData name="Abdi, Adnan" userId="503e002c-9b3b-4180-87fb-acabeb2b158a" providerId="ADAL" clId="{5C2CD6D4-C7A9-4CEF-AA9C-BC2977F70622}" dt="2024-02-21T17:49:44.438" v="51944" actId="207"/>
          <ac:spMkLst>
            <pc:docMk/>
            <pc:sldMk cId="1453192854" sldId="2147483608"/>
            <ac:spMk id="80" creationId="{46B8F458-819B-5313-8A47-F4A1F73A6118}"/>
          </ac:spMkLst>
        </pc:spChg>
        <pc:spChg chg="mod ord topLvl">
          <ac:chgData name="Abdi, Adnan" userId="503e002c-9b3b-4180-87fb-acabeb2b158a" providerId="ADAL" clId="{5C2CD6D4-C7A9-4CEF-AA9C-BC2977F70622}" dt="2024-02-21T17:49:49.044" v="51945" actId="208"/>
          <ac:spMkLst>
            <pc:docMk/>
            <pc:sldMk cId="1453192854" sldId="2147483608"/>
            <ac:spMk id="87" creationId="{95F1A457-B792-A971-3E7B-2E85A08031DC}"/>
          </ac:spMkLst>
        </pc:spChg>
        <pc:spChg chg="mod ord topLvl">
          <ac:chgData name="Abdi, Adnan" userId="503e002c-9b3b-4180-87fb-acabeb2b158a" providerId="ADAL" clId="{5C2CD6D4-C7A9-4CEF-AA9C-BC2977F70622}" dt="2024-02-21T15:17:46.803" v="43294" actId="403"/>
          <ac:spMkLst>
            <pc:docMk/>
            <pc:sldMk cId="1453192854" sldId="2147483608"/>
            <ac:spMk id="88" creationId="{58E4D5D6-DAD2-6ADD-4ABC-39E51507D5A0}"/>
          </ac:spMkLst>
        </pc:spChg>
        <pc:spChg chg="mod">
          <ac:chgData name="Abdi, Adnan" userId="503e002c-9b3b-4180-87fb-acabeb2b158a" providerId="ADAL" clId="{5C2CD6D4-C7A9-4CEF-AA9C-BC2977F70622}" dt="2024-02-21T15:08:56.813" v="41899" actId="165"/>
          <ac:spMkLst>
            <pc:docMk/>
            <pc:sldMk cId="1453192854" sldId="2147483608"/>
            <ac:spMk id="99" creationId="{017D0283-3141-2A72-CB3F-A6DEBA2F5922}"/>
          </ac:spMkLst>
        </pc:spChg>
        <pc:spChg chg="mod ord topLvl">
          <ac:chgData name="Abdi, Adnan" userId="503e002c-9b3b-4180-87fb-acabeb2b158a" providerId="ADAL" clId="{5C2CD6D4-C7A9-4CEF-AA9C-BC2977F70622}" dt="2024-02-21T15:11:25.981" v="42750"/>
          <ac:spMkLst>
            <pc:docMk/>
            <pc:sldMk cId="1453192854" sldId="2147483608"/>
            <ac:spMk id="107" creationId="{B37C8B6F-538D-458D-E841-91B566BE0280}"/>
          </ac:spMkLst>
        </pc:spChg>
        <pc:spChg chg="mod ord topLvl">
          <ac:chgData name="Abdi, Adnan" userId="503e002c-9b3b-4180-87fb-acabeb2b158a" providerId="ADAL" clId="{5C2CD6D4-C7A9-4CEF-AA9C-BC2977F70622}" dt="2024-02-21T15:11:25.982" v="42752"/>
          <ac:spMkLst>
            <pc:docMk/>
            <pc:sldMk cId="1453192854" sldId="2147483608"/>
            <ac:spMk id="108" creationId="{2CA2CD6C-C083-C418-ACA9-A9C5E1FEE6BC}"/>
          </ac:spMkLst>
        </pc:spChg>
        <pc:grpChg chg="del mod">
          <ac:chgData name="Abdi, Adnan" userId="503e002c-9b3b-4180-87fb-acabeb2b158a" providerId="ADAL" clId="{5C2CD6D4-C7A9-4CEF-AA9C-BC2977F70622}" dt="2024-02-21T14:43:22.212" v="40233" actId="165"/>
          <ac:grpSpMkLst>
            <pc:docMk/>
            <pc:sldMk cId="1453192854" sldId="2147483608"/>
            <ac:grpSpMk id="10" creationId="{9E66CBA2-EFB5-E1B0-1AA1-1008FC892C2D}"/>
          </ac:grpSpMkLst>
        </pc:grpChg>
        <pc:grpChg chg="add del mod">
          <ac:chgData name="Abdi, Adnan" userId="503e002c-9b3b-4180-87fb-acabeb2b158a" providerId="ADAL" clId="{5C2CD6D4-C7A9-4CEF-AA9C-BC2977F70622}" dt="2024-02-21T15:08:56.813" v="41899" actId="165"/>
          <ac:grpSpMkLst>
            <pc:docMk/>
            <pc:sldMk cId="1453192854" sldId="2147483608"/>
            <ac:grpSpMk id="18" creationId="{D4B5C485-08DA-898B-E896-A1ED32150809}"/>
          </ac:grpSpMkLst>
        </pc:grpChg>
        <pc:grpChg chg="mod topLvl">
          <ac:chgData name="Abdi, Adnan" userId="503e002c-9b3b-4180-87fb-acabeb2b158a" providerId="ADAL" clId="{5C2CD6D4-C7A9-4CEF-AA9C-BC2977F70622}" dt="2024-02-21T15:11:25.977" v="42741"/>
          <ac:grpSpMkLst>
            <pc:docMk/>
            <pc:sldMk cId="1453192854" sldId="2147483608"/>
            <ac:grpSpMk id="97" creationId="{07B53712-C254-1BCC-2F7F-502F37E0CAC4}"/>
          </ac:grpSpMkLst>
        </pc:grpChg>
        <pc:graphicFrameChg chg="mod">
          <ac:chgData name="Abdi, Adnan" userId="503e002c-9b3b-4180-87fb-acabeb2b158a" providerId="ADAL" clId="{5C2CD6D4-C7A9-4CEF-AA9C-BC2977F70622}" dt="2024-02-21T15:11:25.990" v="42767"/>
          <ac:graphicFrameMkLst>
            <pc:docMk/>
            <pc:sldMk cId="1453192854" sldId="2147483608"/>
            <ac:graphicFrameMk id="3" creationId="{AD6081FB-9436-D5D8-CFEE-C7D9BA9B609E}"/>
          </ac:graphicFrameMkLst>
        </pc:graphicFrameChg>
        <pc:picChg chg="add mod topLvl">
          <ac:chgData name="Abdi, Adnan" userId="503e002c-9b3b-4180-87fb-acabeb2b158a" providerId="ADAL" clId="{5C2CD6D4-C7A9-4CEF-AA9C-BC2977F70622}" dt="2024-02-21T15:11:25.972" v="42724"/>
          <ac:picMkLst>
            <pc:docMk/>
            <pc:sldMk cId="1453192854" sldId="2147483608"/>
            <ac:picMk id="4" creationId="{06DD4B91-AB4B-718C-5E20-787FC5B99891}"/>
          </ac:picMkLst>
        </pc:picChg>
        <pc:picChg chg="add del mod">
          <ac:chgData name="Abdi, Adnan" userId="503e002c-9b3b-4180-87fb-acabeb2b158a" providerId="ADAL" clId="{5C2CD6D4-C7A9-4CEF-AA9C-BC2977F70622}" dt="2024-02-21T14:42:27.255" v="40225" actId="478"/>
          <ac:picMkLst>
            <pc:docMk/>
            <pc:sldMk cId="1453192854" sldId="2147483608"/>
            <ac:picMk id="5" creationId="{D10C195D-98D1-3C22-3A88-05E46A09EF14}"/>
          </ac:picMkLst>
        </pc:picChg>
        <pc:picChg chg="add mod topLvl">
          <ac:chgData name="Abdi, Adnan" userId="503e002c-9b3b-4180-87fb-acabeb2b158a" providerId="ADAL" clId="{5C2CD6D4-C7A9-4CEF-AA9C-BC2977F70622}" dt="2024-02-21T15:11:25.983" v="42755"/>
          <ac:picMkLst>
            <pc:docMk/>
            <pc:sldMk cId="1453192854" sldId="2147483608"/>
            <ac:picMk id="6" creationId="{985A48A8-DD74-2513-86A0-9D708D0793B2}"/>
          </ac:picMkLst>
        </pc:picChg>
        <pc:picChg chg="mod ord topLvl">
          <ac:chgData name="Abdi, Adnan" userId="503e002c-9b3b-4180-87fb-acabeb2b158a" providerId="ADAL" clId="{5C2CD6D4-C7A9-4CEF-AA9C-BC2977F70622}" dt="2024-02-21T15:11:25.965" v="42696"/>
          <ac:picMkLst>
            <pc:docMk/>
            <pc:sldMk cId="1453192854" sldId="2147483608"/>
            <ac:picMk id="9" creationId="{1BBA63A1-C960-39AA-DFFC-9EBBDEFE230C}"/>
          </ac:picMkLst>
        </pc:picChg>
        <pc:picChg chg="add mod topLvl">
          <ac:chgData name="Abdi, Adnan" userId="503e002c-9b3b-4180-87fb-acabeb2b158a" providerId="ADAL" clId="{5C2CD6D4-C7A9-4CEF-AA9C-BC2977F70622}" dt="2024-02-21T15:11:25.983" v="42756"/>
          <ac:picMkLst>
            <pc:docMk/>
            <pc:sldMk cId="1453192854" sldId="2147483608"/>
            <ac:picMk id="11" creationId="{8D760019-D03F-2AE0-6B8C-3242649B849F}"/>
          </ac:picMkLst>
        </pc:picChg>
        <pc:picChg chg="add mod topLvl">
          <ac:chgData name="Abdi, Adnan" userId="503e002c-9b3b-4180-87fb-acabeb2b158a" providerId="ADAL" clId="{5C2CD6D4-C7A9-4CEF-AA9C-BC2977F70622}" dt="2024-02-21T15:11:25.983" v="42757"/>
          <ac:picMkLst>
            <pc:docMk/>
            <pc:sldMk cId="1453192854" sldId="2147483608"/>
            <ac:picMk id="12" creationId="{E2B8E35E-4F6F-943E-889A-4BB4B23C054F}"/>
          </ac:picMkLst>
        </pc:picChg>
        <pc:picChg chg="add mod topLvl">
          <ac:chgData name="Abdi, Adnan" userId="503e002c-9b3b-4180-87fb-acabeb2b158a" providerId="ADAL" clId="{5C2CD6D4-C7A9-4CEF-AA9C-BC2977F70622}" dt="2024-02-21T15:11:25.984" v="42758"/>
          <ac:picMkLst>
            <pc:docMk/>
            <pc:sldMk cId="1453192854" sldId="2147483608"/>
            <ac:picMk id="13" creationId="{6C64928D-CFD9-89A7-4355-217023BD60CB}"/>
          </ac:picMkLst>
        </pc:picChg>
        <pc:picChg chg="add mod topLvl">
          <ac:chgData name="Abdi, Adnan" userId="503e002c-9b3b-4180-87fb-acabeb2b158a" providerId="ADAL" clId="{5C2CD6D4-C7A9-4CEF-AA9C-BC2977F70622}" dt="2024-02-21T15:11:25.984" v="42759"/>
          <ac:picMkLst>
            <pc:docMk/>
            <pc:sldMk cId="1453192854" sldId="2147483608"/>
            <ac:picMk id="14" creationId="{9CF22B4D-C8A9-B64E-9DF2-B0D33B0980CB}"/>
          </ac:picMkLst>
        </pc:picChg>
        <pc:picChg chg="add mod topLvl">
          <ac:chgData name="Abdi, Adnan" userId="503e002c-9b3b-4180-87fb-acabeb2b158a" providerId="ADAL" clId="{5C2CD6D4-C7A9-4CEF-AA9C-BC2977F70622}" dt="2024-02-21T15:11:25.984" v="42760"/>
          <ac:picMkLst>
            <pc:docMk/>
            <pc:sldMk cId="1453192854" sldId="2147483608"/>
            <ac:picMk id="15" creationId="{B35D99D3-3E40-7320-D0E4-3A8FD51B0AE2}"/>
          </ac:picMkLst>
        </pc:picChg>
        <pc:picChg chg="add mod topLvl">
          <ac:chgData name="Abdi, Adnan" userId="503e002c-9b3b-4180-87fb-acabeb2b158a" providerId="ADAL" clId="{5C2CD6D4-C7A9-4CEF-AA9C-BC2977F70622}" dt="2024-02-21T15:11:25.985" v="42761"/>
          <ac:picMkLst>
            <pc:docMk/>
            <pc:sldMk cId="1453192854" sldId="2147483608"/>
            <ac:picMk id="16" creationId="{8266FF7A-B2FA-080D-98D4-DB1D2D2738F5}"/>
          </ac:picMkLst>
        </pc:picChg>
        <pc:picChg chg="add mod ord topLvl">
          <ac:chgData name="Abdi, Adnan" userId="503e002c-9b3b-4180-87fb-acabeb2b158a" providerId="ADAL" clId="{5C2CD6D4-C7A9-4CEF-AA9C-BC2977F70622}" dt="2024-02-21T15:11:25.985" v="42763"/>
          <ac:picMkLst>
            <pc:docMk/>
            <pc:sldMk cId="1453192854" sldId="2147483608"/>
            <ac:picMk id="17" creationId="{BC3AA934-93A6-9CC6-0BC9-A920DCB1E17A}"/>
          </ac:picMkLst>
        </pc:picChg>
        <pc:picChg chg="mod ord topLvl">
          <ac:chgData name="Abdi, Adnan" userId="503e002c-9b3b-4180-87fb-acabeb2b158a" providerId="ADAL" clId="{5C2CD6D4-C7A9-4CEF-AA9C-BC2977F70622}" dt="2024-02-21T15:11:25.974" v="42733"/>
          <ac:picMkLst>
            <pc:docMk/>
            <pc:sldMk cId="1453192854" sldId="2147483608"/>
            <ac:picMk id="24" creationId="{EE3C4035-0061-920E-DD73-63432C5B04B2}"/>
          </ac:picMkLst>
        </pc:picChg>
        <pc:picChg chg="mod topLvl">
          <ac:chgData name="Abdi, Adnan" userId="503e002c-9b3b-4180-87fb-acabeb2b158a" providerId="ADAL" clId="{5C2CD6D4-C7A9-4CEF-AA9C-BC2977F70622}" dt="2024-02-21T15:11:25.976" v="42737"/>
          <ac:picMkLst>
            <pc:docMk/>
            <pc:sldMk cId="1453192854" sldId="2147483608"/>
            <ac:picMk id="29" creationId="{8F891D59-9B06-05E6-F997-237066A5828E}"/>
          </ac:picMkLst>
        </pc:picChg>
        <pc:picChg chg="mod ord topLvl">
          <ac:chgData name="Abdi, Adnan" userId="503e002c-9b3b-4180-87fb-acabeb2b158a" providerId="ADAL" clId="{5C2CD6D4-C7A9-4CEF-AA9C-BC2977F70622}" dt="2024-02-21T15:11:25.958" v="42668"/>
          <ac:picMkLst>
            <pc:docMk/>
            <pc:sldMk cId="1453192854" sldId="2147483608"/>
            <ac:picMk id="39" creationId="{5D4A5EB2-EB1A-40B0-7B1E-5C5B9EC75D2A}"/>
          </ac:picMkLst>
        </pc:picChg>
        <pc:picChg chg="mod ord topLvl">
          <ac:chgData name="Abdi, Adnan" userId="503e002c-9b3b-4180-87fb-acabeb2b158a" providerId="ADAL" clId="{5C2CD6D4-C7A9-4CEF-AA9C-BC2977F70622}" dt="2024-02-21T15:11:25.959" v="42670"/>
          <ac:picMkLst>
            <pc:docMk/>
            <pc:sldMk cId="1453192854" sldId="2147483608"/>
            <ac:picMk id="40" creationId="{EEA4DA73-6965-81DE-30E6-37835E8FBF69}"/>
          </ac:picMkLst>
        </pc:picChg>
        <pc:picChg chg="mod ord topLvl">
          <ac:chgData name="Abdi, Adnan" userId="503e002c-9b3b-4180-87fb-acabeb2b158a" providerId="ADAL" clId="{5C2CD6D4-C7A9-4CEF-AA9C-BC2977F70622}" dt="2024-02-21T15:11:25.959" v="42672"/>
          <ac:picMkLst>
            <pc:docMk/>
            <pc:sldMk cId="1453192854" sldId="2147483608"/>
            <ac:picMk id="41" creationId="{C8D74F5B-8408-E687-9F3B-255483CD13C9}"/>
          </ac:picMkLst>
        </pc:picChg>
        <pc:picChg chg="mod ord topLvl">
          <ac:chgData name="Abdi, Adnan" userId="503e002c-9b3b-4180-87fb-acabeb2b158a" providerId="ADAL" clId="{5C2CD6D4-C7A9-4CEF-AA9C-BC2977F70622}" dt="2024-02-21T15:11:25.960" v="42678"/>
          <ac:picMkLst>
            <pc:docMk/>
            <pc:sldMk cId="1453192854" sldId="2147483608"/>
            <ac:picMk id="48" creationId="{4E1027DF-D673-E7F4-C255-71640169779C}"/>
          </ac:picMkLst>
        </pc:picChg>
        <pc:picChg chg="mod ord topLvl">
          <ac:chgData name="Abdi, Adnan" userId="503e002c-9b3b-4180-87fb-acabeb2b158a" providerId="ADAL" clId="{5C2CD6D4-C7A9-4CEF-AA9C-BC2977F70622}" dt="2024-02-21T15:11:25.961" v="42680"/>
          <ac:picMkLst>
            <pc:docMk/>
            <pc:sldMk cId="1453192854" sldId="2147483608"/>
            <ac:picMk id="49" creationId="{BD5EC02A-9341-7DEE-480A-6EA913A5580B}"/>
          </ac:picMkLst>
        </pc:picChg>
        <pc:picChg chg="mod ord topLvl">
          <ac:chgData name="Abdi, Adnan" userId="503e002c-9b3b-4180-87fb-acabeb2b158a" providerId="ADAL" clId="{5C2CD6D4-C7A9-4CEF-AA9C-BC2977F70622}" dt="2024-02-21T15:11:25.962" v="42684"/>
          <ac:picMkLst>
            <pc:docMk/>
            <pc:sldMk cId="1453192854" sldId="2147483608"/>
            <ac:picMk id="53" creationId="{03D726D8-78EA-69C4-FFC0-2DC8715A42E9}"/>
          </ac:picMkLst>
        </pc:picChg>
        <pc:picChg chg="mod ord topLvl">
          <ac:chgData name="Abdi, Adnan" userId="503e002c-9b3b-4180-87fb-acabeb2b158a" providerId="ADAL" clId="{5C2CD6D4-C7A9-4CEF-AA9C-BC2977F70622}" dt="2024-02-21T15:11:25.962" v="42686"/>
          <ac:picMkLst>
            <pc:docMk/>
            <pc:sldMk cId="1453192854" sldId="2147483608"/>
            <ac:picMk id="55" creationId="{E6A599AF-C34F-4355-0B35-4848293F2FFA}"/>
          </ac:picMkLst>
        </pc:picChg>
        <pc:picChg chg="mod ord topLvl">
          <ac:chgData name="Abdi, Adnan" userId="503e002c-9b3b-4180-87fb-acabeb2b158a" providerId="ADAL" clId="{5C2CD6D4-C7A9-4CEF-AA9C-BC2977F70622}" dt="2024-02-21T15:11:25.963" v="42688"/>
          <ac:picMkLst>
            <pc:docMk/>
            <pc:sldMk cId="1453192854" sldId="2147483608"/>
            <ac:picMk id="56" creationId="{E32F7C7B-2E83-5D05-8E99-823F4A7A7FE2}"/>
          </ac:picMkLst>
        </pc:picChg>
        <pc:picChg chg="mod ord topLvl">
          <ac:chgData name="Abdi, Adnan" userId="503e002c-9b3b-4180-87fb-acabeb2b158a" providerId="ADAL" clId="{5C2CD6D4-C7A9-4CEF-AA9C-BC2977F70622}" dt="2024-02-21T15:11:25.964" v="42692"/>
          <ac:picMkLst>
            <pc:docMk/>
            <pc:sldMk cId="1453192854" sldId="2147483608"/>
            <ac:picMk id="59" creationId="{6763FD39-DE97-C434-B9F1-7F9BA0C6CB30}"/>
          </ac:picMkLst>
        </pc:picChg>
        <pc:picChg chg="mod ord topLvl">
          <ac:chgData name="Abdi, Adnan" userId="503e002c-9b3b-4180-87fb-acabeb2b158a" providerId="ADAL" clId="{5C2CD6D4-C7A9-4CEF-AA9C-BC2977F70622}" dt="2024-02-21T15:11:25.965" v="42694"/>
          <ac:picMkLst>
            <pc:docMk/>
            <pc:sldMk cId="1453192854" sldId="2147483608"/>
            <ac:picMk id="60" creationId="{CAB0F587-D7E2-AA63-6691-91D993419E2B}"/>
          </ac:picMkLst>
        </pc:picChg>
        <pc:picChg chg="mod ord topLvl">
          <ac:chgData name="Abdi, Adnan" userId="503e002c-9b3b-4180-87fb-acabeb2b158a" providerId="ADAL" clId="{5C2CD6D4-C7A9-4CEF-AA9C-BC2977F70622}" dt="2024-02-21T15:11:25.965" v="42698"/>
          <ac:picMkLst>
            <pc:docMk/>
            <pc:sldMk cId="1453192854" sldId="2147483608"/>
            <ac:picMk id="61" creationId="{29BDA610-6BDD-29AF-97D0-BADE4EE55ECC}"/>
          </ac:picMkLst>
        </pc:picChg>
        <pc:picChg chg="mod ord topLvl">
          <ac:chgData name="Abdi, Adnan" userId="503e002c-9b3b-4180-87fb-acabeb2b158a" providerId="ADAL" clId="{5C2CD6D4-C7A9-4CEF-AA9C-BC2977F70622}" dt="2024-02-21T15:11:25.966" v="42700"/>
          <ac:picMkLst>
            <pc:docMk/>
            <pc:sldMk cId="1453192854" sldId="2147483608"/>
            <ac:picMk id="62" creationId="{C9D94FDC-07A9-3C70-B0DC-F8CC8EE32AC1}"/>
          </ac:picMkLst>
        </pc:picChg>
        <pc:picChg chg="mod ord topLvl">
          <ac:chgData name="Abdi, Adnan" userId="503e002c-9b3b-4180-87fb-acabeb2b158a" providerId="ADAL" clId="{5C2CD6D4-C7A9-4CEF-AA9C-BC2977F70622}" dt="2024-02-21T15:11:25.967" v="42705"/>
          <ac:picMkLst>
            <pc:docMk/>
            <pc:sldMk cId="1453192854" sldId="2147483608"/>
            <ac:picMk id="67" creationId="{C81E532A-1A94-1AA7-B4B4-72DC2DB24CCE}"/>
          </ac:picMkLst>
        </pc:picChg>
        <pc:picChg chg="mod ord topLvl">
          <ac:chgData name="Abdi, Adnan" userId="503e002c-9b3b-4180-87fb-acabeb2b158a" providerId="ADAL" clId="{5C2CD6D4-C7A9-4CEF-AA9C-BC2977F70622}" dt="2024-02-21T15:11:25.969" v="42711"/>
          <ac:picMkLst>
            <pc:docMk/>
            <pc:sldMk cId="1453192854" sldId="2147483608"/>
            <ac:picMk id="71" creationId="{6E2CEE32-AC36-585E-B141-8F15FA3179B0}"/>
          </ac:picMkLst>
        </pc:picChg>
        <pc:picChg chg="mod ord topLvl">
          <ac:chgData name="Abdi, Adnan" userId="503e002c-9b3b-4180-87fb-acabeb2b158a" providerId="ADAL" clId="{5C2CD6D4-C7A9-4CEF-AA9C-BC2977F70622}" dt="2024-02-21T15:11:25.969" v="42713"/>
          <ac:picMkLst>
            <pc:docMk/>
            <pc:sldMk cId="1453192854" sldId="2147483608"/>
            <ac:picMk id="72" creationId="{61106378-5994-02C9-CFC0-F0827E845318}"/>
          </ac:picMkLst>
        </pc:picChg>
        <pc:picChg chg="mod topLvl">
          <ac:chgData name="Abdi, Adnan" userId="503e002c-9b3b-4180-87fb-acabeb2b158a" providerId="ADAL" clId="{5C2CD6D4-C7A9-4CEF-AA9C-BC2977F70622}" dt="2024-02-21T15:11:25.971" v="42717"/>
          <ac:picMkLst>
            <pc:docMk/>
            <pc:sldMk cId="1453192854" sldId="2147483608"/>
            <ac:picMk id="78" creationId="{C06B4A71-6078-6944-048B-AE0D9913446F}"/>
          </ac:picMkLst>
        </pc:picChg>
        <pc:picChg chg="mod topLvl">
          <ac:chgData name="Abdi, Adnan" userId="503e002c-9b3b-4180-87fb-acabeb2b158a" providerId="ADAL" clId="{5C2CD6D4-C7A9-4CEF-AA9C-BC2977F70622}" dt="2024-02-21T15:11:25.973" v="42725"/>
          <ac:picMkLst>
            <pc:docMk/>
            <pc:sldMk cId="1453192854" sldId="2147483608"/>
            <ac:picMk id="79" creationId="{B4E5958C-B2B0-935E-3730-9B0578D78EC8}"/>
          </ac:picMkLst>
        </pc:picChg>
        <pc:picChg chg="mod ord topLvl">
          <ac:chgData name="Abdi, Adnan" userId="503e002c-9b3b-4180-87fb-acabeb2b158a" providerId="ADAL" clId="{5C2CD6D4-C7A9-4CEF-AA9C-BC2977F70622}" dt="2024-02-21T15:11:25.971" v="42721"/>
          <ac:picMkLst>
            <pc:docMk/>
            <pc:sldMk cId="1453192854" sldId="2147483608"/>
            <ac:picMk id="81" creationId="{77F6C41D-47C2-947A-FA75-49E573A5E5FF}"/>
          </ac:picMkLst>
        </pc:picChg>
        <pc:picChg chg="mod ord topLvl">
          <ac:chgData name="Abdi, Adnan" userId="503e002c-9b3b-4180-87fb-acabeb2b158a" providerId="ADAL" clId="{5C2CD6D4-C7A9-4CEF-AA9C-BC2977F70622}" dt="2024-02-21T15:11:25.972" v="42723"/>
          <ac:picMkLst>
            <pc:docMk/>
            <pc:sldMk cId="1453192854" sldId="2147483608"/>
            <ac:picMk id="82" creationId="{A595D242-D4DA-C8CA-B6CC-01668612D56B}"/>
          </ac:picMkLst>
        </pc:picChg>
        <pc:picChg chg="mod ord topLvl">
          <ac:chgData name="Abdi, Adnan" userId="503e002c-9b3b-4180-87fb-acabeb2b158a" providerId="ADAL" clId="{5C2CD6D4-C7A9-4CEF-AA9C-BC2977F70622}" dt="2024-02-21T15:11:25.982" v="42754"/>
          <ac:picMkLst>
            <pc:docMk/>
            <pc:sldMk cId="1453192854" sldId="2147483608"/>
            <ac:picMk id="83" creationId="{2105F6C4-3E8F-64CC-7973-21E855A168E1}"/>
          </ac:picMkLst>
        </pc:picChg>
        <pc:picChg chg="mod ord topLvl">
          <ac:chgData name="Abdi, Adnan" userId="503e002c-9b3b-4180-87fb-acabeb2b158a" providerId="ADAL" clId="{5C2CD6D4-C7A9-4CEF-AA9C-BC2977F70622}" dt="2024-02-21T15:11:25.971" v="42719"/>
          <ac:picMkLst>
            <pc:docMk/>
            <pc:sldMk cId="1453192854" sldId="2147483608"/>
            <ac:picMk id="84" creationId="{0A139068-1C57-E50E-69B7-F851E4C24A11}"/>
          </ac:picMkLst>
        </pc:picChg>
        <pc:picChg chg="mod ord topLvl">
          <ac:chgData name="Abdi, Adnan" userId="503e002c-9b3b-4180-87fb-acabeb2b158a" providerId="ADAL" clId="{5C2CD6D4-C7A9-4CEF-AA9C-BC2977F70622}" dt="2024-02-21T15:11:25.973" v="42727"/>
          <ac:picMkLst>
            <pc:docMk/>
            <pc:sldMk cId="1453192854" sldId="2147483608"/>
            <ac:picMk id="85" creationId="{B7D7F8CB-07A1-D64A-26AD-8FD1B298D946}"/>
          </ac:picMkLst>
        </pc:picChg>
        <pc:picChg chg="mod topLvl">
          <ac:chgData name="Abdi, Adnan" userId="503e002c-9b3b-4180-87fb-acabeb2b158a" providerId="ADAL" clId="{5C2CD6D4-C7A9-4CEF-AA9C-BC2977F70622}" dt="2024-02-21T15:11:25.976" v="42738"/>
          <ac:picMkLst>
            <pc:docMk/>
            <pc:sldMk cId="1453192854" sldId="2147483608"/>
            <ac:picMk id="90" creationId="{17D685B2-BD0C-EAC7-669F-E7B8F956730B}"/>
          </ac:picMkLst>
        </pc:picChg>
        <pc:picChg chg="mod topLvl">
          <ac:chgData name="Abdi, Adnan" userId="503e002c-9b3b-4180-87fb-acabeb2b158a" providerId="ADAL" clId="{5C2CD6D4-C7A9-4CEF-AA9C-BC2977F70622}" dt="2024-02-21T15:11:25.975" v="42736"/>
          <ac:picMkLst>
            <pc:docMk/>
            <pc:sldMk cId="1453192854" sldId="2147483608"/>
            <ac:picMk id="91" creationId="{DF5B440D-26AA-058D-E22C-146D48243C22}"/>
          </ac:picMkLst>
        </pc:picChg>
        <pc:picChg chg="mod topLvl">
          <ac:chgData name="Abdi, Adnan" userId="503e002c-9b3b-4180-87fb-acabeb2b158a" providerId="ADAL" clId="{5C2CD6D4-C7A9-4CEF-AA9C-BC2977F70622}" dt="2024-02-21T15:11:25.975" v="42735"/>
          <ac:picMkLst>
            <pc:docMk/>
            <pc:sldMk cId="1453192854" sldId="2147483608"/>
            <ac:picMk id="93" creationId="{2251A654-632F-01B2-337C-98AAF4A16F8E}"/>
          </ac:picMkLst>
        </pc:picChg>
        <pc:picChg chg="mod topLvl">
          <ac:chgData name="Abdi, Adnan" userId="503e002c-9b3b-4180-87fb-acabeb2b158a" providerId="ADAL" clId="{5C2CD6D4-C7A9-4CEF-AA9C-BC2977F70622}" dt="2024-02-21T15:11:25.975" v="42734"/>
          <ac:picMkLst>
            <pc:docMk/>
            <pc:sldMk cId="1453192854" sldId="2147483608"/>
            <ac:picMk id="94" creationId="{9181011E-110A-BDA1-6220-BE150EC7A633}"/>
          </ac:picMkLst>
        </pc:picChg>
        <pc:picChg chg="mod topLvl">
          <ac:chgData name="Abdi, Adnan" userId="503e002c-9b3b-4180-87fb-acabeb2b158a" providerId="ADAL" clId="{5C2CD6D4-C7A9-4CEF-AA9C-BC2977F70622}" dt="2024-02-21T15:11:25.976" v="42739"/>
          <ac:picMkLst>
            <pc:docMk/>
            <pc:sldMk cId="1453192854" sldId="2147483608"/>
            <ac:picMk id="95" creationId="{756FA226-FBAA-1E5B-687F-57CF47651FDD}"/>
          </ac:picMkLst>
        </pc:picChg>
        <pc:picChg chg="mod topLvl">
          <ac:chgData name="Abdi, Adnan" userId="503e002c-9b3b-4180-87fb-acabeb2b158a" providerId="ADAL" clId="{5C2CD6D4-C7A9-4CEF-AA9C-BC2977F70622}" dt="2024-02-21T15:11:25.977" v="42740"/>
          <ac:picMkLst>
            <pc:docMk/>
            <pc:sldMk cId="1453192854" sldId="2147483608"/>
            <ac:picMk id="96" creationId="{B5E44FC4-7DEF-B07B-3B31-CA0180898FA2}"/>
          </ac:picMkLst>
        </pc:picChg>
        <pc:picChg chg="mod">
          <ac:chgData name="Abdi, Adnan" userId="503e002c-9b3b-4180-87fb-acabeb2b158a" providerId="ADAL" clId="{5C2CD6D4-C7A9-4CEF-AA9C-BC2977F70622}" dt="2024-02-21T15:08:56.813" v="41899" actId="165"/>
          <ac:picMkLst>
            <pc:docMk/>
            <pc:sldMk cId="1453192854" sldId="2147483608"/>
            <ac:picMk id="98" creationId="{AC589EBB-2E8B-DA1A-E34E-6F8714EC2CE6}"/>
          </ac:picMkLst>
        </pc:picChg>
        <pc:picChg chg="mod topLvl">
          <ac:chgData name="Abdi, Adnan" userId="503e002c-9b3b-4180-87fb-acabeb2b158a" providerId="ADAL" clId="{5C2CD6D4-C7A9-4CEF-AA9C-BC2977F70622}" dt="2024-02-21T15:11:25.978" v="42742"/>
          <ac:picMkLst>
            <pc:docMk/>
            <pc:sldMk cId="1453192854" sldId="2147483608"/>
            <ac:picMk id="100" creationId="{4FADB4D1-3685-610F-2F29-46CBC6E39C0B}"/>
          </ac:picMkLst>
        </pc:picChg>
        <pc:picChg chg="mod topLvl">
          <ac:chgData name="Abdi, Adnan" userId="503e002c-9b3b-4180-87fb-acabeb2b158a" providerId="ADAL" clId="{5C2CD6D4-C7A9-4CEF-AA9C-BC2977F70622}" dt="2024-02-21T15:11:25.978" v="42743"/>
          <ac:picMkLst>
            <pc:docMk/>
            <pc:sldMk cId="1453192854" sldId="2147483608"/>
            <ac:picMk id="101" creationId="{FE456544-EA21-C753-A14B-DC652CCAE1F3}"/>
          </ac:picMkLst>
        </pc:picChg>
        <pc:picChg chg="mod ord topLvl">
          <ac:chgData name="Abdi, Adnan" userId="503e002c-9b3b-4180-87fb-acabeb2b158a" providerId="ADAL" clId="{5C2CD6D4-C7A9-4CEF-AA9C-BC2977F70622}" dt="2024-02-21T15:11:25.978" v="42745"/>
          <ac:picMkLst>
            <pc:docMk/>
            <pc:sldMk cId="1453192854" sldId="2147483608"/>
            <ac:picMk id="102" creationId="{B63D8130-783E-5510-582F-D9962491AD67}"/>
          </ac:picMkLst>
        </pc:picChg>
        <pc:picChg chg="mod topLvl">
          <ac:chgData name="Abdi, Adnan" userId="503e002c-9b3b-4180-87fb-acabeb2b158a" providerId="ADAL" clId="{5C2CD6D4-C7A9-4CEF-AA9C-BC2977F70622}" dt="2024-02-21T15:11:25.979" v="42746"/>
          <ac:picMkLst>
            <pc:docMk/>
            <pc:sldMk cId="1453192854" sldId="2147483608"/>
            <ac:picMk id="103" creationId="{07109C93-9FAB-2FE0-4EC0-7DE66CBEE10A}"/>
          </ac:picMkLst>
        </pc:picChg>
        <pc:picChg chg="mod topLvl">
          <ac:chgData name="Abdi, Adnan" userId="503e002c-9b3b-4180-87fb-acabeb2b158a" providerId="ADAL" clId="{5C2CD6D4-C7A9-4CEF-AA9C-BC2977F70622}" dt="2024-02-21T15:11:25.980" v="42747"/>
          <ac:picMkLst>
            <pc:docMk/>
            <pc:sldMk cId="1453192854" sldId="2147483608"/>
            <ac:picMk id="104" creationId="{3D6CDDE1-785B-8443-23BD-C8587C13BED9}"/>
          </ac:picMkLst>
        </pc:picChg>
        <pc:picChg chg="mod topLvl">
          <ac:chgData name="Abdi, Adnan" userId="503e002c-9b3b-4180-87fb-acabeb2b158a" providerId="ADAL" clId="{5C2CD6D4-C7A9-4CEF-AA9C-BC2977F70622}" dt="2024-02-21T15:11:25.981" v="42748"/>
          <ac:picMkLst>
            <pc:docMk/>
            <pc:sldMk cId="1453192854" sldId="2147483608"/>
            <ac:picMk id="105" creationId="{8EE4FCCA-0E99-95DC-E38F-289F50D5F156}"/>
          </ac:picMkLst>
        </pc:picChg>
        <pc:picChg chg="mod topLvl">
          <ac:chgData name="Abdi, Adnan" userId="503e002c-9b3b-4180-87fb-acabeb2b158a" providerId="ADAL" clId="{5C2CD6D4-C7A9-4CEF-AA9C-BC2977F70622}" dt="2024-02-21T15:18:10.823" v="43295"/>
          <ac:picMkLst>
            <pc:docMk/>
            <pc:sldMk cId="1453192854" sldId="2147483608"/>
            <ac:picMk id="3078" creationId="{2B2D1DEA-DF0F-37D5-A893-8DE232E97259}"/>
          </ac:picMkLst>
        </pc:picChg>
        <pc:picChg chg="add">
          <ac:chgData name="Abdi, Adnan" userId="503e002c-9b3b-4180-87fb-acabeb2b158a" providerId="ADAL" clId="{5C2CD6D4-C7A9-4CEF-AA9C-BC2977F70622}" dt="2024-02-21T14:45:25.139" v="40246"/>
          <ac:picMkLst>
            <pc:docMk/>
            <pc:sldMk cId="1453192854" sldId="2147483608"/>
            <ac:picMk id="4098" creationId="{6A3D963E-DC9D-5B3E-D857-E74157D351A7}"/>
          </ac:picMkLst>
        </pc:picChg>
        <pc:cxnChg chg="add mod">
          <ac:chgData name="Abdi, Adnan" userId="503e002c-9b3b-4180-87fb-acabeb2b158a" providerId="ADAL" clId="{5C2CD6D4-C7A9-4CEF-AA9C-BC2977F70622}" dt="2024-02-21T15:14:32.742" v="42923" actId="1076"/>
          <ac:cxnSpMkLst>
            <pc:docMk/>
            <pc:sldMk cId="1453192854" sldId="2147483608"/>
            <ac:cxnSpMk id="22" creationId="{E4AED9E9-D772-B9A5-2570-D860F6E0941D}"/>
          </ac:cxnSpMkLst>
        </pc:cxnChg>
        <pc:cxnChg chg="mod ord topLvl">
          <ac:chgData name="Abdi, Adnan" userId="503e002c-9b3b-4180-87fb-acabeb2b158a" providerId="ADAL" clId="{5C2CD6D4-C7A9-4CEF-AA9C-BC2977F70622}" dt="2024-02-21T17:50:00.596" v="51947" actId="208"/>
          <ac:cxnSpMkLst>
            <pc:docMk/>
            <pc:sldMk cId="1453192854" sldId="2147483608"/>
            <ac:cxnSpMk id="35" creationId="{DFB16D3E-7CA9-5667-6DFB-41E49EFEEBD8}"/>
          </ac:cxnSpMkLst>
        </pc:cxnChg>
        <pc:cxnChg chg="mod ord topLvl">
          <ac:chgData name="Abdi, Adnan" userId="503e002c-9b3b-4180-87fb-acabeb2b158a" providerId="ADAL" clId="{5C2CD6D4-C7A9-4CEF-AA9C-BC2977F70622}" dt="2024-02-21T17:50:00.596" v="51947" actId="208"/>
          <ac:cxnSpMkLst>
            <pc:docMk/>
            <pc:sldMk cId="1453192854" sldId="2147483608"/>
            <ac:cxnSpMk id="36" creationId="{85A11148-F63C-F35D-311E-F14B7DBEFA4D}"/>
          </ac:cxnSpMkLst>
        </pc:cxnChg>
        <pc:cxnChg chg="mod ord topLvl">
          <ac:chgData name="Abdi, Adnan" userId="503e002c-9b3b-4180-87fb-acabeb2b158a" providerId="ADAL" clId="{5C2CD6D4-C7A9-4CEF-AA9C-BC2977F70622}" dt="2024-02-21T17:50:00.596" v="51947" actId="208"/>
          <ac:cxnSpMkLst>
            <pc:docMk/>
            <pc:sldMk cId="1453192854" sldId="2147483608"/>
            <ac:cxnSpMk id="37" creationId="{75974621-F633-8965-DE41-06CE99FF7DE3}"/>
          </ac:cxnSpMkLst>
        </pc:cxnChg>
        <pc:cxnChg chg="mod ord topLvl">
          <ac:chgData name="Abdi, Adnan" userId="503e002c-9b3b-4180-87fb-acabeb2b158a" providerId="ADAL" clId="{5C2CD6D4-C7A9-4CEF-AA9C-BC2977F70622}" dt="2024-02-21T15:11:25.954" v="42648"/>
          <ac:cxnSpMkLst>
            <pc:docMk/>
            <pc:sldMk cId="1453192854" sldId="2147483608"/>
            <ac:cxnSpMk id="86" creationId="{2862437A-5AEA-533C-8901-D5CD4463AB57}"/>
          </ac:cxnSpMkLst>
        </pc:cxnChg>
        <pc:cxnChg chg="mod ord topLvl">
          <ac:chgData name="Abdi, Adnan" userId="503e002c-9b3b-4180-87fb-acabeb2b158a" providerId="ADAL" clId="{5C2CD6D4-C7A9-4CEF-AA9C-BC2977F70622}" dt="2024-02-21T15:11:25.973" v="42729"/>
          <ac:cxnSpMkLst>
            <pc:docMk/>
            <pc:sldMk cId="1453192854" sldId="2147483608"/>
            <ac:cxnSpMk id="89" creationId="{3D1D08B6-4F37-675F-F286-2E034EC93956}"/>
          </ac:cxnSpMkLst>
        </pc:cxnChg>
      </pc:sldChg>
      <pc:sldChg chg="addSp delSp modSp add mod modClrScheme chgLayout">
        <pc:chgData name="Abdi, Adnan" userId="503e002c-9b3b-4180-87fb-acabeb2b158a" providerId="ADAL" clId="{5C2CD6D4-C7A9-4CEF-AA9C-BC2977F70622}" dt="2024-02-21T13:15:40.124" v="40215" actId="313"/>
        <pc:sldMkLst>
          <pc:docMk/>
          <pc:sldMk cId="1633419770" sldId="2147483608"/>
        </pc:sldMkLst>
        <pc:spChg chg="add mod ord">
          <ac:chgData name="Abdi, Adnan" userId="503e002c-9b3b-4180-87fb-acabeb2b158a" providerId="ADAL" clId="{5C2CD6D4-C7A9-4CEF-AA9C-BC2977F70622}" dt="2024-02-21T13:15:40.124" v="40215" actId="313"/>
          <ac:spMkLst>
            <pc:docMk/>
            <pc:sldMk cId="1633419770" sldId="2147483608"/>
            <ac:spMk id="2" creationId="{9094C8BF-857F-D4FA-7FAF-9967FF750788}"/>
          </ac:spMkLst>
        </pc:spChg>
        <pc:spChg chg="del">
          <ac:chgData name="Abdi, Adnan" userId="503e002c-9b3b-4180-87fb-acabeb2b158a" providerId="ADAL" clId="{5C2CD6D4-C7A9-4CEF-AA9C-BC2977F70622}" dt="2024-02-21T08:21:45.304" v="31239" actId="478"/>
          <ac:spMkLst>
            <pc:docMk/>
            <pc:sldMk cId="1633419770" sldId="2147483608"/>
            <ac:spMk id="4" creationId="{A86D1CF7-A227-DE4D-52C5-E70D5AE691F0}"/>
          </ac:spMkLst>
        </pc:spChg>
        <pc:spChg chg="add del mod ord">
          <ac:chgData name="Abdi, Adnan" userId="503e002c-9b3b-4180-87fb-acabeb2b158a" providerId="ADAL" clId="{5C2CD6D4-C7A9-4CEF-AA9C-BC2977F70622}" dt="2024-02-21T08:21:19.345" v="31229" actId="478"/>
          <ac:spMkLst>
            <pc:docMk/>
            <pc:sldMk cId="1633419770" sldId="2147483608"/>
            <ac:spMk id="5" creationId="{447FFC3F-5F9F-B982-6462-50C89D8F58D6}"/>
          </ac:spMkLst>
        </pc:spChg>
        <pc:spChg chg="add del mod ord">
          <ac:chgData name="Abdi, Adnan" userId="503e002c-9b3b-4180-87fb-acabeb2b158a" providerId="ADAL" clId="{5C2CD6D4-C7A9-4CEF-AA9C-BC2977F70622}" dt="2024-02-21T08:21:19.345" v="31229" actId="478"/>
          <ac:spMkLst>
            <pc:docMk/>
            <pc:sldMk cId="1633419770" sldId="2147483608"/>
            <ac:spMk id="6" creationId="{5A1DF6C2-8AB5-FBDA-9643-04187D75A3B6}"/>
          </ac:spMkLst>
        </pc:spChg>
        <pc:spChg chg="add mod ord">
          <ac:chgData name="Abdi, Adnan" userId="503e002c-9b3b-4180-87fb-acabeb2b158a" providerId="ADAL" clId="{5C2CD6D4-C7A9-4CEF-AA9C-BC2977F70622}" dt="2024-02-21T08:57:32.668" v="32440"/>
          <ac:spMkLst>
            <pc:docMk/>
            <pc:sldMk cId="1633419770" sldId="2147483608"/>
            <ac:spMk id="7" creationId="{A59E9125-7BBD-5E41-2E07-326235B97A54}"/>
          </ac:spMkLst>
        </pc:spChg>
        <pc:spChg chg="add mod ord">
          <ac:chgData name="Abdi, Adnan" userId="503e002c-9b3b-4180-87fb-acabeb2b158a" providerId="ADAL" clId="{5C2CD6D4-C7A9-4CEF-AA9C-BC2977F70622}" dt="2024-02-21T09:14:47.288" v="32538" actId="1076"/>
          <ac:spMkLst>
            <pc:docMk/>
            <pc:sldMk cId="1633419770" sldId="2147483608"/>
            <ac:spMk id="8" creationId="{72D5D073-2FB8-23E6-6BBB-A2C7B9EA710E}"/>
          </ac:spMkLst>
        </pc:spChg>
        <pc:spChg chg="add del">
          <ac:chgData name="Abdi, Adnan" userId="503e002c-9b3b-4180-87fb-acabeb2b158a" providerId="ADAL" clId="{5C2CD6D4-C7A9-4CEF-AA9C-BC2977F70622}" dt="2024-02-21T09:52:11.106" v="32861" actId="478"/>
          <ac:spMkLst>
            <pc:docMk/>
            <pc:sldMk cId="1633419770" sldId="2147483608"/>
            <ac:spMk id="27" creationId="{6C1374AB-DCE6-ED2F-9DED-1F359929FA6C}"/>
          </ac:spMkLst>
        </pc:spChg>
        <pc:spChg chg="add mod">
          <ac:chgData name="Abdi, Adnan" userId="503e002c-9b3b-4180-87fb-acabeb2b158a" providerId="ADAL" clId="{5C2CD6D4-C7A9-4CEF-AA9C-BC2977F70622}" dt="2024-02-21T11:34:26.681" v="33244" actId="14100"/>
          <ac:spMkLst>
            <pc:docMk/>
            <pc:sldMk cId="1633419770" sldId="2147483608"/>
            <ac:spMk id="28" creationId="{2A3CC747-D036-780D-A83D-82D19598FFFF}"/>
          </ac:spMkLst>
        </pc:spChg>
        <pc:spChg chg="mod ord">
          <ac:chgData name="Abdi, Adnan" userId="503e002c-9b3b-4180-87fb-acabeb2b158a" providerId="ADAL" clId="{5C2CD6D4-C7A9-4CEF-AA9C-BC2977F70622}" dt="2024-02-21T11:15:22.024" v="32894" actId="1036"/>
          <ac:spMkLst>
            <pc:docMk/>
            <pc:sldMk cId="1633419770" sldId="2147483608"/>
            <ac:spMk id="30" creationId="{46AE7763-FDD8-F724-7D3A-451486D85177}"/>
          </ac:spMkLst>
        </pc:spChg>
        <pc:spChg chg="mod ord">
          <ac:chgData name="Abdi, Adnan" userId="503e002c-9b3b-4180-87fb-acabeb2b158a" providerId="ADAL" clId="{5C2CD6D4-C7A9-4CEF-AA9C-BC2977F70622}" dt="2024-02-21T11:15:22.024" v="32894" actId="1036"/>
          <ac:spMkLst>
            <pc:docMk/>
            <pc:sldMk cId="1633419770" sldId="2147483608"/>
            <ac:spMk id="31" creationId="{EA792194-A2E1-C7CE-5769-3FDDE7FAC180}"/>
          </ac:spMkLst>
        </pc:spChg>
        <pc:spChg chg="mod ord">
          <ac:chgData name="Abdi, Adnan" userId="503e002c-9b3b-4180-87fb-acabeb2b158a" providerId="ADAL" clId="{5C2CD6D4-C7A9-4CEF-AA9C-BC2977F70622}" dt="2024-02-21T11:15:22.024" v="32894" actId="1036"/>
          <ac:spMkLst>
            <pc:docMk/>
            <pc:sldMk cId="1633419770" sldId="2147483608"/>
            <ac:spMk id="32" creationId="{3D80C78B-C36B-B6F3-DAB6-B246695988F7}"/>
          </ac:spMkLst>
        </pc:spChg>
        <pc:spChg chg="mod ord">
          <ac:chgData name="Abdi, Adnan" userId="503e002c-9b3b-4180-87fb-acabeb2b158a" providerId="ADAL" clId="{5C2CD6D4-C7A9-4CEF-AA9C-BC2977F70622}" dt="2024-02-21T11:15:22.024" v="32894" actId="1036"/>
          <ac:spMkLst>
            <pc:docMk/>
            <pc:sldMk cId="1633419770" sldId="2147483608"/>
            <ac:spMk id="33" creationId="{41BB3F0C-F6BF-C46F-D735-76B535428440}"/>
          </ac:spMkLst>
        </pc:spChg>
        <pc:spChg chg="mod ord">
          <ac:chgData name="Abdi, Adnan" userId="503e002c-9b3b-4180-87fb-acabeb2b158a" providerId="ADAL" clId="{5C2CD6D4-C7A9-4CEF-AA9C-BC2977F70622}" dt="2024-02-21T11:15:22.024" v="32894" actId="1036"/>
          <ac:spMkLst>
            <pc:docMk/>
            <pc:sldMk cId="1633419770" sldId="2147483608"/>
            <ac:spMk id="34" creationId="{FD6D485F-E772-FAF7-09FD-ACE19656E9D7}"/>
          </ac:spMkLst>
        </pc:spChg>
        <pc:spChg chg="mod ord">
          <ac:chgData name="Abdi, Adnan" userId="503e002c-9b3b-4180-87fb-acabeb2b158a" providerId="ADAL" clId="{5C2CD6D4-C7A9-4CEF-AA9C-BC2977F70622}" dt="2024-02-21T11:15:22.024" v="32894" actId="1036"/>
          <ac:spMkLst>
            <pc:docMk/>
            <pc:sldMk cId="1633419770" sldId="2147483608"/>
            <ac:spMk id="38" creationId="{17626B5F-1F6B-90EA-490A-F19BBBF9057C}"/>
          </ac:spMkLst>
        </pc:spChg>
        <pc:spChg chg="mod ord">
          <ac:chgData name="Abdi, Adnan" userId="503e002c-9b3b-4180-87fb-acabeb2b158a" providerId="ADAL" clId="{5C2CD6D4-C7A9-4CEF-AA9C-BC2977F70622}" dt="2024-02-21T11:33:28.923" v="33242" actId="14100"/>
          <ac:spMkLst>
            <pc:docMk/>
            <pc:sldMk cId="1633419770" sldId="2147483608"/>
            <ac:spMk id="42" creationId="{9453CE2C-EF7F-6738-5358-7905570F08F4}"/>
          </ac:spMkLst>
        </pc:spChg>
        <pc:spChg chg="mod ord">
          <ac:chgData name="Abdi, Adnan" userId="503e002c-9b3b-4180-87fb-acabeb2b158a" providerId="ADAL" clId="{5C2CD6D4-C7A9-4CEF-AA9C-BC2977F70622}" dt="2024-02-21T11:15:22.024" v="32894" actId="1036"/>
          <ac:spMkLst>
            <pc:docMk/>
            <pc:sldMk cId="1633419770" sldId="2147483608"/>
            <ac:spMk id="47" creationId="{17FE95C5-608A-FB87-ABC8-2CBBC791E498}"/>
          </ac:spMkLst>
        </pc:spChg>
        <pc:spChg chg="mod ord">
          <ac:chgData name="Abdi, Adnan" userId="503e002c-9b3b-4180-87fb-acabeb2b158a" providerId="ADAL" clId="{5C2CD6D4-C7A9-4CEF-AA9C-BC2977F70622}" dt="2024-02-21T11:40:53.462" v="33483" actId="20577"/>
          <ac:spMkLst>
            <pc:docMk/>
            <pc:sldMk cId="1633419770" sldId="2147483608"/>
            <ac:spMk id="52" creationId="{F7E336FA-D192-DE4D-67A7-B7DD0629D0B2}"/>
          </ac:spMkLst>
        </pc:spChg>
        <pc:spChg chg="mod ord">
          <ac:chgData name="Abdi, Adnan" userId="503e002c-9b3b-4180-87fb-acabeb2b158a" providerId="ADAL" clId="{5C2CD6D4-C7A9-4CEF-AA9C-BC2977F70622}" dt="2024-02-21T11:15:22.024" v="32894" actId="1036"/>
          <ac:spMkLst>
            <pc:docMk/>
            <pc:sldMk cId="1633419770" sldId="2147483608"/>
            <ac:spMk id="57" creationId="{18ED3A90-883C-1E87-6519-A722E977C3ED}"/>
          </ac:spMkLst>
        </pc:spChg>
        <pc:spChg chg="mod ord">
          <ac:chgData name="Abdi, Adnan" userId="503e002c-9b3b-4180-87fb-acabeb2b158a" providerId="ADAL" clId="{5C2CD6D4-C7A9-4CEF-AA9C-BC2977F70622}" dt="2024-02-21T11:15:22.024" v="32894" actId="1036"/>
          <ac:spMkLst>
            <pc:docMk/>
            <pc:sldMk cId="1633419770" sldId="2147483608"/>
            <ac:spMk id="63" creationId="{1E3EC0DD-3116-FFA9-AB46-25AE41B92555}"/>
          </ac:spMkLst>
        </pc:spChg>
        <pc:spChg chg="mod ord">
          <ac:chgData name="Abdi, Adnan" userId="503e002c-9b3b-4180-87fb-acabeb2b158a" providerId="ADAL" clId="{5C2CD6D4-C7A9-4CEF-AA9C-BC2977F70622}" dt="2024-02-21T11:15:22.024" v="32894" actId="1036"/>
          <ac:spMkLst>
            <pc:docMk/>
            <pc:sldMk cId="1633419770" sldId="2147483608"/>
            <ac:spMk id="68" creationId="{D699C75F-1C71-636D-8770-6B76A3D0AD31}"/>
          </ac:spMkLst>
        </pc:spChg>
        <pc:spChg chg="mod">
          <ac:chgData name="Abdi, Adnan" userId="503e002c-9b3b-4180-87fb-acabeb2b158a" providerId="ADAL" clId="{5C2CD6D4-C7A9-4CEF-AA9C-BC2977F70622}" dt="2024-02-21T11:15:22.024" v="32894" actId="1036"/>
          <ac:spMkLst>
            <pc:docMk/>
            <pc:sldMk cId="1633419770" sldId="2147483608"/>
            <ac:spMk id="69" creationId="{19999F36-5095-4B94-AC39-6B9F509E5285}"/>
          </ac:spMkLst>
        </pc:spChg>
        <pc:spChg chg="mod">
          <ac:chgData name="Abdi, Adnan" userId="503e002c-9b3b-4180-87fb-acabeb2b158a" providerId="ADAL" clId="{5C2CD6D4-C7A9-4CEF-AA9C-BC2977F70622}" dt="2024-02-21T11:15:22.024" v="32894" actId="1036"/>
          <ac:spMkLst>
            <pc:docMk/>
            <pc:sldMk cId="1633419770" sldId="2147483608"/>
            <ac:spMk id="70" creationId="{CDADE754-2FB6-BCBA-2738-9F4076C79ADB}"/>
          </ac:spMkLst>
        </pc:spChg>
        <pc:spChg chg="mod ord">
          <ac:chgData name="Abdi, Adnan" userId="503e002c-9b3b-4180-87fb-acabeb2b158a" providerId="ADAL" clId="{5C2CD6D4-C7A9-4CEF-AA9C-BC2977F70622}" dt="2024-02-21T11:33:28.923" v="33242" actId="14100"/>
          <ac:spMkLst>
            <pc:docMk/>
            <pc:sldMk cId="1633419770" sldId="2147483608"/>
            <ac:spMk id="73" creationId="{CF77391E-C7C4-E5D9-FE10-73AC2BB03795}"/>
          </ac:spMkLst>
        </pc:spChg>
        <pc:spChg chg="mod">
          <ac:chgData name="Abdi, Adnan" userId="503e002c-9b3b-4180-87fb-acabeb2b158a" providerId="ADAL" clId="{5C2CD6D4-C7A9-4CEF-AA9C-BC2977F70622}" dt="2024-02-21T11:15:22.024" v="32894" actId="1036"/>
          <ac:spMkLst>
            <pc:docMk/>
            <pc:sldMk cId="1633419770" sldId="2147483608"/>
            <ac:spMk id="77" creationId="{89D3A9B3-8DE3-A4A9-089E-EEE0FBD3DD97}"/>
          </ac:spMkLst>
        </pc:spChg>
        <pc:spChg chg="mod ord">
          <ac:chgData name="Abdi, Adnan" userId="503e002c-9b3b-4180-87fb-acabeb2b158a" providerId="ADAL" clId="{5C2CD6D4-C7A9-4CEF-AA9C-BC2977F70622}" dt="2024-02-21T11:15:22.024" v="32894" actId="1036"/>
          <ac:spMkLst>
            <pc:docMk/>
            <pc:sldMk cId="1633419770" sldId="2147483608"/>
            <ac:spMk id="80" creationId="{46B8F458-819B-5313-8A47-F4A1F73A6118}"/>
          </ac:spMkLst>
        </pc:spChg>
        <pc:spChg chg="mod ord">
          <ac:chgData name="Abdi, Adnan" userId="503e002c-9b3b-4180-87fb-acabeb2b158a" providerId="ADAL" clId="{5C2CD6D4-C7A9-4CEF-AA9C-BC2977F70622}" dt="2024-02-21T11:39:16.379" v="33360" actId="14100"/>
          <ac:spMkLst>
            <pc:docMk/>
            <pc:sldMk cId="1633419770" sldId="2147483608"/>
            <ac:spMk id="87" creationId="{95F1A457-B792-A971-3E7B-2E85A08031DC}"/>
          </ac:spMkLst>
        </pc:spChg>
        <pc:spChg chg="mod ord">
          <ac:chgData name="Abdi, Adnan" userId="503e002c-9b3b-4180-87fb-acabeb2b158a" providerId="ADAL" clId="{5C2CD6D4-C7A9-4CEF-AA9C-BC2977F70622}" dt="2024-02-21T11:15:22.024" v="32894" actId="1036"/>
          <ac:spMkLst>
            <pc:docMk/>
            <pc:sldMk cId="1633419770" sldId="2147483608"/>
            <ac:spMk id="88" creationId="{58E4D5D6-DAD2-6ADD-4ABC-39E51507D5A0}"/>
          </ac:spMkLst>
        </pc:spChg>
        <pc:spChg chg="del mod">
          <ac:chgData name="Abdi, Adnan" userId="503e002c-9b3b-4180-87fb-acabeb2b158a" providerId="ADAL" clId="{5C2CD6D4-C7A9-4CEF-AA9C-BC2977F70622}" dt="2024-02-21T08:21:26.155" v="31231" actId="478"/>
          <ac:spMkLst>
            <pc:docMk/>
            <pc:sldMk cId="1633419770" sldId="2147483608"/>
            <ac:spMk id="92" creationId="{040F3200-4C47-BC00-969C-EFB58ACF87FB}"/>
          </ac:spMkLst>
        </pc:spChg>
        <pc:spChg chg="mod">
          <ac:chgData name="Abdi, Adnan" userId="503e002c-9b3b-4180-87fb-acabeb2b158a" providerId="ADAL" clId="{5C2CD6D4-C7A9-4CEF-AA9C-BC2977F70622}" dt="2024-02-21T11:36:30.542" v="33345"/>
          <ac:spMkLst>
            <pc:docMk/>
            <pc:sldMk cId="1633419770" sldId="2147483608"/>
            <ac:spMk id="99" creationId="{017D0283-3141-2A72-CB3F-A6DEBA2F5922}"/>
          </ac:spMkLst>
        </pc:spChg>
        <pc:spChg chg="add mod">
          <ac:chgData name="Abdi, Adnan" userId="503e002c-9b3b-4180-87fb-acabeb2b158a" providerId="ADAL" clId="{5C2CD6D4-C7A9-4CEF-AA9C-BC2977F70622}" dt="2024-02-21T11:33:22.909" v="33241" actId="1036"/>
          <ac:spMkLst>
            <pc:docMk/>
            <pc:sldMk cId="1633419770" sldId="2147483608"/>
            <ac:spMk id="107" creationId="{B37C8B6F-538D-458D-E841-91B566BE0280}"/>
          </ac:spMkLst>
        </pc:spChg>
        <pc:spChg chg="add mod">
          <ac:chgData name="Abdi, Adnan" userId="503e002c-9b3b-4180-87fb-acabeb2b158a" providerId="ADAL" clId="{5C2CD6D4-C7A9-4CEF-AA9C-BC2977F70622}" dt="2024-02-21T11:33:22.909" v="33241" actId="1036"/>
          <ac:spMkLst>
            <pc:docMk/>
            <pc:sldMk cId="1633419770" sldId="2147483608"/>
            <ac:spMk id="108" creationId="{2CA2CD6C-C083-C418-ACA9-A9C5E1FEE6BC}"/>
          </ac:spMkLst>
        </pc:spChg>
        <pc:grpChg chg="add mod">
          <ac:chgData name="Abdi, Adnan" userId="503e002c-9b3b-4180-87fb-acabeb2b158a" providerId="ADAL" clId="{5C2CD6D4-C7A9-4CEF-AA9C-BC2977F70622}" dt="2024-02-21T11:36:30.542" v="33345"/>
          <ac:grpSpMkLst>
            <pc:docMk/>
            <pc:sldMk cId="1633419770" sldId="2147483608"/>
            <ac:grpSpMk id="97" creationId="{07B53712-C254-1BCC-2F7F-502F37E0CAC4}"/>
          </ac:grpSpMkLst>
        </pc:grpChg>
        <pc:graphicFrameChg chg="mod">
          <ac:chgData name="Abdi, Adnan" userId="503e002c-9b3b-4180-87fb-acabeb2b158a" providerId="ADAL" clId="{5C2CD6D4-C7A9-4CEF-AA9C-BC2977F70622}" dt="2024-02-21T12:20:23.481" v="39090"/>
          <ac:graphicFrameMkLst>
            <pc:docMk/>
            <pc:sldMk cId="1633419770" sldId="2147483608"/>
            <ac:graphicFrameMk id="3" creationId="{AD6081FB-9436-D5D8-CFEE-C7D9BA9B609E}"/>
          </ac:graphicFrameMkLst>
        </pc:graphicFrameChg>
        <pc:picChg chg="add mod ord">
          <ac:chgData name="Abdi, Adnan" userId="503e002c-9b3b-4180-87fb-acabeb2b158a" providerId="ADAL" clId="{5C2CD6D4-C7A9-4CEF-AA9C-BC2977F70622}" dt="2024-02-21T11:15:22.024" v="32894" actId="1036"/>
          <ac:picMkLst>
            <pc:docMk/>
            <pc:sldMk cId="1633419770" sldId="2147483608"/>
            <ac:picMk id="9" creationId="{1BBA63A1-C960-39AA-DFFC-9EBBDEFE230C}"/>
          </ac:picMkLst>
        </pc:picChg>
        <pc:picChg chg="add mod">
          <ac:chgData name="Abdi, Adnan" userId="503e002c-9b3b-4180-87fb-acabeb2b158a" providerId="ADAL" clId="{5C2CD6D4-C7A9-4CEF-AA9C-BC2977F70622}" dt="2024-02-21T08:37:19.317" v="31444"/>
          <ac:picMkLst>
            <pc:docMk/>
            <pc:sldMk cId="1633419770" sldId="2147483608"/>
            <ac:picMk id="10" creationId="{CCEEE437-8E8B-02E5-A02F-5BB8A425AB8E}"/>
          </ac:picMkLst>
        </pc:picChg>
        <pc:picChg chg="add del mod">
          <ac:chgData name="Abdi, Adnan" userId="503e002c-9b3b-4180-87fb-acabeb2b158a" providerId="ADAL" clId="{5C2CD6D4-C7A9-4CEF-AA9C-BC2977F70622}" dt="2024-02-21T09:13:22.161" v="32515" actId="478"/>
          <ac:picMkLst>
            <pc:docMk/>
            <pc:sldMk cId="1633419770" sldId="2147483608"/>
            <ac:picMk id="11" creationId="{D0E93FFD-B948-5A62-258D-5B41BBEF1D42}"/>
          </ac:picMkLst>
        </pc:picChg>
        <pc:picChg chg="add del mod">
          <ac:chgData name="Abdi, Adnan" userId="503e002c-9b3b-4180-87fb-acabeb2b158a" providerId="ADAL" clId="{5C2CD6D4-C7A9-4CEF-AA9C-BC2977F70622}" dt="2024-02-21T09:13:22.161" v="32515" actId="478"/>
          <ac:picMkLst>
            <pc:docMk/>
            <pc:sldMk cId="1633419770" sldId="2147483608"/>
            <ac:picMk id="12" creationId="{B1390C87-F0CD-366C-C181-1D0DF6F98534}"/>
          </ac:picMkLst>
        </pc:picChg>
        <pc:picChg chg="add del mod">
          <ac:chgData name="Abdi, Adnan" userId="503e002c-9b3b-4180-87fb-acabeb2b158a" providerId="ADAL" clId="{5C2CD6D4-C7A9-4CEF-AA9C-BC2977F70622}" dt="2024-02-21T09:13:22.161" v="32515" actId="478"/>
          <ac:picMkLst>
            <pc:docMk/>
            <pc:sldMk cId="1633419770" sldId="2147483608"/>
            <ac:picMk id="13" creationId="{CCEF3058-17EF-E2EF-7BD2-B74290C0A477}"/>
          </ac:picMkLst>
        </pc:picChg>
        <pc:picChg chg="add del mod">
          <ac:chgData name="Abdi, Adnan" userId="503e002c-9b3b-4180-87fb-acabeb2b158a" providerId="ADAL" clId="{5C2CD6D4-C7A9-4CEF-AA9C-BC2977F70622}" dt="2024-02-21T09:13:22.161" v="32515" actId="478"/>
          <ac:picMkLst>
            <pc:docMk/>
            <pc:sldMk cId="1633419770" sldId="2147483608"/>
            <ac:picMk id="14" creationId="{9BA981C4-9C12-5A50-80AF-AB139088BB81}"/>
          </ac:picMkLst>
        </pc:picChg>
        <pc:picChg chg="add del mod">
          <ac:chgData name="Abdi, Adnan" userId="503e002c-9b3b-4180-87fb-acabeb2b158a" providerId="ADAL" clId="{5C2CD6D4-C7A9-4CEF-AA9C-BC2977F70622}" dt="2024-02-21T09:13:25.989" v="32516" actId="478"/>
          <ac:picMkLst>
            <pc:docMk/>
            <pc:sldMk cId="1633419770" sldId="2147483608"/>
            <ac:picMk id="15" creationId="{E23EE129-FEE0-D003-7888-7FA0C50591E5}"/>
          </ac:picMkLst>
        </pc:picChg>
        <pc:picChg chg="add del mod">
          <ac:chgData name="Abdi, Adnan" userId="503e002c-9b3b-4180-87fb-acabeb2b158a" providerId="ADAL" clId="{5C2CD6D4-C7A9-4CEF-AA9C-BC2977F70622}" dt="2024-02-21T09:07:41.878" v="32460" actId="478"/>
          <ac:picMkLst>
            <pc:docMk/>
            <pc:sldMk cId="1633419770" sldId="2147483608"/>
            <ac:picMk id="16" creationId="{47A33B93-6205-74A2-355D-B883BF4DD91B}"/>
          </ac:picMkLst>
        </pc:picChg>
        <pc:picChg chg="add del mod">
          <ac:chgData name="Abdi, Adnan" userId="503e002c-9b3b-4180-87fb-acabeb2b158a" providerId="ADAL" clId="{5C2CD6D4-C7A9-4CEF-AA9C-BC2977F70622}" dt="2024-02-21T09:12:46.456" v="32513" actId="21"/>
          <ac:picMkLst>
            <pc:docMk/>
            <pc:sldMk cId="1633419770" sldId="2147483608"/>
            <ac:picMk id="17" creationId="{2F07FECD-F395-C185-ABC1-48FAD9874439}"/>
          </ac:picMkLst>
        </pc:picChg>
        <pc:picChg chg="add del mod">
          <ac:chgData name="Abdi, Adnan" userId="503e002c-9b3b-4180-87fb-acabeb2b158a" providerId="ADAL" clId="{5C2CD6D4-C7A9-4CEF-AA9C-BC2977F70622}" dt="2024-02-21T09:17:41.610" v="32679" actId="478"/>
          <ac:picMkLst>
            <pc:docMk/>
            <pc:sldMk cId="1633419770" sldId="2147483608"/>
            <ac:picMk id="18" creationId="{7DB9923D-1101-8F8E-1A14-B66772790F81}"/>
          </ac:picMkLst>
        </pc:picChg>
        <pc:picChg chg="add del mod">
          <ac:chgData name="Abdi, Adnan" userId="503e002c-9b3b-4180-87fb-acabeb2b158a" providerId="ADAL" clId="{5C2CD6D4-C7A9-4CEF-AA9C-BC2977F70622}" dt="2024-02-21T09:19:33.460" v="32684" actId="478"/>
          <ac:picMkLst>
            <pc:docMk/>
            <pc:sldMk cId="1633419770" sldId="2147483608"/>
            <ac:picMk id="19" creationId="{BAEA53CF-80EE-DF62-183B-12BEF41CC7DA}"/>
          </ac:picMkLst>
        </pc:picChg>
        <pc:picChg chg="add del">
          <ac:chgData name="Abdi, Adnan" userId="503e002c-9b3b-4180-87fb-acabeb2b158a" providerId="ADAL" clId="{5C2CD6D4-C7A9-4CEF-AA9C-BC2977F70622}" dt="2024-02-21T09:20:01.904" v="32686" actId="22"/>
          <ac:picMkLst>
            <pc:docMk/>
            <pc:sldMk cId="1633419770" sldId="2147483608"/>
            <ac:picMk id="21" creationId="{21521F74-9A70-AEDC-4781-6044E6BD4A72}"/>
          </ac:picMkLst>
        </pc:picChg>
        <pc:picChg chg="add del mod">
          <ac:chgData name="Abdi, Adnan" userId="503e002c-9b3b-4180-87fb-acabeb2b158a" providerId="ADAL" clId="{5C2CD6D4-C7A9-4CEF-AA9C-BC2977F70622}" dt="2024-02-21T09:20:17.156" v="32689" actId="478"/>
          <ac:picMkLst>
            <pc:docMk/>
            <pc:sldMk cId="1633419770" sldId="2147483608"/>
            <ac:picMk id="23" creationId="{0BBF5453-5414-700C-0F23-1CD02263DB16}"/>
          </ac:picMkLst>
        </pc:picChg>
        <pc:picChg chg="add mod">
          <ac:chgData name="Abdi, Adnan" userId="503e002c-9b3b-4180-87fb-acabeb2b158a" providerId="ADAL" clId="{5C2CD6D4-C7A9-4CEF-AA9C-BC2977F70622}" dt="2024-02-21T11:15:22.024" v="32894" actId="1036"/>
          <ac:picMkLst>
            <pc:docMk/>
            <pc:sldMk cId="1633419770" sldId="2147483608"/>
            <ac:picMk id="24" creationId="{EE3C4035-0061-920E-DD73-63432C5B04B2}"/>
          </ac:picMkLst>
        </pc:picChg>
        <pc:picChg chg="add mod">
          <ac:chgData name="Abdi, Adnan" userId="503e002c-9b3b-4180-87fb-acabeb2b158a" providerId="ADAL" clId="{5C2CD6D4-C7A9-4CEF-AA9C-BC2977F70622}" dt="2024-02-21T11:36:30.558" v="33353"/>
          <ac:picMkLst>
            <pc:docMk/>
            <pc:sldMk cId="1633419770" sldId="2147483608"/>
            <ac:picMk id="29" creationId="{8F891D59-9B06-05E6-F997-237066A5828E}"/>
          </ac:picMkLst>
        </pc:picChg>
        <pc:picChg chg="mod ord">
          <ac:chgData name="Abdi, Adnan" userId="503e002c-9b3b-4180-87fb-acabeb2b158a" providerId="ADAL" clId="{5C2CD6D4-C7A9-4CEF-AA9C-BC2977F70622}" dt="2024-02-21T11:15:22.024" v="32894" actId="1036"/>
          <ac:picMkLst>
            <pc:docMk/>
            <pc:sldMk cId="1633419770" sldId="2147483608"/>
            <ac:picMk id="39" creationId="{5D4A5EB2-EB1A-40B0-7B1E-5C5B9EC75D2A}"/>
          </ac:picMkLst>
        </pc:picChg>
        <pc:picChg chg="mod ord">
          <ac:chgData name="Abdi, Adnan" userId="503e002c-9b3b-4180-87fb-acabeb2b158a" providerId="ADAL" clId="{5C2CD6D4-C7A9-4CEF-AA9C-BC2977F70622}" dt="2024-02-21T11:15:22.024" v="32894" actId="1036"/>
          <ac:picMkLst>
            <pc:docMk/>
            <pc:sldMk cId="1633419770" sldId="2147483608"/>
            <ac:picMk id="40" creationId="{EEA4DA73-6965-81DE-30E6-37835E8FBF69}"/>
          </ac:picMkLst>
        </pc:picChg>
        <pc:picChg chg="mod ord">
          <ac:chgData name="Abdi, Adnan" userId="503e002c-9b3b-4180-87fb-acabeb2b158a" providerId="ADAL" clId="{5C2CD6D4-C7A9-4CEF-AA9C-BC2977F70622}" dt="2024-02-21T11:15:22.024" v="32894" actId="1036"/>
          <ac:picMkLst>
            <pc:docMk/>
            <pc:sldMk cId="1633419770" sldId="2147483608"/>
            <ac:picMk id="41" creationId="{C8D74F5B-8408-E687-9F3B-255483CD13C9}"/>
          </ac:picMkLst>
        </pc:picChg>
        <pc:picChg chg="del mod ord">
          <ac:chgData name="Abdi, Adnan" userId="503e002c-9b3b-4180-87fb-acabeb2b158a" providerId="ADAL" clId="{5C2CD6D4-C7A9-4CEF-AA9C-BC2977F70622}" dt="2024-02-21T09:47:41.972" v="32833" actId="478"/>
          <ac:picMkLst>
            <pc:docMk/>
            <pc:sldMk cId="1633419770" sldId="2147483608"/>
            <ac:picMk id="43" creationId="{85D9F034-4794-6C39-5646-E07CAA885845}"/>
          </ac:picMkLst>
        </pc:picChg>
        <pc:picChg chg="del mod ord">
          <ac:chgData name="Abdi, Adnan" userId="503e002c-9b3b-4180-87fb-acabeb2b158a" providerId="ADAL" clId="{5C2CD6D4-C7A9-4CEF-AA9C-BC2977F70622}" dt="2024-02-21T09:47:41.972" v="32833" actId="478"/>
          <ac:picMkLst>
            <pc:docMk/>
            <pc:sldMk cId="1633419770" sldId="2147483608"/>
            <ac:picMk id="44" creationId="{8E2AEDDB-D3AC-E214-D41B-AC2E79ED0531}"/>
          </ac:picMkLst>
        </pc:picChg>
        <pc:picChg chg="del mod">
          <ac:chgData name="Abdi, Adnan" userId="503e002c-9b3b-4180-87fb-acabeb2b158a" providerId="ADAL" clId="{5C2CD6D4-C7A9-4CEF-AA9C-BC2977F70622}" dt="2024-02-21T09:47:41.972" v="32833" actId="478"/>
          <ac:picMkLst>
            <pc:docMk/>
            <pc:sldMk cId="1633419770" sldId="2147483608"/>
            <ac:picMk id="45" creationId="{38A8BC38-7EB6-80FD-2963-F5450BA41689}"/>
          </ac:picMkLst>
        </pc:picChg>
        <pc:picChg chg="del mod ord">
          <ac:chgData name="Abdi, Adnan" userId="503e002c-9b3b-4180-87fb-acabeb2b158a" providerId="ADAL" clId="{5C2CD6D4-C7A9-4CEF-AA9C-BC2977F70622}" dt="2024-02-21T09:47:41.972" v="32833" actId="478"/>
          <ac:picMkLst>
            <pc:docMk/>
            <pc:sldMk cId="1633419770" sldId="2147483608"/>
            <ac:picMk id="46" creationId="{726D7406-2F83-7AA7-426E-B1799EC2F93C}"/>
          </ac:picMkLst>
        </pc:picChg>
        <pc:picChg chg="mod ord">
          <ac:chgData name="Abdi, Adnan" userId="503e002c-9b3b-4180-87fb-acabeb2b158a" providerId="ADAL" clId="{5C2CD6D4-C7A9-4CEF-AA9C-BC2977F70622}" dt="2024-02-21T11:15:22.024" v="32894" actId="1036"/>
          <ac:picMkLst>
            <pc:docMk/>
            <pc:sldMk cId="1633419770" sldId="2147483608"/>
            <ac:picMk id="48" creationId="{4E1027DF-D673-E7F4-C255-71640169779C}"/>
          </ac:picMkLst>
        </pc:picChg>
        <pc:picChg chg="mod ord">
          <ac:chgData name="Abdi, Adnan" userId="503e002c-9b3b-4180-87fb-acabeb2b158a" providerId="ADAL" clId="{5C2CD6D4-C7A9-4CEF-AA9C-BC2977F70622}" dt="2024-02-21T11:15:22.024" v="32894" actId="1036"/>
          <ac:picMkLst>
            <pc:docMk/>
            <pc:sldMk cId="1633419770" sldId="2147483608"/>
            <ac:picMk id="49" creationId="{BD5EC02A-9341-7DEE-480A-6EA913A5580B}"/>
          </ac:picMkLst>
        </pc:picChg>
        <pc:picChg chg="del mod ord">
          <ac:chgData name="Abdi, Adnan" userId="503e002c-9b3b-4180-87fb-acabeb2b158a" providerId="ADAL" clId="{5C2CD6D4-C7A9-4CEF-AA9C-BC2977F70622}" dt="2024-02-21T09:17:39.149" v="32678" actId="478"/>
          <ac:picMkLst>
            <pc:docMk/>
            <pc:sldMk cId="1633419770" sldId="2147483608"/>
            <ac:picMk id="50" creationId="{4A15E88C-B561-2D71-1BFB-64A7DC807611}"/>
          </ac:picMkLst>
        </pc:picChg>
        <pc:picChg chg="del mod ord">
          <ac:chgData name="Abdi, Adnan" userId="503e002c-9b3b-4180-87fb-acabeb2b158a" providerId="ADAL" clId="{5C2CD6D4-C7A9-4CEF-AA9C-BC2977F70622}" dt="2024-02-21T09:24:35.589" v="32706" actId="478"/>
          <ac:picMkLst>
            <pc:docMk/>
            <pc:sldMk cId="1633419770" sldId="2147483608"/>
            <ac:picMk id="51" creationId="{AB29240D-3597-AE2E-14E6-65E933FFA1CD}"/>
          </ac:picMkLst>
        </pc:picChg>
        <pc:picChg chg="mod ord">
          <ac:chgData name="Abdi, Adnan" userId="503e002c-9b3b-4180-87fb-acabeb2b158a" providerId="ADAL" clId="{5C2CD6D4-C7A9-4CEF-AA9C-BC2977F70622}" dt="2024-02-21T11:29:04.096" v="33132"/>
          <ac:picMkLst>
            <pc:docMk/>
            <pc:sldMk cId="1633419770" sldId="2147483608"/>
            <ac:picMk id="53" creationId="{03D726D8-78EA-69C4-FFC0-2DC8715A42E9}"/>
          </ac:picMkLst>
        </pc:picChg>
        <pc:picChg chg="del mod ord">
          <ac:chgData name="Abdi, Adnan" userId="503e002c-9b3b-4180-87fb-acabeb2b158a" providerId="ADAL" clId="{5C2CD6D4-C7A9-4CEF-AA9C-BC2977F70622}" dt="2024-02-21T11:28:41.006" v="33119" actId="478"/>
          <ac:picMkLst>
            <pc:docMk/>
            <pc:sldMk cId="1633419770" sldId="2147483608"/>
            <ac:picMk id="54" creationId="{DE919450-2CBF-E80E-7AA4-A80CE471D80A}"/>
          </ac:picMkLst>
        </pc:picChg>
        <pc:picChg chg="mod ord">
          <ac:chgData name="Abdi, Adnan" userId="503e002c-9b3b-4180-87fb-acabeb2b158a" providerId="ADAL" clId="{5C2CD6D4-C7A9-4CEF-AA9C-BC2977F70622}" dt="2024-02-21T11:28:53.445" v="33124"/>
          <ac:picMkLst>
            <pc:docMk/>
            <pc:sldMk cId="1633419770" sldId="2147483608"/>
            <ac:picMk id="55" creationId="{E6A599AF-C34F-4355-0B35-4848293F2FFA}"/>
          </ac:picMkLst>
        </pc:picChg>
        <pc:picChg chg="mod ord">
          <ac:chgData name="Abdi, Adnan" userId="503e002c-9b3b-4180-87fb-acabeb2b158a" providerId="ADAL" clId="{5C2CD6D4-C7A9-4CEF-AA9C-BC2977F70622}" dt="2024-02-21T11:29:05.266" v="33133" actId="465"/>
          <ac:picMkLst>
            <pc:docMk/>
            <pc:sldMk cId="1633419770" sldId="2147483608"/>
            <ac:picMk id="56" creationId="{E32F7C7B-2E83-5D05-8E99-823F4A7A7FE2}"/>
          </ac:picMkLst>
        </pc:picChg>
        <pc:picChg chg="del mod ord">
          <ac:chgData name="Abdi, Adnan" userId="503e002c-9b3b-4180-87fb-acabeb2b158a" providerId="ADAL" clId="{5C2CD6D4-C7A9-4CEF-AA9C-BC2977F70622}" dt="2024-02-21T08:33:46.551" v="31432" actId="478"/>
          <ac:picMkLst>
            <pc:docMk/>
            <pc:sldMk cId="1633419770" sldId="2147483608"/>
            <ac:picMk id="58" creationId="{99B86542-B60D-BB0B-D178-1A9BBB8462CA}"/>
          </ac:picMkLst>
        </pc:picChg>
        <pc:picChg chg="mod ord">
          <ac:chgData name="Abdi, Adnan" userId="503e002c-9b3b-4180-87fb-acabeb2b158a" providerId="ADAL" clId="{5C2CD6D4-C7A9-4CEF-AA9C-BC2977F70622}" dt="2024-02-21T11:15:22.024" v="32894" actId="1036"/>
          <ac:picMkLst>
            <pc:docMk/>
            <pc:sldMk cId="1633419770" sldId="2147483608"/>
            <ac:picMk id="59" creationId="{6763FD39-DE97-C434-B9F1-7F9BA0C6CB30}"/>
          </ac:picMkLst>
        </pc:picChg>
        <pc:picChg chg="mod ord modCrop">
          <ac:chgData name="Abdi, Adnan" userId="503e002c-9b3b-4180-87fb-acabeb2b158a" providerId="ADAL" clId="{5C2CD6D4-C7A9-4CEF-AA9C-BC2977F70622}" dt="2024-02-21T11:15:22.024" v="32894" actId="1036"/>
          <ac:picMkLst>
            <pc:docMk/>
            <pc:sldMk cId="1633419770" sldId="2147483608"/>
            <ac:picMk id="60" creationId="{CAB0F587-D7E2-AA63-6691-91D993419E2B}"/>
          </ac:picMkLst>
        </pc:picChg>
        <pc:picChg chg="mod ord">
          <ac:chgData name="Abdi, Adnan" userId="503e002c-9b3b-4180-87fb-acabeb2b158a" providerId="ADAL" clId="{5C2CD6D4-C7A9-4CEF-AA9C-BC2977F70622}" dt="2024-02-21T11:15:22.024" v="32894" actId="1036"/>
          <ac:picMkLst>
            <pc:docMk/>
            <pc:sldMk cId="1633419770" sldId="2147483608"/>
            <ac:picMk id="61" creationId="{29BDA610-6BDD-29AF-97D0-BADE4EE55ECC}"/>
          </ac:picMkLst>
        </pc:picChg>
        <pc:picChg chg="mod ord">
          <ac:chgData name="Abdi, Adnan" userId="503e002c-9b3b-4180-87fb-acabeb2b158a" providerId="ADAL" clId="{5C2CD6D4-C7A9-4CEF-AA9C-BC2977F70622}" dt="2024-02-21T11:15:22.024" v="32894" actId="1036"/>
          <ac:picMkLst>
            <pc:docMk/>
            <pc:sldMk cId="1633419770" sldId="2147483608"/>
            <ac:picMk id="62" creationId="{C9D94FDC-07A9-3C70-B0DC-F8CC8EE32AC1}"/>
          </ac:picMkLst>
        </pc:picChg>
        <pc:picChg chg="add del mod ord">
          <ac:chgData name="Abdi, Adnan" userId="503e002c-9b3b-4180-87fb-acabeb2b158a" providerId="ADAL" clId="{5C2CD6D4-C7A9-4CEF-AA9C-BC2977F70622}" dt="2024-02-21T09:37:16.794" v="32816" actId="478"/>
          <ac:picMkLst>
            <pc:docMk/>
            <pc:sldMk cId="1633419770" sldId="2147483608"/>
            <ac:picMk id="64" creationId="{B1BF1EF8-7071-6FC4-80B1-2D035A61EFA3}"/>
          </ac:picMkLst>
        </pc:picChg>
        <pc:picChg chg="del mod ord">
          <ac:chgData name="Abdi, Adnan" userId="503e002c-9b3b-4180-87fb-acabeb2b158a" providerId="ADAL" clId="{5C2CD6D4-C7A9-4CEF-AA9C-BC2977F70622}" dt="2024-02-21T09:45:04.248" v="32817" actId="478"/>
          <ac:picMkLst>
            <pc:docMk/>
            <pc:sldMk cId="1633419770" sldId="2147483608"/>
            <ac:picMk id="65" creationId="{3A8EB3E8-2D33-E174-3967-E96C02C4CC5A}"/>
          </ac:picMkLst>
        </pc:picChg>
        <pc:picChg chg="del mod ord">
          <ac:chgData name="Abdi, Adnan" userId="503e002c-9b3b-4180-87fb-acabeb2b158a" providerId="ADAL" clId="{5C2CD6D4-C7A9-4CEF-AA9C-BC2977F70622}" dt="2024-02-21T09:45:04.248" v="32817" actId="478"/>
          <ac:picMkLst>
            <pc:docMk/>
            <pc:sldMk cId="1633419770" sldId="2147483608"/>
            <ac:picMk id="66" creationId="{6226D58D-4A09-D4FA-0A95-B3A379318EF3}"/>
          </ac:picMkLst>
        </pc:picChg>
        <pc:picChg chg="mod ord modCrop">
          <ac:chgData name="Abdi, Adnan" userId="503e002c-9b3b-4180-87fb-acabeb2b158a" providerId="ADAL" clId="{5C2CD6D4-C7A9-4CEF-AA9C-BC2977F70622}" dt="2024-02-21T11:15:22.024" v="32894" actId="1036"/>
          <ac:picMkLst>
            <pc:docMk/>
            <pc:sldMk cId="1633419770" sldId="2147483608"/>
            <ac:picMk id="67" creationId="{C81E532A-1A94-1AA7-B4B4-72DC2DB24CCE}"/>
          </ac:picMkLst>
        </pc:picChg>
        <pc:picChg chg="add del mod ord modCrop">
          <ac:chgData name="Abdi, Adnan" userId="503e002c-9b3b-4180-87fb-acabeb2b158a" providerId="ADAL" clId="{5C2CD6D4-C7A9-4CEF-AA9C-BC2977F70622}" dt="2024-02-21T11:15:22.024" v="32894" actId="1036"/>
          <ac:picMkLst>
            <pc:docMk/>
            <pc:sldMk cId="1633419770" sldId="2147483608"/>
            <ac:picMk id="71" creationId="{6E2CEE32-AC36-585E-B141-8F15FA3179B0}"/>
          </ac:picMkLst>
        </pc:picChg>
        <pc:picChg chg="mod ord">
          <ac:chgData name="Abdi, Adnan" userId="503e002c-9b3b-4180-87fb-acabeb2b158a" providerId="ADAL" clId="{5C2CD6D4-C7A9-4CEF-AA9C-BC2977F70622}" dt="2024-02-21T11:15:22.024" v="32894" actId="1036"/>
          <ac:picMkLst>
            <pc:docMk/>
            <pc:sldMk cId="1633419770" sldId="2147483608"/>
            <ac:picMk id="72" creationId="{61106378-5994-02C9-CFC0-F0827E845318}"/>
          </ac:picMkLst>
        </pc:picChg>
        <pc:picChg chg="del mod ord">
          <ac:chgData name="Abdi, Adnan" userId="503e002c-9b3b-4180-87fb-acabeb2b158a" providerId="ADAL" clId="{5C2CD6D4-C7A9-4CEF-AA9C-BC2977F70622}" dt="2024-02-21T09:23:43.162" v="32701" actId="478"/>
          <ac:picMkLst>
            <pc:docMk/>
            <pc:sldMk cId="1633419770" sldId="2147483608"/>
            <ac:picMk id="74" creationId="{293F6E0E-76F5-11AC-78B6-FF9C61F70003}"/>
          </ac:picMkLst>
        </pc:picChg>
        <pc:picChg chg="del mod ord">
          <ac:chgData name="Abdi, Adnan" userId="503e002c-9b3b-4180-87fb-acabeb2b158a" providerId="ADAL" clId="{5C2CD6D4-C7A9-4CEF-AA9C-BC2977F70622}" dt="2024-02-21T09:23:43.162" v="32701" actId="478"/>
          <ac:picMkLst>
            <pc:docMk/>
            <pc:sldMk cId="1633419770" sldId="2147483608"/>
            <ac:picMk id="75" creationId="{B8B501FC-04C6-03FF-2881-E7A9463DEE34}"/>
          </ac:picMkLst>
        </pc:picChg>
        <pc:picChg chg="del mod ord">
          <ac:chgData name="Abdi, Adnan" userId="503e002c-9b3b-4180-87fb-acabeb2b158a" providerId="ADAL" clId="{5C2CD6D4-C7A9-4CEF-AA9C-BC2977F70622}" dt="2024-02-21T09:23:43.162" v="32701" actId="478"/>
          <ac:picMkLst>
            <pc:docMk/>
            <pc:sldMk cId="1633419770" sldId="2147483608"/>
            <ac:picMk id="76" creationId="{A528172E-D8B0-4ECD-A65A-F28C352058C0}"/>
          </ac:picMkLst>
        </pc:picChg>
        <pc:picChg chg="mod">
          <ac:chgData name="Abdi, Adnan" userId="503e002c-9b3b-4180-87fb-acabeb2b158a" providerId="ADAL" clId="{5C2CD6D4-C7A9-4CEF-AA9C-BC2977F70622}" dt="2024-02-21T11:15:22.024" v="32894" actId="1036"/>
          <ac:picMkLst>
            <pc:docMk/>
            <pc:sldMk cId="1633419770" sldId="2147483608"/>
            <ac:picMk id="78" creationId="{C06B4A71-6078-6944-048B-AE0D9913446F}"/>
          </ac:picMkLst>
        </pc:picChg>
        <pc:picChg chg="mod">
          <ac:chgData name="Abdi, Adnan" userId="503e002c-9b3b-4180-87fb-acabeb2b158a" providerId="ADAL" clId="{5C2CD6D4-C7A9-4CEF-AA9C-BC2977F70622}" dt="2024-02-21T11:15:22.024" v="32894" actId="1036"/>
          <ac:picMkLst>
            <pc:docMk/>
            <pc:sldMk cId="1633419770" sldId="2147483608"/>
            <ac:picMk id="79" creationId="{B4E5958C-B2B0-935E-3730-9B0578D78EC8}"/>
          </ac:picMkLst>
        </pc:picChg>
        <pc:picChg chg="mod ord">
          <ac:chgData name="Abdi, Adnan" userId="503e002c-9b3b-4180-87fb-acabeb2b158a" providerId="ADAL" clId="{5C2CD6D4-C7A9-4CEF-AA9C-BC2977F70622}" dt="2024-02-21T11:15:22.024" v="32894" actId="1036"/>
          <ac:picMkLst>
            <pc:docMk/>
            <pc:sldMk cId="1633419770" sldId="2147483608"/>
            <ac:picMk id="81" creationId="{77F6C41D-47C2-947A-FA75-49E573A5E5FF}"/>
          </ac:picMkLst>
        </pc:picChg>
        <pc:picChg chg="mod ord">
          <ac:chgData name="Abdi, Adnan" userId="503e002c-9b3b-4180-87fb-acabeb2b158a" providerId="ADAL" clId="{5C2CD6D4-C7A9-4CEF-AA9C-BC2977F70622}" dt="2024-02-21T11:15:22.024" v="32894" actId="1036"/>
          <ac:picMkLst>
            <pc:docMk/>
            <pc:sldMk cId="1633419770" sldId="2147483608"/>
            <ac:picMk id="82" creationId="{A595D242-D4DA-C8CA-B6CC-01668612D56B}"/>
          </ac:picMkLst>
        </pc:picChg>
        <pc:picChg chg="mod ord">
          <ac:chgData name="Abdi, Adnan" userId="503e002c-9b3b-4180-87fb-acabeb2b158a" providerId="ADAL" clId="{5C2CD6D4-C7A9-4CEF-AA9C-BC2977F70622}" dt="2024-02-21T11:15:22.024" v="32894" actId="1036"/>
          <ac:picMkLst>
            <pc:docMk/>
            <pc:sldMk cId="1633419770" sldId="2147483608"/>
            <ac:picMk id="83" creationId="{2105F6C4-3E8F-64CC-7973-21E855A168E1}"/>
          </ac:picMkLst>
        </pc:picChg>
        <pc:picChg chg="mod ord">
          <ac:chgData name="Abdi, Adnan" userId="503e002c-9b3b-4180-87fb-acabeb2b158a" providerId="ADAL" clId="{5C2CD6D4-C7A9-4CEF-AA9C-BC2977F70622}" dt="2024-02-21T11:15:22.024" v="32894" actId="1036"/>
          <ac:picMkLst>
            <pc:docMk/>
            <pc:sldMk cId="1633419770" sldId="2147483608"/>
            <ac:picMk id="84" creationId="{0A139068-1C57-E50E-69B7-F851E4C24A11}"/>
          </ac:picMkLst>
        </pc:picChg>
        <pc:picChg chg="mod ord">
          <ac:chgData name="Abdi, Adnan" userId="503e002c-9b3b-4180-87fb-acabeb2b158a" providerId="ADAL" clId="{5C2CD6D4-C7A9-4CEF-AA9C-BC2977F70622}" dt="2024-02-21T11:15:22.024" v="32894" actId="1036"/>
          <ac:picMkLst>
            <pc:docMk/>
            <pc:sldMk cId="1633419770" sldId="2147483608"/>
            <ac:picMk id="85" creationId="{B7D7F8CB-07A1-D64A-26AD-8FD1B298D946}"/>
          </ac:picMkLst>
        </pc:picChg>
        <pc:picChg chg="add mod">
          <ac:chgData name="Abdi, Adnan" userId="503e002c-9b3b-4180-87fb-acabeb2b158a" providerId="ADAL" clId="{5C2CD6D4-C7A9-4CEF-AA9C-BC2977F70622}" dt="2024-02-21T11:36:30.556" v="33352"/>
          <ac:picMkLst>
            <pc:docMk/>
            <pc:sldMk cId="1633419770" sldId="2147483608"/>
            <ac:picMk id="90" creationId="{17D685B2-BD0C-EAC7-669F-E7B8F956730B}"/>
          </ac:picMkLst>
        </pc:picChg>
        <pc:picChg chg="add mod">
          <ac:chgData name="Abdi, Adnan" userId="503e002c-9b3b-4180-87fb-acabeb2b158a" providerId="ADAL" clId="{5C2CD6D4-C7A9-4CEF-AA9C-BC2977F70622}" dt="2024-02-21T11:36:30.550" v="33349"/>
          <ac:picMkLst>
            <pc:docMk/>
            <pc:sldMk cId="1633419770" sldId="2147483608"/>
            <ac:picMk id="91" creationId="{DF5B440D-26AA-058D-E22C-146D48243C22}"/>
          </ac:picMkLst>
        </pc:picChg>
        <pc:picChg chg="add mod">
          <ac:chgData name="Abdi, Adnan" userId="503e002c-9b3b-4180-87fb-acabeb2b158a" providerId="ADAL" clId="{5C2CD6D4-C7A9-4CEF-AA9C-BC2977F70622}" dt="2024-02-21T11:36:30.552" v="33350"/>
          <ac:picMkLst>
            <pc:docMk/>
            <pc:sldMk cId="1633419770" sldId="2147483608"/>
            <ac:picMk id="93" creationId="{2251A654-632F-01B2-337C-98AAF4A16F8E}"/>
          </ac:picMkLst>
        </pc:picChg>
        <pc:picChg chg="add mod">
          <ac:chgData name="Abdi, Adnan" userId="503e002c-9b3b-4180-87fb-acabeb2b158a" providerId="ADAL" clId="{5C2CD6D4-C7A9-4CEF-AA9C-BC2977F70622}" dt="2024-02-21T11:36:30.555" v="33351"/>
          <ac:picMkLst>
            <pc:docMk/>
            <pc:sldMk cId="1633419770" sldId="2147483608"/>
            <ac:picMk id="94" creationId="{9181011E-110A-BDA1-6220-BE150EC7A633}"/>
          </ac:picMkLst>
        </pc:picChg>
        <pc:picChg chg="add mod">
          <ac:chgData name="Abdi, Adnan" userId="503e002c-9b3b-4180-87fb-acabeb2b158a" providerId="ADAL" clId="{5C2CD6D4-C7A9-4CEF-AA9C-BC2977F70622}" dt="2024-02-21T11:36:30.546" v="33347"/>
          <ac:picMkLst>
            <pc:docMk/>
            <pc:sldMk cId="1633419770" sldId="2147483608"/>
            <ac:picMk id="95" creationId="{756FA226-FBAA-1E5B-687F-57CF47651FDD}"/>
          </ac:picMkLst>
        </pc:picChg>
        <pc:picChg chg="add mod">
          <ac:chgData name="Abdi, Adnan" userId="503e002c-9b3b-4180-87fb-acabeb2b158a" providerId="ADAL" clId="{5C2CD6D4-C7A9-4CEF-AA9C-BC2977F70622}" dt="2024-02-21T11:36:30.544" v="33346"/>
          <ac:picMkLst>
            <pc:docMk/>
            <pc:sldMk cId="1633419770" sldId="2147483608"/>
            <ac:picMk id="96" creationId="{B5E44FC4-7DEF-B07B-3B31-CA0180898FA2}"/>
          </ac:picMkLst>
        </pc:picChg>
        <pc:picChg chg="mod">
          <ac:chgData name="Abdi, Adnan" userId="503e002c-9b3b-4180-87fb-acabeb2b158a" providerId="ADAL" clId="{5C2CD6D4-C7A9-4CEF-AA9C-BC2977F70622}" dt="2024-02-21T11:36:30.542" v="33345"/>
          <ac:picMkLst>
            <pc:docMk/>
            <pc:sldMk cId="1633419770" sldId="2147483608"/>
            <ac:picMk id="98" creationId="{AC589EBB-2E8B-DA1A-E34E-6F8714EC2CE6}"/>
          </ac:picMkLst>
        </pc:picChg>
        <pc:picChg chg="add mod">
          <ac:chgData name="Abdi, Adnan" userId="503e002c-9b3b-4180-87fb-acabeb2b158a" providerId="ADAL" clId="{5C2CD6D4-C7A9-4CEF-AA9C-BC2977F70622}" dt="2024-02-21T11:36:30.548" v="33348"/>
          <ac:picMkLst>
            <pc:docMk/>
            <pc:sldMk cId="1633419770" sldId="2147483608"/>
            <ac:picMk id="100" creationId="{4FADB4D1-3685-610F-2F29-46CBC6E39C0B}"/>
          </ac:picMkLst>
        </pc:picChg>
        <pc:picChg chg="add mod">
          <ac:chgData name="Abdi, Adnan" userId="503e002c-9b3b-4180-87fb-acabeb2b158a" providerId="ADAL" clId="{5C2CD6D4-C7A9-4CEF-AA9C-BC2977F70622}" dt="2024-02-21T11:36:30.560" v="33354"/>
          <ac:picMkLst>
            <pc:docMk/>
            <pc:sldMk cId="1633419770" sldId="2147483608"/>
            <ac:picMk id="101" creationId="{FE456544-EA21-C753-A14B-DC652CCAE1F3}"/>
          </ac:picMkLst>
        </pc:picChg>
        <pc:picChg chg="add mod">
          <ac:chgData name="Abdi, Adnan" userId="503e002c-9b3b-4180-87fb-acabeb2b158a" providerId="ADAL" clId="{5C2CD6D4-C7A9-4CEF-AA9C-BC2977F70622}" dt="2024-02-21T11:36:30.562" v="33356"/>
          <ac:picMkLst>
            <pc:docMk/>
            <pc:sldMk cId="1633419770" sldId="2147483608"/>
            <ac:picMk id="102" creationId="{B63D8130-783E-5510-582F-D9962491AD67}"/>
          </ac:picMkLst>
        </pc:picChg>
        <pc:picChg chg="add mod">
          <ac:chgData name="Abdi, Adnan" userId="503e002c-9b3b-4180-87fb-acabeb2b158a" providerId="ADAL" clId="{5C2CD6D4-C7A9-4CEF-AA9C-BC2977F70622}" dt="2024-02-21T11:36:30.564" v="33357"/>
          <ac:picMkLst>
            <pc:docMk/>
            <pc:sldMk cId="1633419770" sldId="2147483608"/>
            <ac:picMk id="103" creationId="{07109C93-9FAB-2FE0-4EC0-7DE66CBEE10A}"/>
          </ac:picMkLst>
        </pc:picChg>
        <pc:picChg chg="add mod">
          <ac:chgData name="Abdi, Adnan" userId="503e002c-9b3b-4180-87fb-acabeb2b158a" providerId="ADAL" clId="{5C2CD6D4-C7A9-4CEF-AA9C-BC2977F70622}" dt="2024-02-21T11:36:30.566" v="33358"/>
          <ac:picMkLst>
            <pc:docMk/>
            <pc:sldMk cId="1633419770" sldId="2147483608"/>
            <ac:picMk id="104" creationId="{3D6CDDE1-785B-8443-23BD-C8587C13BED9}"/>
          </ac:picMkLst>
        </pc:picChg>
        <pc:picChg chg="add mod">
          <ac:chgData name="Abdi, Adnan" userId="503e002c-9b3b-4180-87fb-acabeb2b158a" providerId="ADAL" clId="{5C2CD6D4-C7A9-4CEF-AA9C-BC2977F70622}" dt="2024-02-21T11:36:28.804" v="33344" actId="408"/>
          <ac:picMkLst>
            <pc:docMk/>
            <pc:sldMk cId="1633419770" sldId="2147483608"/>
            <ac:picMk id="105" creationId="{8EE4FCCA-0E99-95DC-E38F-289F50D5F156}"/>
          </ac:picMkLst>
        </pc:picChg>
        <pc:picChg chg="add del">
          <ac:chgData name="Abdi, Adnan" userId="503e002c-9b3b-4180-87fb-acabeb2b158a" providerId="ADAL" clId="{5C2CD6D4-C7A9-4CEF-AA9C-BC2977F70622}" dt="2024-02-21T09:19:14.221" v="32681" actId="478"/>
          <ac:picMkLst>
            <pc:docMk/>
            <pc:sldMk cId="1633419770" sldId="2147483608"/>
            <ac:picMk id="3074" creationId="{70DCA9EC-3F67-9335-BE89-EE44F2C24468}"/>
          </ac:picMkLst>
        </pc:picChg>
        <pc:picChg chg="add del mod">
          <ac:chgData name="Abdi, Adnan" userId="503e002c-9b3b-4180-87fb-acabeb2b158a" providerId="ADAL" clId="{5C2CD6D4-C7A9-4CEF-AA9C-BC2977F70622}" dt="2024-02-21T09:21:27.159" v="32698" actId="21"/>
          <ac:picMkLst>
            <pc:docMk/>
            <pc:sldMk cId="1633419770" sldId="2147483608"/>
            <ac:picMk id="3076" creationId="{25A814A4-AC50-3C47-CF39-719BE8022816}"/>
          </ac:picMkLst>
        </pc:picChg>
        <pc:picChg chg="add mod">
          <ac:chgData name="Abdi, Adnan" userId="503e002c-9b3b-4180-87fb-acabeb2b158a" providerId="ADAL" clId="{5C2CD6D4-C7A9-4CEF-AA9C-BC2977F70622}" dt="2024-02-21T11:15:22.024" v="32894" actId="1036"/>
          <ac:picMkLst>
            <pc:docMk/>
            <pc:sldMk cId="1633419770" sldId="2147483608"/>
            <ac:picMk id="3078" creationId="{2B2D1DEA-DF0F-37D5-A893-8DE232E97259}"/>
          </ac:picMkLst>
        </pc:picChg>
        <pc:cxnChg chg="mod ord">
          <ac:chgData name="Abdi, Adnan" userId="503e002c-9b3b-4180-87fb-acabeb2b158a" providerId="ADAL" clId="{5C2CD6D4-C7A9-4CEF-AA9C-BC2977F70622}" dt="2024-02-21T11:33:28.923" v="33242" actId="14100"/>
          <ac:cxnSpMkLst>
            <pc:docMk/>
            <pc:sldMk cId="1633419770" sldId="2147483608"/>
            <ac:cxnSpMk id="35" creationId="{DFB16D3E-7CA9-5667-6DFB-41E49EFEEBD8}"/>
          </ac:cxnSpMkLst>
        </pc:cxnChg>
        <pc:cxnChg chg="mod ord">
          <ac:chgData name="Abdi, Adnan" userId="503e002c-9b3b-4180-87fb-acabeb2b158a" providerId="ADAL" clId="{5C2CD6D4-C7A9-4CEF-AA9C-BC2977F70622}" dt="2024-02-21T11:15:22.024" v="32894" actId="1036"/>
          <ac:cxnSpMkLst>
            <pc:docMk/>
            <pc:sldMk cId="1633419770" sldId="2147483608"/>
            <ac:cxnSpMk id="36" creationId="{85A11148-F63C-F35D-311E-F14B7DBEFA4D}"/>
          </ac:cxnSpMkLst>
        </pc:cxnChg>
        <pc:cxnChg chg="mod ord">
          <ac:chgData name="Abdi, Adnan" userId="503e002c-9b3b-4180-87fb-acabeb2b158a" providerId="ADAL" clId="{5C2CD6D4-C7A9-4CEF-AA9C-BC2977F70622}" dt="2024-02-21T11:15:22.024" v="32894" actId="1036"/>
          <ac:cxnSpMkLst>
            <pc:docMk/>
            <pc:sldMk cId="1633419770" sldId="2147483608"/>
            <ac:cxnSpMk id="37" creationId="{75974621-F633-8965-DE41-06CE99FF7DE3}"/>
          </ac:cxnSpMkLst>
        </pc:cxnChg>
        <pc:cxnChg chg="mod ord">
          <ac:chgData name="Abdi, Adnan" userId="503e002c-9b3b-4180-87fb-acabeb2b158a" providerId="ADAL" clId="{5C2CD6D4-C7A9-4CEF-AA9C-BC2977F70622}" dt="2024-02-21T11:15:22.024" v="32894" actId="1036"/>
          <ac:cxnSpMkLst>
            <pc:docMk/>
            <pc:sldMk cId="1633419770" sldId="2147483608"/>
            <ac:cxnSpMk id="86" creationId="{2862437A-5AEA-533C-8901-D5CD4463AB57}"/>
          </ac:cxnSpMkLst>
        </pc:cxnChg>
        <pc:cxnChg chg="mod ord">
          <ac:chgData name="Abdi, Adnan" userId="503e002c-9b3b-4180-87fb-acabeb2b158a" providerId="ADAL" clId="{5C2CD6D4-C7A9-4CEF-AA9C-BC2977F70622}" dt="2024-02-21T11:15:22.024" v="32894" actId="1036"/>
          <ac:cxnSpMkLst>
            <pc:docMk/>
            <pc:sldMk cId="1633419770" sldId="2147483608"/>
            <ac:cxnSpMk id="89" creationId="{3D1D08B6-4F37-675F-F286-2E034EC93956}"/>
          </ac:cxnSpMkLst>
        </pc:cxnChg>
      </pc:sldChg>
      <pc:sldChg chg="addSp delSp modSp mod ord modShow">
        <pc:chgData name="Abdi, Adnan" userId="503e002c-9b3b-4180-87fb-acabeb2b158a" providerId="ADAL" clId="{5C2CD6D4-C7A9-4CEF-AA9C-BC2977F70622}" dt="2024-02-26T09:10:03.781" v="73101"/>
        <pc:sldMkLst>
          <pc:docMk/>
          <pc:sldMk cId="88510384" sldId="2147483609"/>
        </pc:sldMkLst>
        <pc:spChg chg="mod">
          <ac:chgData name="Abdi, Adnan" userId="503e002c-9b3b-4180-87fb-acabeb2b158a" providerId="ADAL" clId="{5C2CD6D4-C7A9-4CEF-AA9C-BC2977F70622}" dt="2024-02-26T09:10:03.781" v="73101"/>
          <ac:spMkLst>
            <pc:docMk/>
            <pc:sldMk cId="88510384" sldId="2147483609"/>
            <ac:spMk id="3" creationId="{2A8ADDC9-D00C-1954-DFE8-F0E95E7C8B28}"/>
          </ac:spMkLst>
        </pc:spChg>
        <pc:spChg chg="add mod">
          <ac:chgData name="Abdi, Adnan" userId="503e002c-9b3b-4180-87fb-acabeb2b158a" providerId="ADAL" clId="{5C2CD6D4-C7A9-4CEF-AA9C-BC2977F70622}" dt="2024-02-23T15:32:09.917" v="71465"/>
          <ac:spMkLst>
            <pc:docMk/>
            <pc:sldMk cId="88510384" sldId="2147483609"/>
            <ac:spMk id="4" creationId="{6461218D-5FFA-3C97-9D01-D3D8DE88FF03}"/>
          </ac:spMkLst>
        </pc:spChg>
        <pc:spChg chg="add mod">
          <ac:chgData name="Abdi, Adnan" userId="503e002c-9b3b-4180-87fb-acabeb2b158a" providerId="ADAL" clId="{5C2CD6D4-C7A9-4CEF-AA9C-BC2977F70622}" dt="2024-02-22T13:50:48.103" v="57235" actId="164"/>
          <ac:spMkLst>
            <pc:docMk/>
            <pc:sldMk cId="88510384" sldId="2147483609"/>
            <ac:spMk id="13" creationId="{915C987C-0111-5CAD-4371-FAA70645BD64}"/>
          </ac:spMkLst>
        </pc:spChg>
        <pc:spChg chg="mod">
          <ac:chgData name="Abdi, Adnan" userId="503e002c-9b3b-4180-87fb-acabeb2b158a" providerId="ADAL" clId="{5C2CD6D4-C7A9-4CEF-AA9C-BC2977F70622}" dt="2024-02-23T18:34:27.461" v="71539"/>
          <ac:spMkLst>
            <pc:docMk/>
            <pc:sldMk cId="88510384" sldId="2147483609"/>
            <ac:spMk id="14" creationId="{C0E443D7-4E4B-9B1D-0774-FDF0EB694C92}"/>
          </ac:spMkLst>
        </pc:spChg>
        <pc:spChg chg="add mod">
          <ac:chgData name="Abdi, Adnan" userId="503e002c-9b3b-4180-87fb-acabeb2b158a" providerId="ADAL" clId="{5C2CD6D4-C7A9-4CEF-AA9C-BC2977F70622}" dt="2024-02-22T13:50:48.103" v="57235" actId="164"/>
          <ac:spMkLst>
            <pc:docMk/>
            <pc:sldMk cId="88510384" sldId="2147483609"/>
            <ac:spMk id="15" creationId="{536F15AB-D8BE-326A-D283-8F45BD0170BB}"/>
          </ac:spMkLst>
        </pc:spChg>
        <pc:spChg chg="add mod">
          <ac:chgData name="Abdi, Adnan" userId="503e002c-9b3b-4180-87fb-acabeb2b158a" providerId="ADAL" clId="{5C2CD6D4-C7A9-4CEF-AA9C-BC2977F70622}" dt="2024-02-22T13:50:48.103" v="57235" actId="164"/>
          <ac:spMkLst>
            <pc:docMk/>
            <pc:sldMk cId="88510384" sldId="2147483609"/>
            <ac:spMk id="16" creationId="{91E7903C-2594-FABA-BF70-9CF0652C1FEF}"/>
          </ac:spMkLst>
        </pc:spChg>
        <pc:spChg chg="add del mod">
          <ac:chgData name="Abdi, Adnan" userId="503e002c-9b3b-4180-87fb-acabeb2b158a" providerId="ADAL" clId="{5C2CD6D4-C7A9-4CEF-AA9C-BC2977F70622}" dt="2024-02-22T14:11:40.896" v="57954" actId="478"/>
          <ac:spMkLst>
            <pc:docMk/>
            <pc:sldMk cId="88510384" sldId="2147483609"/>
            <ac:spMk id="18" creationId="{F9D79453-3EA9-5446-ED56-ECCC9843E06C}"/>
          </ac:spMkLst>
        </pc:spChg>
        <pc:spChg chg="add mod">
          <ac:chgData name="Abdi, Adnan" userId="503e002c-9b3b-4180-87fb-acabeb2b158a" providerId="ADAL" clId="{5C2CD6D4-C7A9-4CEF-AA9C-BC2977F70622}" dt="2024-02-22T14:11:15.282" v="57952" actId="20577"/>
          <ac:spMkLst>
            <pc:docMk/>
            <pc:sldMk cId="88510384" sldId="2147483609"/>
            <ac:spMk id="21" creationId="{D8652694-9909-0D26-B51C-FC1B9866B6EA}"/>
          </ac:spMkLst>
        </pc:spChg>
        <pc:spChg chg="add mod">
          <ac:chgData name="Abdi, Adnan" userId="503e002c-9b3b-4180-87fb-acabeb2b158a" providerId="ADAL" clId="{5C2CD6D4-C7A9-4CEF-AA9C-BC2977F70622}" dt="2024-02-22T13:59:14.765" v="57690"/>
          <ac:spMkLst>
            <pc:docMk/>
            <pc:sldMk cId="88510384" sldId="2147483609"/>
            <ac:spMk id="22" creationId="{C7E2A7DD-EBBF-65E9-1A04-3C81A978F6A5}"/>
          </ac:spMkLst>
        </pc:spChg>
        <pc:spChg chg="mod">
          <ac:chgData name="Abdi, Adnan" userId="503e002c-9b3b-4180-87fb-acabeb2b158a" providerId="ADAL" clId="{5C2CD6D4-C7A9-4CEF-AA9C-BC2977F70622}" dt="2024-02-23T18:34:27.461" v="71539"/>
          <ac:spMkLst>
            <pc:docMk/>
            <pc:sldMk cId="88510384" sldId="2147483609"/>
            <ac:spMk id="26" creationId="{B681243F-25F9-774A-8FE2-488425A08045}"/>
          </ac:spMkLst>
        </pc:spChg>
        <pc:spChg chg="mod">
          <ac:chgData name="Abdi, Adnan" userId="503e002c-9b3b-4180-87fb-acabeb2b158a" providerId="ADAL" clId="{5C2CD6D4-C7A9-4CEF-AA9C-BC2977F70622}" dt="2024-02-23T18:34:27.461" v="71539"/>
          <ac:spMkLst>
            <pc:docMk/>
            <pc:sldMk cId="88510384" sldId="2147483609"/>
            <ac:spMk id="28" creationId="{0CCC5F9A-B691-47D6-7F73-20E96765204F}"/>
          </ac:spMkLst>
        </pc:spChg>
        <pc:spChg chg="mod">
          <ac:chgData name="Abdi, Adnan" userId="503e002c-9b3b-4180-87fb-acabeb2b158a" providerId="ADAL" clId="{5C2CD6D4-C7A9-4CEF-AA9C-BC2977F70622}" dt="2024-02-23T18:34:27.461" v="71539"/>
          <ac:spMkLst>
            <pc:docMk/>
            <pc:sldMk cId="88510384" sldId="2147483609"/>
            <ac:spMk id="31" creationId="{B44FD3F8-8599-237D-9A2F-C44CBED455D0}"/>
          </ac:spMkLst>
        </pc:spChg>
        <pc:spChg chg="mod">
          <ac:chgData name="Abdi, Adnan" userId="503e002c-9b3b-4180-87fb-acabeb2b158a" providerId="ADAL" clId="{5C2CD6D4-C7A9-4CEF-AA9C-BC2977F70622}" dt="2024-02-23T18:34:27.461" v="71539"/>
          <ac:spMkLst>
            <pc:docMk/>
            <pc:sldMk cId="88510384" sldId="2147483609"/>
            <ac:spMk id="36" creationId="{FEF246A5-4168-38A6-9FA4-CE1CC3ACFB5D}"/>
          </ac:spMkLst>
        </pc:spChg>
        <pc:spChg chg="mod">
          <ac:chgData name="Abdi, Adnan" userId="503e002c-9b3b-4180-87fb-acabeb2b158a" providerId="ADAL" clId="{5C2CD6D4-C7A9-4CEF-AA9C-BC2977F70622}" dt="2024-02-23T18:34:27.461" v="71539"/>
          <ac:spMkLst>
            <pc:docMk/>
            <pc:sldMk cId="88510384" sldId="2147483609"/>
            <ac:spMk id="37" creationId="{B9C2BCDD-793C-2D1F-C599-60521FF3554A}"/>
          </ac:spMkLst>
        </pc:spChg>
        <pc:spChg chg="mod">
          <ac:chgData name="Abdi, Adnan" userId="503e002c-9b3b-4180-87fb-acabeb2b158a" providerId="ADAL" clId="{5C2CD6D4-C7A9-4CEF-AA9C-BC2977F70622}" dt="2024-02-23T18:34:27.461" v="71539"/>
          <ac:spMkLst>
            <pc:docMk/>
            <pc:sldMk cId="88510384" sldId="2147483609"/>
            <ac:spMk id="39" creationId="{B6ECE51B-363E-6B9F-DAA5-996829DE6EA0}"/>
          </ac:spMkLst>
        </pc:spChg>
        <pc:spChg chg="mod">
          <ac:chgData name="Abdi, Adnan" userId="503e002c-9b3b-4180-87fb-acabeb2b158a" providerId="ADAL" clId="{5C2CD6D4-C7A9-4CEF-AA9C-BC2977F70622}" dt="2024-02-23T18:34:27.461" v="71539"/>
          <ac:spMkLst>
            <pc:docMk/>
            <pc:sldMk cId="88510384" sldId="2147483609"/>
            <ac:spMk id="40" creationId="{907DE964-C6BF-7FD3-7A98-95DC17AE1E7D}"/>
          </ac:spMkLst>
        </pc:spChg>
        <pc:spChg chg="mod">
          <ac:chgData name="Abdi, Adnan" userId="503e002c-9b3b-4180-87fb-acabeb2b158a" providerId="ADAL" clId="{5C2CD6D4-C7A9-4CEF-AA9C-BC2977F70622}" dt="2024-02-23T18:34:27.461" v="71539"/>
          <ac:spMkLst>
            <pc:docMk/>
            <pc:sldMk cId="88510384" sldId="2147483609"/>
            <ac:spMk id="41" creationId="{7906A662-6B8D-BCCB-A047-4B7AEBCF9D8C}"/>
          </ac:spMkLst>
        </pc:spChg>
        <pc:spChg chg="mod">
          <ac:chgData name="Abdi, Adnan" userId="503e002c-9b3b-4180-87fb-acabeb2b158a" providerId="ADAL" clId="{5C2CD6D4-C7A9-4CEF-AA9C-BC2977F70622}" dt="2024-02-23T18:34:27.461" v="71539"/>
          <ac:spMkLst>
            <pc:docMk/>
            <pc:sldMk cId="88510384" sldId="2147483609"/>
            <ac:spMk id="44" creationId="{A577934E-16C3-A4F0-53A2-00FA34E8D5F8}"/>
          </ac:spMkLst>
        </pc:spChg>
        <pc:spChg chg="add mod">
          <ac:chgData name="Abdi, Adnan" userId="503e002c-9b3b-4180-87fb-acabeb2b158a" providerId="ADAL" clId="{5C2CD6D4-C7A9-4CEF-AA9C-BC2977F70622}" dt="2024-02-23T18:39:09.790" v="71568"/>
          <ac:spMkLst>
            <pc:docMk/>
            <pc:sldMk cId="88510384" sldId="2147483609"/>
            <ac:spMk id="51" creationId="{0C880875-8033-B746-B669-BAF437D6E628}"/>
          </ac:spMkLst>
        </pc:spChg>
        <pc:spChg chg="mod topLvl">
          <ac:chgData name="Abdi, Adnan" userId="503e002c-9b3b-4180-87fb-acabeb2b158a" providerId="ADAL" clId="{5C2CD6D4-C7A9-4CEF-AA9C-BC2977F70622}" dt="2024-02-23T18:34:48.464" v="71544" actId="1035"/>
          <ac:spMkLst>
            <pc:docMk/>
            <pc:sldMk cId="88510384" sldId="2147483609"/>
            <ac:spMk id="55" creationId="{3A29D9B7-E72E-5D86-AB03-FD6EFF342516}"/>
          </ac:spMkLst>
        </pc:spChg>
        <pc:spChg chg="mod topLvl">
          <ac:chgData name="Abdi, Adnan" userId="503e002c-9b3b-4180-87fb-acabeb2b158a" providerId="ADAL" clId="{5C2CD6D4-C7A9-4CEF-AA9C-BC2977F70622}" dt="2024-02-23T18:34:48.464" v="71544" actId="1035"/>
          <ac:spMkLst>
            <pc:docMk/>
            <pc:sldMk cId="88510384" sldId="2147483609"/>
            <ac:spMk id="61" creationId="{7887A407-2835-6084-2344-33F19DE886CC}"/>
          </ac:spMkLst>
        </pc:spChg>
        <pc:spChg chg="mod topLvl">
          <ac:chgData name="Abdi, Adnan" userId="503e002c-9b3b-4180-87fb-acabeb2b158a" providerId="ADAL" clId="{5C2CD6D4-C7A9-4CEF-AA9C-BC2977F70622}" dt="2024-02-23T18:34:48.464" v="71544" actId="1035"/>
          <ac:spMkLst>
            <pc:docMk/>
            <pc:sldMk cId="88510384" sldId="2147483609"/>
            <ac:spMk id="62" creationId="{243A2D2E-543B-8E06-F4F9-89F5DFA84DC9}"/>
          </ac:spMkLst>
        </pc:spChg>
        <pc:spChg chg="mod topLvl">
          <ac:chgData name="Abdi, Adnan" userId="503e002c-9b3b-4180-87fb-acabeb2b158a" providerId="ADAL" clId="{5C2CD6D4-C7A9-4CEF-AA9C-BC2977F70622}" dt="2024-02-23T18:34:48.464" v="71544" actId="1035"/>
          <ac:spMkLst>
            <pc:docMk/>
            <pc:sldMk cId="88510384" sldId="2147483609"/>
            <ac:spMk id="63" creationId="{4D235B5C-F641-8C20-BF39-A54BA7C85250}"/>
          </ac:spMkLst>
        </pc:spChg>
        <pc:spChg chg="mod">
          <ac:chgData name="Abdi, Adnan" userId="503e002c-9b3b-4180-87fb-acabeb2b158a" providerId="ADAL" clId="{5C2CD6D4-C7A9-4CEF-AA9C-BC2977F70622}" dt="2024-02-23T18:34:27.461" v="71539"/>
          <ac:spMkLst>
            <pc:docMk/>
            <pc:sldMk cId="88510384" sldId="2147483609"/>
            <ac:spMk id="64" creationId="{8343C1B7-4CA0-DE93-0FE0-052E1F86A6C2}"/>
          </ac:spMkLst>
        </pc:spChg>
        <pc:spChg chg="mod topLvl">
          <ac:chgData name="Abdi, Adnan" userId="503e002c-9b3b-4180-87fb-acabeb2b158a" providerId="ADAL" clId="{5C2CD6D4-C7A9-4CEF-AA9C-BC2977F70622}" dt="2024-02-23T18:34:48.464" v="71544" actId="1035"/>
          <ac:spMkLst>
            <pc:docMk/>
            <pc:sldMk cId="88510384" sldId="2147483609"/>
            <ac:spMk id="65" creationId="{B3748619-3217-25FA-0663-12BCB9781F51}"/>
          </ac:spMkLst>
        </pc:spChg>
        <pc:spChg chg="mod">
          <ac:chgData name="Abdi, Adnan" userId="503e002c-9b3b-4180-87fb-acabeb2b158a" providerId="ADAL" clId="{5C2CD6D4-C7A9-4CEF-AA9C-BC2977F70622}" dt="2024-02-23T15:46:22.043" v="71500" actId="465"/>
          <ac:spMkLst>
            <pc:docMk/>
            <pc:sldMk cId="88510384" sldId="2147483609"/>
            <ac:spMk id="100" creationId="{0039313B-E0FB-413F-FC29-126839959669}"/>
          </ac:spMkLst>
        </pc:spChg>
        <pc:spChg chg="mod">
          <ac:chgData name="Abdi, Adnan" userId="503e002c-9b3b-4180-87fb-acabeb2b158a" providerId="ADAL" clId="{5C2CD6D4-C7A9-4CEF-AA9C-BC2977F70622}" dt="2024-02-23T15:46:22.043" v="71500" actId="465"/>
          <ac:spMkLst>
            <pc:docMk/>
            <pc:sldMk cId="88510384" sldId="2147483609"/>
            <ac:spMk id="112" creationId="{E01CF036-FC5B-9DC1-A861-AD6376C6D595}"/>
          </ac:spMkLst>
        </pc:spChg>
        <pc:spChg chg="mod">
          <ac:chgData name="Abdi, Adnan" userId="503e002c-9b3b-4180-87fb-acabeb2b158a" providerId="ADAL" clId="{5C2CD6D4-C7A9-4CEF-AA9C-BC2977F70622}" dt="2024-02-23T15:46:22.043" v="71500" actId="465"/>
          <ac:spMkLst>
            <pc:docMk/>
            <pc:sldMk cId="88510384" sldId="2147483609"/>
            <ac:spMk id="113" creationId="{5AE9EB04-4558-CF37-BB8C-EF754C7A228E}"/>
          </ac:spMkLst>
        </pc:spChg>
        <pc:spChg chg="mod">
          <ac:chgData name="Abdi, Adnan" userId="503e002c-9b3b-4180-87fb-acabeb2b158a" providerId="ADAL" clId="{5C2CD6D4-C7A9-4CEF-AA9C-BC2977F70622}" dt="2024-02-23T15:46:19.262" v="71499" actId="1036"/>
          <ac:spMkLst>
            <pc:docMk/>
            <pc:sldMk cId="88510384" sldId="2147483609"/>
            <ac:spMk id="115" creationId="{31F76271-CC18-804E-AFE5-356F0C6041D7}"/>
          </ac:spMkLst>
        </pc:spChg>
        <pc:spChg chg="mod">
          <ac:chgData name="Abdi, Adnan" userId="503e002c-9b3b-4180-87fb-acabeb2b158a" providerId="ADAL" clId="{5C2CD6D4-C7A9-4CEF-AA9C-BC2977F70622}" dt="2024-02-23T15:44:05.695" v="71469" actId="404"/>
          <ac:spMkLst>
            <pc:docMk/>
            <pc:sldMk cId="88510384" sldId="2147483609"/>
            <ac:spMk id="118" creationId="{046BF868-6DA0-70AA-6DA7-2B75D668F063}"/>
          </ac:spMkLst>
        </pc:spChg>
        <pc:spChg chg="mod">
          <ac:chgData name="Abdi, Adnan" userId="503e002c-9b3b-4180-87fb-acabeb2b158a" providerId="ADAL" clId="{5C2CD6D4-C7A9-4CEF-AA9C-BC2977F70622}" dt="2024-02-22T14:11:46.889" v="57955" actId="1076"/>
          <ac:spMkLst>
            <pc:docMk/>
            <pc:sldMk cId="88510384" sldId="2147483609"/>
            <ac:spMk id="1043" creationId="{027E0443-13EA-255C-1CF7-BB6D6D75D4EE}"/>
          </ac:spMkLst>
        </pc:spChg>
        <pc:spChg chg="mod">
          <ac:chgData name="Abdi, Adnan" userId="503e002c-9b3b-4180-87fb-acabeb2b158a" providerId="ADAL" clId="{5C2CD6D4-C7A9-4CEF-AA9C-BC2977F70622}" dt="2024-02-22T13:39:21.462" v="56835" actId="2711"/>
          <ac:spMkLst>
            <pc:docMk/>
            <pc:sldMk cId="88510384" sldId="2147483609"/>
            <ac:spMk id="1077" creationId="{E4158BB1-9CA7-0684-1C01-80D943AE767D}"/>
          </ac:spMkLst>
        </pc:spChg>
        <pc:spChg chg="mod">
          <ac:chgData name="Abdi, Adnan" userId="503e002c-9b3b-4180-87fb-acabeb2b158a" providerId="ADAL" clId="{5C2CD6D4-C7A9-4CEF-AA9C-BC2977F70622}" dt="2024-02-23T15:48:15.103" v="71532" actId="165"/>
          <ac:spMkLst>
            <pc:docMk/>
            <pc:sldMk cId="88510384" sldId="2147483609"/>
            <ac:spMk id="1300" creationId="{5835EAEE-FC08-D341-FEF7-76CD070CB7B9}"/>
          </ac:spMkLst>
        </pc:spChg>
        <pc:grpChg chg="mod">
          <ac:chgData name="Abdi, Adnan" userId="503e002c-9b3b-4180-87fb-acabeb2b158a" providerId="ADAL" clId="{5C2CD6D4-C7A9-4CEF-AA9C-BC2977F70622}" dt="2024-02-23T18:34:27.461" v="71539"/>
          <ac:grpSpMkLst>
            <pc:docMk/>
            <pc:sldMk cId="88510384" sldId="2147483609"/>
            <ac:grpSpMk id="2" creationId="{0FFBC4EA-61E4-7F05-7283-85E4590FBE37}"/>
          </ac:grpSpMkLst>
        </pc:grpChg>
        <pc:grpChg chg="add del mod">
          <ac:chgData name="Abdi, Adnan" userId="503e002c-9b3b-4180-87fb-acabeb2b158a" providerId="ADAL" clId="{5C2CD6D4-C7A9-4CEF-AA9C-BC2977F70622}" dt="2024-02-22T13:57:10.239" v="57595" actId="165"/>
          <ac:grpSpMkLst>
            <pc:docMk/>
            <pc:sldMk cId="88510384" sldId="2147483609"/>
            <ac:grpSpMk id="5" creationId="{F297E7BB-4570-CB15-E2B5-022126A13F78}"/>
          </ac:grpSpMkLst>
        </pc:grpChg>
        <pc:grpChg chg="add del mod">
          <ac:chgData name="Abdi, Adnan" userId="503e002c-9b3b-4180-87fb-acabeb2b158a" providerId="ADAL" clId="{5C2CD6D4-C7A9-4CEF-AA9C-BC2977F70622}" dt="2024-02-22T13:57:20" v="57668" actId="165"/>
          <ac:grpSpMkLst>
            <pc:docMk/>
            <pc:sldMk cId="88510384" sldId="2147483609"/>
            <ac:grpSpMk id="6" creationId="{307C1392-0AEF-BD04-6D42-658E61E2CD5E}"/>
          </ac:grpSpMkLst>
        </pc:grpChg>
        <pc:grpChg chg="add del mod">
          <ac:chgData name="Abdi, Adnan" userId="503e002c-9b3b-4180-87fb-acabeb2b158a" providerId="ADAL" clId="{5C2CD6D4-C7A9-4CEF-AA9C-BC2977F70622}" dt="2024-02-22T13:56:07.251" v="57456" actId="165"/>
          <ac:grpSpMkLst>
            <pc:docMk/>
            <pc:sldMk cId="88510384" sldId="2147483609"/>
            <ac:grpSpMk id="7" creationId="{7D188E1D-A299-5F43-6564-BF4F68665444}"/>
          </ac:grpSpMkLst>
        </pc:grpChg>
        <pc:grpChg chg="add del mod">
          <ac:chgData name="Abdi, Adnan" userId="503e002c-9b3b-4180-87fb-acabeb2b158a" providerId="ADAL" clId="{5C2CD6D4-C7A9-4CEF-AA9C-BC2977F70622}" dt="2024-02-22T13:55:40.678" v="57437" actId="165"/>
          <ac:grpSpMkLst>
            <pc:docMk/>
            <pc:sldMk cId="88510384" sldId="2147483609"/>
            <ac:grpSpMk id="8" creationId="{9FE2104D-5EF4-DA14-5FBB-7E0720D0875E}"/>
          </ac:grpSpMkLst>
        </pc:grpChg>
        <pc:grpChg chg="add mod">
          <ac:chgData name="Abdi, Adnan" userId="503e002c-9b3b-4180-87fb-acabeb2b158a" providerId="ADAL" clId="{5C2CD6D4-C7A9-4CEF-AA9C-BC2977F70622}" dt="2024-02-22T13:48:54.723" v="57193" actId="164"/>
          <ac:grpSpMkLst>
            <pc:docMk/>
            <pc:sldMk cId="88510384" sldId="2147483609"/>
            <ac:grpSpMk id="9" creationId="{A76704E6-58E9-667E-AFEF-223CFC9626BC}"/>
          </ac:grpSpMkLst>
        </pc:grpChg>
        <pc:grpChg chg="add del mod">
          <ac:chgData name="Abdi, Adnan" userId="503e002c-9b3b-4180-87fb-acabeb2b158a" providerId="ADAL" clId="{5C2CD6D4-C7A9-4CEF-AA9C-BC2977F70622}" dt="2024-02-22T13:57:47.412" v="57676" actId="165"/>
          <ac:grpSpMkLst>
            <pc:docMk/>
            <pc:sldMk cId="88510384" sldId="2147483609"/>
            <ac:grpSpMk id="11" creationId="{BF2BE146-48A7-AB53-1951-8414CAD80D9B}"/>
          </ac:grpSpMkLst>
        </pc:grpChg>
        <pc:grpChg chg="mod">
          <ac:chgData name="Abdi, Adnan" userId="503e002c-9b3b-4180-87fb-acabeb2b158a" providerId="ADAL" clId="{5C2CD6D4-C7A9-4CEF-AA9C-BC2977F70622}" dt="2024-02-23T18:34:27.461" v="71539"/>
          <ac:grpSpMkLst>
            <pc:docMk/>
            <pc:sldMk cId="88510384" sldId="2147483609"/>
            <ac:grpSpMk id="12" creationId="{9E1F67CD-DC0A-9FD4-F861-B158ED733E43}"/>
          </ac:grpSpMkLst>
        </pc:grpChg>
        <pc:grpChg chg="add mod">
          <ac:chgData name="Abdi, Adnan" userId="503e002c-9b3b-4180-87fb-acabeb2b158a" providerId="ADAL" clId="{5C2CD6D4-C7A9-4CEF-AA9C-BC2977F70622}" dt="2024-02-22T13:50:48.103" v="57235" actId="164"/>
          <ac:grpSpMkLst>
            <pc:docMk/>
            <pc:sldMk cId="88510384" sldId="2147483609"/>
            <ac:grpSpMk id="17" creationId="{53437F36-AD96-568E-D38D-37AE4D700EC6}"/>
          </ac:grpSpMkLst>
        </pc:grpChg>
        <pc:grpChg chg="add mod">
          <ac:chgData name="Abdi, Adnan" userId="503e002c-9b3b-4180-87fb-acabeb2b158a" providerId="ADAL" clId="{5C2CD6D4-C7A9-4CEF-AA9C-BC2977F70622}" dt="2024-02-22T15:14:57.088" v="61062" actId="1036"/>
          <ac:grpSpMkLst>
            <pc:docMk/>
            <pc:sldMk cId="88510384" sldId="2147483609"/>
            <ac:grpSpMk id="32" creationId="{CCC24654-BE88-4178-C6EB-0CEE12E85008}"/>
          </ac:grpSpMkLst>
        </pc:grpChg>
        <pc:grpChg chg="add mod">
          <ac:chgData name="Abdi, Adnan" userId="503e002c-9b3b-4180-87fb-acabeb2b158a" providerId="ADAL" clId="{5C2CD6D4-C7A9-4CEF-AA9C-BC2977F70622}" dt="2024-02-22T15:15:11.886" v="61066"/>
          <ac:grpSpMkLst>
            <pc:docMk/>
            <pc:sldMk cId="88510384" sldId="2147483609"/>
            <ac:grpSpMk id="33" creationId="{9523D5D4-C8F2-E76C-089D-D52CD41DFE7F}"/>
          </ac:grpSpMkLst>
        </pc:grpChg>
        <pc:grpChg chg="mod">
          <ac:chgData name="Abdi, Adnan" userId="503e002c-9b3b-4180-87fb-acabeb2b158a" providerId="ADAL" clId="{5C2CD6D4-C7A9-4CEF-AA9C-BC2977F70622}" dt="2024-02-23T18:34:27.461" v="71539"/>
          <ac:grpSpMkLst>
            <pc:docMk/>
            <pc:sldMk cId="88510384" sldId="2147483609"/>
            <ac:grpSpMk id="34" creationId="{9FF788E6-5387-A2A8-0E57-012AFCD95939}"/>
          </ac:grpSpMkLst>
        </pc:grpChg>
        <pc:grpChg chg="add mod topLvl">
          <ac:chgData name="Abdi, Adnan" userId="503e002c-9b3b-4180-87fb-acabeb2b158a" providerId="ADAL" clId="{5C2CD6D4-C7A9-4CEF-AA9C-BC2977F70622}" dt="2024-02-23T15:47:20.265" v="71523" actId="14100"/>
          <ac:grpSpMkLst>
            <pc:docMk/>
            <pc:sldMk cId="88510384" sldId="2147483609"/>
            <ac:grpSpMk id="35" creationId="{965CC3FD-DC19-5828-48E9-CD49A0412E5E}"/>
          </ac:grpSpMkLst>
        </pc:grpChg>
        <pc:grpChg chg="add mod topLvl">
          <ac:chgData name="Abdi, Adnan" userId="503e002c-9b3b-4180-87fb-acabeb2b158a" providerId="ADAL" clId="{5C2CD6D4-C7A9-4CEF-AA9C-BC2977F70622}" dt="2024-02-23T15:48:12.445" v="71531" actId="165"/>
          <ac:grpSpMkLst>
            <pc:docMk/>
            <pc:sldMk cId="88510384" sldId="2147483609"/>
            <ac:grpSpMk id="38" creationId="{9C037C8D-518F-52AC-0E04-9E4BCCDB466D}"/>
          </ac:grpSpMkLst>
        </pc:grpChg>
        <pc:grpChg chg="add mod topLvl">
          <ac:chgData name="Abdi, Adnan" userId="503e002c-9b3b-4180-87fb-acabeb2b158a" providerId="ADAL" clId="{5C2CD6D4-C7A9-4CEF-AA9C-BC2977F70622}" dt="2024-02-23T15:48:15.103" v="71532" actId="165"/>
          <ac:grpSpMkLst>
            <pc:docMk/>
            <pc:sldMk cId="88510384" sldId="2147483609"/>
            <ac:grpSpMk id="42" creationId="{644CEEC1-D29F-B425-E6DE-0FF5304F603E}"/>
          </ac:grpSpMkLst>
        </pc:grpChg>
        <pc:grpChg chg="add del mod">
          <ac:chgData name="Abdi, Adnan" userId="503e002c-9b3b-4180-87fb-acabeb2b158a" providerId="ADAL" clId="{5C2CD6D4-C7A9-4CEF-AA9C-BC2977F70622}" dt="2024-02-23T15:48:15.103" v="71532" actId="165"/>
          <ac:grpSpMkLst>
            <pc:docMk/>
            <pc:sldMk cId="88510384" sldId="2147483609"/>
            <ac:grpSpMk id="46" creationId="{8FD57194-EFA9-3B51-7703-90BCD276766A}"/>
          </ac:grpSpMkLst>
        </pc:grpChg>
        <pc:grpChg chg="add del mod">
          <ac:chgData name="Abdi, Adnan" userId="503e002c-9b3b-4180-87fb-acabeb2b158a" providerId="ADAL" clId="{5C2CD6D4-C7A9-4CEF-AA9C-BC2977F70622}" dt="2024-02-23T15:47:11.424" v="71521" actId="165"/>
          <ac:grpSpMkLst>
            <pc:docMk/>
            <pc:sldMk cId="88510384" sldId="2147483609"/>
            <ac:grpSpMk id="47" creationId="{FB72F5A7-837B-D1B8-FE6C-58E27928A372}"/>
          </ac:grpSpMkLst>
        </pc:grpChg>
        <pc:grpChg chg="add del mod">
          <ac:chgData name="Abdi, Adnan" userId="503e002c-9b3b-4180-87fb-acabeb2b158a" providerId="ADAL" clId="{5C2CD6D4-C7A9-4CEF-AA9C-BC2977F70622}" dt="2024-02-23T15:48:12.445" v="71531" actId="165"/>
          <ac:grpSpMkLst>
            <pc:docMk/>
            <pc:sldMk cId="88510384" sldId="2147483609"/>
            <ac:grpSpMk id="48" creationId="{9179D026-582B-BB03-100E-139FE57F0CE8}"/>
          </ac:grpSpMkLst>
        </pc:grpChg>
        <pc:grpChg chg="mod topLvl">
          <ac:chgData name="Abdi, Adnan" userId="503e002c-9b3b-4180-87fb-acabeb2b158a" providerId="ADAL" clId="{5C2CD6D4-C7A9-4CEF-AA9C-BC2977F70622}" dt="2024-02-23T15:48:15.103" v="71532" actId="165"/>
          <ac:grpSpMkLst>
            <pc:docMk/>
            <pc:sldMk cId="88510384" sldId="2147483609"/>
            <ac:grpSpMk id="1298" creationId="{283140F8-872A-3D10-35D7-104603C85A61}"/>
          </ac:grpSpMkLst>
        </pc:grpChg>
        <pc:graphicFrameChg chg="mod modGraphic">
          <ac:chgData name="Abdi, Adnan" userId="503e002c-9b3b-4180-87fb-acabeb2b158a" providerId="ADAL" clId="{5C2CD6D4-C7A9-4CEF-AA9C-BC2977F70622}" dt="2024-02-23T15:45:44.233" v="71490" actId="20577"/>
          <ac:graphicFrameMkLst>
            <pc:docMk/>
            <pc:sldMk cId="88510384" sldId="2147483609"/>
            <ac:graphicFrameMk id="178" creationId="{719D8709-A3FB-C055-67F6-19E57CF7D621}"/>
          </ac:graphicFrameMkLst>
        </pc:graphicFrameChg>
        <pc:graphicFrameChg chg="mod modGraphic">
          <ac:chgData name="Abdi, Adnan" userId="503e002c-9b3b-4180-87fb-acabeb2b158a" providerId="ADAL" clId="{5C2CD6D4-C7A9-4CEF-AA9C-BC2977F70622}" dt="2024-02-22T14:06:41.464" v="57786"/>
          <ac:graphicFrameMkLst>
            <pc:docMk/>
            <pc:sldMk cId="88510384" sldId="2147483609"/>
            <ac:graphicFrameMk id="179" creationId="{5BA53256-74D9-DB68-61EC-6D0389AD5255}"/>
          </ac:graphicFrameMkLst>
        </pc:graphicFrameChg>
        <pc:picChg chg="mod topLvl">
          <ac:chgData name="Abdi, Adnan" userId="503e002c-9b3b-4180-87fb-acabeb2b158a" providerId="ADAL" clId="{5C2CD6D4-C7A9-4CEF-AA9C-BC2977F70622}" dt="2024-02-23T15:47:20.265" v="71523" actId="14100"/>
          <ac:picMkLst>
            <pc:docMk/>
            <pc:sldMk cId="88510384" sldId="2147483609"/>
            <ac:picMk id="19" creationId="{3A7FB9ED-B702-2509-E314-53905A72E2F4}"/>
          </ac:picMkLst>
        </pc:picChg>
        <pc:picChg chg="add mod">
          <ac:chgData name="Abdi, Adnan" userId="503e002c-9b3b-4180-87fb-acabeb2b158a" providerId="ADAL" clId="{5C2CD6D4-C7A9-4CEF-AA9C-BC2977F70622}" dt="2024-02-23T15:48:12.445" v="71531" actId="165"/>
          <ac:picMkLst>
            <pc:docMk/>
            <pc:sldMk cId="88510384" sldId="2147483609"/>
            <ac:picMk id="25" creationId="{448E7821-F4DD-E235-73B1-1C0859CEB166}"/>
          </ac:picMkLst>
        </pc:picChg>
        <pc:picChg chg="add mod">
          <ac:chgData name="Abdi, Adnan" userId="503e002c-9b3b-4180-87fb-acabeb2b158a" providerId="ADAL" clId="{5C2CD6D4-C7A9-4CEF-AA9C-BC2977F70622}" dt="2024-02-23T15:48:15.103" v="71532" actId="165"/>
          <ac:picMkLst>
            <pc:docMk/>
            <pc:sldMk cId="88510384" sldId="2147483609"/>
            <ac:picMk id="27" creationId="{A4DBE533-FCAD-5DFD-353B-37D56CF1624E}"/>
          </ac:picMkLst>
        </pc:picChg>
        <pc:picChg chg="add mod">
          <ac:chgData name="Abdi, Adnan" userId="503e002c-9b3b-4180-87fb-acabeb2b158a" providerId="ADAL" clId="{5C2CD6D4-C7A9-4CEF-AA9C-BC2977F70622}" dt="2024-02-23T15:47:20.265" v="71523" actId="14100"/>
          <ac:picMkLst>
            <pc:docMk/>
            <pc:sldMk cId="88510384" sldId="2147483609"/>
            <ac:picMk id="29" creationId="{10EC0455-725C-C473-61D8-2760C2E7FAB7}"/>
          </ac:picMkLst>
        </pc:picChg>
        <pc:picChg chg="mod">
          <ac:chgData name="Abdi, Adnan" userId="503e002c-9b3b-4180-87fb-acabeb2b158a" providerId="ADAL" clId="{5C2CD6D4-C7A9-4CEF-AA9C-BC2977F70622}" dt="2024-02-22T14:07:01.356" v="57787"/>
          <ac:picMkLst>
            <pc:docMk/>
            <pc:sldMk cId="88510384" sldId="2147483609"/>
            <ac:picMk id="180" creationId="{F43FC475-BB53-F8BF-689E-C704CD25B236}"/>
          </ac:picMkLst>
        </pc:picChg>
        <pc:picChg chg="mod">
          <ac:chgData name="Abdi, Adnan" userId="503e002c-9b3b-4180-87fb-acabeb2b158a" providerId="ADAL" clId="{5C2CD6D4-C7A9-4CEF-AA9C-BC2977F70622}" dt="2024-02-22T14:07:15.892" v="57802"/>
          <ac:picMkLst>
            <pc:docMk/>
            <pc:sldMk cId="88510384" sldId="2147483609"/>
            <ac:picMk id="181" creationId="{47B3BABF-0C47-6E39-C10C-BC6574FC35CE}"/>
          </ac:picMkLst>
        </pc:picChg>
        <pc:picChg chg="mod">
          <ac:chgData name="Abdi, Adnan" userId="503e002c-9b3b-4180-87fb-acabeb2b158a" providerId="ADAL" clId="{5C2CD6D4-C7A9-4CEF-AA9C-BC2977F70622}" dt="2024-02-22T14:07:01.356" v="57788"/>
          <ac:picMkLst>
            <pc:docMk/>
            <pc:sldMk cId="88510384" sldId="2147483609"/>
            <ac:picMk id="182" creationId="{8DA283F2-C9AF-DDE5-1FF7-D4887B108B80}"/>
          </ac:picMkLst>
        </pc:picChg>
        <pc:picChg chg="mod">
          <ac:chgData name="Abdi, Adnan" userId="503e002c-9b3b-4180-87fb-acabeb2b158a" providerId="ADAL" clId="{5C2CD6D4-C7A9-4CEF-AA9C-BC2977F70622}" dt="2024-02-22T14:07:15.893" v="57803"/>
          <ac:picMkLst>
            <pc:docMk/>
            <pc:sldMk cId="88510384" sldId="2147483609"/>
            <ac:picMk id="183" creationId="{210F220A-6FF4-19A0-53C7-8DD9D44AC770}"/>
          </ac:picMkLst>
        </pc:picChg>
        <pc:picChg chg="mod">
          <ac:chgData name="Abdi, Adnan" userId="503e002c-9b3b-4180-87fb-acabeb2b158a" providerId="ADAL" clId="{5C2CD6D4-C7A9-4CEF-AA9C-BC2977F70622}" dt="2024-02-22T14:07:01.357" v="57789"/>
          <ac:picMkLst>
            <pc:docMk/>
            <pc:sldMk cId="88510384" sldId="2147483609"/>
            <ac:picMk id="184" creationId="{658BA810-6D2B-1BF3-33D3-BC7C6129CAA5}"/>
          </ac:picMkLst>
        </pc:picChg>
        <pc:picChg chg="mod">
          <ac:chgData name="Abdi, Adnan" userId="503e002c-9b3b-4180-87fb-acabeb2b158a" providerId="ADAL" clId="{5C2CD6D4-C7A9-4CEF-AA9C-BC2977F70622}" dt="2024-02-22T14:07:15.894" v="57804"/>
          <ac:picMkLst>
            <pc:docMk/>
            <pc:sldMk cId="88510384" sldId="2147483609"/>
            <ac:picMk id="185" creationId="{BADD0B2B-30A9-5D90-8BE9-EB3E46B8A5AD}"/>
          </ac:picMkLst>
        </pc:picChg>
        <pc:picChg chg="mod">
          <ac:chgData name="Abdi, Adnan" userId="503e002c-9b3b-4180-87fb-acabeb2b158a" providerId="ADAL" clId="{5C2CD6D4-C7A9-4CEF-AA9C-BC2977F70622}" dt="2024-02-22T14:07:01.357" v="57790"/>
          <ac:picMkLst>
            <pc:docMk/>
            <pc:sldMk cId="88510384" sldId="2147483609"/>
            <ac:picMk id="186" creationId="{06F27CBE-6A60-24A1-104C-AF1196CF0F66}"/>
          </ac:picMkLst>
        </pc:picChg>
        <pc:picChg chg="mod">
          <ac:chgData name="Abdi, Adnan" userId="503e002c-9b3b-4180-87fb-acabeb2b158a" providerId="ADAL" clId="{5C2CD6D4-C7A9-4CEF-AA9C-BC2977F70622}" dt="2024-02-22T14:07:01.358" v="57791"/>
          <ac:picMkLst>
            <pc:docMk/>
            <pc:sldMk cId="88510384" sldId="2147483609"/>
            <ac:picMk id="187" creationId="{92C2280B-5EBD-1870-2611-E3E254136224}"/>
          </ac:picMkLst>
        </pc:picChg>
        <pc:picChg chg="mod">
          <ac:chgData name="Abdi, Adnan" userId="503e002c-9b3b-4180-87fb-acabeb2b158a" providerId="ADAL" clId="{5C2CD6D4-C7A9-4CEF-AA9C-BC2977F70622}" dt="2024-02-22T14:07:01.358" v="57792"/>
          <ac:picMkLst>
            <pc:docMk/>
            <pc:sldMk cId="88510384" sldId="2147483609"/>
            <ac:picMk id="188" creationId="{85F2978E-AAF8-31F8-4EE5-3F33C8D13A3D}"/>
          </ac:picMkLst>
        </pc:picChg>
        <pc:picChg chg="mod">
          <ac:chgData name="Abdi, Adnan" userId="503e002c-9b3b-4180-87fb-acabeb2b158a" providerId="ADAL" clId="{5C2CD6D4-C7A9-4CEF-AA9C-BC2977F70622}" dt="2024-02-22T14:07:01.358" v="57793"/>
          <ac:picMkLst>
            <pc:docMk/>
            <pc:sldMk cId="88510384" sldId="2147483609"/>
            <ac:picMk id="189" creationId="{8E249FD2-2430-E52D-E35D-ADE6BFD185B5}"/>
          </ac:picMkLst>
        </pc:picChg>
        <pc:picChg chg="mod">
          <ac:chgData name="Abdi, Adnan" userId="503e002c-9b3b-4180-87fb-acabeb2b158a" providerId="ADAL" clId="{5C2CD6D4-C7A9-4CEF-AA9C-BC2977F70622}" dt="2024-02-22T14:07:01.359" v="57794"/>
          <ac:picMkLst>
            <pc:docMk/>
            <pc:sldMk cId="88510384" sldId="2147483609"/>
            <ac:picMk id="190" creationId="{EF897428-0CB5-6918-40AD-8520A1C596DE}"/>
          </ac:picMkLst>
        </pc:picChg>
        <pc:picChg chg="mod">
          <ac:chgData name="Abdi, Adnan" userId="503e002c-9b3b-4180-87fb-acabeb2b158a" providerId="ADAL" clId="{5C2CD6D4-C7A9-4CEF-AA9C-BC2977F70622}" dt="2024-02-22T14:07:01.359" v="57795"/>
          <ac:picMkLst>
            <pc:docMk/>
            <pc:sldMk cId="88510384" sldId="2147483609"/>
            <ac:picMk id="191" creationId="{9387BF19-F2DB-F34A-7C9A-DA733FF931F8}"/>
          </ac:picMkLst>
        </pc:picChg>
        <pc:picChg chg="mod">
          <ac:chgData name="Abdi, Adnan" userId="503e002c-9b3b-4180-87fb-acabeb2b158a" providerId="ADAL" clId="{5C2CD6D4-C7A9-4CEF-AA9C-BC2977F70622}" dt="2024-02-22T14:07:15.894" v="57805"/>
          <ac:picMkLst>
            <pc:docMk/>
            <pc:sldMk cId="88510384" sldId="2147483609"/>
            <ac:picMk id="1024" creationId="{A5D2B514-3FE0-A260-D3AB-B391C303744F}"/>
          </ac:picMkLst>
        </pc:picChg>
        <pc:picChg chg="mod">
          <ac:chgData name="Abdi, Adnan" userId="503e002c-9b3b-4180-87fb-acabeb2b158a" providerId="ADAL" clId="{5C2CD6D4-C7A9-4CEF-AA9C-BC2977F70622}" dt="2024-02-22T14:07:01.359" v="57796"/>
          <ac:picMkLst>
            <pc:docMk/>
            <pc:sldMk cId="88510384" sldId="2147483609"/>
            <ac:picMk id="1025" creationId="{C008FC70-C1DC-7491-3B01-2A176AF86EE2}"/>
          </ac:picMkLst>
        </pc:picChg>
        <pc:picChg chg="mod">
          <ac:chgData name="Abdi, Adnan" userId="503e002c-9b3b-4180-87fb-acabeb2b158a" providerId="ADAL" clId="{5C2CD6D4-C7A9-4CEF-AA9C-BC2977F70622}" dt="2024-02-22T14:07:15.895" v="57806"/>
          <ac:picMkLst>
            <pc:docMk/>
            <pc:sldMk cId="88510384" sldId="2147483609"/>
            <ac:picMk id="1026" creationId="{5E89F049-D8DD-E950-CA90-9EEE314933FE}"/>
          </ac:picMkLst>
        </pc:picChg>
        <pc:picChg chg="mod">
          <ac:chgData name="Abdi, Adnan" userId="503e002c-9b3b-4180-87fb-acabeb2b158a" providerId="ADAL" clId="{5C2CD6D4-C7A9-4CEF-AA9C-BC2977F70622}" dt="2024-02-22T14:07:01.360" v="57797"/>
          <ac:picMkLst>
            <pc:docMk/>
            <pc:sldMk cId="88510384" sldId="2147483609"/>
            <ac:picMk id="1027" creationId="{F5368BD3-5DE5-A04E-831F-FCC5783C294C}"/>
          </ac:picMkLst>
        </pc:picChg>
        <pc:picChg chg="mod">
          <ac:chgData name="Abdi, Adnan" userId="503e002c-9b3b-4180-87fb-acabeb2b158a" providerId="ADAL" clId="{5C2CD6D4-C7A9-4CEF-AA9C-BC2977F70622}" dt="2024-02-22T14:07:15.895" v="57807"/>
          <ac:picMkLst>
            <pc:docMk/>
            <pc:sldMk cId="88510384" sldId="2147483609"/>
            <ac:picMk id="1028" creationId="{EFECBA6C-5E59-24DB-8AF6-37E192B6F707}"/>
          </ac:picMkLst>
        </pc:picChg>
        <pc:picChg chg="mod">
          <ac:chgData name="Abdi, Adnan" userId="503e002c-9b3b-4180-87fb-acabeb2b158a" providerId="ADAL" clId="{5C2CD6D4-C7A9-4CEF-AA9C-BC2977F70622}" dt="2024-02-22T14:07:15.896" v="57809"/>
          <ac:picMkLst>
            <pc:docMk/>
            <pc:sldMk cId="88510384" sldId="2147483609"/>
            <ac:picMk id="1029" creationId="{1E5E22EC-0A55-C5F0-3260-1EDE6A3BAE51}"/>
          </ac:picMkLst>
        </pc:picChg>
        <pc:picChg chg="mod">
          <ac:chgData name="Abdi, Adnan" userId="503e002c-9b3b-4180-87fb-acabeb2b158a" providerId="ADAL" clId="{5C2CD6D4-C7A9-4CEF-AA9C-BC2977F70622}" dt="2024-02-22T14:07:15.897" v="57810"/>
          <ac:picMkLst>
            <pc:docMk/>
            <pc:sldMk cId="88510384" sldId="2147483609"/>
            <ac:picMk id="1030" creationId="{CD81BA52-B41D-31DB-4288-BD3F1CC5586F}"/>
          </ac:picMkLst>
        </pc:picChg>
        <pc:picChg chg="mod">
          <ac:chgData name="Abdi, Adnan" userId="503e002c-9b3b-4180-87fb-acabeb2b158a" providerId="ADAL" clId="{5C2CD6D4-C7A9-4CEF-AA9C-BC2977F70622}" dt="2024-02-22T14:07:01.360" v="57798"/>
          <ac:picMkLst>
            <pc:docMk/>
            <pc:sldMk cId="88510384" sldId="2147483609"/>
            <ac:picMk id="1031" creationId="{7E9DBD6A-9B10-BA37-4B37-EB846D8A956C}"/>
          </ac:picMkLst>
        </pc:picChg>
        <pc:picChg chg="mod">
          <ac:chgData name="Abdi, Adnan" userId="503e002c-9b3b-4180-87fb-acabeb2b158a" providerId="ADAL" clId="{5C2CD6D4-C7A9-4CEF-AA9C-BC2977F70622}" dt="2024-02-22T14:07:01.361" v="57799"/>
          <ac:picMkLst>
            <pc:docMk/>
            <pc:sldMk cId="88510384" sldId="2147483609"/>
            <ac:picMk id="1032" creationId="{EDF50F60-427E-130F-5322-280201E7EDD2}"/>
          </ac:picMkLst>
        </pc:picChg>
        <pc:picChg chg="mod">
          <ac:chgData name="Abdi, Adnan" userId="503e002c-9b3b-4180-87fb-acabeb2b158a" providerId="ADAL" clId="{5C2CD6D4-C7A9-4CEF-AA9C-BC2977F70622}" dt="2024-02-22T14:07:15.897" v="57811"/>
          <ac:picMkLst>
            <pc:docMk/>
            <pc:sldMk cId="88510384" sldId="2147483609"/>
            <ac:picMk id="1033" creationId="{9FD5A53D-817F-CCDC-E867-B07B65384026}"/>
          </ac:picMkLst>
        </pc:picChg>
        <pc:picChg chg="mod">
          <ac:chgData name="Abdi, Adnan" userId="503e002c-9b3b-4180-87fb-acabeb2b158a" providerId="ADAL" clId="{5C2CD6D4-C7A9-4CEF-AA9C-BC2977F70622}" dt="2024-02-22T13:39:21.462" v="56835" actId="2711"/>
          <ac:picMkLst>
            <pc:docMk/>
            <pc:sldMk cId="88510384" sldId="2147483609"/>
            <ac:picMk id="1035" creationId="{A61BB388-7519-CAF3-1C7D-DECB9B28B91D}"/>
          </ac:picMkLst>
        </pc:picChg>
        <pc:picChg chg="mod">
          <ac:chgData name="Abdi, Adnan" userId="503e002c-9b3b-4180-87fb-acabeb2b158a" providerId="ADAL" clId="{5C2CD6D4-C7A9-4CEF-AA9C-BC2977F70622}" dt="2024-02-22T14:07:15.897" v="57812"/>
          <ac:picMkLst>
            <pc:docMk/>
            <pc:sldMk cId="88510384" sldId="2147483609"/>
            <ac:picMk id="1037" creationId="{0AD20CF7-2394-2BFC-4C0F-A566AAE36387}"/>
          </ac:picMkLst>
        </pc:picChg>
        <pc:picChg chg="mod">
          <ac:chgData name="Abdi, Adnan" userId="503e002c-9b3b-4180-87fb-acabeb2b158a" providerId="ADAL" clId="{5C2CD6D4-C7A9-4CEF-AA9C-BC2977F70622}" dt="2024-02-22T14:07:15.898" v="57813"/>
          <ac:picMkLst>
            <pc:docMk/>
            <pc:sldMk cId="88510384" sldId="2147483609"/>
            <ac:picMk id="1038" creationId="{000BA379-AD4A-00A9-F8F5-92C1F9BF0E74}"/>
          </ac:picMkLst>
        </pc:picChg>
        <pc:picChg chg="mod">
          <ac:chgData name="Abdi, Adnan" userId="503e002c-9b3b-4180-87fb-acabeb2b158a" providerId="ADAL" clId="{5C2CD6D4-C7A9-4CEF-AA9C-BC2977F70622}" dt="2024-02-22T14:07:15.898" v="57814"/>
          <ac:picMkLst>
            <pc:docMk/>
            <pc:sldMk cId="88510384" sldId="2147483609"/>
            <ac:picMk id="1039" creationId="{A5DE60A2-CD9D-E24C-8370-FA9A21C373D6}"/>
          </ac:picMkLst>
        </pc:picChg>
        <pc:picChg chg="mod">
          <ac:chgData name="Abdi, Adnan" userId="503e002c-9b3b-4180-87fb-acabeb2b158a" providerId="ADAL" clId="{5C2CD6D4-C7A9-4CEF-AA9C-BC2977F70622}" dt="2024-02-22T14:07:15.899" v="57815"/>
          <ac:picMkLst>
            <pc:docMk/>
            <pc:sldMk cId="88510384" sldId="2147483609"/>
            <ac:picMk id="1040" creationId="{0F25EA7D-24B5-A074-6878-51B2283D366C}"/>
          </ac:picMkLst>
        </pc:picChg>
        <pc:picChg chg="mod">
          <ac:chgData name="Abdi, Adnan" userId="503e002c-9b3b-4180-87fb-acabeb2b158a" providerId="ADAL" clId="{5C2CD6D4-C7A9-4CEF-AA9C-BC2977F70622}" dt="2024-02-22T13:39:21.462" v="56835" actId="2711"/>
          <ac:picMkLst>
            <pc:docMk/>
            <pc:sldMk cId="88510384" sldId="2147483609"/>
            <ac:picMk id="1041" creationId="{248CA4A8-A539-9FF2-83B4-4D451059959F}"/>
          </ac:picMkLst>
        </pc:picChg>
        <pc:picChg chg="del mod topLvl">
          <ac:chgData name="Abdi, Adnan" userId="503e002c-9b3b-4180-87fb-acabeb2b158a" providerId="ADAL" clId="{5C2CD6D4-C7A9-4CEF-AA9C-BC2977F70622}" dt="2024-02-22T13:57:17.001" v="57667" actId="478"/>
          <ac:picMkLst>
            <pc:docMk/>
            <pc:sldMk cId="88510384" sldId="2147483609"/>
            <ac:picMk id="1280" creationId="{83440080-3126-C0C4-1C86-06D5BF5D7BB2}"/>
          </ac:picMkLst>
        </pc:picChg>
        <pc:picChg chg="mod topLvl">
          <ac:chgData name="Abdi, Adnan" userId="503e002c-9b3b-4180-87fb-acabeb2b158a" providerId="ADAL" clId="{5C2CD6D4-C7A9-4CEF-AA9C-BC2977F70622}" dt="2024-02-22T15:15:11.886" v="61066"/>
          <ac:picMkLst>
            <pc:docMk/>
            <pc:sldMk cId="88510384" sldId="2147483609"/>
            <ac:picMk id="1281" creationId="{3582B9EB-8B51-07FB-6E0E-A69BA367D80E}"/>
          </ac:picMkLst>
        </pc:picChg>
        <pc:picChg chg="mod topLvl">
          <ac:chgData name="Abdi, Adnan" userId="503e002c-9b3b-4180-87fb-acabeb2b158a" providerId="ADAL" clId="{5C2CD6D4-C7A9-4CEF-AA9C-BC2977F70622}" dt="2024-02-22T15:14:57.088" v="61062" actId="1036"/>
          <ac:picMkLst>
            <pc:docMk/>
            <pc:sldMk cId="88510384" sldId="2147483609"/>
            <ac:picMk id="1282" creationId="{0BF23955-DD97-D222-B58C-1E46C4F69674}"/>
          </ac:picMkLst>
        </pc:picChg>
        <pc:picChg chg="mod topLvl">
          <ac:chgData name="Abdi, Adnan" userId="503e002c-9b3b-4180-87fb-acabeb2b158a" providerId="ADAL" clId="{5C2CD6D4-C7A9-4CEF-AA9C-BC2977F70622}" dt="2024-02-22T15:14:57.088" v="61062" actId="1036"/>
          <ac:picMkLst>
            <pc:docMk/>
            <pc:sldMk cId="88510384" sldId="2147483609"/>
            <ac:picMk id="1283" creationId="{BF97C12F-489B-D530-32D8-B17333B0A197}"/>
          </ac:picMkLst>
        </pc:picChg>
        <pc:picChg chg="mod topLvl">
          <ac:chgData name="Abdi, Adnan" userId="503e002c-9b3b-4180-87fb-acabeb2b158a" providerId="ADAL" clId="{5C2CD6D4-C7A9-4CEF-AA9C-BC2977F70622}" dt="2024-02-22T15:14:57.088" v="61062" actId="1036"/>
          <ac:picMkLst>
            <pc:docMk/>
            <pc:sldMk cId="88510384" sldId="2147483609"/>
            <ac:picMk id="1284" creationId="{8B6C61B2-11EA-AB51-E9A9-65E258787E84}"/>
          </ac:picMkLst>
        </pc:picChg>
        <pc:picChg chg="mod topLvl">
          <ac:chgData name="Abdi, Adnan" userId="503e002c-9b3b-4180-87fb-acabeb2b158a" providerId="ADAL" clId="{5C2CD6D4-C7A9-4CEF-AA9C-BC2977F70622}" dt="2024-02-22T15:14:57.088" v="61062" actId="1036"/>
          <ac:picMkLst>
            <pc:docMk/>
            <pc:sldMk cId="88510384" sldId="2147483609"/>
            <ac:picMk id="1285" creationId="{0F90FFCA-0F13-9FD6-A0BA-CEBAF8C28D65}"/>
          </ac:picMkLst>
        </pc:picChg>
        <pc:picChg chg="mod topLvl">
          <ac:chgData name="Abdi, Adnan" userId="503e002c-9b3b-4180-87fb-acabeb2b158a" providerId="ADAL" clId="{5C2CD6D4-C7A9-4CEF-AA9C-BC2977F70622}" dt="2024-02-23T15:48:12.445" v="71531" actId="165"/>
          <ac:picMkLst>
            <pc:docMk/>
            <pc:sldMk cId="88510384" sldId="2147483609"/>
            <ac:picMk id="1286" creationId="{CC1AACB2-1DEB-D446-F783-EB3E00D840A6}"/>
          </ac:picMkLst>
        </pc:picChg>
        <pc:picChg chg="del mod topLvl">
          <ac:chgData name="Abdi, Adnan" userId="503e002c-9b3b-4180-87fb-acabeb2b158a" providerId="ADAL" clId="{5C2CD6D4-C7A9-4CEF-AA9C-BC2977F70622}" dt="2024-02-22T13:56:57.067" v="57536" actId="478"/>
          <ac:picMkLst>
            <pc:docMk/>
            <pc:sldMk cId="88510384" sldId="2147483609"/>
            <ac:picMk id="1287" creationId="{4849DB2C-990D-E1FA-4556-B9A1A7E58E43}"/>
          </ac:picMkLst>
        </pc:picChg>
        <pc:picChg chg="mod topLvl">
          <ac:chgData name="Abdi, Adnan" userId="503e002c-9b3b-4180-87fb-acabeb2b158a" providerId="ADAL" clId="{5C2CD6D4-C7A9-4CEF-AA9C-BC2977F70622}" dt="2024-02-23T15:48:15.103" v="71532" actId="165"/>
          <ac:picMkLst>
            <pc:docMk/>
            <pc:sldMk cId="88510384" sldId="2147483609"/>
            <ac:picMk id="1289" creationId="{021E8EFA-85C4-DDF6-789B-B043B3C400C3}"/>
          </ac:picMkLst>
        </pc:picChg>
        <pc:picChg chg="mod topLvl">
          <ac:chgData name="Abdi, Adnan" userId="503e002c-9b3b-4180-87fb-acabeb2b158a" providerId="ADAL" clId="{5C2CD6D4-C7A9-4CEF-AA9C-BC2977F70622}" dt="2024-02-23T15:48:15.103" v="71532" actId="165"/>
          <ac:picMkLst>
            <pc:docMk/>
            <pc:sldMk cId="88510384" sldId="2147483609"/>
            <ac:picMk id="1290" creationId="{07527BBF-3921-239C-B294-AB0C2D642F00}"/>
          </ac:picMkLst>
        </pc:picChg>
        <pc:picChg chg="mod topLvl">
          <ac:chgData name="Abdi, Adnan" userId="503e002c-9b3b-4180-87fb-acabeb2b158a" providerId="ADAL" clId="{5C2CD6D4-C7A9-4CEF-AA9C-BC2977F70622}" dt="2024-02-22T15:15:11.886" v="61066"/>
          <ac:picMkLst>
            <pc:docMk/>
            <pc:sldMk cId="88510384" sldId="2147483609"/>
            <ac:picMk id="1291" creationId="{E875B345-9E67-E191-E913-96D6CB697CA0}"/>
          </ac:picMkLst>
        </pc:picChg>
        <pc:picChg chg="mod topLvl">
          <ac:chgData name="Abdi, Adnan" userId="503e002c-9b3b-4180-87fb-acabeb2b158a" providerId="ADAL" clId="{5C2CD6D4-C7A9-4CEF-AA9C-BC2977F70622}" dt="2024-02-23T15:48:12.445" v="71531" actId="165"/>
          <ac:picMkLst>
            <pc:docMk/>
            <pc:sldMk cId="88510384" sldId="2147483609"/>
            <ac:picMk id="1292" creationId="{F79BD7AE-B52B-C191-7F60-DA167E4BEC31}"/>
          </ac:picMkLst>
        </pc:picChg>
        <pc:picChg chg="mod topLvl">
          <ac:chgData name="Abdi, Adnan" userId="503e002c-9b3b-4180-87fb-acabeb2b158a" providerId="ADAL" clId="{5C2CD6D4-C7A9-4CEF-AA9C-BC2977F70622}" dt="2024-02-23T15:48:12.445" v="71531" actId="165"/>
          <ac:picMkLst>
            <pc:docMk/>
            <pc:sldMk cId="88510384" sldId="2147483609"/>
            <ac:picMk id="1293" creationId="{6AC4269A-840C-D91B-A12E-B3D4AD50DA92}"/>
          </ac:picMkLst>
        </pc:picChg>
        <pc:picChg chg="mod topLvl">
          <ac:chgData name="Abdi, Adnan" userId="503e002c-9b3b-4180-87fb-acabeb2b158a" providerId="ADAL" clId="{5C2CD6D4-C7A9-4CEF-AA9C-BC2977F70622}" dt="2024-02-23T15:48:15.103" v="71532" actId="165"/>
          <ac:picMkLst>
            <pc:docMk/>
            <pc:sldMk cId="88510384" sldId="2147483609"/>
            <ac:picMk id="1294" creationId="{68FAEDA1-1BEF-6AB7-A8DB-55DE5E57455B}"/>
          </ac:picMkLst>
        </pc:picChg>
        <pc:picChg chg="mod topLvl">
          <ac:chgData name="Abdi, Adnan" userId="503e002c-9b3b-4180-87fb-acabeb2b158a" providerId="ADAL" clId="{5C2CD6D4-C7A9-4CEF-AA9C-BC2977F70622}" dt="2024-02-23T15:48:12.445" v="71531" actId="165"/>
          <ac:picMkLst>
            <pc:docMk/>
            <pc:sldMk cId="88510384" sldId="2147483609"/>
            <ac:picMk id="1295" creationId="{FC305FB6-2D12-4258-28C5-B42C89D7FEFD}"/>
          </ac:picMkLst>
        </pc:picChg>
        <pc:picChg chg="mod topLvl">
          <ac:chgData name="Abdi, Adnan" userId="503e002c-9b3b-4180-87fb-acabeb2b158a" providerId="ADAL" clId="{5C2CD6D4-C7A9-4CEF-AA9C-BC2977F70622}" dt="2024-02-23T15:48:15.103" v="71532" actId="165"/>
          <ac:picMkLst>
            <pc:docMk/>
            <pc:sldMk cId="88510384" sldId="2147483609"/>
            <ac:picMk id="1296" creationId="{143B6A78-7FA4-E1EA-409F-FEDDC39D846A}"/>
          </ac:picMkLst>
        </pc:picChg>
        <pc:picChg chg="mod topLvl">
          <ac:chgData name="Abdi, Adnan" userId="503e002c-9b3b-4180-87fb-acabeb2b158a" providerId="ADAL" clId="{5C2CD6D4-C7A9-4CEF-AA9C-BC2977F70622}" dt="2024-02-23T15:48:15.103" v="71532" actId="165"/>
          <ac:picMkLst>
            <pc:docMk/>
            <pc:sldMk cId="88510384" sldId="2147483609"/>
            <ac:picMk id="1297" creationId="{11F1D9E7-C4A3-588F-7C40-2932ECFCCD94}"/>
          </ac:picMkLst>
        </pc:picChg>
        <pc:picChg chg="mod">
          <ac:chgData name="Abdi, Adnan" userId="503e002c-9b3b-4180-87fb-acabeb2b158a" providerId="ADAL" clId="{5C2CD6D4-C7A9-4CEF-AA9C-BC2977F70622}" dt="2024-02-23T15:48:15.103" v="71532" actId="165"/>
          <ac:picMkLst>
            <pc:docMk/>
            <pc:sldMk cId="88510384" sldId="2147483609"/>
            <ac:picMk id="1299" creationId="{02F04CA3-DC6E-4A0B-05FC-0CF0B982EAE9}"/>
          </ac:picMkLst>
        </pc:picChg>
        <pc:picChg chg="mod topLvl">
          <ac:chgData name="Abdi, Adnan" userId="503e002c-9b3b-4180-87fb-acabeb2b158a" providerId="ADAL" clId="{5C2CD6D4-C7A9-4CEF-AA9C-BC2977F70622}" dt="2024-02-22T15:15:11.886" v="61066"/>
          <ac:picMkLst>
            <pc:docMk/>
            <pc:sldMk cId="88510384" sldId="2147483609"/>
            <ac:picMk id="1301" creationId="{9743B2F2-BF9E-7DE5-100F-5D1FEF3ADA1E}"/>
          </ac:picMkLst>
        </pc:picChg>
        <pc:picChg chg="mod topLvl">
          <ac:chgData name="Abdi, Adnan" userId="503e002c-9b3b-4180-87fb-acabeb2b158a" providerId="ADAL" clId="{5C2CD6D4-C7A9-4CEF-AA9C-BC2977F70622}" dt="2024-02-23T15:47:20.265" v="71523" actId="14100"/>
          <ac:picMkLst>
            <pc:docMk/>
            <pc:sldMk cId="88510384" sldId="2147483609"/>
            <ac:picMk id="1306" creationId="{37C5E5E7-1B47-8B0C-6779-8FED32B85133}"/>
          </ac:picMkLst>
        </pc:picChg>
        <pc:picChg chg="mod topLvl">
          <ac:chgData name="Abdi, Adnan" userId="503e002c-9b3b-4180-87fb-acabeb2b158a" providerId="ADAL" clId="{5C2CD6D4-C7A9-4CEF-AA9C-BC2977F70622}" dt="2024-02-23T15:47:20.265" v="71523" actId="14100"/>
          <ac:picMkLst>
            <pc:docMk/>
            <pc:sldMk cId="88510384" sldId="2147483609"/>
            <ac:picMk id="1307" creationId="{5EBBDF1B-8E46-7F4C-0BA6-C110B57581E5}"/>
          </ac:picMkLst>
        </pc:picChg>
        <pc:picChg chg="mod topLvl">
          <ac:chgData name="Abdi, Adnan" userId="503e002c-9b3b-4180-87fb-acabeb2b158a" providerId="ADAL" clId="{5C2CD6D4-C7A9-4CEF-AA9C-BC2977F70622}" dt="2024-02-23T15:47:20.265" v="71523" actId="14100"/>
          <ac:picMkLst>
            <pc:docMk/>
            <pc:sldMk cId="88510384" sldId="2147483609"/>
            <ac:picMk id="1308" creationId="{B9F1F2F5-5CEB-7D21-2C0D-B507E8F7E9EC}"/>
          </ac:picMkLst>
        </pc:picChg>
        <pc:picChg chg="mod topLvl">
          <ac:chgData name="Abdi, Adnan" userId="503e002c-9b3b-4180-87fb-acabeb2b158a" providerId="ADAL" clId="{5C2CD6D4-C7A9-4CEF-AA9C-BC2977F70622}" dt="2024-02-23T15:47:20.265" v="71523" actId="14100"/>
          <ac:picMkLst>
            <pc:docMk/>
            <pc:sldMk cId="88510384" sldId="2147483609"/>
            <ac:picMk id="1309" creationId="{69B93FC8-66EC-25D5-DE29-B58CA891F6D0}"/>
          </ac:picMkLst>
        </pc:picChg>
        <pc:picChg chg="mod topLvl">
          <ac:chgData name="Abdi, Adnan" userId="503e002c-9b3b-4180-87fb-acabeb2b158a" providerId="ADAL" clId="{5C2CD6D4-C7A9-4CEF-AA9C-BC2977F70622}" dt="2024-02-23T15:47:20.265" v="71523" actId="14100"/>
          <ac:picMkLst>
            <pc:docMk/>
            <pc:sldMk cId="88510384" sldId="2147483609"/>
            <ac:picMk id="1310" creationId="{2D41CDAD-1C69-E0C7-36A3-B075129257AE}"/>
          </ac:picMkLst>
        </pc:picChg>
        <pc:picChg chg="mod topLvl">
          <ac:chgData name="Abdi, Adnan" userId="503e002c-9b3b-4180-87fb-acabeb2b158a" providerId="ADAL" clId="{5C2CD6D4-C7A9-4CEF-AA9C-BC2977F70622}" dt="2024-02-23T15:47:20.265" v="71523" actId="14100"/>
          <ac:picMkLst>
            <pc:docMk/>
            <pc:sldMk cId="88510384" sldId="2147483609"/>
            <ac:picMk id="1311" creationId="{E54DEC59-C18E-CFB4-BE88-C54E60297C84}"/>
          </ac:picMkLst>
        </pc:picChg>
        <pc:picChg chg="del mod topLvl">
          <ac:chgData name="Abdi, Adnan" userId="503e002c-9b3b-4180-87fb-acabeb2b158a" providerId="ADAL" clId="{5C2CD6D4-C7A9-4CEF-AA9C-BC2977F70622}" dt="2024-02-22T13:57:06.744" v="57594" actId="478"/>
          <ac:picMkLst>
            <pc:docMk/>
            <pc:sldMk cId="88510384" sldId="2147483609"/>
            <ac:picMk id="1312" creationId="{62E4D8BD-1375-3FF7-BC25-268E6A755025}"/>
          </ac:picMkLst>
        </pc:picChg>
        <pc:picChg chg="mod topLvl">
          <ac:chgData name="Abdi, Adnan" userId="503e002c-9b3b-4180-87fb-acabeb2b158a" providerId="ADAL" clId="{5C2CD6D4-C7A9-4CEF-AA9C-BC2977F70622}" dt="2024-02-23T15:47:20.265" v="71523" actId="14100"/>
          <ac:picMkLst>
            <pc:docMk/>
            <pc:sldMk cId="88510384" sldId="2147483609"/>
            <ac:picMk id="1313" creationId="{E8B1EAE1-E9F1-6FED-C81F-CA7950781AC5}"/>
          </ac:picMkLst>
        </pc:picChg>
        <pc:picChg chg="mod topLvl">
          <ac:chgData name="Abdi, Adnan" userId="503e002c-9b3b-4180-87fb-acabeb2b158a" providerId="ADAL" clId="{5C2CD6D4-C7A9-4CEF-AA9C-BC2977F70622}" dt="2024-02-23T15:47:20.265" v="71523" actId="14100"/>
          <ac:picMkLst>
            <pc:docMk/>
            <pc:sldMk cId="88510384" sldId="2147483609"/>
            <ac:picMk id="1314" creationId="{481AEB72-D5E3-17B5-1681-11BC4C6D674A}"/>
          </ac:picMkLst>
        </pc:picChg>
        <pc:picChg chg="mod topLvl">
          <ac:chgData name="Abdi, Adnan" userId="503e002c-9b3b-4180-87fb-acabeb2b158a" providerId="ADAL" clId="{5C2CD6D4-C7A9-4CEF-AA9C-BC2977F70622}" dt="2024-02-23T15:47:20.265" v="71523" actId="14100"/>
          <ac:picMkLst>
            <pc:docMk/>
            <pc:sldMk cId="88510384" sldId="2147483609"/>
            <ac:picMk id="1315" creationId="{9B681724-5121-48F1-8E12-D0E51208D7CF}"/>
          </ac:picMkLst>
        </pc:picChg>
        <pc:picChg chg="mod topLvl">
          <ac:chgData name="Abdi, Adnan" userId="503e002c-9b3b-4180-87fb-acabeb2b158a" providerId="ADAL" clId="{5C2CD6D4-C7A9-4CEF-AA9C-BC2977F70622}" dt="2024-02-23T15:47:20.265" v="71523" actId="14100"/>
          <ac:picMkLst>
            <pc:docMk/>
            <pc:sldMk cId="88510384" sldId="2147483609"/>
            <ac:picMk id="1316" creationId="{5E078619-B6A7-076F-F493-5FC6AA70A1F9}"/>
          </ac:picMkLst>
        </pc:picChg>
        <pc:picChg chg="mod topLvl">
          <ac:chgData name="Abdi, Adnan" userId="503e002c-9b3b-4180-87fb-acabeb2b158a" providerId="ADAL" clId="{5C2CD6D4-C7A9-4CEF-AA9C-BC2977F70622}" dt="2024-02-23T15:47:20.265" v="71523" actId="14100"/>
          <ac:picMkLst>
            <pc:docMk/>
            <pc:sldMk cId="88510384" sldId="2147483609"/>
            <ac:picMk id="1317" creationId="{BCD5FB10-7EBE-BAC3-AC19-D100F3EEB31B}"/>
          </ac:picMkLst>
        </pc:picChg>
        <pc:picChg chg="mod topLvl">
          <ac:chgData name="Abdi, Adnan" userId="503e002c-9b3b-4180-87fb-acabeb2b158a" providerId="ADAL" clId="{5C2CD6D4-C7A9-4CEF-AA9C-BC2977F70622}" dt="2024-02-23T15:47:20.265" v="71523" actId="14100"/>
          <ac:picMkLst>
            <pc:docMk/>
            <pc:sldMk cId="88510384" sldId="2147483609"/>
            <ac:picMk id="1318" creationId="{703085EC-75AD-A13F-977D-7226B277EDE2}"/>
          </ac:picMkLst>
        </pc:picChg>
        <pc:picChg chg="mod topLvl">
          <ac:chgData name="Abdi, Adnan" userId="503e002c-9b3b-4180-87fb-acabeb2b158a" providerId="ADAL" clId="{5C2CD6D4-C7A9-4CEF-AA9C-BC2977F70622}" dt="2024-02-23T15:47:20.265" v="71523" actId="14100"/>
          <ac:picMkLst>
            <pc:docMk/>
            <pc:sldMk cId="88510384" sldId="2147483609"/>
            <ac:picMk id="1319" creationId="{8D590D06-E63C-252A-D20F-12AB71BF6D51}"/>
          </ac:picMkLst>
        </pc:picChg>
        <pc:picChg chg="mod topLvl">
          <ac:chgData name="Abdi, Adnan" userId="503e002c-9b3b-4180-87fb-acabeb2b158a" providerId="ADAL" clId="{5C2CD6D4-C7A9-4CEF-AA9C-BC2977F70622}" dt="2024-02-23T15:47:20.265" v="71523" actId="14100"/>
          <ac:picMkLst>
            <pc:docMk/>
            <pc:sldMk cId="88510384" sldId="2147483609"/>
            <ac:picMk id="1320" creationId="{04B2225D-5F7B-5DB5-9A8F-87F93B9E39C6}"/>
          </ac:picMkLst>
        </pc:picChg>
        <pc:picChg chg="mod topLvl">
          <ac:chgData name="Abdi, Adnan" userId="503e002c-9b3b-4180-87fb-acabeb2b158a" providerId="ADAL" clId="{5C2CD6D4-C7A9-4CEF-AA9C-BC2977F70622}" dt="2024-02-23T15:47:20.265" v="71523" actId="14100"/>
          <ac:picMkLst>
            <pc:docMk/>
            <pc:sldMk cId="88510384" sldId="2147483609"/>
            <ac:picMk id="1321" creationId="{0ACA9BE1-0D58-8DEE-F94F-E6C9A55ED9EA}"/>
          </ac:picMkLst>
        </pc:picChg>
        <pc:cxnChg chg="mod">
          <ac:chgData name="Abdi, Adnan" userId="503e002c-9b3b-4180-87fb-acabeb2b158a" providerId="ADAL" clId="{5C2CD6D4-C7A9-4CEF-AA9C-BC2977F70622}" dt="2024-02-23T15:46:22.043" v="71500" actId="465"/>
          <ac:cxnSpMkLst>
            <pc:docMk/>
            <pc:sldMk cId="88510384" sldId="2147483609"/>
            <ac:cxnSpMk id="10" creationId="{0B16B786-373A-E2FC-3697-039FCF15CDC8}"/>
          </ac:cxnSpMkLst>
        </pc:cxnChg>
        <pc:cxnChg chg="mod">
          <ac:chgData name="Abdi, Adnan" userId="503e002c-9b3b-4180-87fb-acabeb2b158a" providerId="ADAL" clId="{5C2CD6D4-C7A9-4CEF-AA9C-BC2977F70622}" dt="2024-02-23T15:46:22.043" v="71500" actId="465"/>
          <ac:cxnSpMkLst>
            <pc:docMk/>
            <pc:sldMk cId="88510384" sldId="2147483609"/>
            <ac:cxnSpMk id="30" creationId="{1BCAE63F-F65B-3710-B97F-26E4C739BC4C}"/>
          </ac:cxnSpMkLst>
        </pc:cxnChg>
        <pc:cxnChg chg="mod">
          <ac:chgData name="Abdi, Adnan" userId="503e002c-9b3b-4180-87fb-acabeb2b158a" providerId="ADAL" clId="{5C2CD6D4-C7A9-4CEF-AA9C-BC2977F70622}" dt="2024-02-23T15:46:22.043" v="71500" actId="465"/>
          <ac:cxnSpMkLst>
            <pc:docMk/>
            <pc:sldMk cId="88510384" sldId="2147483609"/>
            <ac:cxnSpMk id="74" creationId="{6594F3FB-C7B6-663A-7F17-68F7B7D2ED96}"/>
          </ac:cxnSpMkLst>
        </pc:cxnChg>
        <pc:cxnChg chg="mod">
          <ac:chgData name="Abdi, Adnan" userId="503e002c-9b3b-4180-87fb-acabeb2b158a" providerId="ADAL" clId="{5C2CD6D4-C7A9-4CEF-AA9C-BC2977F70622}" dt="2024-02-23T15:46:22.043" v="71500" actId="465"/>
          <ac:cxnSpMkLst>
            <pc:docMk/>
            <pc:sldMk cId="88510384" sldId="2147483609"/>
            <ac:cxnSpMk id="75" creationId="{E9762DC0-BA2A-4FF9-F7DF-FA815FF2D38C}"/>
          </ac:cxnSpMkLst>
        </pc:cxnChg>
      </pc:sldChg>
      <pc:sldChg chg="addSp delSp modSp mod modShow">
        <pc:chgData name="Abdi, Adnan" userId="503e002c-9b3b-4180-87fb-acabeb2b158a" providerId="ADAL" clId="{5C2CD6D4-C7A9-4CEF-AA9C-BC2977F70622}" dt="2024-02-21T11:16:43.630" v="32928" actId="165"/>
        <pc:sldMkLst>
          <pc:docMk/>
          <pc:sldMk cId="1821863806" sldId="2147483609"/>
        </pc:sldMkLst>
        <pc:spChg chg="add mod">
          <ac:chgData name="Abdi, Adnan" userId="503e002c-9b3b-4180-87fb-acabeb2b158a" providerId="ADAL" clId="{5C2CD6D4-C7A9-4CEF-AA9C-BC2977F70622}" dt="2024-02-21T09:15:56" v="32546" actId="2711"/>
          <ac:spMkLst>
            <pc:docMk/>
            <pc:sldMk cId="1821863806" sldId="2147483609"/>
            <ac:spMk id="3" creationId="{2A8ADDC9-D00C-1954-DFE8-F0E95E7C8B28}"/>
          </ac:spMkLst>
        </pc:spChg>
        <pc:spChg chg="add mod">
          <ac:chgData name="Abdi, Adnan" userId="503e002c-9b3b-4180-87fb-acabeb2b158a" providerId="ADAL" clId="{5C2CD6D4-C7A9-4CEF-AA9C-BC2977F70622}" dt="2024-02-21T09:15:56" v="32546" actId="2711"/>
          <ac:spMkLst>
            <pc:docMk/>
            <pc:sldMk cId="1821863806" sldId="2147483609"/>
            <ac:spMk id="4" creationId="{6461218D-5FFA-3C97-9D01-D3D8DE88FF03}"/>
          </ac:spMkLst>
        </pc:spChg>
        <pc:spChg chg="add mod">
          <ac:chgData name="Abdi, Adnan" userId="503e002c-9b3b-4180-87fb-acabeb2b158a" providerId="ADAL" clId="{5C2CD6D4-C7A9-4CEF-AA9C-BC2977F70622}" dt="2024-02-21T09:50:04.143" v="32838"/>
          <ac:spMkLst>
            <pc:docMk/>
            <pc:sldMk cId="1821863806" sldId="2147483609"/>
            <ac:spMk id="5" creationId="{1C0D7254-DE4B-F740-5235-762A3DB402D3}"/>
          </ac:spMkLst>
        </pc:spChg>
        <pc:spChg chg="mod">
          <ac:chgData name="Abdi, Adnan" userId="503e002c-9b3b-4180-87fb-acabeb2b158a" providerId="ADAL" clId="{5C2CD6D4-C7A9-4CEF-AA9C-BC2977F70622}" dt="2024-02-21T09:15:56" v="32546" actId="2711"/>
          <ac:spMkLst>
            <pc:docMk/>
            <pc:sldMk cId="1821863806" sldId="2147483609"/>
            <ac:spMk id="55" creationId="{3A29D9B7-E72E-5D86-AB03-FD6EFF342516}"/>
          </ac:spMkLst>
        </pc:spChg>
        <pc:spChg chg="mod">
          <ac:chgData name="Abdi, Adnan" userId="503e002c-9b3b-4180-87fb-acabeb2b158a" providerId="ADAL" clId="{5C2CD6D4-C7A9-4CEF-AA9C-BC2977F70622}" dt="2024-02-21T09:15:56" v="32546" actId="2711"/>
          <ac:spMkLst>
            <pc:docMk/>
            <pc:sldMk cId="1821863806" sldId="2147483609"/>
            <ac:spMk id="61" creationId="{7887A407-2835-6084-2344-33F19DE886CC}"/>
          </ac:spMkLst>
        </pc:spChg>
        <pc:spChg chg="mod">
          <ac:chgData name="Abdi, Adnan" userId="503e002c-9b3b-4180-87fb-acabeb2b158a" providerId="ADAL" clId="{5C2CD6D4-C7A9-4CEF-AA9C-BC2977F70622}" dt="2024-02-21T09:15:56" v="32546" actId="2711"/>
          <ac:spMkLst>
            <pc:docMk/>
            <pc:sldMk cId="1821863806" sldId="2147483609"/>
            <ac:spMk id="62" creationId="{243A2D2E-543B-8E06-F4F9-89F5DFA84DC9}"/>
          </ac:spMkLst>
        </pc:spChg>
        <pc:spChg chg="mod">
          <ac:chgData name="Abdi, Adnan" userId="503e002c-9b3b-4180-87fb-acabeb2b158a" providerId="ADAL" clId="{5C2CD6D4-C7A9-4CEF-AA9C-BC2977F70622}" dt="2024-02-21T09:15:56" v="32546" actId="2711"/>
          <ac:spMkLst>
            <pc:docMk/>
            <pc:sldMk cId="1821863806" sldId="2147483609"/>
            <ac:spMk id="63" creationId="{4D235B5C-F641-8C20-BF39-A54BA7C85250}"/>
          </ac:spMkLst>
        </pc:spChg>
        <pc:spChg chg="mod">
          <ac:chgData name="Abdi, Adnan" userId="503e002c-9b3b-4180-87fb-acabeb2b158a" providerId="ADAL" clId="{5C2CD6D4-C7A9-4CEF-AA9C-BC2977F70622}" dt="2024-02-21T09:16:09.985" v="32548" actId="14100"/>
          <ac:spMkLst>
            <pc:docMk/>
            <pc:sldMk cId="1821863806" sldId="2147483609"/>
            <ac:spMk id="65" creationId="{B3748619-3217-25FA-0663-12BCB9781F51}"/>
          </ac:spMkLst>
        </pc:spChg>
        <pc:spChg chg="mod">
          <ac:chgData name="Abdi, Adnan" userId="503e002c-9b3b-4180-87fb-acabeb2b158a" providerId="ADAL" clId="{5C2CD6D4-C7A9-4CEF-AA9C-BC2977F70622}" dt="2024-02-21T09:15:56" v="32546" actId="2711"/>
          <ac:spMkLst>
            <pc:docMk/>
            <pc:sldMk cId="1821863806" sldId="2147483609"/>
            <ac:spMk id="100" creationId="{0039313B-E0FB-413F-FC29-126839959669}"/>
          </ac:spMkLst>
        </pc:spChg>
        <pc:spChg chg="mod">
          <ac:chgData name="Abdi, Adnan" userId="503e002c-9b3b-4180-87fb-acabeb2b158a" providerId="ADAL" clId="{5C2CD6D4-C7A9-4CEF-AA9C-BC2977F70622}" dt="2024-02-21T09:15:56" v="32546" actId="2711"/>
          <ac:spMkLst>
            <pc:docMk/>
            <pc:sldMk cId="1821863806" sldId="2147483609"/>
            <ac:spMk id="112" creationId="{E01CF036-FC5B-9DC1-A861-AD6376C6D595}"/>
          </ac:spMkLst>
        </pc:spChg>
        <pc:spChg chg="mod">
          <ac:chgData name="Abdi, Adnan" userId="503e002c-9b3b-4180-87fb-acabeb2b158a" providerId="ADAL" clId="{5C2CD6D4-C7A9-4CEF-AA9C-BC2977F70622}" dt="2024-02-21T09:15:56" v="32546" actId="2711"/>
          <ac:spMkLst>
            <pc:docMk/>
            <pc:sldMk cId="1821863806" sldId="2147483609"/>
            <ac:spMk id="113" creationId="{5AE9EB04-4558-CF37-BB8C-EF754C7A228E}"/>
          </ac:spMkLst>
        </pc:spChg>
        <pc:spChg chg="mod">
          <ac:chgData name="Abdi, Adnan" userId="503e002c-9b3b-4180-87fb-acabeb2b158a" providerId="ADAL" clId="{5C2CD6D4-C7A9-4CEF-AA9C-BC2977F70622}" dt="2024-02-21T09:15:56" v="32546" actId="2711"/>
          <ac:spMkLst>
            <pc:docMk/>
            <pc:sldMk cId="1821863806" sldId="2147483609"/>
            <ac:spMk id="115" creationId="{31F76271-CC18-804E-AFE5-356F0C6041D7}"/>
          </ac:spMkLst>
        </pc:spChg>
        <pc:spChg chg="mod">
          <ac:chgData name="Abdi, Adnan" userId="503e002c-9b3b-4180-87fb-acabeb2b158a" providerId="ADAL" clId="{5C2CD6D4-C7A9-4CEF-AA9C-BC2977F70622}" dt="2024-02-21T09:15:56" v="32546" actId="2711"/>
          <ac:spMkLst>
            <pc:docMk/>
            <pc:sldMk cId="1821863806" sldId="2147483609"/>
            <ac:spMk id="118" creationId="{046BF868-6DA0-70AA-6DA7-2B75D668F063}"/>
          </ac:spMkLst>
        </pc:spChg>
        <pc:spChg chg="del mod">
          <ac:chgData name="Abdi, Adnan" userId="503e002c-9b3b-4180-87fb-acabeb2b158a" providerId="ADAL" clId="{5C2CD6D4-C7A9-4CEF-AA9C-BC2977F70622}" dt="2024-02-21T09:15:16.867" v="32544" actId="478"/>
          <ac:spMkLst>
            <pc:docMk/>
            <pc:sldMk cId="1821863806" sldId="2147483609"/>
            <ac:spMk id="163" creationId="{8284026D-E7DA-76FC-E292-49D431256380}"/>
          </ac:spMkLst>
        </pc:spChg>
        <pc:spChg chg="mod">
          <ac:chgData name="Abdi, Adnan" userId="503e002c-9b3b-4180-87fb-acabeb2b158a" providerId="ADAL" clId="{5C2CD6D4-C7A9-4CEF-AA9C-BC2977F70622}" dt="2024-02-21T09:15:56" v="32546" actId="2711"/>
          <ac:spMkLst>
            <pc:docMk/>
            <pc:sldMk cId="1821863806" sldId="2147483609"/>
            <ac:spMk id="1043" creationId="{027E0443-13EA-255C-1CF7-BB6D6D75D4EE}"/>
          </ac:spMkLst>
        </pc:spChg>
        <pc:spChg chg="mod">
          <ac:chgData name="Abdi, Adnan" userId="503e002c-9b3b-4180-87fb-acabeb2b158a" providerId="ADAL" clId="{5C2CD6D4-C7A9-4CEF-AA9C-BC2977F70622}" dt="2024-02-21T09:52:02.032" v="32851" actId="14100"/>
          <ac:spMkLst>
            <pc:docMk/>
            <pc:sldMk cId="1821863806" sldId="2147483609"/>
            <ac:spMk id="1077" creationId="{E4158BB1-9CA7-0684-1C01-80D943AE767D}"/>
          </ac:spMkLst>
        </pc:spChg>
        <pc:spChg chg="mod">
          <ac:chgData name="Abdi, Adnan" userId="503e002c-9b3b-4180-87fb-acabeb2b158a" providerId="ADAL" clId="{5C2CD6D4-C7A9-4CEF-AA9C-BC2977F70622}" dt="2024-02-21T09:16:11.326" v="32549" actId="2711"/>
          <ac:spMkLst>
            <pc:docMk/>
            <pc:sldMk cId="1821863806" sldId="2147483609"/>
            <ac:spMk id="1300" creationId="{5835EAEE-FC08-D341-FEF7-76CD070CB7B9}"/>
          </ac:spMkLst>
        </pc:spChg>
        <pc:grpChg chg="mod">
          <ac:chgData name="Abdi, Adnan" userId="503e002c-9b3b-4180-87fb-acabeb2b158a" providerId="ADAL" clId="{5C2CD6D4-C7A9-4CEF-AA9C-BC2977F70622}" dt="2024-02-21T09:52:03.949" v="32856" actId="14100"/>
          <ac:grpSpMkLst>
            <pc:docMk/>
            <pc:sldMk cId="1821863806" sldId="2147483609"/>
            <ac:grpSpMk id="34" creationId="{9FF788E6-5387-A2A8-0E57-012AFCD95939}"/>
          </ac:grpSpMkLst>
        </pc:grpChg>
        <pc:grpChg chg="del mod">
          <ac:chgData name="Abdi, Adnan" userId="503e002c-9b3b-4180-87fb-acabeb2b158a" providerId="ADAL" clId="{5C2CD6D4-C7A9-4CEF-AA9C-BC2977F70622}" dt="2024-02-21T11:16:43.630" v="32928" actId="165"/>
          <ac:grpSpMkLst>
            <pc:docMk/>
            <pc:sldMk cId="1821863806" sldId="2147483609"/>
            <ac:grpSpMk id="35" creationId="{B0ADEEEC-6D66-89AC-01EE-EF381CE9B297}"/>
          </ac:grpSpMkLst>
        </pc:grpChg>
        <pc:grpChg chg="mod">
          <ac:chgData name="Abdi, Adnan" userId="503e002c-9b3b-4180-87fb-acabeb2b158a" providerId="ADAL" clId="{5C2CD6D4-C7A9-4CEF-AA9C-BC2977F70622}" dt="2024-02-21T09:16:11.326" v="32549" actId="2711"/>
          <ac:grpSpMkLst>
            <pc:docMk/>
            <pc:sldMk cId="1821863806" sldId="2147483609"/>
            <ac:grpSpMk id="1298" creationId="{283140F8-872A-3D10-35D7-104603C85A61}"/>
          </ac:grpSpMkLst>
        </pc:grpChg>
        <pc:graphicFrameChg chg="mod modGraphic">
          <ac:chgData name="Abdi, Adnan" userId="503e002c-9b3b-4180-87fb-acabeb2b158a" providerId="ADAL" clId="{5C2CD6D4-C7A9-4CEF-AA9C-BC2977F70622}" dt="2024-02-21T09:15:56" v="32546" actId="2711"/>
          <ac:graphicFrameMkLst>
            <pc:docMk/>
            <pc:sldMk cId="1821863806" sldId="2147483609"/>
            <ac:graphicFrameMk id="178" creationId="{719D8709-A3FB-C055-67F6-19E57CF7D621}"/>
          </ac:graphicFrameMkLst>
        </pc:graphicFrameChg>
        <pc:graphicFrameChg chg="mod modGraphic">
          <ac:chgData name="Abdi, Adnan" userId="503e002c-9b3b-4180-87fb-acabeb2b158a" providerId="ADAL" clId="{5C2CD6D4-C7A9-4CEF-AA9C-BC2977F70622}" dt="2024-02-21T09:51:59.398" v="32848" actId="14100"/>
          <ac:graphicFrameMkLst>
            <pc:docMk/>
            <pc:sldMk cId="1821863806" sldId="2147483609"/>
            <ac:graphicFrameMk id="179" creationId="{5BA53256-74D9-DB68-61EC-6D0389AD5255}"/>
          </ac:graphicFrameMkLst>
        </pc:graphicFrameChg>
        <pc:picChg chg="mod topLvl">
          <ac:chgData name="Abdi, Adnan" userId="503e002c-9b3b-4180-87fb-acabeb2b158a" providerId="ADAL" clId="{5C2CD6D4-C7A9-4CEF-AA9C-BC2977F70622}" dt="2024-02-21T11:16:43.630" v="32928" actId="165"/>
          <ac:picMkLst>
            <pc:docMk/>
            <pc:sldMk cId="1821863806" sldId="2147483609"/>
            <ac:picMk id="19" creationId="{3A7FB9ED-B702-2509-E314-53905A72E2F4}"/>
          </ac:picMkLst>
        </pc:picChg>
        <pc:picChg chg="mod">
          <ac:chgData name="Abdi, Adnan" userId="503e002c-9b3b-4180-87fb-acabeb2b158a" providerId="ADAL" clId="{5C2CD6D4-C7A9-4CEF-AA9C-BC2977F70622}" dt="2024-02-21T09:15:56" v="32546" actId="2711"/>
          <ac:picMkLst>
            <pc:docMk/>
            <pc:sldMk cId="1821863806" sldId="2147483609"/>
            <ac:picMk id="180" creationId="{F43FC475-BB53-F8BF-689E-C704CD25B236}"/>
          </ac:picMkLst>
        </pc:picChg>
        <pc:picChg chg="mod">
          <ac:chgData name="Abdi, Adnan" userId="503e002c-9b3b-4180-87fb-acabeb2b158a" providerId="ADAL" clId="{5C2CD6D4-C7A9-4CEF-AA9C-BC2977F70622}" dt="2024-02-21T09:15:56" v="32546" actId="2711"/>
          <ac:picMkLst>
            <pc:docMk/>
            <pc:sldMk cId="1821863806" sldId="2147483609"/>
            <ac:picMk id="181" creationId="{47B3BABF-0C47-6E39-C10C-BC6574FC35CE}"/>
          </ac:picMkLst>
        </pc:picChg>
        <pc:picChg chg="mod">
          <ac:chgData name="Abdi, Adnan" userId="503e002c-9b3b-4180-87fb-acabeb2b158a" providerId="ADAL" clId="{5C2CD6D4-C7A9-4CEF-AA9C-BC2977F70622}" dt="2024-02-21T09:15:56" v="32546" actId="2711"/>
          <ac:picMkLst>
            <pc:docMk/>
            <pc:sldMk cId="1821863806" sldId="2147483609"/>
            <ac:picMk id="182" creationId="{8DA283F2-C9AF-DDE5-1FF7-D4887B108B80}"/>
          </ac:picMkLst>
        </pc:picChg>
        <pc:picChg chg="mod">
          <ac:chgData name="Abdi, Adnan" userId="503e002c-9b3b-4180-87fb-acabeb2b158a" providerId="ADAL" clId="{5C2CD6D4-C7A9-4CEF-AA9C-BC2977F70622}" dt="2024-02-21T09:15:56" v="32546" actId="2711"/>
          <ac:picMkLst>
            <pc:docMk/>
            <pc:sldMk cId="1821863806" sldId="2147483609"/>
            <ac:picMk id="183" creationId="{210F220A-6FF4-19A0-53C7-8DD9D44AC770}"/>
          </ac:picMkLst>
        </pc:picChg>
        <pc:picChg chg="mod">
          <ac:chgData name="Abdi, Adnan" userId="503e002c-9b3b-4180-87fb-acabeb2b158a" providerId="ADAL" clId="{5C2CD6D4-C7A9-4CEF-AA9C-BC2977F70622}" dt="2024-02-21T09:15:56" v="32546" actId="2711"/>
          <ac:picMkLst>
            <pc:docMk/>
            <pc:sldMk cId="1821863806" sldId="2147483609"/>
            <ac:picMk id="184" creationId="{658BA810-6D2B-1BF3-33D3-BC7C6129CAA5}"/>
          </ac:picMkLst>
        </pc:picChg>
        <pc:picChg chg="mod">
          <ac:chgData name="Abdi, Adnan" userId="503e002c-9b3b-4180-87fb-acabeb2b158a" providerId="ADAL" clId="{5C2CD6D4-C7A9-4CEF-AA9C-BC2977F70622}" dt="2024-02-21T09:15:56" v="32546" actId="2711"/>
          <ac:picMkLst>
            <pc:docMk/>
            <pc:sldMk cId="1821863806" sldId="2147483609"/>
            <ac:picMk id="185" creationId="{BADD0B2B-30A9-5D90-8BE9-EB3E46B8A5AD}"/>
          </ac:picMkLst>
        </pc:picChg>
        <pc:picChg chg="mod">
          <ac:chgData name="Abdi, Adnan" userId="503e002c-9b3b-4180-87fb-acabeb2b158a" providerId="ADAL" clId="{5C2CD6D4-C7A9-4CEF-AA9C-BC2977F70622}" dt="2024-02-21T09:15:56" v="32546" actId="2711"/>
          <ac:picMkLst>
            <pc:docMk/>
            <pc:sldMk cId="1821863806" sldId="2147483609"/>
            <ac:picMk id="186" creationId="{06F27CBE-6A60-24A1-104C-AF1196CF0F66}"/>
          </ac:picMkLst>
        </pc:picChg>
        <pc:picChg chg="mod">
          <ac:chgData name="Abdi, Adnan" userId="503e002c-9b3b-4180-87fb-acabeb2b158a" providerId="ADAL" clId="{5C2CD6D4-C7A9-4CEF-AA9C-BC2977F70622}" dt="2024-02-21T09:15:56" v="32546" actId="2711"/>
          <ac:picMkLst>
            <pc:docMk/>
            <pc:sldMk cId="1821863806" sldId="2147483609"/>
            <ac:picMk id="187" creationId="{92C2280B-5EBD-1870-2611-E3E254136224}"/>
          </ac:picMkLst>
        </pc:picChg>
        <pc:picChg chg="mod">
          <ac:chgData name="Abdi, Adnan" userId="503e002c-9b3b-4180-87fb-acabeb2b158a" providerId="ADAL" clId="{5C2CD6D4-C7A9-4CEF-AA9C-BC2977F70622}" dt="2024-02-21T09:15:56" v="32546" actId="2711"/>
          <ac:picMkLst>
            <pc:docMk/>
            <pc:sldMk cId="1821863806" sldId="2147483609"/>
            <ac:picMk id="188" creationId="{85F2978E-AAF8-31F8-4EE5-3F33C8D13A3D}"/>
          </ac:picMkLst>
        </pc:picChg>
        <pc:picChg chg="mod">
          <ac:chgData name="Abdi, Adnan" userId="503e002c-9b3b-4180-87fb-acabeb2b158a" providerId="ADAL" clId="{5C2CD6D4-C7A9-4CEF-AA9C-BC2977F70622}" dt="2024-02-21T09:15:56" v="32546" actId="2711"/>
          <ac:picMkLst>
            <pc:docMk/>
            <pc:sldMk cId="1821863806" sldId="2147483609"/>
            <ac:picMk id="189" creationId="{8E249FD2-2430-E52D-E35D-ADE6BFD185B5}"/>
          </ac:picMkLst>
        </pc:picChg>
        <pc:picChg chg="mod">
          <ac:chgData name="Abdi, Adnan" userId="503e002c-9b3b-4180-87fb-acabeb2b158a" providerId="ADAL" clId="{5C2CD6D4-C7A9-4CEF-AA9C-BC2977F70622}" dt="2024-02-21T09:15:56" v="32546" actId="2711"/>
          <ac:picMkLst>
            <pc:docMk/>
            <pc:sldMk cId="1821863806" sldId="2147483609"/>
            <ac:picMk id="190" creationId="{EF897428-0CB5-6918-40AD-8520A1C596DE}"/>
          </ac:picMkLst>
        </pc:picChg>
        <pc:picChg chg="mod">
          <ac:chgData name="Abdi, Adnan" userId="503e002c-9b3b-4180-87fb-acabeb2b158a" providerId="ADAL" clId="{5C2CD6D4-C7A9-4CEF-AA9C-BC2977F70622}" dt="2024-02-21T09:15:56" v="32546" actId="2711"/>
          <ac:picMkLst>
            <pc:docMk/>
            <pc:sldMk cId="1821863806" sldId="2147483609"/>
            <ac:picMk id="191" creationId="{9387BF19-F2DB-F34A-7C9A-DA733FF931F8}"/>
          </ac:picMkLst>
        </pc:picChg>
        <pc:picChg chg="mod">
          <ac:chgData name="Abdi, Adnan" userId="503e002c-9b3b-4180-87fb-acabeb2b158a" providerId="ADAL" clId="{5C2CD6D4-C7A9-4CEF-AA9C-BC2977F70622}" dt="2024-02-21T09:15:56" v="32546" actId="2711"/>
          <ac:picMkLst>
            <pc:docMk/>
            <pc:sldMk cId="1821863806" sldId="2147483609"/>
            <ac:picMk id="1024" creationId="{A5D2B514-3FE0-A260-D3AB-B391C303744F}"/>
          </ac:picMkLst>
        </pc:picChg>
        <pc:picChg chg="mod">
          <ac:chgData name="Abdi, Adnan" userId="503e002c-9b3b-4180-87fb-acabeb2b158a" providerId="ADAL" clId="{5C2CD6D4-C7A9-4CEF-AA9C-BC2977F70622}" dt="2024-02-21T09:15:56" v="32546" actId="2711"/>
          <ac:picMkLst>
            <pc:docMk/>
            <pc:sldMk cId="1821863806" sldId="2147483609"/>
            <ac:picMk id="1025" creationId="{C008FC70-C1DC-7491-3B01-2A176AF86EE2}"/>
          </ac:picMkLst>
        </pc:picChg>
        <pc:picChg chg="mod">
          <ac:chgData name="Abdi, Adnan" userId="503e002c-9b3b-4180-87fb-acabeb2b158a" providerId="ADAL" clId="{5C2CD6D4-C7A9-4CEF-AA9C-BC2977F70622}" dt="2024-02-21T09:15:56" v="32546" actId="2711"/>
          <ac:picMkLst>
            <pc:docMk/>
            <pc:sldMk cId="1821863806" sldId="2147483609"/>
            <ac:picMk id="1026" creationId="{5E89F049-D8DD-E950-CA90-9EEE314933FE}"/>
          </ac:picMkLst>
        </pc:picChg>
        <pc:picChg chg="mod">
          <ac:chgData name="Abdi, Adnan" userId="503e002c-9b3b-4180-87fb-acabeb2b158a" providerId="ADAL" clId="{5C2CD6D4-C7A9-4CEF-AA9C-BC2977F70622}" dt="2024-02-21T09:15:56" v="32546" actId="2711"/>
          <ac:picMkLst>
            <pc:docMk/>
            <pc:sldMk cId="1821863806" sldId="2147483609"/>
            <ac:picMk id="1027" creationId="{F5368BD3-5DE5-A04E-831F-FCC5783C294C}"/>
          </ac:picMkLst>
        </pc:picChg>
        <pc:picChg chg="mod">
          <ac:chgData name="Abdi, Adnan" userId="503e002c-9b3b-4180-87fb-acabeb2b158a" providerId="ADAL" clId="{5C2CD6D4-C7A9-4CEF-AA9C-BC2977F70622}" dt="2024-02-21T09:15:56" v="32546" actId="2711"/>
          <ac:picMkLst>
            <pc:docMk/>
            <pc:sldMk cId="1821863806" sldId="2147483609"/>
            <ac:picMk id="1028" creationId="{EFECBA6C-5E59-24DB-8AF6-37E192B6F707}"/>
          </ac:picMkLst>
        </pc:picChg>
        <pc:picChg chg="mod">
          <ac:chgData name="Abdi, Adnan" userId="503e002c-9b3b-4180-87fb-acabeb2b158a" providerId="ADAL" clId="{5C2CD6D4-C7A9-4CEF-AA9C-BC2977F70622}" dt="2024-02-21T09:15:56" v="32546" actId="2711"/>
          <ac:picMkLst>
            <pc:docMk/>
            <pc:sldMk cId="1821863806" sldId="2147483609"/>
            <ac:picMk id="1029" creationId="{1E5E22EC-0A55-C5F0-3260-1EDE6A3BAE51}"/>
          </ac:picMkLst>
        </pc:picChg>
        <pc:picChg chg="mod">
          <ac:chgData name="Abdi, Adnan" userId="503e002c-9b3b-4180-87fb-acabeb2b158a" providerId="ADAL" clId="{5C2CD6D4-C7A9-4CEF-AA9C-BC2977F70622}" dt="2024-02-21T09:15:56" v="32546" actId="2711"/>
          <ac:picMkLst>
            <pc:docMk/>
            <pc:sldMk cId="1821863806" sldId="2147483609"/>
            <ac:picMk id="1030" creationId="{CD81BA52-B41D-31DB-4288-BD3F1CC5586F}"/>
          </ac:picMkLst>
        </pc:picChg>
        <pc:picChg chg="mod">
          <ac:chgData name="Abdi, Adnan" userId="503e002c-9b3b-4180-87fb-acabeb2b158a" providerId="ADAL" clId="{5C2CD6D4-C7A9-4CEF-AA9C-BC2977F70622}" dt="2024-02-21T09:15:56" v="32546" actId="2711"/>
          <ac:picMkLst>
            <pc:docMk/>
            <pc:sldMk cId="1821863806" sldId="2147483609"/>
            <ac:picMk id="1031" creationId="{7E9DBD6A-9B10-BA37-4B37-EB846D8A956C}"/>
          </ac:picMkLst>
        </pc:picChg>
        <pc:picChg chg="mod">
          <ac:chgData name="Abdi, Adnan" userId="503e002c-9b3b-4180-87fb-acabeb2b158a" providerId="ADAL" clId="{5C2CD6D4-C7A9-4CEF-AA9C-BC2977F70622}" dt="2024-02-21T09:15:56" v="32546" actId="2711"/>
          <ac:picMkLst>
            <pc:docMk/>
            <pc:sldMk cId="1821863806" sldId="2147483609"/>
            <ac:picMk id="1032" creationId="{EDF50F60-427E-130F-5322-280201E7EDD2}"/>
          </ac:picMkLst>
        </pc:picChg>
        <pc:picChg chg="mod">
          <ac:chgData name="Abdi, Adnan" userId="503e002c-9b3b-4180-87fb-acabeb2b158a" providerId="ADAL" clId="{5C2CD6D4-C7A9-4CEF-AA9C-BC2977F70622}" dt="2024-02-21T09:15:56" v="32546" actId="2711"/>
          <ac:picMkLst>
            <pc:docMk/>
            <pc:sldMk cId="1821863806" sldId="2147483609"/>
            <ac:picMk id="1033" creationId="{9FD5A53D-817F-CCDC-E867-B07B65384026}"/>
          </ac:picMkLst>
        </pc:picChg>
        <pc:picChg chg="mod">
          <ac:chgData name="Abdi, Adnan" userId="503e002c-9b3b-4180-87fb-acabeb2b158a" providerId="ADAL" clId="{5C2CD6D4-C7A9-4CEF-AA9C-BC2977F70622}" dt="2024-02-21T09:15:56" v="32546" actId="2711"/>
          <ac:picMkLst>
            <pc:docMk/>
            <pc:sldMk cId="1821863806" sldId="2147483609"/>
            <ac:picMk id="1035" creationId="{A61BB388-7519-CAF3-1C7D-DECB9B28B91D}"/>
          </ac:picMkLst>
        </pc:picChg>
        <pc:picChg chg="mod">
          <ac:chgData name="Abdi, Adnan" userId="503e002c-9b3b-4180-87fb-acabeb2b158a" providerId="ADAL" clId="{5C2CD6D4-C7A9-4CEF-AA9C-BC2977F70622}" dt="2024-02-21T09:15:56" v="32546" actId="2711"/>
          <ac:picMkLst>
            <pc:docMk/>
            <pc:sldMk cId="1821863806" sldId="2147483609"/>
            <ac:picMk id="1037" creationId="{0AD20CF7-2394-2BFC-4C0F-A566AAE36387}"/>
          </ac:picMkLst>
        </pc:picChg>
        <pc:picChg chg="mod">
          <ac:chgData name="Abdi, Adnan" userId="503e002c-9b3b-4180-87fb-acabeb2b158a" providerId="ADAL" clId="{5C2CD6D4-C7A9-4CEF-AA9C-BC2977F70622}" dt="2024-02-21T09:15:56" v="32546" actId="2711"/>
          <ac:picMkLst>
            <pc:docMk/>
            <pc:sldMk cId="1821863806" sldId="2147483609"/>
            <ac:picMk id="1038" creationId="{000BA379-AD4A-00A9-F8F5-92C1F9BF0E74}"/>
          </ac:picMkLst>
        </pc:picChg>
        <pc:picChg chg="mod">
          <ac:chgData name="Abdi, Adnan" userId="503e002c-9b3b-4180-87fb-acabeb2b158a" providerId="ADAL" clId="{5C2CD6D4-C7A9-4CEF-AA9C-BC2977F70622}" dt="2024-02-21T09:15:56" v="32546" actId="2711"/>
          <ac:picMkLst>
            <pc:docMk/>
            <pc:sldMk cId="1821863806" sldId="2147483609"/>
            <ac:picMk id="1039" creationId="{A5DE60A2-CD9D-E24C-8370-FA9A21C373D6}"/>
          </ac:picMkLst>
        </pc:picChg>
        <pc:picChg chg="mod">
          <ac:chgData name="Abdi, Adnan" userId="503e002c-9b3b-4180-87fb-acabeb2b158a" providerId="ADAL" clId="{5C2CD6D4-C7A9-4CEF-AA9C-BC2977F70622}" dt="2024-02-21T09:15:56" v="32546" actId="2711"/>
          <ac:picMkLst>
            <pc:docMk/>
            <pc:sldMk cId="1821863806" sldId="2147483609"/>
            <ac:picMk id="1040" creationId="{0F25EA7D-24B5-A074-6878-51B2283D366C}"/>
          </ac:picMkLst>
        </pc:picChg>
        <pc:picChg chg="mod">
          <ac:chgData name="Abdi, Adnan" userId="503e002c-9b3b-4180-87fb-acabeb2b158a" providerId="ADAL" clId="{5C2CD6D4-C7A9-4CEF-AA9C-BC2977F70622}" dt="2024-02-21T09:15:56" v="32546" actId="2711"/>
          <ac:picMkLst>
            <pc:docMk/>
            <pc:sldMk cId="1821863806" sldId="2147483609"/>
            <ac:picMk id="1041" creationId="{248CA4A8-A539-9FF2-83B4-4D451059959F}"/>
          </ac:picMkLst>
        </pc:picChg>
        <pc:picChg chg="mod">
          <ac:chgData name="Abdi, Adnan" userId="503e002c-9b3b-4180-87fb-acabeb2b158a" providerId="ADAL" clId="{5C2CD6D4-C7A9-4CEF-AA9C-BC2977F70622}" dt="2024-02-21T09:15:56" v="32546" actId="2711"/>
          <ac:picMkLst>
            <pc:docMk/>
            <pc:sldMk cId="1821863806" sldId="2147483609"/>
            <ac:picMk id="1280" creationId="{83440080-3126-C0C4-1C86-06D5BF5D7BB2}"/>
          </ac:picMkLst>
        </pc:picChg>
        <pc:picChg chg="mod">
          <ac:chgData name="Abdi, Adnan" userId="503e002c-9b3b-4180-87fb-acabeb2b158a" providerId="ADAL" clId="{5C2CD6D4-C7A9-4CEF-AA9C-BC2977F70622}" dt="2024-02-21T09:15:56" v="32546" actId="2711"/>
          <ac:picMkLst>
            <pc:docMk/>
            <pc:sldMk cId="1821863806" sldId="2147483609"/>
            <ac:picMk id="1281" creationId="{3582B9EB-8B51-07FB-6E0E-A69BA367D80E}"/>
          </ac:picMkLst>
        </pc:picChg>
        <pc:picChg chg="mod">
          <ac:chgData name="Abdi, Adnan" userId="503e002c-9b3b-4180-87fb-acabeb2b158a" providerId="ADAL" clId="{5C2CD6D4-C7A9-4CEF-AA9C-BC2977F70622}" dt="2024-02-21T09:15:56" v="32546" actId="2711"/>
          <ac:picMkLst>
            <pc:docMk/>
            <pc:sldMk cId="1821863806" sldId="2147483609"/>
            <ac:picMk id="1282" creationId="{0BF23955-DD97-D222-B58C-1E46C4F69674}"/>
          </ac:picMkLst>
        </pc:picChg>
        <pc:picChg chg="mod">
          <ac:chgData name="Abdi, Adnan" userId="503e002c-9b3b-4180-87fb-acabeb2b158a" providerId="ADAL" clId="{5C2CD6D4-C7A9-4CEF-AA9C-BC2977F70622}" dt="2024-02-21T09:15:56" v="32546" actId="2711"/>
          <ac:picMkLst>
            <pc:docMk/>
            <pc:sldMk cId="1821863806" sldId="2147483609"/>
            <ac:picMk id="1283" creationId="{BF97C12F-489B-D530-32D8-B17333B0A197}"/>
          </ac:picMkLst>
        </pc:picChg>
        <pc:picChg chg="mod">
          <ac:chgData name="Abdi, Adnan" userId="503e002c-9b3b-4180-87fb-acabeb2b158a" providerId="ADAL" clId="{5C2CD6D4-C7A9-4CEF-AA9C-BC2977F70622}" dt="2024-02-21T09:15:56" v="32546" actId="2711"/>
          <ac:picMkLst>
            <pc:docMk/>
            <pc:sldMk cId="1821863806" sldId="2147483609"/>
            <ac:picMk id="1284" creationId="{8B6C61B2-11EA-AB51-E9A9-65E258787E84}"/>
          </ac:picMkLst>
        </pc:picChg>
        <pc:picChg chg="mod">
          <ac:chgData name="Abdi, Adnan" userId="503e002c-9b3b-4180-87fb-acabeb2b158a" providerId="ADAL" clId="{5C2CD6D4-C7A9-4CEF-AA9C-BC2977F70622}" dt="2024-02-21T09:15:56" v="32546" actId="2711"/>
          <ac:picMkLst>
            <pc:docMk/>
            <pc:sldMk cId="1821863806" sldId="2147483609"/>
            <ac:picMk id="1285" creationId="{0F90FFCA-0F13-9FD6-A0BA-CEBAF8C28D65}"/>
          </ac:picMkLst>
        </pc:picChg>
        <pc:picChg chg="mod">
          <ac:chgData name="Abdi, Adnan" userId="503e002c-9b3b-4180-87fb-acabeb2b158a" providerId="ADAL" clId="{5C2CD6D4-C7A9-4CEF-AA9C-BC2977F70622}" dt="2024-02-21T09:15:56" v="32546" actId="2711"/>
          <ac:picMkLst>
            <pc:docMk/>
            <pc:sldMk cId="1821863806" sldId="2147483609"/>
            <ac:picMk id="1286" creationId="{CC1AACB2-1DEB-D446-F783-EB3E00D840A6}"/>
          </ac:picMkLst>
        </pc:picChg>
        <pc:picChg chg="mod">
          <ac:chgData name="Abdi, Adnan" userId="503e002c-9b3b-4180-87fb-acabeb2b158a" providerId="ADAL" clId="{5C2CD6D4-C7A9-4CEF-AA9C-BC2977F70622}" dt="2024-02-21T09:15:56" v="32546" actId="2711"/>
          <ac:picMkLst>
            <pc:docMk/>
            <pc:sldMk cId="1821863806" sldId="2147483609"/>
            <ac:picMk id="1287" creationId="{4849DB2C-990D-E1FA-4556-B9A1A7E58E43}"/>
          </ac:picMkLst>
        </pc:picChg>
        <pc:picChg chg="mod">
          <ac:chgData name="Abdi, Adnan" userId="503e002c-9b3b-4180-87fb-acabeb2b158a" providerId="ADAL" clId="{5C2CD6D4-C7A9-4CEF-AA9C-BC2977F70622}" dt="2024-02-21T09:15:56" v="32546" actId="2711"/>
          <ac:picMkLst>
            <pc:docMk/>
            <pc:sldMk cId="1821863806" sldId="2147483609"/>
            <ac:picMk id="1289" creationId="{021E8EFA-85C4-DDF6-789B-B043B3C400C3}"/>
          </ac:picMkLst>
        </pc:picChg>
        <pc:picChg chg="mod">
          <ac:chgData name="Abdi, Adnan" userId="503e002c-9b3b-4180-87fb-acabeb2b158a" providerId="ADAL" clId="{5C2CD6D4-C7A9-4CEF-AA9C-BC2977F70622}" dt="2024-02-21T09:15:56" v="32546" actId="2711"/>
          <ac:picMkLst>
            <pc:docMk/>
            <pc:sldMk cId="1821863806" sldId="2147483609"/>
            <ac:picMk id="1290" creationId="{07527BBF-3921-239C-B294-AB0C2D642F00}"/>
          </ac:picMkLst>
        </pc:picChg>
        <pc:picChg chg="mod">
          <ac:chgData name="Abdi, Adnan" userId="503e002c-9b3b-4180-87fb-acabeb2b158a" providerId="ADAL" clId="{5C2CD6D4-C7A9-4CEF-AA9C-BC2977F70622}" dt="2024-02-21T09:15:56" v="32546" actId="2711"/>
          <ac:picMkLst>
            <pc:docMk/>
            <pc:sldMk cId="1821863806" sldId="2147483609"/>
            <ac:picMk id="1291" creationId="{E875B345-9E67-E191-E913-96D6CB697CA0}"/>
          </ac:picMkLst>
        </pc:picChg>
        <pc:picChg chg="mod">
          <ac:chgData name="Abdi, Adnan" userId="503e002c-9b3b-4180-87fb-acabeb2b158a" providerId="ADAL" clId="{5C2CD6D4-C7A9-4CEF-AA9C-BC2977F70622}" dt="2024-02-21T09:15:56" v="32546" actId="2711"/>
          <ac:picMkLst>
            <pc:docMk/>
            <pc:sldMk cId="1821863806" sldId="2147483609"/>
            <ac:picMk id="1292" creationId="{F79BD7AE-B52B-C191-7F60-DA167E4BEC31}"/>
          </ac:picMkLst>
        </pc:picChg>
        <pc:picChg chg="mod">
          <ac:chgData name="Abdi, Adnan" userId="503e002c-9b3b-4180-87fb-acabeb2b158a" providerId="ADAL" clId="{5C2CD6D4-C7A9-4CEF-AA9C-BC2977F70622}" dt="2024-02-21T09:15:56" v="32546" actId="2711"/>
          <ac:picMkLst>
            <pc:docMk/>
            <pc:sldMk cId="1821863806" sldId="2147483609"/>
            <ac:picMk id="1293" creationId="{6AC4269A-840C-D91B-A12E-B3D4AD50DA92}"/>
          </ac:picMkLst>
        </pc:picChg>
        <pc:picChg chg="mod">
          <ac:chgData name="Abdi, Adnan" userId="503e002c-9b3b-4180-87fb-acabeb2b158a" providerId="ADAL" clId="{5C2CD6D4-C7A9-4CEF-AA9C-BC2977F70622}" dt="2024-02-21T09:15:56" v="32546" actId="2711"/>
          <ac:picMkLst>
            <pc:docMk/>
            <pc:sldMk cId="1821863806" sldId="2147483609"/>
            <ac:picMk id="1294" creationId="{68FAEDA1-1BEF-6AB7-A8DB-55DE5E57455B}"/>
          </ac:picMkLst>
        </pc:picChg>
        <pc:picChg chg="mod">
          <ac:chgData name="Abdi, Adnan" userId="503e002c-9b3b-4180-87fb-acabeb2b158a" providerId="ADAL" clId="{5C2CD6D4-C7A9-4CEF-AA9C-BC2977F70622}" dt="2024-02-21T09:15:56" v="32546" actId="2711"/>
          <ac:picMkLst>
            <pc:docMk/>
            <pc:sldMk cId="1821863806" sldId="2147483609"/>
            <ac:picMk id="1295" creationId="{FC305FB6-2D12-4258-28C5-B42C89D7FEFD}"/>
          </ac:picMkLst>
        </pc:picChg>
        <pc:picChg chg="mod">
          <ac:chgData name="Abdi, Adnan" userId="503e002c-9b3b-4180-87fb-acabeb2b158a" providerId="ADAL" clId="{5C2CD6D4-C7A9-4CEF-AA9C-BC2977F70622}" dt="2024-02-21T09:15:56" v="32546" actId="2711"/>
          <ac:picMkLst>
            <pc:docMk/>
            <pc:sldMk cId="1821863806" sldId="2147483609"/>
            <ac:picMk id="1296" creationId="{143B6A78-7FA4-E1EA-409F-FEDDC39D846A}"/>
          </ac:picMkLst>
        </pc:picChg>
        <pc:picChg chg="mod">
          <ac:chgData name="Abdi, Adnan" userId="503e002c-9b3b-4180-87fb-acabeb2b158a" providerId="ADAL" clId="{5C2CD6D4-C7A9-4CEF-AA9C-BC2977F70622}" dt="2024-02-21T09:15:56" v="32546" actId="2711"/>
          <ac:picMkLst>
            <pc:docMk/>
            <pc:sldMk cId="1821863806" sldId="2147483609"/>
            <ac:picMk id="1297" creationId="{11F1D9E7-C4A3-588F-7C40-2932ECFCCD94}"/>
          </ac:picMkLst>
        </pc:picChg>
        <pc:picChg chg="mod">
          <ac:chgData name="Abdi, Adnan" userId="503e002c-9b3b-4180-87fb-acabeb2b158a" providerId="ADAL" clId="{5C2CD6D4-C7A9-4CEF-AA9C-BC2977F70622}" dt="2024-02-21T09:16:11.326" v="32549" actId="2711"/>
          <ac:picMkLst>
            <pc:docMk/>
            <pc:sldMk cId="1821863806" sldId="2147483609"/>
            <ac:picMk id="1299" creationId="{02F04CA3-DC6E-4A0B-05FC-0CF0B982EAE9}"/>
          </ac:picMkLst>
        </pc:picChg>
        <pc:picChg chg="mod">
          <ac:chgData name="Abdi, Adnan" userId="503e002c-9b3b-4180-87fb-acabeb2b158a" providerId="ADAL" clId="{5C2CD6D4-C7A9-4CEF-AA9C-BC2977F70622}" dt="2024-02-21T09:15:56" v="32546" actId="2711"/>
          <ac:picMkLst>
            <pc:docMk/>
            <pc:sldMk cId="1821863806" sldId="2147483609"/>
            <ac:picMk id="1301" creationId="{9743B2F2-BF9E-7DE5-100F-5D1FEF3ADA1E}"/>
          </ac:picMkLst>
        </pc:picChg>
        <pc:picChg chg="mod topLvl">
          <ac:chgData name="Abdi, Adnan" userId="503e002c-9b3b-4180-87fb-acabeb2b158a" providerId="ADAL" clId="{5C2CD6D4-C7A9-4CEF-AA9C-BC2977F70622}" dt="2024-02-21T11:16:43.630" v="32928" actId="165"/>
          <ac:picMkLst>
            <pc:docMk/>
            <pc:sldMk cId="1821863806" sldId="2147483609"/>
            <ac:picMk id="1306" creationId="{37C5E5E7-1B47-8B0C-6779-8FED32B85133}"/>
          </ac:picMkLst>
        </pc:picChg>
        <pc:picChg chg="mod topLvl">
          <ac:chgData name="Abdi, Adnan" userId="503e002c-9b3b-4180-87fb-acabeb2b158a" providerId="ADAL" clId="{5C2CD6D4-C7A9-4CEF-AA9C-BC2977F70622}" dt="2024-02-21T11:16:43.630" v="32928" actId="165"/>
          <ac:picMkLst>
            <pc:docMk/>
            <pc:sldMk cId="1821863806" sldId="2147483609"/>
            <ac:picMk id="1307" creationId="{5EBBDF1B-8E46-7F4C-0BA6-C110B57581E5}"/>
          </ac:picMkLst>
        </pc:picChg>
        <pc:picChg chg="mod topLvl">
          <ac:chgData name="Abdi, Adnan" userId="503e002c-9b3b-4180-87fb-acabeb2b158a" providerId="ADAL" clId="{5C2CD6D4-C7A9-4CEF-AA9C-BC2977F70622}" dt="2024-02-21T11:16:43.630" v="32928" actId="165"/>
          <ac:picMkLst>
            <pc:docMk/>
            <pc:sldMk cId="1821863806" sldId="2147483609"/>
            <ac:picMk id="1308" creationId="{B9F1F2F5-5CEB-7D21-2C0D-B507E8F7E9EC}"/>
          </ac:picMkLst>
        </pc:picChg>
        <pc:picChg chg="mod topLvl">
          <ac:chgData name="Abdi, Adnan" userId="503e002c-9b3b-4180-87fb-acabeb2b158a" providerId="ADAL" clId="{5C2CD6D4-C7A9-4CEF-AA9C-BC2977F70622}" dt="2024-02-21T11:16:43.630" v="32928" actId="165"/>
          <ac:picMkLst>
            <pc:docMk/>
            <pc:sldMk cId="1821863806" sldId="2147483609"/>
            <ac:picMk id="1309" creationId="{69B93FC8-66EC-25D5-DE29-B58CA891F6D0}"/>
          </ac:picMkLst>
        </pc:picChg>
        <pc:picChg chg="mod topLvl">
          <ac:chgData name="Abdi, Adnan" userId="503e002c-9b3b-4180-87fb-acabeb2b158a" providerId="ADAL" clId="{5C2CD6D4-C7A9-4CEF-AA9C-BC2977F70622}" dt="2024-02-21T11:16:43.630" v="32928" actId="165"/>
          <ac:picMkLst>
            <pc:docMk/>
            <pc:sldMk cId="1821863806" sldId="2147483609"/>
            <ac:picMk id="1310" creationId="{2D41CDAD-1C69-E0C7-36A3-B075129257AE}"/>
          </ac:picMkLst>
        </pc:picChg>
        <pc:picChg chg="mod topLvl">
          <ac:chgData name="Abdi, Adnan" userId="503e002c-9b3b-4180-87fb-acabeb2b158a" providerId="ADAL" clId="{5C2CD6D4-C7A9-4CEF-AA9C-BC2977F70622}" dt="2024-02-21T11:16:43.630" v="32928" actId="165"/>
          <ac:picMkLst>
            <pc:docMk/>
            <pc:sldMk cId="1821863806" sldId="2147483609"/>
            <ac:picMk id="1311" creationId="{E54DEC59-C18E-CFB4-BE88-C54E60297C84}"/>
          </ac:picMkLst>
        </pc:picChg>
        <pc:picChg chg="mod topLvl">
          <ac:chgData name="Abdi, Adnan" userId="503e002c-9b3b-4180-87fb-acabeb2b158a" providerId="ADAL" clId="{5C2CD6D4-C7A9-4CEF-AA9C-BC2977F70622}" dt="2024-02-21T11:16:43.630" v="32928" actId="165"/>
          <ac:picMkLst>
            <pc:docMk/>
            <pc:sldMk cId="1821863806" sldId="2147483609"/>
            <ac:picMk id="1312" creationId="{62E4D8BD-1375-3FF7-BC25-268E6A755025}"/>
          </ac:picMkLst>
        </pc:picChg>
        <pc:picChg chg="mod topLvl">
          <ac:chgData name="Abdi, Adnan" userId="503e002c-9b3b-4180-87fb-acabeb2b158a" providerId="ADAL" clId="{5C2CD6D4-C7A9-4CEF-AA9C-BC2977F70622}" dt="2024-02-21T11:16:43.630" v="32928" actId="165"/>
          <ac:picMkLst>
            <pc:docMk/>
            <pc:sldMk cId="1821863806" sldId="2147483609"/>
            <ac:picMk id="1313" creationId="{E8B1EAE1-E9F1-6FED-C81F-CA7950781AC5}"/>
          </ac:picMkLst>
        </pc:picChg>
        <pc:picChg chg="mod topLvl">
          <ac:chgData name="Abdi, Adnan" userId="503e002c-9b3b-4180-87fb-acabeb2b158a" providerId="ADAL" clId="{5C2CD6D4-C7A9-4CEF-AA9C-BC2977F70622}" dt="2024-02-21T11:16:43.630" v="32928" actId="165"/>
          <ac:picMkLst>
            <pc:docMk/>
            <pc:sldMk cId="1821863806" sldId="2147483609"/>
            <ac:picMk id="1314" creationId="{481AEB72-D5E3-17B5-1681-11BC4C6D674A}"/>
          </ac:picMkLst>
        </pc:picChg>
        <pc:picChg chg="mod topLvl">
          <ac:chgData name="Abdi, Adnan" userId="503e002c-9b3b-4180-87fb-acabeb2b158a" providerId="ADAL" clId="{5C2CD6D4-C7A9-4CEF-AA9C-BC2977F70622}" dt="2024-02-21T11:16:43.630" v="32928" actId="165"/>
          <ac:picMkLst>
            <pc:docMk/>
            <pc:sldMk cId="1821863806" sldId="2147483609"/>
            <ac:picMk id="1315" creationId="{9B681724-5121-48F1-8E12-D0E51208D7CF}"/>
          </ac:picMkLst>
        </pc:picChg>
        <pc:picChg chg="mod topLvl">
          <ac:chgData name="Abdi, Adnan" userId="503e002c-9b3b-4180-87fb-acabeb2b158a" providerId="ADAL" clId="{5C2CD6D4-C7A9-4CEF-AA9C-BC2977F70622}" dt="2024-02-21T11:16:43.630" v="32928" actId="165"/>
          <ac:picMkLst>
            <pc:docMk/>
            <pc:sldMk cId="1821863806" sldId="2147483609"/>
            <ac:picMk id="1316" creationId="{5E078619-B6A7-076F-F493-5FC6AA70A1F9}"/>
          </ac:picMkLst>
        </pc:picChg>
        <pc:picChg chg="mod topLvl">
          <ac:chgData name="Abdi, Adnan" userId="503e002c-9b3b-4180-87fb-acabeb2b158a" providerId="ADAL" clId="{5C2CD6D4-C7A9-4CEF-AA9C-BC2977F70622}" dt="2024-02-21T11:16:43.630" v="32928" actId="165"/>
          <ac:picMkLst>
            <pc:docMk/>
            <pc:sldMk cId="1821863806" sldId="2147483609"/>
            <ac:picMk id="1317" creationId="{BCD5FB10-7EBE-BAC3-AC19-D100F3EEB31B}"/>
          </ac:picMkLst>
        </pc:picChg>
        <pc:picChg chg="mod topLvl">
          <ac:chgData name="Abdi, Adnan" userId="503e002c-9b3b-4180-87fb-acabeb2b158a" providerId="ADAL" clId="{5C2CD6D4-C7A9-4CEF-AA9C-BC2977F70622}" dt="2024-02-21T11:16:43.630" v="32928" actId="165"/>
          <ac:picMkLst>
            <pc:docMk/>
            <pc:sldMk cId="1821863806" sldId="2147483609"/>
            <ac:picMk id="1318" creationId="{703085EC-75AD-A13F-977D-7226B277EDE2}"/>
          </ac:picMkLst>
        </pc:picChg>
        <pc:picChg chg="mod topLvl">
          <ac:chgData name="Abdi, Adnan" userId="503e002c-9b3b-4180-87fb-acabeb2b158a" providerId="ADAL" clId="{5C2CD6D4-C7A9-4CEF-AA9C-BC2977F70622}" dt="2024-02-21T11:16:43.630" v="32928" actId="165"/>
          <ac:picMkLst>
            <pc:docMk/>
            <pc:sldMk cId="1821863806" sldId="2147483609"/>
            <ac:picMk id="1319" creationId="{8D590D06-E63C-252A-D20F-12AB71BF6D51}"/>
          </ac:picMkLst>
        </pc:picChg>
        <pc:picChg chg="mod topLvl">
          <ac:chgData name="Abdi, Adnan" userId="503e002c-9b3b-4180-87fb-acabeb2b158a" providerId="ADAL" clId="{5C2CD6D4-C7A9-4CEF-AA9C-BC2977F70622}" dt="2024-02-21T11:16:43.630" v="32928" actId="165"/>
          <ac:picMkLst>
            <pc:docMk/>
            <pc:sldMk cId="1821863806" sldId="2147483609"/>
            <ac:picMk id="1320" creationId="{04B2225D-5F7B-5DB5-9A8F-87F93B9E39C6}"/>
          </ac:picMkLst>
        </pc:picChg>
        <pc:picChg chg="mod topLvl">
          <ac:chgData name="Abdi, Adnan" userId="503e002c-9b3b-4180-87fb-acabeb2b158a" providerId="ADAL" clId="{5C2CD6D4-C7A9-4CEF-AA9C-BC2977F70622}" dt="2024-02-21T11:16:43.630" v="32928" actId="165"/>
          <ac:picMkLst>
            <pc:docMk/>
            <pc:sldMk cId="1821863806" sldId="2147483609"/>
            <ac:picMk id="1321" creationId="{0ACA9BE1-0D58-8DEE-F94F-E6C9A55ED9EA}"/>
          </ac:picMkLst>
        </pc:picChg>
        <pc:cxnChg chg="mod">
          <ac:chgData name="Abdi, Adnan" userId="503e002c-9b3b-4180-87fb-acabeb2b158a" providerId="ADAL" clId="{5C2CD6D4-C7A9-4CEF-AA9C-BC2977F70622}" dt="2024-02-21T09:15:56" v="32546" actId="2711"/>
          <ac:cxnSpMkLst>
            <pc:docMk/>
            <pc:sldMk cId="1821863806" sldId="2147483609"/>
            <ac:cxnSpMk id="10" creationId="{0B16B786-373A-E2FC-3697-039FCF15CDC8}"/>
          </ac:cxnSpMkLst>
        </pc:cxnChg>
        <pc:cxnChg chg="mod">
          <ac:chgData name="Abdi, Adnan" userId="503e002c-9b3b-4180-87fb-acabeb2b158a" providerId="ADAL" clId="{5C2CD6D4-C7A9-4CEF-AA9C-BC2977F70622}" dt="2024-02-21T09:15:56" v="32546" actId="2711"/>
          <ac:cxnSpMkLst>
            <pc:docMk/>
            <pc:sldMk cId="1821863806" sldId="2147483609"/>
            <ac:cxnSpMk id="30" creationId="{1BCAE63F-F65B-3710-B97F-26E4C739BC4C}"/>
          </ac:cxnSpMkLst>
        </pc:cxnChg>
        <pc:cxnChg chg="mod">
          <ac:chgData name="Abdi, Adnan" userId="503e002c-9b3b-4180-87fb-acabeb2b158a" providerId="ADAL" clId="{5C2CD6D4-C7A9-4CEF-AA9C-BC2977F70622}" dt="2024-02-21T09:15:56" v="32546" actId="2711"/>
          <ac:cxnSpMkLst>
            <pc:docMk/>
            <pc:sldMk cId="1821863806" sldId="2147483609"/>
            <ac:cxnSpMk id="74" creationId="{6594F3FB-C7B6-663A-7F17-68F7B7D2ED96}"/>
          </ac:cxnSpMkLst>
        </pc:cxnChg>
        <pc:cxnChg chg="mod">
          <ac:chgData name="Abdi, Adnan" userId="503e002c-9b3b-4180-87fb-acabeb2b158a" providerId="ADAL" clId="{5C2CD6D4-C7A9-4CEF-AA9C-BC2977F70622}" dt="2024-02-21T09:15:56" v="32546" actId="2711"/>
          <ac:cxnSpMkLst>
            <pc:docMk/>
            <pc:sldMk cId="1821863806" sldId="2147483609"/>
            <ac:cxnSpMk id="75" creationId="{E9762DC0-BA2A-4FF9-F7DF-FA815FF2D38C}"/>
          </ac:cxnSpMkLst>
        </pc:cxnChg>
      </pc:sldChg>
      <pc:sldChg chg="modSp mod">
        <pc:chgData name="Abdi, Adnan" userId="503e002c-9b3b-4180-87fb-acabeb2b158a" providerId="ADAL" clId="{5C2CD6D4-C7A9-4CEF-AA9C-BC2977F70622}" dt="2024-02-21T15:34:25.780" v="43704" actId="14826"/>
        <pc:sldMkLst>
          <pc:docMk/>
          <pc:sldMk cId="4211139620" sldId="2147483610"/>
        </pc:sldMkLst>
        <pc:picChg chg="mod">
          <ac:chgData name="Abdi, Adnan" userId="503e002c-9b3b-4180-87fb-acabeb2b158a" providerId="ADAL" clId="{5C2CD6D4-C7A9-4CEF-AA9C-BC2977F70622}" dt="2024-02-21T15:34:25.780" v="43704" actId="14826"/>
          <ac:picMkLst>
            <pc:docMk/>
            <pc:sldMk cId="4211139620" sldId="2147483610"/>
            <ac:picMk id="136" creationId="{7CEC8FC2-E3AF-679B-E4E4-588CA84EA21C}"/>
          </ac:picMkLst>
        </pc:picChg>
      </pc:sldChg>
      <pc:sldChg chg="addSp delSp modSp mod">
        <pc:chgData name="Abdi, Adnan" userId="503e002c-9b3b-4180-87fb-acabeb2b158a" providerId="ADAL" clId="{5C2CD6D4-C7A9-4CEF-AA9C-BC2977F70622}" dt="2024-02-21T13:08:06.540" v="40195"/>
        <pc:sldMkLst>
          <pc:docMk/>
          <pc:sldMk cId="1250207495" sldId="2147483612"/>
        </pc:sldMkLst>
        <pc:spChg chg="mod ord">
          <ac:chgData name="Abdi, Adnan" userId="503e002c-9b3b-4180-87fb-acabeb2b158a" providerId="ADAL" clId="{5C2CD6D4-C7A9-4CEF-AA9C-BC2977F70622}" dt="2024-02-21T13:08:06.457" v="40014"/>
          <ac:spMkLst>
            <pc:docMk/>
            <pc:sldMk cId="1250207495" sldId="2147483612"/>
            <ac:spMk id="2" creationId="{06AFAE7C-5F6A-B878-93B9-6DE5A9DAA9F7}"/>
          </ac:spMkLst>
        </pc:spChg>
        <pc:spChg chg="mod ord">
          <ac:chgData name="Abdi, Adnan" userId="503e002c-9b3b-4180-87fb-acabeb2b158a" providerId="ADAL" clId="{5C2CD6D4-C7A9-4CEF-AA9C-BC2977F70622}" dt="2024-02-21T13:08:06.458" v="40016"/>
          <ac:spMkLst>
            <pc:docMk/>
            <pc:sldMk cId="1250207495" sldId="2147483612"/>
            <ac:spMk id="3" creationId="{028D4B8F-B27C-53F5-451A-24CA598898DE}"/>
          </ac:spMkLst>
        </pc:spChg>
        <pc:spChg chg="mod ord">
          <ac:chgData name="Abdi, Adnan" userId="503e002c-9b3b-4180-87fb-acabeb2b158a" providerId="ADAL" clId="{5C2CD6D4-C7A9-4CEF-AA9C-BC2977F70622}" dt="2024-02-21T13:08:06.458" v="40018"/>
          <ac:spMkLst>
            <pc:docMk/>
            <pc:sldMk cId="1250207495" sldId="2147483612"/>
            <ac:spMk id="4" creationId="{1A68FC50-AA15-FC69-1AB4-767E70C870EA}"/>
          </ac:spMkLst>
        </pc:spChg>
        <pc:spChg chg="mod ord">
          <ac:chgData name="Abdi, Adnan" userId="503e002c-9b3b-4180-87fb-acabeb2b158a" providerId="ADAL" clId="{5C2CD6D4-C7A9-4CEF-AA9C-BC2977F70622}" dt="2024-02-21T13:08:06.459" v="40020"/>
          <ac:spMkLst>
            <pc:docMk/>
            <pc:sldMk cId="1250207495" sldId="2147483612"/>
            <ac:spMk id="5" creationId="{5F43F86A-EE19-5783-47DD-51DBCADCF320}"/>
          </ac:spMkLst>
        </pc:spChg>
        <pc:spChg chg="mod ord">
          <ac:chgData name="Abdi, Adnan" userId="503e002c-9b3b-4180-87fb-acabeb2b158a" providerId="ADAL" clId="{5C2CD6D4-C7A9-4CEF-AA9C-BC2977F70622}" dt="2024-02-21T13:08:06.460" v="40022"/>
          <ac:spMkLst>
            <pc:docMk/>
            <pc:sldMk cId="1250207495" sldId="2147483612"/>
            <ac:spMk id="6" creationId="{CC2F7FCE-275B-F6E1-966E-D35A5ACECE5B}"/>
          </ac:spMkLst>
        </pc:spChg>
        <pc:spChg chg="mod ord">
          <ac:chgData name="Abdi, Adnan" userId="503e002c-9b3b-4180-87fb-acabeb2b158a" providerId="ADAL" clId="{5C2CD6D4-C7A9-4CEF-AA9C-BC2977F70622}" dt="2024-02-21T13:08:06.515" v="40179"/>
          <ac:spMkLst>
            <pc:docMk/>
            <pc:sldMk cId="1250207495" sldId="2147483612"/>
            <ac:spMk id="81" creationId="{E0163D1B-C9FA-D4C6-813D-ACDE33431878}"/>
          </ac:spMkLst>
        </pc:spChg>
        <pc:spChg chg="mod">
          <ac:chgData name="Abdi, Adnan" userId="503e002c-9b3b-4180-87fb-acabeb2b158a" providerId="ADAL" clId="{5C2CD6D4-C7A9-4CEF-AA9C-BC2977F70622}" dt="2024-02-21T13:08:06.516" v="40180"/>
          <ac:spMkLst>
            <pc:docMk/>
            <pc:sldMk cId="1250207495" sldId="2147483612"/>
            <ac:spMk id="82" creationId="{507125FD-ADFF-CC5A-E1C4-C23758A3B673}"/>
          </ac:spMkLst>
        </pc:spChg>
        <pc:spChg chg="mod">
          <ac:chgData name="Abdi, Adnan" userId="503e002c-9b3b-4180-87fb-acabeb2b158a" providerId="ADAL" clId="{5C2CD6D4-C7A9-4CEF-AA9C-BC2977F70622}" dt="2024-02-21T13:08:06.493" v="40132"/>
          <ac:spMkLst>
            <pc:docMk/>
            <pc:sldMk cId="1250207495" sldId="2147483612"/>
            <ac:spMk id="83" creationId="{AFE18B81-E7A2-F65D-4913-C241B16E5C2C}"/>
          </ac:spMkLst>
        </pc:spChg>
        <pc:spChg chg="mod ord">
          <ac:chgData name="Abdi, Adnan" userId="503e002c-9b3b-4180-87fb-acabeb2b158a" providerId="ADAL" clId="{5C2CD6D4-C7A9-4CEF-AA9C-BC2977F70622}" dt="2024-02-21T13:08:06.494" v="40134"/>
          <ac:spMkLst>
            <pc:docMk/>
            <pc:sldMk cId="1250207495" sldId="2147483612"/>
            <ac:spMk id="84" creationId="{B4B8ED13-3E08-0B69-0A42-D28F6B38D589}"/>
          </ac:spMkLst>
        </pc:spChg>
        <pc:spChg chg="mod">
          <ac:chgData name="Abdi, Adnan" userId="503e002c-9b3b-4180-87fb-acabeb2b158a" providerId="ADAL" clId="{5C2CD6D4-C7A9-4CEF-AA9C-BC2977F70622}" dt="2024-02-21T13:08:06.495" v="40135"/>
          <ac:spMkLst>
            <pc:docMk/>
            <pc:sldMk cId="1250207495" sldId="2147483612"/>
            <ac:spMk id="85" creationId="{54CCB771-87E0-45D8-D4E2-6C47927639D1}"/>
          </ac:spMkLst>
        </pc:spChg>
        <pc:spChg chg="mod">
          <ac:chgData name="Abdi, Adnan" userId="503e002c-9b3b-4180-87fb-acabeb2b158a" providerId="ADAL" clId="{5C2CD6D4-C7A9-4CEF-AA9C-BC2977F70622}" dt="2024-02-21T13:08:06.500" v="40145"/>
          <ac:spMkLst>
            <pc:docMk/>
            <pc:sldMk cId="1250207495" sldId="2147483612"/>
            <ac:spMk id="86" creationId="{EC7EAB62-937D-3E11-49E5-4416F4CA9BE4}"/>
          </ac:spMkLst>
        </pc:spChg>
        <pc:spChg chg="mod ord">
          <ac:chgData name="Abdi, Adnan" userId="503e002c-9b3b-4180-87fb-acabeb2b158a" providerId="ADAL" clId="{5C2CD6D4-C7A9-4CEF-AA9C-BC2977F70622}" dt="2024-02-21T13:08:06.497" v="40141"/>
          <ac:spMkLst>
            <pc:docMk/>
            <pc:sldMk cId="1250207495" sldId="2147483612"/>
            <ac:spMk id="87" creationId="{7E4A1DFC-1AFA-AE61-AACC-53DA0ABCD7ED}"/>
          </ac:spMkLst>
        </pc:spChg>
        <pc:spChg chg="mod ord">
          <ac:chgData name="Abdi, Adnan" userId="503e002c-9b3b-4180-87fb-acabeb2b158a" providerId="ADAL" clId="{5C2CD6D4-C7A9-4CEF-AA9C-BC2977F70622}" dt="2024-02-21T13:08:06.498" v="40143"/>
          <ac:spMkLst>
            <pc:docMk/>
            <pc:sldMk cId="1250207495" sldId="2147483612"/>
            <ac:spMk id="88" creationId="{ABEBB86A-0412-3CD5-2BD5-EE33B716C446}"/>
          </ac:spMkLst>
        </pc:spChg>
        <pc:spChg chg="mod">
          <ac:chgData name="Abdi, Adnan" userId="503e002c-9b3b-4180-87fb-acabeb2b158a" providerId="ADAL" clId="{5C2CD6D4-C7A9-4CEF-AA9C-BC2977F70622}" dt="2024-02-21T13:08:06.499" v="40144"/>
          <ac:spMkLst>
            <pc:docMk/>
            <pc:sldMk cId="1250207495" sldId="2147483612"/>
            <ac:spMk id="89" creationId="{6089D362-4ACA-85EF-322C-843A138C53C7}"/>
          </ac:spMkLst>
        </pc:spChg>
        <pc:spChg chg="mod ord">
          <ac:chgData name="Abdi, Adnan" userId="503e002c-9b3b-4180-87fb-acabeb2b158a" providerId="ADAL" clId="{5C2CD6D4-C7A9-4CEF-AA9C-BC2977F70622}" dt="2024-02-21T13:08:06.505" v="40159"/>
          <ac:spMkLst>
            <pc:docMk/>
            <pc:sldMk cId="1250207495" sldId="2147483612"/>
            <ac:spMk id="90" creationId="{1F8B30C0-5318-F145-2877-44CB344E4F8E}"/>
          </ac:spMkLst>
        </pc:spChg>
        <pc:spChg chg="mod">
          <ac:chgData name="Abdi, Adnan" userId="503e002c-9b3b-4180-87fb-acabeb2b158a" providerId="ADAL" clId="{5C2CD6D4-C7A9-4CEF-AA9C-BC2977F70622}" dt="2024-02-21T13:08:06.500" v="40146"/>
          <ac:spMkLst>
            <pc:docMk/>
            <pc:sldMk cId="1250207495" sldId="2147483612"/>
            <ac:spMk id="91" creationId="{9B303F20-AB14-267E-4385-54511A5E4EFF}"/>
          </ac:spMkLst>
        </pc:spChg>
        <pc:spChg chg="mod ord">
          <ac:chgData name="Abdi, Adnan" userId="503e002c-9b3b-4180-87fb-acabeb2b158a" providerId="ADAL" clId="{5C2CD6D4-C7A9-4CEF-AA9C-BC2977F70622}" dt="2024-02-21T13:08:06.502" v="40151"/>
          <ac:spMkLst>
            <pc:docMk/>
            <pc:sldMk cId="1250207495" sldId="2147483612"/>
            <ac:spMk id="92" creationId="{4A616973-1823-FC50-CCAD-610D0C5C8D9B}"/>
          </ac:spMkLst>
        </pc:spChg>
        <pc:spChg chg="mod ord">
          <ac:chgData name="Abdi, Adnan" userId="503e002c-9b3b-4180-87fb-acabeb2b158a" providerId="ADAL" clId="{5C2CD6D4-C7A9-4CEF-AA9C-BC2977F70622}" dt="2024-02-21T13:08:06.501" v="40148"/>
          <ac:spMkLst>
            <pc:docMk/>
            <pc:sldMk cId="1250207495" sldId="2147483612"/>
            <ac:spMk id="93" creationId="{29E4B7E5-FECA-D3FA-CA2F-AA707877C42C}"/>
          </ac:spMkLst>
        </pc:spChg>
        <pc:spChg chg="mod">
          <ac:chgData name="Abdi, Adnan" userId="503e002c-9b3b-4180-87fb-acabeb2b158a" providerId="ADAL" clId="{5C2CD6D4-C7A9-4CEF-AA9C-BC2977F70622}" dt="2024-02-21T13:08:06.502" v="40149"/>
          <ac:spMkLst>
            <pc:docMk/>
            <pc:sldMk cId="1250207495" sldId="2147483612"/>
            <ac:spMk id="94" creationId="{C2990678-E11F-4B33-CC12-C1CB25F727D0}"/>
          </ac:spMkLst>
        </pc:spChg>
        <pc:spChg chg="mod ord">
          <ac:chgData name="Abdi, Adnan" userId="503e002c-9b3b-4180-87fb-acabeb2b158a" providerId="ADAL" clId="{5C2CD6D4-C7A9-4CEF-AA9C-BC2977F70622}" dt="2024-02-21T13:08:06.503" v="40153"/>
          <ac:spMkLst>
            <pc:docMk/>
            <pc:sldMk cId="1250207495" sldId="2147483612"/>
            <ac:spMk id="95" creationId="{DE2F9691-C8CA-57E7-C586-64654FE2347E}"/>
          </ac:spMkLst>
        </pc:spChg>
        <pc:spChg chg="mod">
          <ac:chgData name="Abdi, Adnan" userId="503e002c-9b3b-4180-87fb-acabeb2b158a" providerId="ADAL" clId="{5C2CD6D4-C7A9-4CEF-AA9C-BC2977F70622}" dt="2024-02-21T13:08:06.504" v="40154"/>
          <ac:spMkLst>
            <pc:docMk/>
            <pc:sldMk cId="1250207495" sldId="2147483612"/>
            <ac:spMk id="96" creationId="{E9E385A3-6731-674A-C0FC-8164870F1C38}"/>
          </ac:spMkLst>
        </pc:spChg>
        <pc:spChg chg="mod ord">
          <ac:chgData name="Abdi, Adnan" userId="503e002c-9b3b-4180-87fb-acabeb2b158a" providerId="ADAL" clId="{5C2CD6D4-C7A9-4CEF-AA9C-BC2977F70622}" dt="2024-02-21T13:08:06.495" v="40137"/>
          <ac:spMkLst>
            <pc:docMk/>
            <pc:sldMk cId="1250207495" sldId="2147483612"/>
            <ac:spMk id="97" creationId="{0BC40D6A-F5DC-7C6F-B58A-4993CAC64FD2}"/>
          </ac:spMkLst>
        </pc:spChg>
        <pc:spChg chg="mod ord">
          <ac:chgData name="Abdi, Adnan" userId="503e002c-9b3b-4180-87fb-acabeb2b158a" providerId="ADAL" clId="{5C2CD6D4-C7A9-4CEF-AA9C-BC2977F70622}" dt="2024-02-21T13:08:06.504" v="40156"/>
          <ac:spMkLst>
            <pc:docMk/>
            <pc:sldMk cId="1250207495" sldId="2147483612"/>
            <ac:spMk id="98" creationId="{E75C7AF5-3D91-E4FC-7A99-D1E17C59A47B}"/>
          </ac:spMkLst>
        </pc:spChg>
        <pc:spChg chg="mod">
          <ac:chgData name="Abdi, Adnan" userId="503e002c-9b3b-4180-87fb-acabeb2b158a" providerId="ADAL" clId="{5C2CD6D4-C7A9-4CEF-AA9C-BC2977F70622}" dt="2024-02-21T13:08:06.505" v="40157"/>
          <ac:spMkLst>
            <pc:docMk/>
            <pc:sldMk cId="1250207495" sldId="2147483612"/>
            <ac:spMk id="99" creationId="{118504DE-492B-DDB6-6D40-9648EE176136}"/>
          </ac:spMkLst>
        </pc:spChg>
        <pc:spChg chg="add del mod modVis">
          <ac:chgData name="Abdi, Adnan" userId="503e002c-9b3b-4180-87fb-acabeb2b158a" providerId="ADAL" clId="{5C2CD6D4-C7A9-4CEF-AA9C-BC2977F70622}" dt="2024-02-21T13:08:06.522" v="40193"/>
          <ac:spMkLst>
            <pc:docMk/>
            <pc:sldMk cId="1250207495" sldId="2147483612"/>
            <ac:spMk id="104" creationId="{D945BE89-107F-637A-6405-8CF6F5E60F85}"/>
          </ac:spMkLst>
        </pc:spChg>
        <pc:spChg chg="mod">
          <ac:chgData name="Abdi, Adnan" userId="503e002c-9b3b-4180-87fb-acabeb2b158a" providerId="ADAL" clId="{5C2CD6D4-C7A9-4CEF-AA9C-BC2977F70622}" dt="2024-02-21T13:08:06.506" v="40160"/>
          <ac:spMkLst>
            <pc:docMk/>
            <pc:sldMk cId="1250207495" sldId="2147483612"/>
            <ac:spMk id="110" creationId="{5CEB2C8C-C89F-C1FC-1A3D-A48B69815BB1}"/>
          </ac:spMkLst>
        </pc:spChg>
        <pc:spChg chg="mod ord">
          <ac:chgData name="Abdi, Adnan" userId="503e002c-9b3b-4180-87fb-acabeb2b158a" providerId="ADAL" clId="{5C2CD6D4-C7A9-4CEF-AA9C-BC2977F70622}" dt="2024-02-21T13:08:06.507" v="40162"/>
          <ac:spMkLst>
            <pc:docMk/>
            <pc:sldMk cId="1250207495" sldId="2147483612"/>
            <ac:spMk id="113" creationId="{9C6FEE6F-91DA-C985-FBE8-19CDF3502CA5}"/>
          </ac:spMkLst>
        </pc:spChg>
        <pc:spChg chg="mod">
          <ac:chgData name="Abdi, Adnan" userId="503e002c-9b3b-4180-87fb-acabeb2b158a" providerId="ADAL" clId="{5C2CD6D4-C7A9-4CEF-AA9C-BC2977F70622}" dt="2024-02-21T13:08:06.508" v="40166"/>
          <ac:spMkLst>
            <pc:docMk/>
            <pc:sldMk cId="1250207495" sldId="2147483612"/>
            <ac:spMk id="114" creationId="{59D227CC-4EC7-86E2-2687-3A8018192320}"/>
          </ac:spMkLst>
        </pc:spChg>
        <pc:spChg chg="mod ord">
          <ac:chgData name="Abdi, Adnan" userId="503e002c-9b3b-4180-87fb-acabeb2b158a" providerId="ADAL" clId="{5C2CD6D4-C7A9-4CEF-AA9C-BC2977F70622}" dt="2024-02-21T13:08:06.509" v="40168"/>
          <ac:spMkLst>
            <pc:docMk/>
            <pc:sldMk cId="1250207495" sldId="2147483612"/>
            <ac:spMk id="115" creationId="{C700AA40-7F42-2ADF-363B-BC79AF8D3E07}"/>
          </ac:spMkLst>
        </pc:spChg>
        <pc:spChg chg="mod">
          <ac:chgData name="Abdi, Adnan" userId="503e002c-9b3b-4180-87fb-acabeb2b158a" providerId="ADAL" clId="{5C2CD6D4-C7A9-4CEF-AA9C-BC2977F70622}" dt="2024-02-21T13:08:06.508" v="40165"/>
          <ac:spMkLst>
            <pc:docMk/>
            <pc:sldMk cId="1250207495" sldId="2147483612"/>
            <ac:spMk id="117" creationId="{C3A50482-98EC-FD1A-1B25-6F7CE1421A70}"/>
          </ac:spMkLst>
        </pc:spChg>
        <pc:spChg chg="mod ord">
          <ac:chgData name="Abdi, Adnan" userId="503e002c-9b3b-4180-87fb-acabeb2b158a" providerId="ADAL" clId="{5C2CD6D4-C7A9-4CEF-AA9C-BC2977F70622}" dt="2024-02-21T13:08:06.496" v="40139"/>
          <ac:spMkLst>
            <pc:docMk/>
            <pc:sldMk cId="1250207495" sldId="2147483612"/>
            <ac:spMk id="118" creationId="{055340C3-B0BD-D375-8267-A580647F1211}"/>
          </ac:spMkLst>
        </pc:spChg>
        <pc:spChg chg="mod">
          <ac:chgData name="Abdi, Adnan" userId="503e002c-9b3b-4180-87fb-acabeb2b158a" providerId="ADAL" clId="{5C2CD6D4-C7A9-4CEF-AA9C-BC2977F70622}" dt="2024-02-21T13:08:06.511" v="40173"/>
          <ac:spMkLst>
            <pc:docMk/>
            <pc:sldMk cId="1250207495" sldId="2147483612"/>
            <ac:spMk id="119" creationId="{D2ABD258-FEDA-94F7-AA1F-4925B495117C}"/>
          </ac:spMkLst>
        </pc:spChg>
        <pc:spChg chg="mod">
          <ac:chgData name="Abdi, Adnan" userId="503e002c-9b3b-4180-87fb-acabeb2b158a" providerId="ADAL" clId="{5C2CD6D4-C7A9-4CEF-AA9C-BC2977F70622}" dt="2024-02-21T13:08:06.509" v="40169"/>
          <ac:spMkLst>
            <pc:docMk/>
            <pc:sldMk cId="1250207495" sldId="2147483612"/>
            <ac:spMk id="120" creationId="{E7FB1C86-891D-6859-417F-B38A1BC2EE84}"/>
          </ac:spMkLst>
        </pc:spChg>
        <pc:spChg chg="mod">
          <ac:chgData name="Abdi, Adnan" userId="503e002c-9b3b-4180-87fb-acabeb2b158a" providerId="ADAL" clId="{5C2CD6D4-C7A9-4CEF-AA9C-BC2977F70622}" dt="2024-02-21T13:08:06.518" v="40184"/>
          <ac:spMkLst>
            <pc:docMk/>
            <pc:sldMk cId="1250207495" sldId="2147483612"/>
            <ac:spMk id="121" creationId="{DE2B9B86-4C9A-DE4E-7AEF-46F79FEE04E6}"/>
          </ac:spMkLst>
        </pc:spChg>
        <pc:spChg chg="mod ord">
          <ac:chgData name="Abdi, Adnan" userId="503e002c-9b3b-4180-87fb-acabeb2b158a" providerId="ADAL" clId="{5C2CD6D4-C7A9-4CEF-AA9C-BC2977F70622}" dt="2024-02-21T13:08:06.511" v="40172"/>
          <ac:spMkLst>
            <pc:docMk/>
            <pc:sldMk cId="1250207495" sldId="2147483612"/>
            <ac:spMk id="122" creationId="{501E721F-2C1F-A5D8-35EF-70633179749E}"/>
          </ac:spMkLst>
        </pc:spChg>
        <pc:spChg chg="mod ord">
          <ac:chgData name="Abdi, Adnan" userId="503e002c-9b3b-4180-87fb-acabeb2b158a" providerId="ADAL" clId="{5C2CD6D4-C7A9-4CEF-AA9C-BC2977F70622}" dt="2024-02-21T13:08:06.507" v="40164"/>
          <ac:spMkLst>
            <pc:docMk/>
            <pc:sldMk cId="1250207495" sldId="2147483612"/>
            <ac:spMk id="123" creationId="{19E8D635-381D-1681-4B0C-FCD896AE3742}"/>
          </ac:spMkLst>
        </pc:spChg>
        <pc:spChg chg="mod">
          <ac:chgData name="Abdi, Adnan" userId="503e002c-9b3b-4180-87fb-acabeb2b158a" providerId="ADAL" clId="{5C2CD6D4-C7A9-4CEF-AA9C-BC2977F70622}" dt="2024-02-21T13:08:06.514" v="40175"/>
          <ac:spMkLst>
            <pc:docMk/>
            <pc:sldMk cId="1250207495" sldId="2147483612"/>
            <ac:spMk id="124" creationId="{E40D43E1-166E-AFE3-64C0-CAE5E4C75659}"/>
          </ac:spMkLst>
        </pc:spChg>
        <pc:spChg chg="mod">
          <ac:chgData name="Abdi, Adnan" userId="503e002c-9b3b-4180-87fb-acabeb2b158a" providerId="ADAL" clId="{5C2CD6D4-C7A9-4CEF-AA9C-BC2977F70622}" dt="2024-02-21T13:08:06.513" v="40174"/>
          <ac:spMkLst>
            <pc:docMk/>
            <pc:sldMk cId="1250207495" sldId="2147483612"/>
            <ac:spMk id="125" creationId="{185F15C4-4260-29DB-91DB-F79B686A726C}"/>
          </ac:spMkLst>
        </pc:spChg>
        <pc:spChg chg="mod ord">
          <ac:chgData name="Abdi, Adnan" userId="503e002c-9b3b-4180-87fb-acabeb2b158a" providerId="ADAL" clId="{5C2CD6D4-C7A9-4CEF-AA9C-BC2977F70622}" dt="2024-02-21T13:08:06.514" v="40177"/>
          <ac:spMkLst>
            <pc:docMk/>
            <pc:sldMk cId="1250207495" sldId="2147483612"/>
            <ac:spMk id="126" creationId="{E0B7402E-676B-2F43-74BE-9E83AF213B36}"/>
          </ac:spMkLst>
        </pc:spChg>
        <pc:spChg chg="mod">
          <ac:chgData name="Abdi, Adnan" userId="503e002c-9b3b-4180-87fb-acabeb2b158a" providerId="ADAL" clId="{5C2CD6D4-C7A9-4CEF-AA9C-BC2977F70622}" dt="2024-02-21T13:08:06.516" v="40181"/>
          <ac:spMkLst>
            <pc:docMk/>
            <pc:sldMk cId="1250207495" sldId="2147483612"/>
            <ac:spMk id="151" creationId="{9B9E6101-D212-03D3-571C-E5AC64661FDE}"/>
          </ac:spMkLst>
        </pc:spChg>
        <pc:spChg chg="mod">
          <ac:chgData name="Abdi, Adnan" userId="503e002c-9b3b-4180-87fb-acabeb2b158a" providerId="ADAL" clId="{5C2CD6D4-C7A9-4CEF-AA9C-BC2977F70622}" dt="2024-02-21T13:08:06.517" v="40182"/>
          <ac:spMkLst>
            <pc:docMk/>
            <pc:sldMk cId="1250207495" sldId="2147483612"/>
            <ac:spMk id="152" creationId="{16F4A0E5-CCC4-4BF5-60DD-C10945B3E3A8}"/>
          </ac:spMkLst>
        </pc:spChg>
        <pc:spChg chg="mod">
          <ac:chgData name="Abdi, Adnan" userId="503e002c-9b3b-4180-87fb-acabeb2b158a" providerId="ADAL" clId="{5C2CD6D4-C7A9-4CEF-AA9C-BC2977F70622}" dt="2024-02-21T13:08:06.517" v="40183"/>
          <ac:spMkLst>
            <pc:docMk/>
            <pc:sldMk cId="1250207495" sldId="2147483612"/>
            <ac:spMk id="153" creationId="{A13A7F6E-4FEA-CC0B-94FE-02F163A6E7B0}"/>
          </ac:spMkLst>
        </pc:spChg>
        <pc:spChg chg="mod">
          <ac:chgData name="Abdi, Adnan" userId="503e002c-9b3b-4180-87fb-acabeb2b158a" providerId="ADAL" clId="{5C2CD6D4-C7A9-4CEF-AA9C-BC2977F70622}" dt="2024-02-21T13:08:06.510" v="40170"/>
          <ac:spMkLst>
            <pc:docMk/>
            <pc:sldMk cId="1250207495" sldId="2147483612"/>
            <ac:spMk id="160" creationId="{16EF51DD-7098-48EE-B026-42CA8A745259}"/>
          </ac:spMkLst>
        </pc:spChg>
        <pc:spChg chg="mod ord">
          <ac:chgData name="Abdi, Adnan" userId="503e002c-9b3b-4180-87fb-acabeb2b158a" providerId="ADAL" clId="{5C2CD6D4-C7A9-4CEF-AA9C-BC2977F70622}" dt="2024-02-21T13:08:06.519" v="40186"/>
          <ac:spMkLst>
            <pc:docMk/>
            <pc:sldMk cId="1250207495" sldId="2147483612"/>
            <ac:spMk id="187" creationId="{85E730FD-E453-68E3-722F-CCAAEAB0AEED}"/>
          </ac:spMkLst>
        </pc:spChg>
        <pc:spChg chg="mod">
          <ac:chgData name="Abdi, Adnan" userId="503e002c-9b3b-4180-87fb-acabeb2b158a" providerId="ADAL" clId="{5C2CD6D4-C7A9-4CEF-AA9C-BC2977F70622}" dt="2024-02-21T13:08:06.520" v="40188"/>
          <ac:spMkLst>
            <pc:docMk/>
            <pc:sldMk cId="1250207495" sldId="2147483612"/>
            <ac:spMk id="244" creationId="{1D74A072-9F09-2A0D-7DB0-06E199DC2306}"/>
          </ac:spMkLst>
        </pc:spChg>
        <pc:spChg chg="mod">
          <ac:chgData name="Abdi, Adnan" userId="503e002c-9b3b-4180-87fb-acabeb2b158a" providerId="ADAL" clId="{5C2CD6D4-C7A9-4CEF-AA9C-BC2977F70622}" dt="2024-02-21T13:08:06.521" v="40189"/>
          <ac:spMkLst>
            <pc:docMk/>
            <pc:sldMk cId="1250207495" sldId="2147483612"/>
            <ac:spMk id="245" creationId="{0E871521-D876-97AE-880B-04E53B46C4C4}"/>
          </ac:spMkLst>
        </pc:spChg>
        <pc:grpChg chg="mod">
          <ac:chgData name="Abdi, Adnan" userId="503e002c-9b3b-4180-87fb-acabeb2b158a" providerId="ADAL" clId="{5C2CD6D4-C7A9-4CEF-AA9C-BC2977F70622}" dt="2024-02-21T13:08:06.519" v="40187"/>
          <ac:grpSpMkLst>
            <pc:docMk/>
            <pc:sldMk cId="1250207495" sldId="2147483612"/>
            <ac:grpSpMk id="215" creationId="{A7DDEF73-46C6-4455-411B-DC2649E31C04}"/>
          </ac:grpSpMkLst>
        </pc:grpChg>
        <pc:graphicFrameChg chg="mod">
          <ac:chgData name="Abdi, Adnan" userId="503e002c-9b3b-4180-87fb-acabeb2b158a" providerId="ADAL" clId="{5C2CD6D4-C7A9-4CEF-AA9C-BC2977F70622}" dt="2024-02-21T13:08:06.540" v="40195"/>
          <ac:graphicFrameMkLst>
            <pc:docMk/>
            <pc:sldMk cId="1250207495" sldId="2147483612"/>
            <ac:graphicFrameMk id="18" creationId="{B1F93F93-8617-34BA-4FE5-87FF8058C959}"/>
          </ac:graphicFrameMkLst>
        </pc:graphicFrameChg>
        <pc:graphicFrameChg chg="add mod replST">
          <ac:chgData name="Abdi, Adnan" userId="503e002c-9b3b-4180-87fb-acabeb2b158a" providerId="ADAL" clId="{5C2CD6D4-C7A9-4CEF-AA9C-BC2977F70622}" dt="2024-02-21T13:08:06.460" v="40023"/>
          <ac:graphicFrameMkLst>
            <pc:docMk/>
            <pc:sldMk cId="1250207495" sldId="2147483612"/>
            <ac:graphicFrameMk id="105" creationId="{6D2ABF11-DF16-0B55-4FAE-B92929CF101F}"/>
          </ac:graphicFrameMkLst>
        </pc:graphicFrameChg>
        <pc:graphicFrameChg chg="del">
          <ac:chgData name="Abdi, Adnan" userId="503e002c-9b3b-4180-87fb-acabeb2b158a" providerId="ADAL" clId="{5C2CD6D4-C7A9-4CEF-AA9C-BC2977F70622}" dt="2024-02-21T13:08:06.417" v="40006"/>
          <ac:graphicFrameMkLst>
            <pc:docMk/>
            <pc:sldMk cId="1250207495" sldId="2147483612"/>
            <ac:graphicFrameMk id="247" creationId="{C10E5537-154E-A05C-6FFE-06FA2EDE43C9}"/>
          </ac:graphicFrameMkLst>
        </pc:graphicFrameChg>
        <pc:cxnChg chg="mod ord">
          <ac:chgData name="Abdi, Adnan" userId="503e002c-9b3b-4180-87fb-acabeb2b158a" providerId="ADAL" clId="{5C2CD6D4-C7A9-4CEF-AA9C-BC2977F70622}" dt="2024-02-21T13:08:06.461" v="40025"/>
          <ac:cxnSpMkLst>
            <pc:docMk/>
            <pc:sldMk cId="1250207495" sldId="2147483612"/>
            <ac:cxnSpMk id="8" creationId="{CB101BB2-1DD9-D2E7-DE9E-243AA1C490F6}"/>
          </ac:cxnSpMkLst>
        </pc:cxnChg>
        <pc:cxnChg chg="mod ord">
          <ac:chgData name="Abdi, Adnan" userId="503e002c-9b3b-4180-87fb-acabeb2b158a" providerId="ADAL" clId="{5C2CD6D4-C7A9-4CEF-AA9C-BC2977F70622}" dt="2024-02-21T13:08:06.461" v="40027"/>
          <ac:cxnSpMkLst>
            <pc:docMk/>
            <pc:sldMk cId="1250207495" sldId="2147483612"/>
            <ac:cxnSpMk id="9" creationId="{DC916649-BE79-0916-997C-1E9A9C67FFBD}"/>
          </ac:cxnSpMkLst>
        </pc:cxnChg>
        <pc:cxnChg chg="mod ord">
          <ac:chgData name="Abdi, Adnan" userId="503e002c-9b3b-4180-87fb-acabeb2b158a" providerId="ADAL" clId="{5C2CD6D4-C7A9-4CEF-AA9C-BC2977F70622}" dt="2024-02-21T13:08:06.462" v="40029"/>
          <ac:cxnSpMkLst>
            <pc:docMk/>
            <pc:sldMk cId="1250207495" sldId="2147483612"/>
            <ac:cxnSpMk id="10" creationId="{DE1668FF-B385-E8D0-7E4F-845E9BA2B386}"/>
          </ac:cxnSpMkLst>
        </pc:cxnChg>
        <pc:cxnChg chg="mod ord">
          <ac:chgData name="Abdi, Adnan" userId="503e002c-9b3b-4180-87fb-acabeb2b158a" providerId="ADAL" clId="{5C2CD6D4-C7A9-4CEF-AA9C-BC2977F70622}" dt="2024-02-21T13:08:06.463" v="40031"/>
          <ac:cxnSpMkLst>
            <pc:docMk/>
            <pc:sldMk cId="1250207495" sldId="2147483612"/>
            <ac:cxnSpMk id="11" creationId="{34D7FB03-B29D-2854-22C8-8E82FCB53072}"/>
          </ac:cxnSpMkLst>
        </pc:cxnChg>
        <pc:cxnChg chg="mod ord">
          <ac:chgData name="Abdi, Adnan" userId="503e002c-9b3b-4180-87fb-acabeb2b158a" providerId="ADAL" clId="{5C2CD6D4-C7A9-4CEF-AA9C-BC2977F70622}" dt="2024-02-21T13:08:06.464" v="40035"/>
          <ac:cxnSpMkLst>
            <pc:docMk/>
            <pc:sldMk cId="1250207495" sldId="2147483612"/>
            <ac:cxnSpMk id="12" creationId="{56B21ECE-5BFF-2624-A9D3-7DCC8628FB67}"/>
          </ac:cxnSpMkLst>
        </pc:cxnChg>
        <pc:cxnChg chg="mod ord">
          <ac:chgData name="Abdi, Adnan" userId="503e002c-9b3b-4180-87fb-acabeb2b158a" providerId="ADAL" clId="{5C2CD6D4-C7A9-4CEF-AA9C-BC2977F70622}" dt="2024-02-21T13:08:06.463" v="40033"/>
          <ac:cxnSpMkLst>
            <pc:docMk/>
            <pc:sldMk cId="1250207495" sldId="2147483612"/>
            <ac:cxnSpMk id="13" creationId="{C4AA725F-B581-5FF3-E09C-E2367C21EFE6}"/>
          </ac:cxnSpMkLst>
        </pc:cxnChg>
        <pc:cxnChg chg="mod ord">
          <ac:chgData name="Abdi, Adnan" userId="503e002c-9b3b-4180-87fb-acabeb2b158a" providerId="ADAL" clId="{5C2CD6D4-C7A9-4CEF-AA9C-BC2977F70622}" dt="2024-02-21T13:08:06.464" v="40037"/>
          <ac:cxnSpMkLst>
            <pc:docMk/>
            <pc:sldMk cId="1250207495" sldId="2147483612"/>
            <ac:cxnSpMk id="14" creationId="{4E005F48-A73C-B787-B7E2-A1B31CF5C47F}"/>
          </ac:cxnSpMkLst>
        </pc:cxnChg>
        <pc:cxnChg chg="mod ord">
          <ac:chgData name="Abdi, Adnan" userId="503e002c-9b3b-4180-87fb-acabeb2b158a" providerId="ADAL" clId="{5C2CD6D4-C7A9-4CEF-AA9C-BC2977F70622}" dt="2024-02-21T13:08:06.465" v="40039"/>
          <ac:cxnSpMkLst>
            <pc:docMk/>
            <pc:sldMk cId="1250207495" sldId="2147483612"/>
            <ac:cxnSpMk id="15" creationId="{78325BB2-9DB9-F93B-F781-E35910F73BE5}"/>
          </ac:cxnSpMkLst>
        </pc:cxnChg>
        <pc:cxnChg chg="mod ord">
          <ac:chgData name="Abdi, Adnan" userId="503e002c-9b3b-4180-87fb-acabeb2b158a" providerId="ADAL" clId="{5C2CD6D4-C7A9-4CEF-AA9C-BC2977F70622}" dt="2024-02-21T13:08:06.466" v="40041"/>
          <ac:cxnSpMkLst>
            <pc:docMk/>
            <pc:sldMk cId="1250207495" sldId="2147483612"/>
            <ac:cxnSpMk id="16" creationId="{780C3784-D567-1669-06AF-CC26B2FBF6D1}"/>
          </ac:cxnSpMkLst>
        </pc:cxnChg>
        <pc:cxnChg chg="mod ord">
          <ac:chgData name="Abdi, Adnan" userId="503e002c-9b3b-4180-87fb-acabeb2b158a" providerId="ADAL" clId="{5C2CD6D4-C7A9-4CEF-AA9C-BC2977F70622}" dt="2024-02-21T13:08:06.467" v="40043"/>
          <ac:cxnSpMkLst>
            <pc:docMk/>
            <pc:sldMk cId="1250207495" sldId="2147483612"/>
            <ac:cxnSpMk id="17" creationId="{F42EDAA8-1DEE-E253-43EB-17A816D3BB83}"/>
          </ac:cxnSpMkLst>
        </pc:cxnChg>
        <pc:cxnChg chg="mod ord">
          <ac:chgData name="Abdi, Adnan" userId="503e002c-9b3b-4180-87fb-acabeb2b158a" providerId="ADAL" clId="{5C2CD6D4-C7A9-4CEF-AA9C-BC2977F70622}" dt="2024-02-21T13:08:06.468" v="40049"/>
          <ac:cxnSpMkLst>
            <pc:docMk/>
            <pc:sldMk cId="1250207495" sldId="2147483612"/>
            <ac:cxnSpMk id="19" creationId="{5987A039-FD10-ADE1-6010-CE5A53B7F21D}"/>
          </ac:cxnSpMkLst>
        </pc:cxnChg>
        <pc:cxnChg chg="mod ord">
          <ac:chgData name="Abdi, Adnan" userId="503e002c-9b3b-4180-87fb-acabeb2b158a" providerId="ADAL" clId="{5C2CD6D4-C7A9-4CEF-AA9C-BC2977F70622}" dt="2024-02-21T13:08:06.467" v="40045"/>
          <ac:cxnSpMkLst>
            <pc:docMk/>
            <pc:sldMk cId="1250207495" sldId="2147483612"/>
            <ac:cxnSpMk id="20" creationId="{08171B52-CE2F-90AE-71FC-7745EDB3D03B}"/>
          </ac:cxnSpMkLst>
        </pc:cxnChg>
        <pc:cxnChg chg="mod ord">
          <ac:chgData name="Abdi, Adnan" userId="503e002c-9b3b-4180-87fb-acabeb2b158a" providerId="ADAL" clId="{5C2CD6D4-C7A9-4CEF-AA9C-BC2977F70622}" dt="2024-02-21T13:08:06.468" v="40047"/>
          <ac:cxnSpMkLst>
            <pc:docMk/>
            <pc:sldMk cId="1250207495" sldId="2147483612"/>
            <ac:cxnSpMk id="21" creationId="{834471C1-79BA-6428-5B6A-87DAF5335028}"/>
          </ac:cxnSpMkLst>
        </pc:cxnChg>
        <pc:cxnChg chg="mod ord">
          <ac:chgData name="Abdi, Adnan" userId="503e002c-9b3b-4180-87fb-acabeb2b158a" providerId="ADAL" clId="{5C2CD6D4-C7A9-4CEF-AA9C-BC2977F70622}" dt="2024-02-21T13:08:06.469" v="40051"/>
          <ac:cxnSpMkLst>
            <pc:docMk/>
            <pc:sldMk cId="1250207495" sldId="2147483612"/>
            <ac:cxnSpMk id="22" creationId="{B45D840F-D4F0-AC55-9F76-A10417065DAD}"/>
          </ac:cxnSpMkLst>
        </pc:cxnChg>
        <pc:cxnChg chg="mod ord">
          <ac:chgData name="Abdi, Adnan" userId="503e002c-9b3b-4180-87fb-acabeb2b158a" providerId="ADAL" clId="{5C2CD6D4-C7A9-4CEF-AA9C-BC2977F70622}" dt="2024-02-21T13:08:06.469" v="40053"/>
          <ac:cxnSpMkLst>
            <pc:docMk/>
            <pc:sldMk cId="1250207495" sldId="2147483612"/>
            <ac:cxnSpMk id="23" creationId="{10CCA6FF-CF9B-CFF3-B03A-5F7879539A31}"/>
          </ac:cxnSpMkLst>
        </pc:cxnChg>
        <pc:cxnChg chg="mod ord">
          <ac:chgData name="Abdi, Adnan" userId="503e002c-9b3b-4180-87fb-acabeb2b158a" providerId="ADAL" clId="{5C2CD6D4-C7A9-4CEF-AA9C-BC2977F70622}" dt="2024-02-21T13:08:06.470" v="40055"/>
          <ac:cxnSpMkLst>
            <pc:docMk/>
            <pc:sldMk cId="1250207495" sldId="2147483612"/>
            <ac:cxnSpMk id="24" creationId="{DBBB8302-2E6B-B9F5-4BEE-A358C422D8B9}"/>
          </ac:cxnSpMkLst>
        </pc:cxnChg>
        <pc:cxnChg chg="mod ord">
          <ac:chgData name="Abdi, Adnan" userId="503e002c-9b3b-4180-87fb-acabeb2b158a" providerId="ADAL" clId="{5C2CD6D4-C7A9-4CEF-AA9C-BC2977F70622}" dt="2024-02-21T13:08:06.471" v="40059"/>
          <ac:cxnSpMkLst>
            <pc:docMk/>
            <pc:sldMk cId="1250207495" sldId="2147483612"/>
            <ac:cxnSpMk id="25" creationId="{C16ED6B2-6200-BE92-1C61-7C064385A6DB}"/>
          </ac:cxnSpMkLst>
        </pc:cxnChg>
        <pc:cxnChg chg="mod ord">
          <ac:chgData name="Abdi, Adnan" userId="503e002c-9b3b-4180-87fb-acabeb2b158a" providerId="ADAL" clId="{5C2CD6D4-C7A9-4CEF-AA9C-BC2977F70622}" dt="2024-02-21T13:08:06.472" v="40061"/>
          <ac:cxnSpMkLst>
            <pc:docMk/>
            <pc:sldMk cId="1250207495" sldId="2147483612"/>
            <ac:cxnSpMk id="26" creationId="{7532D461-A228-DF33-4BEE-FAB3CC8879E9}"/>
          </ac:cxnSpMkLst>
        </pc:cxnChg>
        <pc:cxnChg chg="mod ord">
          <ac:chgData name="Abdi, Adnan" userId="503e002c-9b3b-4180-87fb-acabeb2b158a" providerId="ADAL" clId="{5C2CD6D4-C7A9-4CEF-AA9C-BC2977F70622}" dt="2024-02-21T13:08:06.471" v="40057"/>
          <ac:cxnSpMkLst>
            <pc:docMk/>
            <pc:sldMk cId="1250207495" sldId="2147483612"/>
            <ac:cxnSpMk id="27" creationId="{EE1CC03E-FCFB-5A49-E5BC-8837A3DC2DF2}"/>
          </ac:cxnSpMkLst>
        </pc:cxnChg>
        <pc:cxnChg chg="mod ord">
          <ac:chgData name="Abdi, Adnan" userId="503e002c-9b3b-4180-87fb-acabeb2b158a" providerId="ADAL" clId="{5C2CD6D4-C7A9-4CEF-AA9C-BC2977F70622}" dt="2024-02-21T13:08:06.472" v="40063"/>
          <ac:cxnSpMkLst>
            <pc:docMk/>
            <pc:sldMk cId="1250207495" sldId="2147483612"/>
            <ac:cxnSpMk id="28" creationId="{4564507F-4F35-081B-8470-E2893F8BF21A}"/>
          </ac:cxnSpMkLst>
        </pc:cxnChg>
        <pc:cxnChg chg="mod ord">
          <ac:chgData name="Abdi, Adnan" userId="503e002c-9b3b-4180-87fb-acabeb2b158a" providerId="ADAL" clId="{5C2CD6D4-C7A9-4CEF-AA9C-BC2977F70622}" dt="2024-02-21T13:08:06.473" v="40065"/>
          <ac:cxnSpMkLst>
            <pc:docMk/>
            <pc:sldMk cId="1250207495" sldId="2147483612"/>
            <ac:cxnSpMk id="29" creationId="{9D4CE214-7D40-9425-5D65-D34575C7B343}"/>
          </ac:cxnSpMkLst>
        </pc:cxnChg>
        <pc:cxnChg chg="mod ord">
          <ac:chgData name="Abdi, Adnan" userId="503e002c-9b3b-4180-87fb-acabeb2b158a" providerId="ADAL" clId="{5C2CD6D4-C7A9-4CEF-AA9C-BC2977F70622}" dt="2024-02-21T13:08:06.473" v="40067"/>
          <ac:cxnSpMkLst>
            <pc:docMk/>
            <pc:sldMk cId="1250207495" sldId="2147483612"/>
            <ac:cxnSpMk id="30" creationId="{31155AC3-64CB-8436-5B8F-62CDC1D2BC07}"/>
          </ac:cxnSpMkLst>
        </pc:cxnChg>
        <pc:cxnChg chg="mod ord">
          <ac:chgData name="Abdi, Adnan" userId="503e002c-9b3b-4180-87fb-acabeb2b158a" providerId="ADAL" clId="{5C2CD6D4-C7A9-4CEF-AA9C-BC2977F70622}" dt="2024-02-21T13:08:06.474" v="40069"/>
          <ac:cxnSpMkLst>
            <pc:docMk/>
            <pc:sldMk cId="1250207495" sldId="2147483612"/>
            <ac:cxnSpMk id="31" creationId="{64F30394-3700-69ED-54BD-9EB787A68245}"/>
          </ac:cxnSpMkLst>
        </pc:cxnChg>
        <pc:cxnChg chg="mod ord">
          <ac:chgData name="Abdi, Adnan" userId="503e002c-9b3b-4180-87fb-acabeb2b158a" providerId="ADAL" clId="{5C2CD6D4-C7A9-4CEF-AA9C-BC2977F70622}" dt="2024-02-21T13:08:06.475" v="40071"/>
          <ac:cxnSpMkLst>
            <pc:docMk/>
            <pc:sldMk cId="1250207495" sldId="2147483612"/>
            <ac:cxnSpMk id="32" creationId="{E7E0E9AE-2417-69EC-509C-031F0C4681A5}"/>
          </ac:cxnSpMkLst>
        </pc:cxnChg>
        <pc:cxnChg chg="mod ord">
          <ac:chgData name="Abdi, Adnan" userId="503e002c-9b3b-4180-87fb-acabeb2b158a" providerId="ADAL" clId="{5C2CD6D4-C7A9-4CEF-AA9C-BC2977F70622}" dt="2024-02-21T13:08:06.476" v="40077"/>
          <ac:cxnSpMkLst>
            <pc:docMk/>
            <pc:sldMk cId="1250207495" sldId="2147483612"/>
            <ac:cxnSpMk id="33" creationId="{D86343AC-4F54-0047-8AA2-B59575F34CDB}"/>
          </ac:cxnSpMkLst>
        </pc:cxnChg>
        <pc:cxnChg chg="mod ord">
          <ac:chgData name="Abdi, Adnan" userId="503e002c-9b3b-4180-87fb-acabeb2b158a" providerId="ADAL" clId="{5C2CD6D4-C7A9-4CEF-AA9C-BC2977F70622}" dt="2024-02-21T13:08:06.476" v="40075"/>
          <ac:cxnSpMkLst>
            <pc:docMk/>
            <pc:sldMk cId="1250207495" sldId="2147483612"/>
            <ac:cxnSpMk id="34" creationId="{1780A85B-BEE4-A815-284D-5F638E4658A1}"/>
          </ac:cxnSpMkLst>
        </pc:cxnChg>
        <pc:cxnChg chg="mod ord">
          <ac:chgData name="Abdi, Adnan" userId="503e002c-9b3b-4180-87fb-acabeb2b158a" providerId="ADAL" clId="{5C2CD6D4-C7A9-4CEF-AA9C-BC2977F70622}" dt="2024-02-21T13:08:06.475" v="40073"/>
          <ac:cxnSpMkLst>
            <pc:docMk/>
            <pc:sldMk cId="1250207495" sldId="2147483612"/>
            <ac:cxnSpMk id="35" creationId="{37AB657F-BD56-BDBF-734A-A2439B2BB7F2}"/>
          </ac:cxnSpMkLst>
        </pc:cxnChg>
        <pc:cxnChg chg="mod ord">
          <ac:chgData name="Abdi, Adnan" userId="503e002c-9b3b-4180-87fb-acabeb2b158a" providerId="ADAL" clId="{5C2CD6D4-C7A9-4CEF-AA9C-BC2977F70622}" dt="2024-02-21T13:08:06.477" v="40079"/>
          <ac:cxnSpMkLst>
            <pc:docMk/>
            <pc:sldMk cId="1250207495" sldId="2147483612"/>
            <ac:cxnSpMk id="36" creationId="{BC5D919A-DAA9-03F4-CCE3-49F6BAFEC69F}"/>
          </ac:cxnSpMkLst>
        </pc:cxnChg>
        <pc:cxnChg chg="mod ord">
          <ac:chgData name="Abdi, Adnan" userId="503e002c-9b3b-4180-87fb-acabeb2b158a" providerId="ADAL" clId="{5C2CD6D4-C7A9-4CEF-AA9C-BC2977F70622}" dt="2024-02-21T13:08:06.477" v="40081"/>
          <ac:cxnSpMkLst>
            <pc:docMk/>
            <pc:sldMk cId="1250207495" sldId="2147483612"/>
            <ac:cxnSpMk id="37" creationId="{22395034-C814-D6D8-FC24-616EFC857245}"/>
          </ac:cxnSpMkLst>
        </pc:cxnChg>
        <pc:cxnChg chg="mod ord">
          <ac:chgData name="Abdi, Adnan" userId="503e002c-9b3b-4180-87fb-acabeb2b158a" providerId="ADAL" clId="{5C2CD6D4-C7A9-4CEF-AA9C-BC2977F70622}" dt="2024-02-21T13:08:06.478" v="40083"/>
          <ac:cxnSpMkLst>
            <pc:docMk/>
            <pc:sldMk cId="1250207495" sldId="2147483612"/>
            <ac:cxnSpMk id="38" creationId="{16136DAE-2209-D0AE-5FAA-915D0495EF69}"/>
          </ac:cxnSpMkLst>
        </pc:cxnChg>
        <pc:cxnChg chg="mod ord">
          <ac:chgData name="Abdi, Adnan" userId="503e002c-9b3b-4180-87fb-acabeb2b158a" providerId="ADAL" clId="{5C2CD6D4-C7A9-4CEF-AA9C-BC2977F70622}" dt="2024-02-21T13:08:06.479" v="40087"/>
          <ac:cxnSpMkLst>
            <pc:docMk/>
            <pc:sldMk cId="1250207495" sldId="2147483612"/>
            <ac:cxnSpMk id="39" creationId="{4989D6F6-272D-214A-FC93-A3663B027D30}"/>
          </ac:cxnSpMkLst>
        </pc:cxnChg>
        <pc:cxnChg chg="mod ord">
          <ac:chgData name="Abdi, Adnan" userId="503e002c-9b3b-4180-87fb-acabeb2b158a" providerId="ADAL" clId="{5C2CD6D4-C7A9-4CEF-AA9C-BC2977F70622}" dt="2024-02-21T13:08:06.478" v="40085"/>
          <ac:cxnSpMkLst>
            <pc:docMk/>
            <pc:sldMk cId="1250207495" sldId="2147483612"/>
            <ac:cxnSpMk id="40" creationId="{3A461933-EC3D-9826-8DE6-DBE360CE61CD}"/>
          </ac:cxnSpMkLst>
        </pc:cxnChg>
        <pc:cxnChg chg="mod ord">
          <ac:chgData name="Abdi, Adnan" userId="503e002c-9b3b-4180-87fb-acabeb2b158a" providerId="ADAL" clId="{5C2CD6D4-C7A9-4CEF-AA9C-BC2977F70622}" dt="2024-02-21T13:08:06.479" v="40089"/>
          <ac:cxnSpMkLst>
            <pc:docMk/>
            <pc:sldMk cId="1250207495" sldId="2147483612"/>
            <ac:cxnSpMk id="41" creationId="{05904A67-F535-CA2B-11F8-711D494E15CB}"/>
          </ac:cxnSpMkLst>
        </pc:cxnChg>
        <pc:cxnChg chg="mod ord">
          <ac:chgData name="Abdi, Adnan" userId="503e002c-9b3b-4180-87fb-acabeb2b158a" providerId="ADAL" clId="{5C2CD6D4-C7A9-4CEF-AA9C-BC2977F70622}" dt="2024-02-21T13:08:06.481" v="40093"/>
          <ac:cxnSpMkLst>
            <pc:docMk/>
            <pc:sldMk cId="1250207495" sldId="2147483612"/>
            <ac:cxnSpMk id="42" creationId="{25187C55-80AE-5FF3-D4AB-20D2A3163FC1}"/>
          </ac:cxnSpMkLst>
        </pc:cxnChg>
        <pc:cxnChg chg="mod ord">
          <ac:chgData name="Abdi, Adnan" userId="503e002c-9b3b-4180-87fb-acabeb2b158a" providerId="ADAL" clId="{5C2CD6D4-C7A9-4CEF-AA9C-BC2977F70622}" dt="2024-02-21T13:08:06.483" v="40095"/>
          <ac:cxnSpMkLst>
            <pc:docMk/>
            <pc:sldMk cId="1250207495" sldId="2147483612"/>
            <ac:cxnSpMk id="43" creationId="{85B04080-5BDF-394C-25D1-6D397A1E68B3}"/>
          </ac:cxnSpMkLst>
        </pc:cxnChg>
        <pc:cxnChg chg="mod ord">
          <ac:chgData name="Abdi, Adnan" userId="503e002c-9b3b-4180-87fb-acabeb2b158a" providerId="ADAL" clId="{5C2CD6D4-C7A9-4CEF-AA9C-BC2977F70622}" dt="2024-02-21T13:08:06.481" v="40091"/>
          <ac:cxnSpMkLst>
            <pc:docMk/>
            <pc:sldMk cId="1250207495" sldId="2147483612"/>
            <ac:cxnSpMk id="44" creationId="{5A554B0E-F4A1-7A8E-97E4-C0257381C25B}"/>
          </ac:cxnSpMkLst>
        </pc:cxnChg>
        <pc:cxnChg chg="mod ord">
          <ac:chgData name="Abdi, Adnan" userId="503e002c-9b3b-4180-87fb-acabeb2b158a" providerId="ADAL" clId="{5C2CD6D4-C7A9-4CEF-AA9C-BC2977F70622}" dt="2024-02-21T13:08:06.485" v="40101"/>
          <ac:cxnSpMkLst>
            <pc:docMk/>
            <pc:sldMk cId="1250207495" sldId="2147483612"/>
            <ac:cxnSpMk id="45" creationId="{4937A4A1-074E-7D0F-12E4-1C4F80B8FDBF}"/>
          </ac:cxnSpMkLst>
        </pc:cxnChg>
        <pc:cxnChg chg="mod ord">
          <ac:chgData name="Abdi, Adnan" userId="503e002c-9b3b-4180-87fb-acabeb2b158a" providerId="ADAL" clId="{5C2CD6D4-C7A9-4CEF-AA9C-BC2977F70622}" dt="2024-02-21T13:08:06.484" v="40097"/>
          <ac:cxnSpMkLst>
            <pc:docMk/>
            <pc:sldMk cId="1250207495" sldId="2147483612"/>
            <ac:cxnSpMk id="46" creationId="{348C3654-4E0C-83CB-0723-6F6D1771236A}"/>
          </ac:cxnSpMkLst>
        </pc:cxnChg>
        <pc:cxnChg chg="mod ord">
          <ac:chgData name="Abdi, Adnan" userId="503e002c-9b3b-4180-87fb-acabeb2b158a" providerId="ADAL" clId="{5C2CD6D4-C7A9-4CEF-AA9C-BC2977F70622}" dt="2024-02-21T13:08:06.484" v="40099"/>
          <ac:cxnSpMkLst>
            <pc:docMk/>
            <pc:sldMk cId="1250207495" sldId="2147483612"/>
            <ac:cxnSpMk id="47" creationId="{81529735-0891-005E-170B-1CD56658A7F0}"/>
          </ac:cxnSpMkLst>
        </pc:cxnChg>
        <pc:cxnChg chg="mod ord">
          <ac:chgData name="Abdi, Adnan" userId="503e002c-9b3b-4180-87fb-acabeb2b158a" providerId="ADAL" clId="{5C2CD6D4-C7A9-4CEF-AA9C-BC2977F70622}" dt="2024-02-21T13:08:06.485" v="40103"/>
          <ac:cxnSpMkLst>
            <pc:docMk/>
            <pc:sldMk cId="1250207495" sldId="2147483612"/>
            <ac:cxnSpMk id="48" creationId="{8D40EDDF-96D8-9E39-8AB3-2684BD359FE8}"/>
          </ac:cxnSpMkLst>
        </pc:cxnChg>
        <pc:cxnChg chg="mod ord">
          <ac:chgData name="Abdi, Adnan" userId="503e002c-9b3b-4180-87fb-acabeb2b158a" providerId="ADAL" clId="{5C2CD6D4-C7A9-4CEF-AA9C-BC2977F70622}" dt="2024-02-21T13:08:06.486" v="40105"/>
          <ac:cxnSpMkLst>
            <pc:docMk/>
            <pc:sldMk cId="1250207495" sldId="2147483612"/>
            <ac:cxnSpMk id="49" creationId="{605FD5B3-CE24-DCF8-18F8-32D653539833}"/>
          </ac:cxnSpMkLst>
        </pc:cxnChg>
        <pc:cxnChg chg="mod ord">
          <ac:chgData name="Abdi, Adnan" userId="503e002c-9b3b-4180-87fb-acabeb2b158a" providerId="ADAL" clId="{5C2CD6D4-C7A9-4CEF-AA9C-BC2977F70622}" dt="2024-02-21T13:08:06.486" v="40107"/>
          <ac:cxnSpMkLst>
            <pc:docMk/>
            <pc:sldMk cId="1250207495" sldId="2147483612"/>
            <ac:cxnSpMk id="50" creationId="{AF8A5EE0-C97C-7077-2236-8D2C06200986}"/>
          </ac:cxnSpMkLst>
        </pc:cxnChg>
        <pc:cxnChg chg="mod ord">
          <ac:chgData name="Abdi, Adnan" userId="503e002c-9b3b-4180-87fb-acabeb2b158a" providerId="ADAL" clId="{5C2CD6D4-C7A9-4CEF-AA9C-BC2977F70622}" dt="2024-02-21T13:08:06.487" v="40109"/>
          <ac:cxnSpMkLst>
            <pc:docMk/>
            <pc:sldMk cId="1250207495" sldId="2147483612"/>
            <ac:cxnSpMk id="51" creationId="{F0CFA4FC-21DA-A4C4-DA81-D0D69497B02C}"/>
          </ac:cxnSpMkLst>
        </pc:cxnChg>
        <pc:cxnChg chg="mod ord">
          <ac:chgData name="Abdi, Adnan" userId="503e002c-9b3b-4180-87fb-acabeb2b158a" providerId="ADAL" clId="{5C2CD6D4-C7A9-4CEF-AA9C-BC2977F70622}" dt="2024-02-21T13:08:06.488" v="40111"/>
          <ac:cxnSpMkLst>
            <pc:docMk/>
            <pc:sldMk cId="1250207495" sldId="2147483612"/>
            <ac:cxnSpMk id="52" creationId="{85DE3CEA-5898-AFA4-9090-BA168A6BAC04}"/>
          </ac:cxnSpMkLst>
        </pc:cxnChg>
        <pc:cxnChg chg="mod ord">
          <ac:chgData name="Abdi, Adnan" userId="503e002c-9b3b-4180-87fb-acabeb2b158a" providerId="ADAL" clId="{5C2CD6D4-C7A9-4CEF-AA9C-BC2977F70622}" dt="2024-02-21T13:08:06.488" v="40113"/>
          <ac:cxnSpMkLst>
            <pc:docMk/>
            <pc:sldMk cId="1250207495" sldId="2147483612"/>
            <ac:cxnSpMk id="53" creationId="{CE3F733B-5FE0-EC6E-184B-A0E64B971CE0}"/>
          </ac:cxnSpMkLst>
        </pc:cxnChg>
        <pc:cxnChg chg="mod ord">
          <ac:chgData name="Abdi, Adnan" userId="503e002c-9b3b-4180-87fb-acabeb2b158a" providerId="ADAL" clId="{5C2CD6D4-C7A9-4CEF-AA9C-BC2977F70622}" dt="2024-02-21T13:08:06.489" v="40117"/>
          <ac:cxnSpMkLst>
            <pc:docMk/>
            <pc:sldMk cId="1250207495" sldId="2147483612"/>
            <ac:cxnSpMk id="54" creationId="{CAE2D1CA-96A2-1BC5-5442-49F3B25654B2}"/>
          </ac:cxnSpMkLst>
        </pc:cxnChg>
        <pc:cxnChg chg="mod ord">
          <ac:chgData name="Abdi, Adnan" userId="503e002c-9b3b-4180-87fb-acabeb2b158a" providerId="ADAL" clId="{5C2CD6D4-C7A9-4CEF-AA9C-BC2977F70622}" dt="2024-02-21T13:08:06.489" v="40115"/>
          <ac:cxnSpMkLst>
            <pc:docMk/>
            <pc:sldMk cId="1250207495" sldId="2147483612"/>
            <ac:cxnSpMk id="55" creationId="{C2D4A6B8-27E8-E478-4E7A-9C253F38A66E}"/>
          </ac:cxnSpMkLst>
        </pc:cxnChg>
        <pc:cxnChg chg="mod ord">
          <ac:chgData name="Abdi, Adnan" userId="503e002c-9b3b-4180-87fb-acabeb2b158a" providerId="ADAL" clId="{5C2CD6D4-C7A9-4CEF-AA9C-BC2977F70622}" dt="2024-02-21T13:08:06.490" v="40119"/>
          <ac:cxnSpMkLst>
            <pc:docMk/>
            <pc:sldMk cId="1250207495" sldId="2147483612"/>
            <ac:cxnSpMk id="56" creationId="{0E9DC064-0A06-3CCE-B86B-8AF459599894}"/>
          </ac:cxnSpMkLst>
        </pc:cxnChg>
        <pc:cxnChg chg="mod ord">
          <ac:chgData name="Abdi, Adnan" userId="503e002c-9b3b-4180-87fb-acabeb2b158a" providerId="ADAL" clId="{5C2CD6D4-C7A9-4CEF-AA9C-BC2977F70622}" dt="2024-02-21T13:08:06.490" v="40121"/>
          <ac:cxnSpMkLst>
            <pc:docMk/>
            <pc:sldMk cId="1250207495" sldId="2147483612"/>
            <ac:cxnSpMk id="57" creationId="{3FCD2D52-9711-65F8-FF1C-5B4AAEF6EE9F}"/>
          </ac:cxnSpMkLst>
        </pc:cxnChg>
        <pc:cxnChg chg="mod ord">
          <ac:chgData name="Abdi, Adnan" userId="503e002c-9b3b-4180-87fb-acabeb2b158a" providerId="ADAL" clId="{5C2CD6D4-C7A9-4CEF-AA9C-BC2977F70622}" dt="2024-02-21T13:08:06.491" v="40123"/>
          <ac:cxnSpMkLst>
            <pc:docMk/>
            <pc:sldMk cId="1250207495" sldId="2147483612"/>
            <ac:cxnSpMk id="58" creationId="{6F9DCD36-1591-8CC9-D260-8C35E550E14B}"/>
          </ac:cxnSpMkLst>
        </pc:cxnChg>
        <pc:cxnChg chg="mod ord">
          <ac:chgData name="Abdi, Adnan" userId="503e002c-9b3b-4180-87fb-acabeb2b158a" providerId="ADAL" clId="{5C2CD6D4-C7A9-4CEF-AA9C-BC2977F70622}" dt="2024-02-21T13:08:06.491" v="40125"/>
          <ac:cxnSpMkLst>
            <pc:docMk/>
            <pc:sldMk cId="1250207495" sldId="2147483612"/>
            <ac:cxnSpMk id="79" creationId="{B1B2495B-F0D9-C40F-79D0-105A1852D8B3}"/>
          </ac:cxnSpMkLst>
        </pc:cxnChg>
        <pc:cxnChg chg="mod ord">
          <ac:chgData name="Abdi, Adnan" userId="503e002c-9b3b-4180-87fb-acabeb2b158a" providerId="ADAL" clId="{5C2CD6D4-C7A9-4CEF-AA9C-BC2977F70622}" dt="2024-02-21T13:08:06.492" v="40127"/>
          <ac:cxnSpMkLst>
            <pc:docMk/>
            <pc:sldMk cId="1250207495" sldId="2147483612"/>
            <ac:cxnSpMk id="80" creationId="{C3C56690-C04E-90A4-F885-C8CB23656AFE}"/>
          </ac:cxnSpMkLst>
        </pc:cxnChg>
        <pc:cxnChg chg="mod ord">
          <ac:chgData name="Abdi, Adnan" userId="503e002c-9b3b-4180-87fb-acabeb2b158a" providerId="ADAL" clId="{5C2CD6D4-C7A9-4CEF-AA9C-BC2977F70622}" dt="2024-02-21T13:08:06.492" v="40129"/>
          <ac:cxnSpMkLst>
            <pc:docMk/>
            <pc:sldMk cId="1250207495" sldId="2147483612"/>
            <ac:cxnSpMk id="167" creationId="{E2021158-26D7-3555-5ED4-AB86BD52BC30}"/>
          </ac:cxnSpMkLst>
        </pc:cxnChg>
        <pc:cxnChg chg="mod ord">
          <ac:chgData name="Abdi, Adnan" userId="503e002c-9b3b-4180-87fb-acabeb2b158a" providerId="ADAL" clId="{5C2CD6D4-C7A9-4CEF-AA9C-BC2977F70622}" dt="2024-02-21T13:08:06.493" v="40131"/>
          <ac:cxnSpMkLst>
            <pc:docMk/>
            <pc:sldMk cId="1250207495" sldId="2147483612"/>
            <ac:cxnSpMk id="168" creationId="{FEA8F081-1E2B-7F4F-46E1-E7FAC08DFB19}"/>
          </ac:cxnSpMkLst>
        </pc:cxnChg>
      </pc:sldChg>
      <pc:sldChg chg="addSp delSp modSp mod">
        <pc:chgData name="Abdi, Adnan" userId="503e002c-9b3b-4180-87fb-acabeb2b158a" providerId="ADAL" clId="{5C2CD6D4-C7A9-4CEF-AA9C-BC2977F70622}" dt="2024-02-26T09:10:11.539" v="73105"/>
        <pc:sldMkLst>
          <pc:docMk/>
          <pc:sldMk cId="3264993228" sldId="2147483612"/>
        </pc:sldMkLst>
        <pc:spChg chg="mod ord">
          <ac:chgData name="Abdi, Adnan" userId="503e002c-9b3b-4180-87fb-acabeb2b158a" providerId="ADAL" clId="{5C2CD6D4-C7A9-4CEF-AA9C-BC2977F70622}" dt="2024-02-21T18:01:31.851" v="55678"/>
          <ac:spMkLst>
            <pc:docMk/>
            <pc:sldMk cId="3264993228" sldId="2147483612"/>
            <ac:spMk id="2" creationId="{06AFAE7C-5F6A-B878-93B9-6DE5A9DAA9F7}"/>
          </ac:spMkLst>
        </pc:spChg>
        <pc:spChg chg="mod ord">
          <ac:chgData name="Abdi, Adnan" userId="503e002c-9b3b-4180-87fb-acabeb2b158a" providerId="ADAL" clId="{5C2CD6D4-C7A9-4CEF-AA9C-BC2977F70622}" dt="2024-02-26T09:10:11.539" v="73105"/>
          <ac:spMkLst>
            <pc:docMk/>
            <pc:sldMk cId="3264993228" sldId="2147483612"/>
            <ac:spMk id="3" creationId="{028D4B8F-B27C-53F5-451A-24CA598898DE}"/>
          </ac:spMkLst>
        </pc:spChg>
        <pc:spChg chg="add mod ord">
          <ac:chgData name="Abdi, Adnan" userId="503e002c-9b3b-4180-87fb-acabeb2b158a" providerId="ADAL" clId="{5C2CD6D4-C7A9-4CEF-AA9C-BC2977F70622}" dt="2024-02-23T15:32:09.917" v="71465"/>
          <ac:spMkLst>
            <pc:docMk/>
            <pc:sldMk cId="3264993228" sldId="2147483612"/>
            <ac:spMk id="4" creationId="{1A68FC50-AA15-FC69-1AB4-767E70C870EA}"/>
          </ac:spMkLst>
        </pc:spChg>
        <pc:spChg chg="mod ord">
          <ac:chgData name="Abdi, Adnan" userId="503e002c-9b3b-4180-87fb-acabeb2b158a" providerId="ADAL" clId="{5C2CD6D4-C7A9-4CEF-AA9C-BC2977F70622}" dt="2024-02-22T14:44:53.234" v="58270" actId="14100"/>
          <ac:spMkLst>
            <pc:docMk/>
            <pc:sldMk cId="3264993228" sldId="2147483612"/>
            <ac:spMk id="5" creationId="{5F43F86A-EE19-5783-47DD-51DBCADCF320}"/>
          </ac:spMkLst>
        </pc:spChg>
        <pc:spChg chg="mod ord">
          <ac:chgData name="Abdi, Adnan" userId="503e002c-9b3b-4180-87fb-acabeb2b158a" providerId="ADAL" clId="{5C2CD6D4-C7A9-4CEF-AA9C-BC2977F70622}" dt="2024-02-21T18:01:31.854" v="55686"/>
          <ac:spMkLst>
            <pc:docMk/>
            <pc:sldMk cId="3264993228" sldId="2147483612"/>
            <ac:spMk id="6" creationId="{CC2F7FCE-275B-F6E1-966E-D35A5ACECE5B}"/>
          </ac:spMkLst>
        </pc:spChg>
        <pc:spChg chg="add mod">
          <ac:chgData name="Abdi, Adnan" userId="503e002c-9b3b-4180-87fb-acabeb2b158a" providerId="ADAL" clId="{5C2CD6D4-C7A9-4CEF-AA9C-BC2977F70622}" dt="2024-02-23T14:39:18.991" v="71064"/>
          <ac:spMkLst>
            <pc:docMk/>
            <pc:sldMk cId="3264993228" sldId="2147483612"/>
            <ac:spMk id="7" creationId="{13CAEFBA-2787-3AFF-B8CD-42844596EB12}"/>
          </ac:spMkLst>
        </pc:spChg>
        <pc:spChg chg="add del mod modVis">
          <ac:chgData name="Abdi, Adnan" userId="503e002c-9b3b-4180-87fb-acabeb2b158a" providerId="ADAL" clId="{5C2CD6D4-C7A9-4CEF-AA9C-BC2977F70622}" dt="2024-02-21T17:07:37.982" v="47931" actId="962"/>
          <ac:spMkLst>
            <pc:docMk/>
            <pc:sldMk cId="3264993228" sldId="2147483612"/>
            <ac:spMk id="7" creationId="{3195FAA1-5F2B-1094-39C4-31337419D039}"/>
          </ac:spMkLst>
        </pc:spChg>
        <pc:spChg chg="add mod ord replST delST">
          <ac:chgData name="Abdi, Adnan" userId="503e002c-9b3b-4180-87fb-acabeb2b158a" providerId="ADAL" clId="{5C2CD6D4-C7A9-4CEF-AA9C-BC2977F70622}" dt="2024-02-21T17:07:37.656" v="47607" actId="139"/>
          <ac:spMkLst>
            <pc:docMk/>
            <pc:sldMk cId="3264993228" sldId="2147483612"/>
            <ac:spMk id="59" creationId="{99B897B1-DDDF-ED87-072D-D90CE415B38D}"/>
          </ac:spMkLst>
        </pc:spChg>
        <pc:spChg chg="add mod ord replST delST">
          <ac:chgData name="Abdi, Adnan" userId="503e002c-9b3b-4180-87fb-acabeb2b158a" providerId="ADAL" clId="{5C2CD6D4-C7A9-4CEF-AA9C-BC2977F70622}" dt="2024-02-21T17:07:37.620" v="47565" actId="139"/>
          <ac:spMkLst>
            <pc:docMk/>
            <pc:sldMk cId="3264993228" sldId="2147483612"/>
            <ac:spMk id="60" creationId="{0513FA78-1676-E900-89C6-BA1400E5FF0A}"/>
          </ac:spMkLst>
        </pc:spChg>
        <pc:spChg chg="add mod ord replST delST">
          <ac:chgData name="Abdi, Adnan" userId="503e002c-9b3b-4180-87fb-acabeb2b158a" providerId="ADAL" clId="{5C2CD6D4-C7A9-4CEF-AA9C-BC2977F70622}" dt="2024-02-21T17:07:37.586" v="47523" actId="139"/>
          <ac:spMkLst>
            <pc:docMk/>
            <pc:sldMk cId="3264993228" sldId="2147483612"/>
            <ac:spMk id="61" creationId="{231582B6-A692-ECD4-0113-EB4130DC4002}"/>
          </ac:spMkLst>
        </pc:spChg>
        <pc:spChg chg="add mod ord replST delST">
          <ac:chgData name="Abdi, Adnan" userId="503e002c-9b3b-4180-87fb-acabeb2b158a" providerId="ADAL" clId="{5C2CD6D4-C7A9-4CEF-AA9C-BC2977F70622}" dt="2024-02-21T17:07:37.555" v="47481" actId="139"/>
          <ac:spMkLst>
            <pc:docMk/>
            <pc:sldMk cId="3264993228" sldId="2147483612"/>
            <ac:spMk id="62" creationId="{2E104C06-7122-3620-B19D-C006DFB9A0FF}"/>
          </ac:spMkLst>
        </pc:spChg>
        <pc:spChg chg="add mod ord replST delST">
          <ac:chgData name="Abdi, Adnan" userId="503e002c-9b3b-4180-87fb-acabeb2b158a" providerId="ADAL" clId="{5C2CD6D4-C7A9-4CEF-AA9C-BC2977F70622}" dt="2024-02-21T17:07:37.519" v="47439" actId="139"/>
          <ac:spMkLst>
            <pc:docMk/>
            <pc:sldMk cId="3264993228" sldId="2147483612"/>
            <ac:spMk id="63" creationId="{20D125E7-B435-2AB1-6717-FE96427DA0E5}"/>
          </ac:spMkLst>
        </pc:spChg>
        <pc:spChg chg="add mod ord replST delST">
          <ac:chgData name="Abdi, Adnan" userId="503e002c-9b3b-4180-87fb-acabeb2b158a" providerId="ADAL" clId="{5C2CD6D4-C7A9-4CEF-AA9C-BC2977F70622}" dt="2024-02-21T17:07:37.484" v="47397" actId="139"/>
          <ac:spMkLst>
            <pc:docMk/>
            <pc:sldMk cId="3264993228" sldId="2147483612"/>
            <ac:spMk id="64" creationId="{F78405F1-0E18-C35B-FEDE-57AD7E9C62CA}"/>
          </ac:spMkLst>
        </pc:spChg>
        <pc:spChg chg="add mod ord replST delST">
          <ac:chgData name="Abdi, Adnan" userId="503e002c-9b3b-4180-87fb-acabeb2b158a" providerId="ADAL" clId="{5C2CD6D4-C7A9-4CEF-AA9C-BC2977F70622}" dt="2024-02-21T17:07:37.448" v="47355" actId="139"/>
          <ac:spMkLst>
            <pc:docMk/>
            <pc:sldMk cId="3264993228" sldId="2147483612"/>
            <ac:spMk id="65" creationId="{DFB2282E-C2D2-FEB3-5B2E-C2918D90F746}"/>
          </ac:spMkLst>
        </pc:spChg>
        <pc:spChg chg="add mod ord replST delST">
          <ac:chgData name="Abdi, Adnan" userId="503e002c-9b3b-4180-87fb-acabeb2b158a" providerId="ADAL" clId="{5C2CD6D4-C7A9-4CEF-AA9C-BC2977F70622}" dt="2024-02-21T17:07:37.413" v="47313" actId="139"/>
          <ac:spMkLst>
            <pc:docMk/>
            <pc:sldMk cId="3264993228" sldId="2147483612"/>
            <ac:spMk id="66" creationId="{ED08F12A-1067-2D16-74CD-2E73031BDCE6}"/>
          </ac:spMkLst>
        </pc:spChg>
        <pc:spChg chg="add mod ord replST delST">
          <ac:chgData name="Abdi, Adnan" userId="503e002c-9b3b-4180-87fb-acabeb2b158a" providerId="ADAL" clId="{5C2CD6D4-C7A9-4CEF-AA9C-BC2977F70622}" dt="2024-02-21T17:07:37.378" v="47271" actId="139"/>
          <ac:spMkLst>
            <pc:docMk/>
            <pc:sldMk cId="3264993228" sldId="2147483612"/>
            <ac:spMk id="67" creationId="{CC2D1141-5A05-E5A1-4D51-0E0A3BB32477}"/>
          </ac:spMkLst>
        </pc:spChg>
        <pc:spChg chg="add mod ord replST delST">
          <ac:chgData name="Abdi, Adnan" userId="503e002c-9b3b-4180-87fb-acabeb2b158a" providerId="ADAL" clId="{5C2CD6D4-C7A9-4CEF-AA9C-BC2977F70622}" dt="2024-02-21T17:07:37.347" v="47229" actId="139"/>
          <ac:spMkLst>
            <pc:docMk/>
            <pc:sldMk cId="3264993228" sldId="2147483612"/>
            <ac:spMk id="68" creationId="{4BF36AFF-D0D2-244E-A751-46B3A7DD0E1D}"/>
          </ac:spMkLst>
        </pc:spChg>
        <pc:spChg chg="add del mod modVis">
          <ac:chgData name="Abdi, Adnan" userId="503e002c-9b3b-4180-87fb-acabeb2b158a" providerId="ADAL" clId="{5C2CD6D4-C7A9-4CEF-AA9C-BC2977F70622}" dt="2024-02-21T17:07:42.754" v="48661"/>
          <ac:spMkLst>
            <pc:docMk/>
            <pc:sldMk cId="3264993228" sldId="2147483612"/>
            <ac:spMk id="70" creationId="{DA24F63C-99A5-55DB-DC1C-A7227AD54BBA}"/>
          </ac:spMkLst>
        </pc:spChg>
        <pc:spChg chg="add del mod modVis">
          <ac:chgData name="Abdi, Adnan" userId="503e002c-9b3b-4180-87fb-acabeb2b158a" providerId="ADAL" clId="{5C2CD6D4-C7A9-4CEF-AA9C-BC2977F70622}" dt="2024-02-21T17:07:55.372" v="49831"/>
          <ac:spMkLst>
            <pc:docMk/>
            <pc:sldMk cId="3264993228" sldId="2147483612"/>
            <ac:spMk id="73" creationId="{3B53B3BC-BA3F-82A6-C6E6-8ABEA96CAEE5}"/>
          </ac:spMkLst>
        </pc:spChg>
        <pc:spChg chg="add mod ord replST">
          <ac:chgData name="Abdi, Adnan" userId="503e002c-9b3b-4180-87fb-acabeb2b158a" providerId="ADAL" clId="{5C2CD6D4-C7A9-4CEF-AA9C-BC2977F70622}" dt="2024-02-21T18:01:31.912" v="55834"/>
          <ac:spMkLst>
            <pc:docMk/>
            <pc:sldMk cId="3264993228" sldId="2147483612"/>
            <ac:spMk id="74" creationId="{D71A5282-49F3-6764-EA72-C2877F184772}"/>
          </ac:spMkLst>
        </pc:spChg>
        <pc:spChg chg="add del mod modVis">
          <ac:chgData name="Abdi, Adnan" userId="503e002c-9b3b-4180-87fb-acabeb2b158a" providerId="ADAL" clId="{5C2CD6D4-C7A9-4CEF-AA9C-BC2977F70622}" dt="2024-02-21T17:08:15.703" v="50317"/>
          <ac:spMkLst>
            <pc:docMk/>
            <pc:sldMk cId="3264993228" sldId="2147483612"/>
            <ac:spMk id="76" creationId="{48878397-06E1-F1AB-8484-012EB46FDB13}"/>
          </ac:spMkLst>
        </pc:spChg>
        <pc:spChg chg="add del mod modVis">
          <ac:chgData name="Abdi, Adnan" userId="503e002c-9b3b-4180-87fb-acabeb2b158a" providerId="ADAL" clId="{5C2CD6D4-C7A9-4CEF-AA9C-BC2977F70622}" dt="2024-02-21T17:59:02.861" v="53202"/>
          <ac:spMkLst>
            <pc:docMk/>
            <pc:sldMk cId="3264993228" sldId="2147483612"/>
            <ac:spMk id="78" creationId="{121F0E04-0DBC-FCDD-C511-47041776C9F3}"/>
          </ac:spMkLst>
        </pc:spChg>
        <pc:spChg chg="mod ord">
          <ac:chgData name="Abdi, Adnan" userId="503e002c-9b3b-4180-87fb-acabeb2b158a" providerId="ADAL" clId="{5C2CD6D4-C7A9-4CEF-AA9C-BC2977F70622}" dt="2024-02-21T18:01:31.914" v="55840"/>
          <ac:spMkLst>
            <pc:docMk/>
            <pc:sldMk cId="3264993228" sldId="2147483612"/>
            <ac:spMk id="81" creationId="{E0163D1B-C9FA-D4C6-813D-ACDE33431878}"/>
          </ac:spMkLst>
        </pc:spChg>
        <pc:spChg chg="mod">
          <ac:chgData name="Abdi, Adnan" userId="503e002c-9b3b-4180-87fb-acabeb2b158a" providerId="ADAL" clId="{5C2CD6D4-C7A9-4CEF-AA9C-BC2977F70622}" dt="2024-02-21T18:01:31.916" v="55844"/>
          <ac:spMkLst>
            <pc:docMk/>
            <pc:sldMk cId="3264993228" sldId="2147483612"/>
            <ac:spMk id="82" creationId="{507125FD-ADFF-CC5A-E1C4-C23758A3B673}"/>
          </ac:spMkLst>
        </pc:spChg>
        <pc:spChg chg="mod">
          <ac:chgData name="Abdi, Adnan" userId="503e002c-9b3b-4180-87fb-acabeb2b158a" providerId="ADAL" clId="{5C2CD6D4-C7A9-4CEF-AA9C-BC2977F70622}" dt="2024-02-21T18:01:31.916" v="55845"/>
          <ac:spMkLst>
            <pc:docMk/>
            <pc:sldMk cId="3264993228" sldId="2147483612"/>
            <ac:spMk id="83" creationId="{AFE18B81-E7A2-F65D-4913-C241B16E5C2C}"/>
          </ac:spMkLst>
        </pc:spChg>
        <pc:spChg chg="mod ord">
          <ac:chgData name="Abdi, Adnan" userId="503e002c-9b3b-4180-87fb-acabeb2b158a" providerId="ADAL" clId="{5C2CD6D4-C7A9-4CEF-AA9C-BC2977F70622}" dt="2024-02-21T18:01:31.915" v="55842"/>
          <ac:spMkLst>
            <pc:docMk/>
            <pc:sldMk cId="3264993228" sldId="2147483612"/>
            <ac:spMk id="84" creationId="{B4B8ED13-3E08-0B69-0A42-D28F6B38D589}"/>
          </ac:spMkLst>
        </pc:spChg>
        <pc:spChg chg="mod">
          <ac:chgData name="Abdi, Adnan" userId="503e002c-9b3b-4180-87fb-acabeb2b158a" providerId="ADAL" clId="{5C2CD6D4-C7A9-4CEF-AA9C-BC2977F70622}" dt="2024-02-21T18:01:31.917" v="55846"/>
          <ac:spMkLst>
            <pc:docMk/>
            <pc:sldMk cId="3264993228" sldId="2147483612"/>
            <ac:spMk id="85" creationId="{54CCB771-87E0-45D8-D4E2-6C47927639D1}"/>
          </ac:spMkLst>
        </pc:spChg>
        <pc:spChg chg="mod">
          <ac:chgData name="Abdi, Adnan" userId="503e002c-9b3b-4180-87fb-acabeb2b158a" providerId="ADAL" clId="{5C2CD6D4-C7A9-4CEF-AA9C-BC2977F70622}" dt="2024-02-21T18:01:31.896" v="55798"/>
          <ac:spMkLst>
            <pc:docMk/>
            <pc:sldMk cId="3264993228" sldId="2147483612"/>
            <ac:spMk id="86" creationId="{EC7EAB62-937D-3E11-49E5-4416F4CA9BE4}"/>
          </ac:spMkLst>
        </pc:spChg>
        <pc:spChg chg="mod ord">
          <ac:chgData name="Abdi, Adnan" userId="503e002c-9b3b-4180-87fb-acabeb2b158a" providerId="ADAL" clId="{5C2CD6D4-C7A9-4CEF-AA9C-BC2977F70622}" dt="2024-02-21T18:01:31.898" v="55802"/>
          <ac:spMkLst>
            <pc:docMk/>
            <pc:sldMk cId="3264993228" sldId="2147483612"/>
            <ac:spMk id="87" creationId="{7E4A1DFC-1AFA-AE61-AACC-53DA0ABCD7ED}"/>
          </ac:spMkLst>
        </pc:spChg>
        <pc:spChg chg="mod ord">
          <ac:chgData name="Abdi, Adnan" userId="503e002c-9b3b-4180-87fb-acabeb2b158a" providerId="ADAL" clId="{5C2CD6D4-C7A9-4CEF-AA9C-BC2977F70622}" dt="2024-02-21T18:01:31.899" v="55805"/>
          <ac:spMkLst>
            <pc:docMk/>
            <pc:sldMk cId="3264993228" sldId="2147483612"/>
            <ac:spMk id="88" creationId="{ABEBB86A-0412-3CD5-2BD5-EE33B716C446}"/>
          </ac:spMkLst>
        </pc:spChg>
        <pc:spChg chg="mod">
          <ac:chgData name="Abdi, Adnan" userId="503e002c-9b3b-4180-87fb-acabeb2b158a" providerId="ADAL" clId="{5C2CD6D4-C7A9-4CEF-AA9C-BC2977F70622}" dt="2024-02-21T18:01:31.899" v="55806"/>
          <ac:spMkLst>
            <pc:docMk/>
            <pc:sldMk cId="3264993228" sldId="2147483612"/>
            <ac:spMk id="89" creationId="{6089D362-4ACA-85EF-322C-843A138C53C7}"/>
          </ac:spMkLst>
        </pc:spChg>
        <pc:spChg chg="mod ord">
          <ac:chgData name="Abdi, Adnan" userId="503e002c-9b3b-4180-87fb-acabeb2b158a" providerId="ADAL" clId="{5C2CD6D4-C7A9-4CEF-AA9C-BC2977F70622}" dt="2024-02-21T18:01:31.908" v="55824"/>
          <ac:spMkLst>
            <pc:docMk/>
            <pc:sldMk cId="3264993228" sldId="2147483612"/>
            <ac:spMk id="90" creationId="{1F8B30C0-5318-F145-2877-44CB344E4F8E}"/>
          </ac:spMkLst>
        </pc:spChg>
        <pc:spChg chg="mod">
          <ac:chgData name="Abdi, Adnan" userId="503e002c-9b3b-4180-87fb-acabeb2b158a" providerId="ADAL" clId="{5C2CD6D4-C7A9-4CEF-AA9C-BC2977F70622}" dt="2024-02-21T18:01:31.898" v="55803"/>
          <ac:spMkLst>
            <pc:docMk/>
            <pc:sldMk cId="3264993228" sldId="2147483612"/>
            <ac:spMk id="91" creationId="{9B303F20-AB14-267E-4385-54511A5E4EFF}"/>
          </ac:spMkLst>
        </pc:spChg>
        <pc:spChg chg="mod ord">
          <ac:chgData name="Abdi, Adnan" userId="503e002c-9b3b-4180-87fb-acabeb2b158a" providerId="ADAL" clId="{5C2CD6D4-C7A9-4CEF-AA9C-BC2977F70622}" dt="2024-02-21T18:01:31.900" v="55808"/>
          <ac:spMkLst>
            <pc:docMk/>
            <pc:sldMk cId="3264993228" sldId="2147483612"/>
            <ac:spMk id="92" creationId="{4A616973-1823-FC50-CCAD-610D0C5C8D9B}"/>
          </ac:spMkLst>
        </pc:spChg>
        <pc:spChg chg="mod ord">
          <ac:chgData name="Abdi, Adnan" userId="503e002c-9b3b-4180-87fb-acabeb2b158a" providerId="ADAL" clId="{5C2CD6D4-C7A9-4CEF-AA9C-BC2977F70622}" dt="2024-02-21T18:01:31.903" v="55813"/>
          <ac:spMkLst>
            <pc:docMk/>
            <pc:sldMk cId="3264993228" sldId="2147483612"/>
            <ac:spMk id="93" creationId="{29E4B7E5-FECA-D3FA-CA2F-AA707877C42C}"/>
          </ac:spMkLst>
        </pc:spChg>
        <pc:spChg chg="mod">
          <ac:chgData name="Abdi, Adnan" userId="503e002c-9b3b-4180-87fb-acabeb2b158a" providerId="ADAL" clId="{5C2CD6D4-C7A9-4CEF-AA9C-BC2977F70622}" dt="2024-02-21T18:01:31.904" v="55814"/>
          <ac:spMkLst>
            <pc:docMk/>
            <pc:sldMk cId="3264993228" sldId="2147483612"/>
            <ac:spMk id="94" creationId="{C2990678-E11F-4B33-CC12-C1CB25F727D0}"/>
          </ac:spMkLst>
        </pc:spChg>
        <pc:spChg chg="mod ord">
          <ac:chgData name="Abdi, Adnan" userId="503e002c-9b3b-4180-87fb-acabeb2b158a" providerId="ADAL" clId="{5C2CD6D4-C7A9-4CEF-AA9C-BC2977F70622}" dt="2024-02-21T18:01:31.910" v="55830"/>
          <ac:spMkLst>
            <pc:docMk/>
            <pc:sldMk cId="3264993228" sldId="2147483612"/>
            <ac:spMk id="95" creationId="{DE2F9691-C8CA-57E7-C586-64654FE2347E}"/>
          </ac:spMkLst>
        </pc:spChg>
        <pc:spChg chg="mod">
          <ac:chgData name="Abdi, Adnan" userId="503e002c-9b3b-4180-87fb-acabeb2b158a" providerId="ADAL" clId="{5C2CD6D4-C7A9-4CEF-AA9C-BC2977F70622}" dt="2024-02-21T18:01:31.908" v="55825"/>
          <ac:spMkLst>
            <pc:docMk/>
            <pc:sldMk cId="3264993228" sldId="2147483612"/>
            <ac:spMk id="96" creationId="{E9E385A3-6731-674A-C0FC-8164870F1C38}"/>
          </ac:spMkLst>
        </pc:spChg>
        <pc:spChg chg="mod ord">
          <ac:chgData name="Abdi, Adnan" userId="503e002c-9b3b-4180-87fb-acabeb2b158a" providerId="ADAL" clId="{5C2CD6D4-C7A9-4CEF-AA9C-BC2977F70622}" dt="2024-02-21T18:01:31.896" v="55797"/>
          <ac:spMkLst>
            <pc:docMk/>
            <pc:sldMk cId="3264993228" sldId="2147483612"/>
            <ac:spMk id="97" creationId="{0BC40D6A-F5DC-7C6F-B58A-4993CAC64FD2}"/>
          </ac:spMkLst>
        </pc:spChg>
        <pc:spChg chg="mod ord">
          <ac:chgData name="Abdi, Adnan" userId="503e002c-9b3b-4180-87fb-acabeb2b158a" providerId="ADAL" clId="{5C2CD6D4-C7A9-4CEF-AA9C-BC2977F70622}" dt="2024-02-21T18:01:31.912" v="55836"/>
          <ac:spMkLst>
            <pc:docMk/>
            <pc:sldMk cId="3264993228" sldId="2147483612"/>
            <ac:spMk id="98" creationId="{E75C7AF5-3D91-E4FC-7A99-D1E17C59A47B}"/>
          </ac:spMkLst>
        </pc:spChg>
        <pc:spChg chg="mod">
          <ac:chgData name="Abdi, Adnan" userId="503e002c-9b3b-4180-87fb-acabeb2b158a" providerId="ADAL" clId="{5C2CD6D4-C7A9-4CEF-AA9C-BC2977F70622}" dt="2024-02-21T18:01:31.907" v="55821"/>
          <ac:spMkLst>
            <pc:docMk/>
            <pc:sldMk cId="3264993228" sldId="2147483612"/>
            <ac:spMk id="99" creationId="{118504DE-492B-DDB6-6D40-9648EE176136}"/>
          </ac:spMkLst>
        </pc:spChg>
        <pc:spChg chg="add del mod modVis">
          <ac:chgData name="Abdi, Adnan" userId="503e002c-9b3b-4180-87fb-acabeb2b158a" providerId="ADAL" clId="{5C2CD6D4-C7A9-4CEF-AA9C-BC2977F70622}" dt="2024-02-21T17:59:10.501" v="53460"/>
          <ac:spMkLst>
            <pc:docMk/>
            <pc:sldMk cId="3264993228" sldId="2147483612"/>
            <ac:spMk id="101" creationId="{8D26D1F2-8C9B-0744-BBC7-56B665D65BDB}"/>
          </ac:spMkLst>
        </pc:spChg>
        <pc:spChg chg="add del mod modVis">
          <ac:chgData name="Abdi, Adnan" userId="503e002c-9b3b-4180-87fb-acabeb2b158a" providerId="ADAL" clId="{5C2CD6D4-C7A9-4CEF-AA9C-BC2977F70622}" dt="2024-02-21T17:59:25.850" v="54032"/>
          <ac:spMkLst>
            <pc:docMk/>
            <pc:sldMk cId="3264993228" sldId="2147483612"/>
            <ac:spMk id="103" creationId="{8E6371FA-D850-6FFB-7168-6560CB19B2F8}"/>
          </ac:spMkLst>
        </pc:spChg>
        <pc:spChg chg="add del mod modVis">
          <ac:chgData name="Abdi, Adnan" userId="503e002c-9b3b-4180-87fb-acabeb2b158a" providerId="ADAL" clId="{5C2CD6D4-C7A9-4CEF-AA9C-BC2977F70622}" dt="2024-02-21T17:59:34.029" v="54592"/>
          <ac:spMkLst>
            <pc:docMk/>
            <pc:sldMk cId="3264993228" sldId="2147483612"/>
            <ac:spMk id="106" creationId="{0BB66CE6-6F5C-5C5D-6C8A-BE419FFF3342}"/>
          </ac:spMkLst>
        </pc:spChg>
        <pc:spChg chg="mod">
          <ac:chgData name="Abdi, Adnan" userId="503e002c-9b3b-4180-87fb-acabeb2b158a" providerId="ADAL" clId="{5C2CD6D4-C7A9-4CEF-AA9C-BC2977F70622}" dt="2024-02-21T18:01:31.901" v="55809"/>
          <ac:spMkLst>
            <pc:docMk/>
            <pc:sldMk cId="3264993228" sldId="2147483612"/>
            <ac:spMk id="110" creationId="{5CEB2C8C-C89F-C1FC-1A3D-A48B69815BB1}"/>
          </ac:spMkLst>
        </pc:spChg>
        <pc:spChg chg="mod ord">
          <ac:chgData name="Abdi, Adnan" userId="503e002c-9b3b-4180-87fb-acabeb2b158a" providerId="ADAL" clId="{5C2CD6D4-C7A9-4CEF-AA9C-BC2977F70622}" dt="2024-02-21T18:01:31.902" v="55811"/>
          <ac:spMkLst>
            <pc:docMk/>
            <pc:sldMk cId="3264993228" sldId="2147483612"/>
            <ac:spMk id="113" creationId="{9C6FEE6F-91DA-C985-FBE8-19CDF3502CA5}"/>
          </ac:spMkLst>
        </pc:spChg>
        <pc:spChg chg="mod">
          <ac:chgData name="Abdi, Adnan" userId="503e002c-9b3b-4180-87fb-acabeb2b158a" providerId="ADAL" clId="{5C2CD6D4-C7A9-4CEF-AA9C-BC2977F70622}" dt="2024-02-21T18:01:31.907" v="55822"/>
          <ac:spMkLst>
            <pc:docMk/>
            <pc:sldMk cId="3264993228" sldId="2147483612"/>
            <ac:spMk id="114" creationId="{59D227CC-4EC7-86E2-2687-3A8018192320}"/>
          </ac:spMkLst>
        </pc:spChg>
        <pc:spChg chg="mod ord">
          <ac:chgData name="Abdi, Adnan" userId="503e002c-9b3b-4180-87fb-acabeb2b158a" providerId="ADAL" clId="{5C2CD6D4-C7A9-4CEF-AA9C-BC2977F70622}" dt="2024-02-21T18:01:31.906" v="55820"/>
          <ac:spMkLst>
            <pc:docMk/>
            <pc:sldMk cId="3264993228" sldId="2147483612"/>
            <ac:spMk id="115" creationId="{C700AA40-7F42-2ADF-363B-BC79AF8D3E07}"/>
          </ac:spMkLst>
        </pc:spChg>
        <pc:spChg chg="mod">
          <ac:chgData name="Abdi, Adnan" userId="503e002c-9b3b-4180-87fb-acabeb2b158a" providerId="ADAL" clId="{5C2CD6D4-C7A9-4CEF-AA9C-BC2977F70622}" dt="2024-02-21T18:01:31.909" v="55828"/>
          <ac:spMkLst>
            <pc:docMk/>
            <pc:sldMk cId="3264993228" sldId="2147483612"/>
            <ac:spMk id="117" creationId="{C3A50482-98EC-FD1A-1B25-6F7CE1421A70}"/>
          </ac:spMkLst>
        </pc:spChg>
        <pc:spChg chg="mod ord">
          <ac:chgData name="Abdi, Adnan" userId="503e002c-9b3b-4180-87fb-acabeb2b158a" providerId="ADAL" clId="{5C2CD6D4-C7A9-4CEF-AA9C-BC2977F70622}" dt="2024-02-21T18:01:31.897" v="55800"/>
          <ac:spMkLst>
            <pc:docMk/>
            <pc:sldMk cId="3264993228" sldId="2147483612"/>
            <ac:spMk id="118" creationId="{055340C3-B0BD-D375-8267-A580647F1211}"/>
          </ac:spMkLst>
        </pc:spChg>
        <pc:spChg chg="mod">
          <ac:chgData name="Abdi, Adnan" userId="503e002c-9b3b-4180-87fb-acabeb2b158a" providerId="ADAL" clId="{5C2CD6D4-C7A9-4CEF-AA9C-BC2977F70622}" dt="2024-02-21T18:01:31.911" v="55831"/>
          <ac:spMkLst>
            <pc:docMk/>
            <pc:sldMk cId="3264993228" sldId="2147483612"/>
            <ac:spMk id="119" creationId="{D2ABD258-FEDA-94F7-AA1F-4925B495117C}"/>
          </ac:spMkLst>
        </pc:spChg>
        <pc:spChg chg="mod">
          <ac:chgData name="Abdi, Adnan" userId="503e002c-9b3b-4180-87fb-acabeb2b158a" providerId="ADAL" clId="{5C2CD6D4-C7A9-4CEF-AA9C-BC2977F70622}" dt="2024-02-21T18:01:31.904" v="55815"/>
          <ac:spMkLst>
            <pc:docMk/>
            <pc:sldMk cId="3264993228" sldId="2147483612"/>
            <ac:spMk id="120" creationId="{E7FB1C86-891D-6859-417F-B38A1BC2EE84}"/>
          </ac:spMkLst>
        </pc:spChg>
        <pc:spChg chg="mod">
          <ac:chgData name="Abdi, Adnan" userId="503e002c-9b3b-4180-87fb-acabeb2b158a" providerId="ADAL" clId="{5C2CD6D4-C7A9-4CEF-AA9C-BC2977F70622}" dt="2024-02-21T18:01:31.919" v="55850"/>
          <ac:spMkLst>
            <pc:docMk/>
            <pc:sldMk cId="3264993228" sldId="2147483612"/>
            <ac:spMk id="121" creationId="{DE2B9B86-4C9A-DE4E-7AEF-46F79FEE04E6}"/>
          </ac:spMkLst>
        </pc:spChg>
        <pc:spChg chg="mod ord">
          <ac:chgData name="Abdi, Adnan" userId="503e002c-9b3b-4180-87fb-acabeb2b158a" providerId="ADAL" clId="{5C2CD6D4-C7A9-4CEF-AA9C-BC2977F70622}" dt="2024-02-21T18:01:31.905" v="55817"/>
          <ac:spMkLst>
            <pc:docMk/>
            <pc:sldMk cId="3264993228" sldId="2147483612"/>
            <ac:spMk id="122" creationId="{501E721F-2C1F-A5D8-35EF-70633179749E}"/>
          </ac:spMkLst>
        </pc:spChg>
        <pc:spChg chg="mod ord">
          <ac:chgData name="Abdi, Adnan" userId="503e002c-9b3b-4180-87fb-acabeb2b158a" providerId="ADAL" clId="{5C2CD6D4-C7A9-4CEF-AA9C-BC2977F70622}" dt="2024-02-21T18:01:31.909" v="55827"/>
          <ac:spMkLst>
            <pc:docMk/>
            <pc:sldMk cId="3264993228" sldId="2147483612"/>
            <ac:spMk id="123" creationId="{19E8D635-381D-1681-4B0C-FCD896AE3742}"/>
          </ac:spMkLst>
        </pc:spChg>
        <pc:spChg chg="mod">
          <ac:chgData name="Abdi, Adnan" userId="503e002c-9b3b-4180-87fb-acabeb2b158a" providerId="ADAL" clId="{5C2CD6D4-C7A9-4CEF-AA9C-BC2977F70622}" dt="2024-02-21T18:01:31.915" v="55843"/>
          <ac:spMkLst>
            <pc:docMk/>
            <pc:sldMk cId="3264993228" sldId="2147483612"/>
            <ac:spMk id="124" creationId="{E40D43E1-166E-AFE3-64C0-CAE5E4C75659}"/>
          </ac:spMkLst>
        </pc:spChg>
        <pc:spChg chg="mod">
          <ac:chgData name="Abdi, Adnan" userId="503e002c-9b3b-4180-87fb-acabeb2b158a" providerId="ADAL" clId="{5C2CD6D4-C7A9-4CEF-AA9C-BC2977F70622}" dt="2024-02-21T18:01:31.911" v="55832"/>
          <ac:spMkLst>
            <pc:docMk/>
            <pc:sldMk cId="3264993228" sldId="2147483612"/>
            <ac:spMk id="125" creationId="{185F15C4-4260-29DB-91DB-F79B686A726C}"/>
          </ac:spMkLst>
        </pc:spChg>
        <pc:spChg chg="mod ord">
          <ac:chgData name="Abdi, Adnan" userId="503e002c-9b3b-4180-87fb-acabeb2b158a" providerId="ADAL" clId="{5C2CD6D4-C7A9-4CEF-AA9C-BC2977F70622}" dt="2024-02-21T18:01:31.913" v="55838"/>
          <ac:spMkLst>
            <pc:docMk/>
            <pc:sldMk cId="3264993228" sldId="2147483612"/>
            <ac:spMk id="126" creationId="{E0B7402E-676B-2F43-74BE-9E83AF213B36}"/>
          </ac:spMkLst>
        </pc:spChg>
        <pc:spChg chg="mod">
          <ac:chgData name="Abdi, Adnan" userId="503e002c-9b3b-4180-87fb-acabeb2b158a" providerId="ADAL" clId="{5C2CD6D4-C7A9-4CEF-AA9C-BC2977F70622}" dt="2024-02-21T18:01:31.917" v="55847"/>
          <ac:spMkLst>
            <pc:docMk/>
            <pc:sldMk cId="3264993228" sldId="2147483612"/>
            <ac:spMk id="151" creationId="{9B9E6101-D212-03D3-571C-E5AC64661FDE}"/>
          </ac:spMkLst>
        </pc:spChg>
        <pc:spChg chg="mod">
          <ac:chgData name="Abdi, Adnan" userId="503e002c-9b3b-4180-87fb-acabeb2b158a" providerId="ADAL" clId="{5C2CD6D4-C7A9-4CEF-AA9C-BC2977F70622}" dt="2024-02-21T18:01:31.918" v="55848"/>
          <ac:spMkLst>
            <pc:docMk/>
            <pc:sldMk cId="3264993228" sldId="2147483612"/>
            <ac:spMk id="152" creationId="{16F4A0E5-CCC4-4BF5-60DD-C10945B3E3A8}"/>
          </ac:spMkLst>
        </pc:spChg>
        <pc:spChg chg="mod">
          <ac:chgData name="Abdi, Adnan" userId="503e002c-9b3b-4180-87fb-acabeb2b158a" providerId="ADAL" clId="{5C2CD6D4-C7A9-4CEF-AA9C-BC2977F70622}" dt="2024-02-21T18:01:31.918" v="55849"/>
          <ac:spMkLst>
            <pc:docMk/>
            <pc:sldMk cId="3264993228" sldId="2147483612"/>
            <ac:spMk id="153" creationId="{A13A7F6E-4FEA-CC0B-94FE-02F163A6E7B0}"/>
          </ac:spMkLst>
        </pc:spChg>
        <pc:spChg chg="mod">
          <ac:chgData name="Abdi, Adnan" userId="503e002c-9b3b-4180-87fb-acabeb2b158a" providerId="ADAL" clId="{5C2CD6D4-C7A9-4CEF-AA9C-BC2977F70622}" dt="2024-02-21T18:01:31.905" v="55818"/>
          <ac:spMkLst>
            <pc:docMk/>
            <pc:sldMk cId="3264993228" sldId="2147483612"/>
            <ac:spMk id="160" creationId="{16EF51DD-7098-48EE-B026-42CA8A745259}"/>
          </ac:spMkLst>
        </pc:spChg>
        <pc:spChg chg="mod ord">
          <ac:chgData name="Abdi, Adnan" userId="503e002c-9b3b-4180-87fb-acabeb2b158a" providerId="ADAL" clId="{5C2CD6D4-C7A9-4CEF-AA9C-BC2977F70622}" dt="2024-02-21T18:01:31.919" v="55852"/>
          <ac:spMkLst>
            <pc:docMk/>
            <pc:sldMk cId="3264993228" sldId="2147483612"/>
            <ac:spMk id="187" creationId="{85E730FD-E453-68E3-722F-CCAAEAB0AEED}"/>
          </ac:spMkLst>
        </pc:spChg>
        <pc:spChg chg="mod">
          <ac:chgData name="Abdi, Adnan" userId="503e002c-9b3b-4180-87fb-acabeb2b158a" providerId="ADAL" clId="{5C2CD6D4-C7A9-4CEF-AA9C-BC2977F70622}" dt="2024-02-21T17:59:53.870" v="54596" actId="208"/>
          <ac:spMkLst>
            <pc:docMk/>
            <pc:sldMk cId="3264993228" sldId="2147483612"/>
            <ac:spMk id="209" creationId="{5AA2CC4E-5A5F-3C79-0F67-C767CF5A78D0}"/>
          </ac:spMkLst>
        </pc:spChg>
        <pc:spChg chg="mod">
          <ac:chgData name="Abdi, Adnan" userId="503e002c-9b3b-4180-87fb-acabeb2b158a" providerId="ADAL" clId="{5C2CD6D4-C7A9-4CEF-AA9C-BC2977F70622}" dt="2024-02-21T18:01:31.921" v="55854"/>
          <ac:spMkLst>
            <pc:docMk/>
            <pc:sldMk cId="3264993228" sldId="2147483612"/>
            <ac:spMk id="244" creationId="{1D74A072-9F09-2A0D-7DB0-06E199DC2306}"/>
          </ac:spMkLst>
        </pc:spChg>
        <pc:spChg chg="mod">
          <ac:chgData name="Abdi, Adnan" userId="503e002c-9b3b-4180-87fb-acabeb2b158a" providerId="ADAL" clId="{5C2CD6D4-C7A9-4CEF-AA9C-BC2977F70622}" dt="2024-02-21T18:01:31.921" v="55855"/>
          <ac:spMkLst>
            <pc:docMk/>
            <pc:sldMk cId="3264993228" sldId="2147483612"/>
            <ac:spMk id="245" creationId="{0E871521-D876-97AE-880B-04E53B46C4C4}"/>
          </ac:spMkLst>
        </pc:spChg>
        <pc:grpChg chg="mod">
          <ac:chgData name="Abdi, Adnan" userId="503e002c-9b3b-4180-87fb-acabeb2b158a" providerId="ADAL" clId="{5C2CD6D4-C7A9-4CEF-AA9C-BC2977F70622}" dt="2024-02-21T18:01:31.920" v="55853"/>
          <ac:grpSpMkLst>
            <pc:docMk/>
            <pc:sldMk cId="3264993228" sldId="2147483612"/>
            <ac:grpSpMk id="215" creationId="{A7DDEF73-46C6-4455-411B-DC2649E31C04}"/>
          </ac:grpSpMkLst>
        </pc:grpChg>
        <pc:graphicFrameChg chg="mod">
          <ac:chgData name="Abdi, Adnan" userId="503e002c-9b3b-4180-87fb-acabeb2b158a" providerId="ADAL" clId="{5C2CD6D4-C7A9-4CEF-AA9C-BC2977F70622}" dt="2024-02-22T08:46:02.251" v="55862"/>
          <ac:graphicFrameMkLst>
            <pc:docMk/>
            <pc:sldMk cId="3264993228" sldId="2147483612"/>
            <ac:graphicFrameMk id="18" creationId="{B1F93F93-8617-34BA-4FE5-87FF8058C959}"/>
          </ac:graphicFrameMkLst>
        </pc:graphicFrameChg>
        <pc:graphicFrameChg chg="add mod replST delST">
          <ac:chgData name="Abdi, Adnan" userId="503e002c-9b3b-4180-87fb-acabeb2b158a" providerId="ADAL" clId="{5C2CD6D4-C7A9-4CEF-AA9C-BC2977F70622}" dt="2024-02-21T17:07:37.211" v="47074" actId="1076"/>
          <ac:graphicFrameMkLst>
            <pc:docMk/>
            <pc:sldMk cId="3264993228" sldId="2147483612"/>
            <ac:graphicFrameMk id="69" creationId="{AADAB90B-F686-B88E-D9FD-B79C6697B3A7}"/>
          </ac:graphicFrameMkLst>
        </pc:graphicFrameChg>
        <pc:graphicFrameChg chg="add del mod replST">
          <ac:chgData name="Abdi, Adnan" userId="503e002c-9b3b-4180-87fb-acabeb2b158a" providerId="ADAL" clId="{5C2CD6D4-C7A9-4CEF-AA9C-BC2977F70622}" dt="2024-02-21T17:07:43.800" v="48702"/>
          <ac:graphicFrameMkLst>
            <pc:docMk/>
            <pc:sldMk cId="3264993228" sldId="2147483612"/>
            <ac:graphicFrameMk id="71" creationId="{1EC7DE63-E914-E401-092C-A56B513F6B0E}"/>
          </ac:graphicFrameMkLst>
        </pc:graphicFrameChg>
        <pc:graphicFrameChg chg="add del mod replST">
          <ac:chgData name="Abdi, Adnan" userId="503e002c-9b3b-4180-87fb-acabeb2b158a" providerId="ADAL" clId="{5C2CD6D4-C7A9-4CEF-AA9C-BC2977F70622}" dt="2024-02-21T17:07:55.246" v="49642"/>
          <ac:graphicFrameMkLst>
            <pc:docMk/>
            <pc:sldMk cId="3264993228" sldId="2147483612"/>
            <ac:graphicFrameMk id="72" creationId="{4A73BC92-2BFC-569A-FCFA-EB9459D7BEF9}"/>
          </ac:graphicFrameMkLst>
        </pc:graphicFrameChg>
        <pc:graphicFrameChg chg="add del mod replST">
          <ac:chgData name="Abdi, Adnan" userId="503e002c-9b3b-4180-87fb-acabeb2b158a" providerId="ADAL" clId="{5C2CD6D4-C7A9-4CEF-AA9C-BC2977F70622}" dt="2024-02-21T17:08:15.608" v="50128"/>
          <ac:graphicFrameMkLst>
            <pc:docMk/>
            <pc:sldMk cId="3264993228" sldId="2147483612"/>
            <ac:graphicFrameMk id="75" creationId="{38BC89AC-9CA6-5DAA-79AF-50039315EFCE}"/>
          </ac:graphicFrameMkLst>
        </pc:graphicFrameChg>
        <pc:graphicFrameChg chg="add del mod replST">
          <ac:chgData name="Abdi, Adnan" userId="503e002c-9b3b-4180-87fb-acabeb2b158a" providerId="ADAL" clId="{5C2CD6D4-C7A9-4CEF-AA9C-BC2977F70622}" dt="2024-02-21T17:59:02.626" v="53013"/>
          <ac:graphicFrameMkLst>
            <pc:docMk/>
            <pc:sldMk cId="3264993228" sldId="2147483612"/>
            <ac:graphicFrameMk id="77" creationId="{0D97CF29-5F76-D1CB-7AF4-01D14AB6741F}"/>
          </ac:graphicFrameMkLst>
        </pc:graphicFrameChg>
        <pc:graphicFrameChg chg="add del mod replST">
          <ac:chgData name="Abdi, Adnan" userId="503e002c-9b3b-4180-87fb-acabeb2b158a" providerId="ADAL" clId="{5C2CD6D4-C7A9-4CEF-AA9C-BC2977F70622}" dt="2024-02-21T17:59:10.354" v="53271"/>
          <ac:graphicFrameMkLst>
            <pc:docMk/>
            <pc:sldMk cId="3264993228" sldId="2147483612"/>
            <ac:graphicFrameMk id="100" creationId="{B4553C01-D1DB-E28E-E7CF-6597BC71E50B}"/>
          </ac:graphicFrameMkLst>
        </pc:graphicFrameChg>
        <pc:graphicFrameChg chg="add del mod replST">
          <ac:chgData name="Abdi, Adnan" userId="503e002c-9b3b-4180-87fb-acabeb2b158a" providerId="ADAL" clId="{5C2CD6D4-C7A9-4CEF-AA9C-BC2977F70622}" dt="2024-02-21T17:59:33.723" v="54403"/>
          <ac:graphicFrameMkLst>
            <pc:docMk/>
            <pc:sldMk cId="3264993228" sldId="2147483612"/>
            <ac:graphicFrameMk id="102" creationId="{8C4BD056-DFDA-BB38-426F-1A2D05C88DA4}"/>
          </ac:graphicFrameMkLst>
        </pc:graphicFrameChg>
        <pc:graphicFrameChg chg="add mod replST delST">
          <ac:chgData name="Abdi, Adnan" userId="503e002c-9b3b-4180-87fb-acabeb2b158a" providerId="ADAL" clId="{5C2CD6D4-C7A9-4CEF-AA9C-BC2977F70622}" dt="2024-02-21T17:59:25.850" v="54032"/>
          <ac:graphicFrameMkLst>
            <pc:docMk/>
            <pc:sldMk cId="3264993228" sldId="2147483612"/>
            <ac:graphicFrameMk id="104" creationId="{20750FC2-3371-5BB6-EFEF-7A1F7C0BCEA5}"/>
          </ac:graphicFrameMkLst>
        </pc:graphicFrameChg>
        <pc:graphicFrameChg chg="add del">
          <ac:chgData name="Abdi, Adnan" userId="503e002c-9b3b-4180-87fb-acabeb2b158a" providerId="ADAL" clId="{5C2CD6D4-C7A9-4CEF-AA9C-BC2977F70622}" dt="2024-02-21T17:07:42.620" v="48474"/>
          <ac:graphicFrameMkLst>
            <pc:docMk/>
            <pc:sldMk cId="3264993228" sldId="2147483612"/>
            <ac:graphicFrameMk id="105" creationId="{6D2ABF11-DF16-0B55-4FAE-B92929CF101F}"/>
          </ac:graphicFrameMkLst>
        </pc:graphicFrameChg>
        <pc:graphicFrameChg chg="add del mod replST">
          <ac:chgData name="Abdi, Adnan" userId="503e002c-9b3b-4180-87fb-acabeb2b158a" providerId="ADAL" clId="{5C2CD6D4-C7A9-4CEF-AA9C-BC2977F70622}" dt="2024-02-21T18:00:28.861" v="54636"/>
          <ac:graphicFrameMkLst>
            <pc:docMk/>
            <pc:sldMk cId="3264993228" sldId="2147483612"/>
            <ac:graphicFrameMk id="107" creationId="{AC638FEE-E843-B361-1FFD-23A0F15706CF}"/>
          </ac:graphicFrameMkLst>
        </pc:graphicFrameChg>
        <pc:graphicFrameChg chg="add del mod replST">
          <ac:chgData name="Abdi, Adnan" userId="503e002c-9b3b-4180-87fb-acabeb2b158a" providerId="ADAL" clId="{5C2CD6D4-C7A9-4CEF-AA9C-BC2977F70622}" dt="2024-02-21T18:00:40.441" v="54866"/>
          <ac:graphicFrameMkLst>
            <pc:docMk/>
            <pc:sldMk cId="3264993228" sldId="2147483612"/>
            <ac:graphicFrameMk id="108" creationId="{04C095B0-D891-8D56-0480-C8B168D15CF2}"/>
          </ac:graphicFrameMkLst>
        </pc:graphicFrameChg>
        <pc:graphicFrameChg chg="add del mod replST">
          <ac:chgData name="Abdi, Adnan" userId="503e002c-9b3b-4180-87fb-acabeb2b158a" providerId="ADAL" clId="{5C2CD6D4-C7A9-4CEF-AA9C-BC2977F70622}" dt="2024-02-21T18:00:50.393" v="55096"/>
          <ac:graphicFrameMkLst>
            <pc:docMk/>
            <pc:sldMk cId="3264993228" sldId="2147483612"/>
            <ac:graphicFrameMk id="109" creationId="{8017CBD0-7DCB-F0E2-CC0F-D35826BFB75D}"/>
          </ac:graphicFrameMkLst>
        </pc:graphicFrameChg>
        <pc:graphicFrameChg chg="add del mod replST">
          <ac:chgData name="Abdi, Adnan" userId="503e002c-9b3b-4180-87fb-acabeb2b158a" providerId="ADAL" clId="{5C2CD6D4-C7A9-4CEF-AA9C-BC2977F70622}" dt="2024-02-21T18:01:00.025" v="55326"/>
          <ac:graphicFrameMkLst>
            <pc:docMk/>
            <pc:sldMk cId="3264993228" sldId="2147483612"/>
            <ac:graphicFrameMk id="111" creationId="{F40FC2B6-C2D2-2CA0-364B-286C288D9FA0}"/>
          </ac:graphicFrameMkLst>
        </pc:graphicFrameChg>
        <pc:graphicFrameChg chg="add del mod replST">
          <ac:chgData name="Abdi, Adnan" userId="503e002c-9b3b-4180-87fb-acabeb2b158a" providerId="ADAL" clId="{5C2CD6D4-C7A9-4CEF-AA9C-BC2977F70622}" dt="2024-02-21T18:01:31.821" v="55670"/>
          <ac:graphicFrameMkLst>
            <pc:docMk/>
            <pc:sldMk cId="3264993228" sldId="2147483612"/>
            <ac:graphicFrameMk id="112" creationId="{8489C016-D26B-A03C-A5AC-3D6505C862EB}"/>
          </ac:graphicFrameMkLst>
        </pc:graphicFrameChg>
        <pc:graphicFrameChg chg="add mod replST">
          <ac:chgData name="Abdi, Adnan" userId="503e002c-9b3b-4180-87fb-acabeb2b158a" providerId="ADAL" clId="{5C2CD6D4-C7A9-4CEF-AA9C-BC2977F70622}" dt="2024-02-21T18:01:31.855" v="55687"/>
          <ac:graphicFrameMkLst>
            <pc:docMk/>
            <pc:sldMk cId="3264993228" sldId="2147483612"/>
            <ac:graphicFrameMk id="116" creationId="{7197B13C-41DC-8D44-9F09-3E11394B0E2B}"/>
          </ac:graphicFrameMkLst>
        </pc:graphicFrameChg>
        <pc:cxnChg chg="mod ord">
          <ac:chgData name="Abdi, Adnan" userId="503e002c-9b3b-4180-87fb-acabeb2b158a" providerId="ADAL" clId="{5C2CD6D4-C7A9-4CEF-AA9C-BC2977F70622}" dt="2024-02-21T18:01:31.855" v="55689"/>
          <ac:cxnSpMkLst>
            <pc:docMk/>
            <pc:sldMk cId="3264993228" sldId="2147483612"/>
            <ac:cxnSpMk id="8" creationId="{CB101BB2-1DD9-D2E7-DE9E-243AA1C490F6}"/>
          </ac:cxnSpMkLst>
        </pc:cxnChg>
        <pc:cxnChg chg="mod ord">
          <ac:chgData name="Abdi, Adnan" userId="503e002c-9b3b-4180-87fb-acabeb2b158a" providerId="ADAL" clId="{5C2CD6D4-C7A9-4CEF-AA9C-BC2977F70622}" dt="2024-02-21T18:01:31.856" v="55691"/>
          <ac:cxnSpMkLst>
            <pc:docMk/>
            <pc:sldMk cId="3264993228" sldId="2147483612"/>
            <ac:cxnSpMk id="9" creationId="{DC916649-BE79-0916-997C-1E9A9C67FFBD}"/>
          </ac:cxnSpMkLst>
        </pc:cxnChg>
        <pc:cxnChg chg="mod ord">
          <ac:chgData name="Abdi, Adnan" userId="503e002c-9b3b-4180-87fb-acabeb2b158a" providerId="ADAL" clId="{5C2CD6D4-C7A9-4CEF-AA9C-BC2977F70622}" dt="2024-02-21T18:01:31.857" v="55693"/>
          <ac:cxnSpMkLst>
            <pc:docMk/>
            <pc:sldMk cId="3264993228" sldId="2147483612"/>
            <ac:cxnSpMk id="10" creationId="{DE1668FF-B385-E8D0-7E4F-845E9BA2B386}"/>
          </ac:cxnSpMkLst>
        </pc:cxnChg>
        <pc:cxnChg chg="mod ord">
          <ac:chgData name="Abdi, Adnan" userId="503e002c-9b3b-4180-87fb-acabeb2b158a" providerId="ADAL" clId="{5C2CD6D4-C7A9-4CEF-AA9C-BC2977F70622}" dt="2024-02-21T18:01:31.857" v="55695"/>
          <ac:cxnSpMkLst>
            <pc:docMk/>
            <pc:sldMk cId="3264993228" sldId="2147483612"/>
            <ac:cxnSpMk id="11" creationId="{34D7FB03-B29D-2854-22C8-8E82FCB53072}"/>
          </ac:cxnSpMkLst>
        </pc:cxnChg>
        <pc:cxnChg chg="mod ord">
          <ac:chgData name="Abdi, Adnan" userId="503e002c-9b3b-4180-87fb-acabeb2b158a" providerId="ADAL" clId="{5C2CD6D4-C7A9-4CEF-AA9C-BC2977F70622}" dt="2024-02-21T18:01:31.859" v="55701"/>
          <ac:cxnSpMkLst>
            <pc:docMk/>
            <pc:sldMk cId="3264993228" sldId="2147483612"/>
            <ac:cxnSpMk id="12" creationId="{56B21ECE-5BFF-2624-A9D3-7DCC8628FB67}"/>
          </ac:cxnSpMkLst>
        </pc:cxnChg>
        <pc:cxnChg chg="mod ord">
          <ac:chgData name="Abdi, Adnan" userId="503e002c-9b3b-4180-87fb-acabeb2b158a" providerId="ADAL" clId="{5C2CD6D4-C7A9-4CEF-AA9C-BC2977F70622}" dt="2024-02-21T18:01:31.858" v="55699"/>
          <ac:cxnSpMkLst>
            <pc:docMk/>
            <pc:sldMk cId="3264993228" sldId="2147483612"/>
            <ac:cxnSpMk id="13" creationId="{C4AA725F-B581-5FF3-E09C-E2367C21EFE6}"/>
          </ac:cxnSpMkLst>
        </pc:cxnChg>
        <pc:cxnChg chg="mod ord">
          <ac:chgData name="Abdi, Adnan" userId="503e002c-9b3b-4180-87fb-acabeb2b158a" providerId="ADAL" clId="{5C2CD6D4-C7A9-4CEF-AA9C-BC2977F70622}" dt="2024-02-21T18:01:31.858" v="55697"/>
          <ac:cxnSpMkLst>
            <pc:docMk/>
            <pc:sldMk cId="3264993228" sldId="2147483612"/>
            <ac:cxnSpMk id="14" creationId="{4E005F48-A73C-B787-B7E2-A1B31CF5C47F}"/>
          </ac:cxnSpMkLst>
        </pc:cxnChg>
        <pc:cxnChg chg="mod ord">
          <ac:chgData name="Abdi, Adnan" userId="503e002c-9b3b-4180-87fb-acabeb2b158a" providerId="ADAL" clId="{5C2CD6D4-C7A9-4CEF-AA9C-BC2977F70622}" dt="2024-02-21T18:01:31.860" v="55703"/>
          <ac:cxnSpMkLst>
            <pc:docMk/>
            <pc:sldMk cId="3264993228" sldId="2147483612"/>
            <ac:cxnSpMk id="15" creationId="{78325BB2-9DB9-F93B-F781-E35910F73BE5}"/>
          </ac:cxnSpMkLst>
        </pc:cxnChg>
        <pc:cxnChg chg="mod ord">
          <ac:chgData name="Abdi, Adnan" userId="503e002c-9b3b-4180-87fb-acabeb2b158a" providerId="ADAL" clId="{5C2CD6D4-C7A9-4CEF-AA9C-BC2977F70622}" dt="2024-02-21T18:01:31.860" v="55705"/>
          <ac:cxnSpMkLst>
            <pc:docMk/>
            <pc:sldMk cId="3264993228" sldId="2147483612"/>
            <ac:cxnSpMk id="16" creationId="{780C3784-D567-1669-06AF-CC26B2FBF6D1}"/>
          </ac:cxnSpMkLst>
        </pc:cxnChg>
        <pc:cxnChg chg="mod ord">
          <ac:chgData name="Abdi, Adnan" userId="503e002c-9b3b-4180-87fb-acabeb2b158a" providerId="ADAL" clId="{5C2CD6D4-C7A9-4CEF-AA9C-BC2977F70622}" dt="2024-02-21T18:01:31.861" v="55707"/>
          <ac:cxnSpMkLst>
            <pc:docMk/>
            <pc:sldMk cId="3264993228" sldId="2147483612"/>
            <ac:cxnSpMk id="17" creationId="{F42EDAA8-1DEE-E253-43EB-17A816D3BB83}"/>
          </ac:cxnSpMkLst>
        </pc:cxnChg>
        <pc:cxnChg chg="mod ord">
          <ac:chgData name="Abdi, Adnan" userId="503e002c-9b3b-4180-87fb-acabeb2b158a" providerId="ADAL" clId="{5C2CD6D4-C7A9-4CEF-AA9C-BC2977F70622}" dt="2024-02-21T18:01:31.862" v="55711"/>
          <ac:cxnSpMkLst>
            <pc:docMk/>
            <pc:sldMk cId="3264993228" sldId="2147483612"/>
            <ac:cxnSpMk id="19" creationId="{5987A039-FD10-ADE1-6010-CE5A53B7F21D}"/>
          </ac:cxnSpMkLst>
        </pc:cxnChg>
        <pc:cxnChg chg="mod ord">
          <ac:chgData name="Abdi, Adnan" userId="503e002c-9b3b-4180-87fb-acabeb2b158a" providerId="ADAL" clId="{5C2CD6D4-C7A9-4CEF-AA9C-BC2977F70622}" dt="2024-02-21T18:01:31.863" v="55713"/>
          <ac:cxnSpMkLst>
            <pc:docMk/>
            <pc:sldMk cId="3264993228" sldId="2147483612"/>
            <ac:cxnSpMk id="20" creationId="{08171B52-CE2F-90AE-71FC-7745EDB3D03B}"/>
          </ac:cxnSpMkLst>
        </pc:cxnChg>
        <pc:cxnChg chg="mod ord">
          <ac:chgData name="Abdi, Adnan" userId="503e002c-9b3b-4180-87fb-acabeb2b158a" providerId="ADAL" clId="{5C2CD6D4-C7A9-4CEF-AA9C-BC2977F70622}" dt="2024-02-21T18:01:31.862" v="55709"/>
          <ac:cxnSpMkLst>
            <pc:docMk/>
            <pc:sldMk cId="3264993228" sldId="2147483612"/>
            <ac:cxnSpMk id="21" creationId="{834471C1-79BA-6428-5B6A-87DAF5335028}"/>
          </ac:cxnSpMkLst>
        </pc:cxnChg>
        <pc:cxnChg chg="mod ord">
          <ac:chgData name="Abdi, Adnan" userId="503e002c-9b3b-4180-87fb-acabeb2b158a" providerId="ADAL" clId="{5C2CD6D4-C7A9-4CEF-AA9C-BC2977F70622}" dt="2024-02-21T18:01:31.864" v="55717"/>
          <ac:cxnSpMkLst>
            <pc:docMk/>
            <pc:sldMk cId="3264993228" sldId="2147483612"/>
            <ac:cxnSpMk id="22" creationId="{B45D840F-D4F0-AC55-9F76-A10417065DAD}"/>
          </ac:cxnSpMkLst>
        </pc:cxnChg>
        <pc:cxnChg chg="mod ord">
          <ac:chgData name="Abdi, Adnan" userId="503e002c-9b3b-4180-87fb-acabeb2b158a" providerId="ADAL" clId="{5C2CD6D4-C7A9-4CEF-AA9C-BC2977F70622}" dt="2024-02-21T18:01:31.865" v="55719"/>
          <ac:cxnSpMkLst>
            <pc:docMk/>
            <pc:sldMk cId="3264993228" sldId="2147483612"/>
            <ac:cxnSpMk id="23" creationId="{10CCA6FF-CF9B-CFF3-B03A-5F7879539A31}"/>
          </ac:cxnSpMkLst>
        </pc:cxnChg>
        <pc:cxnChg chg="mod ord">
          <ac:chgData name="Abdi, Adnan" userId="503e002c-9b3b-4180-87fb-acabeb2b158a" providerId="ADAL" clId="{5C2CD6D4-C7A9-4CEF-AA9C-BC2977F70622}" dt="2024-02-21T18:01:31.863" v="55715"/>
          <ac:cxnSpMkLst>
            <pc:docMk/>
            <pc:sldMk cId="3264993228" sldId="2147483612"/>
            <ac:cxnSpMk id="24" creationId="{DBBB8302-2E6B-B9F5-4BEE-A358C422D8B9}"/>
          </ac:cxnSpMkLst>
        </pc:cxnChg>
        <pc:cxnChg chg="mod ord">
          <ac:chgData name="Abdi, Adnan" userId="503e002c-9b3b-4180-87fb-acabeb2b158a" providerId="ADAL" clId="{5C2CD6D4-C7A9-4CEF-AA9C-BC2977F70622}" dt="2024-02-21T18:01:31.865" v="55721"/>
          <ac:cxnSpMkLst>
            <pc:docMk/>
            <pc:sldMk cId="3264993228" sldId="2147483612"/>
            <ac:cxnSpMk id="25" creationId="{C16ED6B2-6200-BE92-1C61-7C064385A6DB}"/>
          </ac:cxnSpMkLst>
        </pc:cxnChg>
        <pc:cxnChg chg="mod ord">
          <ac:chgData name="Abdi, Adnan" userId="503e002c-9b3b-4180-87fb-acabeb2b158a" providerId="ADAL" clId="{5C2CD6D4-C7A9-4CEF-AA9C-BC2977F70622}" dt="2024-02-21T18:01:31.867" v="55725"/>
          <ac:cxnSpMkLst>
            <pc:docMk/>
            <pc:sldMk cId="3264993228" sldId="2147483612"/>
            <ac:cxnSpMk id="26" creationId="{7532D461-A228-DF33-4BEE-FAB3CC8879E9}"/>
          </ac:cxnSpMkLst>
        </pc:cxnChg>
        <pc:cxnChg chg="mod ord">
          <ac:chgData name="Abdi, Adnan" userId="503e002c-9b3b-4180-87fb-acabeb2b158a" providerId="ADAL" clId="{5C2CD6D4-C7A9-4CEF-AA9C-BC2977F70622}" dt="2024-02-21T18:01:31.866" v="55723"/>
          <ac:cxnSpMkLst>
            <pc:docMk/>
            <pc:sldMk cId="3264993228" sldId="2147483612"/>
            <ac:cxnSpMk id="27" creationId="{EE1CC03E-FCFB-5A49-E5BC-8837A3DC2DF2}"/>
          </ac:cxnSpMkLst>
        </pc:cxnChg>
        <pc:cxnChg chg="mod ord">
          <ac:chgData name="Abdi, Adnan" userId="503e002c-9b3b-4180-87fb-acabeb2b158a" providerId="ADAL" clId="{5C2CD6D4-C7A9-4CEF-AA9C-BC2977F70622}" dt="2024-02-21T18:01:31.869" v="55731"/>
          <ac:cxnSpMkLst>
            <pc:docMk/>
            <pc:sldMk cId="3264993228" sldId="2147483612"/>
            <ac:cxnSpMk id="28" creationId="{4564507F-4F35-081B-8470-E2893F8BF21A}"/>
          </ac:cxnSpMkLst>
        </pc:cxnChg>
        <pc:cxnChg chg="mod ord">
          <ac:chgData name="Abdi, Adnan" userId="503e002c-9b3b-4180-87fb-acabeb2b158a" providerId="ADAL" clId="{5C2CD6D4-C7A9-4CEF-AA9C-BC2977F70622}" dt="2024-02-21T18:01:31.867" v="55727"/>
          <ac:cxnSpMkLst>
            <pc:docMk/>
            <pc:sldMk cId="3264993228" sldId="2147483612"/>
            <ac:cxnSpMk id="29" creationId="{9D4CE214-7D40-9425-5D65-D34575C7B343}"/>
          </ac:cxnSpMkLst>
        </pc:cxnChg>
        <pc:cxnChg chg="mod ord">
          <ac:chgData name="Abdi, Adnan" userId="503e002c-9b3b-4180-87fb-acabeb2b158a" providerId="ADAL" clId="{5C2CD6D4-C7A9-4CEF-AA9C-BC2977F70622}" dt="2024-02-21T18:01:31.868" v="55729"/>
          <ac:cxnSpMkLst>
            <pc:docMk/>
            <pc:sldMk cId="3264993228" sldId="2147483612"/>
            <ac:cxnSpMk id="30" creationId="{31155AC3-64CB-8436-5B8F-62CDC1D2BC07}"/>
          </ac:cxnSpMkLst>
        </pc:cxnChg>
        <pc:cxnChg chg="mod ord">
          <ac:chgData name="Abdi, Adnan" userId="503e002c-9b3b-4180-87fb-acabeb2b158a" providerId="ADAL" clId="{5C2CD6D4-C7A9-4CEF-AA9C-BC2977F70622}" dt="2024-02-21T18:01:31.869" v="55733"/>
          <ac:cxnSpMkLst>
            <pc:docMk/>
            <pc:sldMk cId="3264993228" sldId="2147483612"/>
            <ac:cxnSpMk id="31" creationId="{64F30394-3700-69ED-54BD-9EB787A68245}"/>
          </ac:cxnSpMkLst>
        </pc:cxnChg>
        <pc:cxnChg chg="mod ord">
          <ac:chgData name="Abdi, Adnan" userId="503e002c-9b3b-4180-87fb-acabeb2b158a" providerId="ADAL" clId="{5C2CD6D4-C7A9-4CEF-AA9C-BC2977F70622}" dt="2024-02-21T18:01:31.870" v="55735"/>
          <ac:cxnSpMkLst>
            <pc:docMk/>
            <pc:sldMk cId="3264993228" sldId="2147483612"/>
            <ac:cxnSpMk id="32" creationId="{E7E0E9AE-2417-69EC-509C-031F0C4681A5}"/>
          </ac:cxnSpMkLst>
        </pc:cxnChg>
        <pc:cxnChg chg="mod ord">
          <ac:chgData name="Abdi, Adnan" userId="503e002c-9b3b-4180-87fb-acabeb2b158a" providerId="ADAL" clId="{5C2CD6D4-C7A9-4CEF-AA9C-BC2977F70622}" dt="2024-02-21T18:01:31.872" v="55741"/>
          <ac:cxnSpMkLst>
            <pc:docMk/>
            <pc:sldMk cId="3264993228" sldId="2147483612"/>
            <ac:cxnSpMk id="33" creationId="{D86343AC-4F54-0047-8AA2-B59575F34CDB}"/>
          </ac:cxnSpMkLst>
        </pc:cxnChg>
        <pc:cxnChg chg="mod ord">
          <ac:chgData name="Abdi, Adnan" userId="503e002c-9b3b-4180-87fb-acabeb2b158a" providerId="ADAL" clId="{5C2CD6D4-C7A9-4CEF-AA9C-BC2977F70622}" dt="2024-02-21T18:01:31.871" v="55737"/>
          <ac:cxnSpMkLst>
            <pc:docMk/>
            <pc:sldMk cId="3264993228" sldId="2147483612"/>
            <ac:cxnSpMk id="34" creationId="{1780A85B-BEE4-A815-284D-5F638E4658A1}"/>
          </ac:cxnSpMkLst>
        </pc:cxnChg>
        <pc:cxnChg chg="mod ord">
          <ac:chgData name="Abdi, Adnan" userId="503e002c-9b3b-4180-87fb-acabeb2b158a" providerId="ADAL" clId="{5C2CD6D4-C7A9-4CEF-AA9C-BC2977F70622}" dt="2024-02-21T18:01:31.871" v="55739"/>
          <ac:cxnSpMkLst>
            <pc:docMk/>
            <pc:sldMk cId="3264993228" sldId="2147483612"/>
            <ac:cxnSpMk id="35" creationId="{37AB657F-BD56-BDBF-734A-A2439B2BB7F2}"/>
          </ac:cxnSpMkLst>
        </pc:cxnChg>
        <pc:cxnChg chg="mod ord">
          <ac:chgData name="Abdi, Adnan" userId="503e002c-9b3b-4180-87fb-acabeb2b158a" providerId="ADAL" clId="{5C2CD6D4-C7A9-4CEF-AA9C-BC2977F70622}" dt="2024-02-21T18:01:31.874" v="55747"/>
          <ac:cxnSpMkLst>
            <pc:docMk/>
            <pc:sldMk cId="3264993228" sldId="2147483612"/>
            <ac:cxnSpMk id="36" creationId="{BC5D919A-DAA9-03F4-CCE3-49F6BAFEC69F}"/>
          </ac:cxnSpMkLst>
        </pc:cxnChg>
        <pc:cxnChg chg="mod ord">
          <ac:chgData name="Abdi, Adnan" userId="503e002c-9b3b-4180-87fb-acabeb2b158a" providerId="ADAL" clId="{5C2CD6D4-C7A9-4CEF-AA9C-BC2977F70622}" dt="2024-02-21T18:01:31.873" v="55743"/>
          <ac:cxnSpMkLst>
            <pc:docMk/>
            <pc:sldMk cId="3264993228" sldId="2147483612"/>
            <ac:cxnSpMk id="37" creationId="{22395034-C814-D6D8-FC24-616EFC857245}"/>
          </ac:cxnSpMkLst>
        </pc:cxnChg>
        <pc:cxnChg chg="mod ord">
          <ac:chgData name="Abdi, Adnan" userId="503e002c-9b3b-4180-87fb-acabeb2b158a" providerId="ADAL" clId="{5C2CD6D4-C7A9-4CEF-AA9C-BC2977F70622}" dt="2024-02-21T18:01:31.873" v="55745"/>
          <ac:cxnSpMkLst>
            <pc:docMk/>
            <pc:sldMk cId="3264993228" sldId="2147483612"/>
            <ac:cxnSpMk id="38" creationId="{16136DAE-2209-D0AE-5FAA-915D0495EF69}"/>
          </ac:cxnSpMkLst>
        </pc:cxnChg>
        <pc:cxnChg chg="mod ord">
          <ac:chgData name="Abdi, Adnan" userId="503e002c-9b3b-4180-87fb-acabeb2b158a" providerId="ADAL" clId="{5C2CD6D4-C7A9-4CEF-AA9C-BC2977F70622}" dt="2024-02-21T18:01:31.875" v="55751"/>
          <ac:cxnSpMkLst>
            <pc:docMk/>
            <pc:sldMk cId="3264993228" sldId="2147483612"/>
            <ac:cxnSpMk id="39" creationId="{4989D6F6-272D-214A-FC93-A3663B027D30}"/>
          </ac:cxnSpMkLst>
        </pc:cxnChg>
        <pc:cxnChg chg="mod ord">
          <ac:chgData name="Abdi, Adnan" userId="503e002c-9b3b-4180-87fb-acabeb2b158a" providerId="ADAL" clId="{5C2CD6D4-C7A9-4CEF-AA9C-BC2977F70622}" dt="2024-02-21T18:01:31.876" v="55753"/>
          <ac:cxnSpMkLst>
            <pc:docMk/>
            <pc:sldMk cId="3264993228" sldId="2147483612"/>
            <ac:cxnSpMk id="40" creationId="{3A461933-EC3D-9826-8DE6-DBE360CE61CD}"/>
          </ac:cxnSpMkLst>
        </pc:cxnChg>
        <pc:cxnChg chg="mod ord">
          <ac:chgData name="Abdi, Adnan" userId="503e002c-9b3b-4180-87fb-acabeb2b158a" providerId="ADAL" clId="{5C2CD6D4-C7A9-4CEF-AA9C-BC2977F70622}" dt="2024-02-21T18:01:31.875" v="55749"/>
          <ac:cxnSpMkLst>
            <pc:docMk/>
            <pc:sldMk cId="3264993228" sldId="2147483612"/>
            <ac:cxnSpMk id="41" creationId="{05904A67-F535-CA2B-11F8-711D494E15CB}"/>
          </ac:cxnSpMkLst>
        </pc:cxnChg>
        <pc:cxnChg chg="mod ord">
          <ac:chgData name="Abdi, Adnan" userId="503e002c-9b3b-4180-87fb-acabeb2b158a" providerId="ADAL" clId="{5C2CD6D4-C7A9-4CEF-AA9C-BC2977F70622}" dt="2024-02-21T18:01:31.877" v="55757"/>
          <ac:cxnSpMkLst>
            <pc:docMk/>
            <pc:sldMk cId="3264993228" sldId="2147483612"/>
            <ac:cxnSpMk id="42" creationId="{25187C55-80AE-5FF3-D4AB-20D2A3163FC1}"/>
          </ac:cxnSpMkLst>
        </pc:cxnChg>
        <pc:cxnChg chg="mod ord">
          <ac:chgData name="Abdi, Adnan" userId="503e002c-9b3b-4180-87fb-acabeb2b158a" providerId="ADAL" clId="{5C2CD6D4-C7A9-4CEF-AA9C-BC2977F70622}" dt="2024-02-21T18:01:31.876" v="55755"/>
          <ac:cxnSpMkLst>
            <pc:docMk/>
            <pc:sldMk cId="3264993228" sldId="2147483612"/>
            <ac:cxnSpMk id="43" creationId="{85B04080-5BDF-394C-25D1-6D397A1E68B3}"/>
          </ac:cxnSpMkLst>
        </pc:cxnChg>
        <pc:cxnChg chg="mod ord">
          <ac:chgData name="Abdi, Adnan" userId="503e002c-9b3b-4180-87fb-acabeb2b158a" providerId="ADAL" clId="{5C2CD6D4-C7A9-4CEF-AA9C-BC2977F70622}" dt="2024-02-21T18:01:31.878" v="55759"/>
          <ac:cxnSpMkLst>
            <pc:docMk/>
            <pc:sldMk cId="3264993228" sldId="2147483612"/>
            <ac:cxnSpMk id="44" creationId="{5A554B0E-F4A1-7A8E-97E4-C0257381C25B}"/>
          </ac:cxnSpMkLst>
        </pc:cxnChg>
        <pc:cxnChg chg="mod ord">
          <ac:chgData name="Abdi, Adnan" userId="503e002c-9b3b-4180-87fb-acabeb2b158a" providerId="ADAL" clId="{5C2CD6D4-C7A9-4CEF-AA9C-BC2977F70622}" dt="2024-02-21T18:01:31.880" v="55763"/>
          <ac:cxnSpMkLst>
            <pc:docMk/>
            <pc:sldMk cId="3264993228" sldId="2147483612"/>
            <ac:cxnSpMk id="45" creationId="{4937A4A1-074E-7D0F-12E4-1C4F80B8FDBF}"/>
          </ac:cxnSpMkLst>
        </pc:cxnChg>
        <pc:cxnChg chg="mod ord">
          <ac:chgData name="Abdi, Adnan" userId="503e002c-9b3b-4180-87fb-acabeb2b158a" providerId="ADAL" clId="{5C2CD6D4-C7A9-4CEF-AA9C-BC2977F70622}" dt="2024-02-21T18:01:31.879" v="55761"/>
          <ac:cxnSpMkLst>
            <pc:docMk/>
            <pc:sldMk cId="3264993228" sldId="2147483612"/>
            <ac:cxnSpMk id="46" creationId="{348C3654-4E0C-83CB-0723-6F6D1771236A}"/>
          </ac:cxnSpMkLst>
        </pc:cxnChg>
        <pc:cxnChg chg="mod ord">
          <ac:chgData name="Abdi, Adnan" userId="503e002c-9b3b-4180-87fb-acabeb2b158a" providerId="ADAL" clId="{5C2CD6D4-C7A9-4CEF-AA9C-BC2977F70622}" dt="2024-02-21T18:01:31.881" v="55765"/>
          <ac:cxnSpMkLst>
            <pc:docMk/>
            <pc:sldMk cId="3264993228" sldId="2147483612"/>
            <ac:cxnSpMk id="47" creationId="{81529735-0891-005E-170B-1CD56658A7F0}"/>
          </ac:cxnSpMkLst>
        </pc:cxnChg>
        <pc:cxnChg chg="mod ord">
          <ac:chgData name="Abdi, Adnan" userId="503e002c-9b3b-4180-87fb-acabeb2b158a" providerId="ADAL" clId="{5C2CD6D4-C7A9-4CEF-AA9C-BC2977F70622}" dt="2024-02-21T18:01:31.882" v="55769"/>
          <ac:cxnSpMkLst>
            <pc:docMk/>
            <pc:sldMk cId="3264993228" sldId="2147483612"/>
            <ac:cxnSpMk id="48" creationId="{8D40EDDF-96D8-9E39-8AB3-2684BD359FE8}"/>
          </ac:cxnSpMkLst>
        </pc:cxnChg>
        <pc:cxnChg chg="mod ord">
          <ac:chgData name="Abdi, Adnan" userId="503e002c-9b3b-4180-87fb-acabeb2b158a" providerId="ADAL" clId="{5C2CD6D4-C7A9-4CEF-AA9C-BC2977F70622}" dt="2024-02-21T18:01:31.881" v="55767"/>
          <ac:cxnSpMkLst>
            <pc:docMk/>
            <pc:sldMk cId="3264993228" sldId="2147483612"/>
            <ac:cxnSpMk id="49" creationId="{605FD5B3-CE24-DCF8-18F8-32D653539833}"/>
          </ac:cxnSpMkLst>
        </pc:cxnChg>
        <pc:cxnChg chg="mod ord">
          <ac:chgData name="Abdi, Adnan" userId="503e002c-9b3b-4180-87fb-acabeb2b158a" providerId="ADAL" clId="{5C2CD6D4-C7A9-4CEF-AA9C-BC2977F70622}" dt="2024-02-21T18:01:31.883" v="55771"/>
          <ac:cxnSpMkLst>
            <pc:docMk/>
            <pc:sldMk cId="3264993228" sldId="2147483612"/>
            <ac:cxnSpMk id="50" creationId="{AF8A5EE0-C97C-7077-2236-8D2C06200986}"/>
          </ac:cxnSpMkLst>
        </pc:cxnChg>
        <pc:cxnChg chg="mod ord">
          <ac:chgData name="Abdi, Adnan" userId="503e002c-9b3b-4180-87fb-acabeb2b158a" providerId="ADAL" clId="{5C2CD6D4-C7A9-4CEF-AA9C-BC2977F70622}" dt="2024-02-21T18:01:31.884" v="55773"/>
          <ac:cxnSpMkLst>
            <pc:docMk/>
            <pc:sldMk cId="3264993228" sldId="2147483612"/>
            <ac:cxnSpMk id="51" creationId="{F0CFA4FC-21DA-A4C4-DA81-D0D69497B02C}"/>
          </ac:cxnSpMkLst>
        </pc:cxnChg>
        <pc:cxnChg chg="mod ord">
          <ac:chgData name="Abdi, Adnan" userId="503e002c-9b3b-4180-87fb-acabeb2b158a" providerId="ADAL" clId="{5C2CD6D4-C7A9-4CEF-AA9C-BC2977F70622}" dt="2024-02-21T18:01:31.885" v="55775"/>
          <ac:cxnSpMkLst>
            <pc:docMk/>
            <pc:sldMk cId="3264993228" sldId="2147483612"/>
            <ac:cxnSpMk id="52" creationId="{85DE3CEA-5898-AFA4-9090-BA168A6BAC04}"/>
          </ac:cxnSpMkLst>
        </pc:cxnChg>
        <pc:cxnChg chg="mod ord">
          <ac:chgData name="Abdi, Adnan" userId="503e002c-9b3b-4180-87fb-acabeb2b158a" providerId="ADAL" clId="{5C2CD6D4-C7A9-4CEF-AA9C-BC2977F70622}" dt="2024-02-21T18:01:31.888" v="55781"/>
          <ac:cxnSpMkLst>
            <pc:docMk/>
            <pc:sldMk cId="3264993228" sldId="2147483612"/>
            <ac:cxnSpMk id="53" creationId="{CE3F733B-5FE0-EC6E-184B-A0E64B971CE0}"/>
          </ac:cxnSpMkLst>
        </pc:cxnChg>
        <pc:cxnChg chg="mod ord">
          <ac:chgData name="Abdi, Adnan" userId="503e002c-9b3b-4180-87fb-acabeb2b158a" providerId="ADAL" clId="{5C2CD6D4-C7A9-4CEF-AA9C-BC2977F70622}" dt="2024-02-21T18:01:31.887" v="55779"/>
          <ac:cxnSpMkLst>
            <pc:docMk/>
            <pc:sldMk cId="3264993228" sldId="2147483612"/>
            <ac:cxnSpMk id="54" creationId="{CAE2D1CA-96A2-1BC5-5442-49F3B25654B2}"/>
          </ac:cxnSpMkLst>
        </pc:cxnChg>
        <pc:cxnChg chg="mod ord">
          <ac:chgData name="Abdi, Adnan" userId="503e002c-9b3b-4180-87fb-acabeb2b158a" providerId="ADAL" clId="{5C2CD6D4-C7A9-4CEF-AA9C-BC2977F70622}" dt="2024-02-21T18:01:31.886" v="55777"/>
          <ac:cxnSpMkLst>
            <pc:docMk/>
            <pc:sldMk cId="3264993228" sldId="2147483612"/>
            <ac:cxnSpMk id="55" creationId="{C2D4A6B8-27E8-E478-4E7A-9C253F38A66E}"/>
          </ac:cxnSpMkLst>
        </pc:cxnChg>
        <pc:cxnChg chg="mod ord">
          <ac:chgData name="Abdi, Adnan" userId="503e002c-9b3b-4180-87fb-acabeb2b158a" providerId="ADAL" clId="{5C2CD6D4-C7A9-4CEF-AA9C-BC2977F70622}" dt="2024-02-21T18:01:31.891" v="55787"/>
          <ac:cxnSpMkLst>
            <pc:docMk/>
            <pc:sldMk cId="3264993228" sldId="2147483612"/>
            <ac:cxnSpMk id="56" creationId="{0E9DC064-0A06-3CCE-B86B-8AF459599894}"/>
          </ac:cxnSpMkLst>
        </pc:cxnChg>
        <pc:cxnChg chg="mod ord">
          <ac:chgData name="Abdi, Adnan" userId="503e002c-9b3b-4180-87fb-acabeb2b158a" providerId="ADAL" clId="{5C2CD6D4-C7A9-4CEF-AA9C-BC2977F70622}" dt="2024-02-21T18:01:31.891" v="55785"/>
          <ac:cxnSpMkLst>
            <pc:docMk/>
            <pc:sldMk cId="3264993228" sldId="2147483612"/>
            <ac:cxnSpMk id="57" creationId="{3FCD2D52-9711-65F8-FF1C-5B4AAEF6EE9F}"/>
          </ac:cxnSpMkLst>
        </pc:cxnChg>
        <pc:cxnChg chg="mod ord">
          <ac:chgData name="Abdi, Adnan" userId="503e002c-9b3b-4180-87fb-acabeb2b158a" providerId="ADAL" clId="{5C2CD6D4-C7A9-4CEF-AA9C-BC2977F70622}" dt="2024-02-21T18:01:31.890" v="55783"/>
          <ac:cxnSpMkLst>
            <pc:docMk/>
            <pc:sldMk cId="3264993228" sldId="2147483612"/>
            <ac:cxnSpMk id="58" creationId="{6F9DCD36-1591-8CC9-D260-8C35E550E14B}"/>
          </ac:cxnSpMkLst>
        </pc:cxnChg>
        <pc:cxnChg chg="mod ord">
          <ac:chgData name="Abdi, Adnan" userId="503e002c-9b3b-4180-87fb-acabeb2b158a" providerId="ADAL" clId="{5C2CD6D4-C7A9-4CEF-AA9C-BC2977F70622}" dt="2024-02-21T18:01:31.892" v="55789"/>
          <ac:cxnSpMkLst>
            <pc:docMk/>
            <pc:sldMk cId="3264993228" sldId="2147483612"/>
            <ac:cxnSpMk id="79" creationId="{B1B2495B-F0D9-C40F-79D0-105A1852D8B3}"/>
          </ac:cxnSpMkLst>
        </pc:cxnChg>
        <pc:cxnChg chg="mod ord">
          <ac:chgData name="Abdi, Adnan" userId="503e002c-9b3b-4180-87fb-acabeb2b158a" providerId="ADAL" clId="{5C2CD6D4-C7A9-4CEF-AA9C-BC2977F70622}" dt="2024-02-21T18:01:31.893" v="55791"/>
          <ac:cxnSpMkLst>
            <pc:docMk/>
            <pc:sldMk cId="3264993228" sldId="2147483612"/>
            <ac:cxnSpMk id="80" creationId="{C3C56690-C04E-90A4-F885-C8CB23656AFE}"/>
          </ac:cxnSpMkLst>
        </pc:cxnChg>
        <pc:cxnChg chg="mod ord">
          <ac:chgData name="Abdi, Adnan" userId="503e002c-9b3b-4180-87fb-acabeb2b158a" providerId="ADAL" clId="{5C2CD6D4-C7A9-4CEF-AA9C-BC2977F70622}" dt="2024-02-21T18:01:31.894" v="55793"/>
          <ac:cxnSpMkLst>
            <pc:docMk/>
            <pc:sldMk cId="3264993228" sldId="2147483612"/>
            <ac:cxnSpMk id="167" creationId="{E2021158-26D7-3555-5ED4-AB86BD52BC30}"/>
          </ac:cxnSpMkLst>
        </pc:cxnChg>
        <pc:cxnChg chg="mod ord">
          <ac:chgData name="Abdi, Adnan" userId="503e002c-9b3b-4180-87fb-acabeb2b158a" providerId="ADAL" clId="{5C2CD6D4-C7A9-4CEF-AA9C-BC2977F70622}" dt="2024-02-21T18:01:31.895" v="55795"/>
          <ac:cxnSpMkLst>
            <pc:docMk/>
            <pc:sldMk cId="3264993228" sldId="2147483612"/>
            <ac:cxnSpMk id="168" creationId="{FEA8F081-1E2B-7F4F-46E1-E7FAC08DFB19}"/>
          </ac:cxnSpMkLst>
        </pc:cxnChg>
      </pc:sldChg>
      <pc:sldChg chg="addSp modSp mod">
        <pc:chgData name="Abdi, Adnan" userId="503e002c-9b3b-4180-87fb-acabeb2b158a" providerId="ADAL" clId="{5C2CD6D4-C7A9-4CEF-AA9C-BC2977F70622}" dt="2024-02-26T09:10:26.851" v="73112"/>
        <pc:sldMkLst>
          <pc:docMk/>
          <pc:sldMk cId="643489597" sldId="2147483613"/>
        </pc:sldMkLst>
        <pc:spChg chg="mod">
          <ac:chgData name="Abdi, Adnan" userId="503e002c-9b3b-4180-87fb-acabeb2b158a" providerId="ADAL" clId="{5C2CD6D4-C7A9-4CEF-AA9C-BC2977F70622}" dt="2024-02-26T09:10:26.851" v="73112"/>
          <ac:spMkLst>
            <pc:docMk/>
            <pc:sldMk cId="643489597" sldId="2147483613"/>
            <ac:spMk id="3" creationId="{D02E9E0D-C3A2-3BCA-49D1-1C99FE1964BD}"/>
          </ac:spMkLst>
        </pc:spChg>
        <pc:spChg chg="add">
          <ac:chgData name="Abdi, Adnan" userId="503e002c-9b3b-4180-87fb-acabeb2b158a" providerId="ADAL" clId="{5C2CD6D4-C7A9-4CEF-AA9C-BC2977F70622}" dt="2024-02-23T15:32:09.917" v="71465"/>
          <ac:spMkLst>
            <pc:docMk/>
            <pc:sldMk cId="643489597" sldId="2147483613"/>
            <ac:spMk id="4" creationId="{79834DB1-6513-DE89-4252-1FA85E557C2E}"/>
          </ac:spMkLst>
        </pc:spChg>
        <pc:spChg chg="add mod">
          <ac:chgData name="Abdi, Adnan" userId="503e002c-9b3b-4180-87fb-acabeb2b158a" providerId="ADAL" clId="{5C2CD6D4-C7A9-4CEF-AA9C-BC2977F70622}" dt="2024-02-23T18:39:42.355" v="71582"/>
          <ac:spMkLst>
            <pc:docMk/>
            <pc:sldMk cId="643489597" sldId="2147483613"/>
            <ac:spMk id="5" creationId="{2071993F-7431-48B7-D097-40F703B9DA80}"/>
          </ac:spMkLst>
        </pc:spChg>
        <pc:spChg chg="mod">
          <ac:chgData name="Abdi, Adnan" userId="503e002c-9b3b-4180-87fb-acabeb2b158a" providerId="ADAL" clId="{5C2CD6D4-C7A9-4CEF-AA9C-BC2977F70622}" dt="2024-02-23T18:36:31.478" v="71552" actId="20577"/>
          <ac:spMkLst>
            <pc:docMk/>
            <pc:sldMk cId="643489597" sldId="2147483613"/>
            <ac:spMk id="8" creationId="{B7D8C3E2-37A0-C53F-D7ED-A1EBBE495C04}"/>
          </ac:spMkLst>
        </pc:spChg>
      </pc:sldChg>
      <pc:sldChg chg="addSp">
        <pc:chgData name="Abdi, Adnan" userId="503e002c-9b3b-4180-87fb-acabeb2b158a" providerId="ADAL" clId="{5C2CD6D4-C7A9-4CEF-AA9C-BC2977F70622}" dt="2024-02-23T15:32:09.917" v="71465"/>
        <pc:sldMkLst>
          <pc:docMk/>
          <pc:sldMk cId="934607398" sldId="2147483614"/>
        </pc:sldMkLst>
        <pc:spChg chg="add">
          <ac:chgData name="Abdi, Adnan" userId="503e002c-9b3b-4180-87fb-acabeb2b158a" providerId="ADAL" clId="{5C2CD6D4-C7A9-4CEF-AA9C-BC2977F70622}" dt="2024-02-23T15:32:09.917" v="71465"/>
          <ac:spMkLst>
            <pc:docMk/>
            <pc:sldMk cId="934607398" sldId="2147483614"/>
            <ac:spMk id="4" creationId="{D621C63B-DC3F-9AB3-994A-92E4128610F0}"/>
          </ac:spMkLst>
        </pc:spChg>
      </pc:sldChg>
      <pc:sldChg chg="addSp delSp modSp mod">
        <pc:chgData name="Abdi, Adnan" userId="503e002c-9b3b-4180-87fb-acabeb2b158a" providerId="ADAL" clId="{5C2CD6D4-C7A9-4CEF-AA9C-BC2977F70622}" dt="2024-02-21T15:34:50.616" v="43706" actId="21"/>
        <pc:sldMkLst>
          <pc:docMk/>
          <pc:sldMk cId="1258364764" sldId="2147483614"/>
        </pc:sldMkLst>
        <pc:picChg chg="add del mod modCrop">
          <ac:chgData name="Abdi, Adnan" userId="503e002c-9b3b-4180-87fb-acabeb2b158a" providerId="ADAL" clId="{5C2CD6D4-C7A9-4CEF-AA9C-BC2977F70622}" dt="2024-02-21T15:33:55.155" v="43698" actId="21"/>
          <ac:picMkLst>
            <pc:docMk/>
            <pc:sldMk cId="1258364764" sldId="2147483614"/>
            <ac:picMk id="5" creationId="{5DDA6208-97B1-1985-2156-2E48646C4450}"/>
          </ac:picMkLst>
        </pc:picChg>
        <pc:picChg chg="add del mod">
          <ac:chgData name="Abdi, Adnan" userId="503e002c-9b3b-4180-87fb-acabeb2b158a" providerId="ADAL" clId="{5C2CD6D4-C7A9-4CEF-AA9C-BC2977F70622}" dt="2024-02-21T15:34:50.616" v="43706" actId="21"/>
          <ac:picMkLst>
            <pc:docMk/>
            <pc:sldMk cId="1258364764" sldId="2147483614"/>
            <ac:picMk id="6" creationId="{5DDA6208-97B1-1985-2156-2E48646C4450}"/>
          </ac:picMkLst>
        </pc:picChg>
      </pc:sldChg>
      <pc:sldChg chg="addSp delSp modSp add mod ord">
        <pc:chgData name="Abdi, Adnan" userId="503e002c-9b3b-4180-87fb-acabeb2b158a" providerId="ADAL" clId="{5C2CD6D4-C7A9-4CEF-AA9C-BC2977F70622}" dt="2024-02-23T15:32:09.917" v="71465"/>
        <pc:sldMkLst>
          <pc:docMk/>
          <pc:sldMk cId="4171510167" sldId="2147483615"/>
        </pc:sldMkLst>
        <pc:spChg chg="del mod ord">
          <ac:chgData name="Abdi, Adnan" userId="503e002c-9b3b-4180-87fb-acabeb2b158a" providerId="ADAL" clId="{5C2CD6D4-C7A9-4CEF-AA9C-BC2977F70622}" dt="2024-02-22T13:36:13.184" v="56572" actId="478"/>
          <ac:spMkLst>
            <pc:docMk/>
            <pc:sldMk cId="4171510167" sldId="2147483615"/>
            <ac:spMk id="3" creationId="{CE6D7F85-4B84-4762-35B1-BBD3A5BC1CA4}"/>
          </ac:spMkLst>
        </pc:spChg>
        <pc:spChg chg="add mod">
          <ac:chgData name="Abdi, Adnan" userId="503e002c-9b3b-4180-87fb-acabeb2b158a" providerId="ADAL" clId="{5C2CD6D4-C7A9-4CEF-AA9C-BC2977F70622}" dt="2024-02-22T13:36:35.262" v="56783"/>
          <ac:spMkLst>
            <pc:docMk/>
            <pc:sldMk cId="4171510167" sldId="2147483615"/>
            <ac:spMk id="4" creationId="{633ECCD7-5A12-2D5F-ECF9-6850D555853D}"/>
          </ac:spMkLst>
        </pc:spChg>
        <pc:spChg chg="mod">
          <ac:chgData name="Abdi, Adnan" userId="503e002c-9b3b-4180-87fb-acabeb2b158a" providerId="ADAL" clId="{5C2CD6D4-C7A9-4CEF-AA9C-BC2977F70622}" dt="2024-02-22T13:36:35.220" v="56717"/>
          <ac:spMkLst>
            <pc:docMk/>
            <pc:sldMk cId="4171510167" sldId="2147483615"/>
            <ac:spMk id="5" creationId="{A4660A33-27AF-DEBC-F888-EF057A63D71F}"/>
          </ac:spMkLst>
        </pc:spChg>
        <pc:spChg chg="add mod ord">
          <ac:chgData name="Abdi, Adnan" userId="503e002c-9b3b-4180-87fb-acabeb2b158a" providerId="ADAL" clId="{5C2CD6D4-C7A9-4CEF-AA9C-BC2977F70622}" dt="2024-02-22T13:36:35.263" v="56785"/>
          <ac:spMkLst>
            <pc:docMk/>
            <pc:sldMk cId="4171510167" sldId="2147483615"/>
            <ac:spMk id="6" creationId="{13E6FFAC-361A-B3F7-753C-F9A7A1AA495B}"/>
          </ac:spMkLst>
        </pc:spChg>
        <pc:spChg chg="del mod">
          <ac:chgData name="Abdi, Adnan" userId="503e002c-9b3b-4180-87fb-acabeb2b158a" providerId="ADAL" clId="{5C2CD6D4-C7A9-4CEF-AA9C-BC2977F70622}" dt="2024-02-21T15:56:37.969" v="44832" actId="478"/>
          <ac:spMkLst>
            <pc:docMk/>
            <pc:sldMk cId="4171510167" sldId="2147483615"/>
            <ac:spMk id="7" creationId="{C343689A-B3F0-8E86-1115-DD14D0949343}"/>
          </ac:spMkLst>
        </pc:spChg>
        <pc:spChg chg="add mod ord">
          <ac:chgData name="Abdi, Adnan" userId="503e002c-9b3b-4180-87fb-acabeb2b158a" providerId="ADAL" clId="{5C2CD6D4-C7A9-4CEF-AA9C-BC2977F70622}" dt="2024-02-23T15:32:09.917" v="71465"/>
          <ac:spMkLst>
            <pc:docMk/>
            <pc:sldMk cId="4171510167" sldId="2147483615"/>
            <ac:spMk id="8" creationId="{73A561AA-3BCF-7AF9-EB7E-4348AAAB7585}"/>
          </ac:spMkLst>
        </pc:spChg>
        <pc:spChg chg="add mod ord">
          <ac:chgData name="Abdi, Adnan" userId="503e002c-9b3b-4180-87fb-acabeb2b158a" providerId="ADAL" clId="{5C2CD6D4-C7A9-4CEF-AA9C-BC2977F70622}" dt="2024-02-22T13:36:35.265" v="56789"/>
          <ac:spMkLst>
            <pc:docMk/>
            <pc:sldMk cId="4171510167" sldId="2147483615"/>
            <ac:spMk id="9" creationId="{66B8C03E-EBD5-0B65-75E3-896333E980A3}"/>
          </ac:spMkLst>
        </pc:spChg>
        <pc:spChg chg="del mod ord">
          <ac:chgData name="Abdi, Adnan" userId="503e002c-9b3b-4180-87fb-acabeb2b158a" providerId="ADAL" clId="{5C2CD6D4-C7A9-4CEF-AA9C-BC2977F70622}" dt="2024-02-21T15:50:21.324" v="44462" actId="478"/>
          <ac:spMkLst>
            <pc:docMk/>
            <pc:sldMk cId="4171510167" sldId="2147483615"/>
            <ac:spMk id="11" creationId="{9C43E45A-FF14-DC22-E6B0-E056DE750F16}"/>
          </ac:spMkLst>
        </pc:spChg>
        <pc:spChg chg="mod">
          <ac:chgData name="Abdi, Adnan" userId="503e002c-9b3b-4180-87fb-acabeb2b158a" providerId="ADAL" clId="{5C2CD6D4-C7A9-4CEF-AA9C-BC2977F70622}" dt="2024-02-22T09:18:11.346" v="55939" actId="1038"/>
          <ac:spMkLst>
            <pc:docMk/>
            <pc:sldMk cId="4171510167" sldId="2147483615"/>
            <ac:spMk id="14" creationId="{C0E443D7-4E4B-9B1D-0774-FDF0EB694C92}"/>
          </ac:spMkLst>
        </pc:spChg>
        <pc:spChg chg="del mod">
          <ac:chgData name="Abdi, Adnan" userId="503e002c-9b3b-4180-87fb-acabeb2b158a" providerId="ADAL" clId="{5C2CD6D4-C7A9-4CEF-AA9C-BC2977F70622}" dt="2024-02-21T15:54:04.351" v="44656" actId="478"/>
          <ac:spMkLst>
            <pc:docMk/>
            <pc:sldMk cId="4171510167" sldId="2147483615"/>
            <ac:spMk id="16" creationId="{3D5B8C63-50B8-F6F5-C436-CE520D333A13}"/>
          </ac:spMkLst>
        </pc:spChg>
        <pc:spChg chg="mod ord">
          <ac:chgData name="Abdi, Adnan" userId="503e002c-9b3b-4180-87fb-acabeb2b158a" providerId="ADAL" clId="{5C2CD6D4-C7A9-4CEF-AA9C-BC2977F70622}" dt="2024-02-22T13:36:35.219" v="56716"/>
          <ac:spMkLst>
            <pc:docMk/>
            <pc:sldMk cId="4171510167" sldId="2147483615"/>
            <ac:spMk id="20" creationId="{00000000-0000-0000-0000-000000000000}"/>
          </ac:spMkLst>
        </pc:spChg>
        <pc:spChg chg="mod ord">
          <ac:chgData name="Abdi, Adnan" userId="503e002c-9b3b-4180-87fb-acabeb2b158a" providerId="ADAL" clId="{5C2CD6D4-C7A9-4CEF-AA9C-BC2977F70622}" dt="2024-02-22T13:36:35.218" v="56714"/>
          <ac:spMkLst>
            <pc:docMk/>
            <pc:sldMk cId="4171510167" sldId="2147483615"/>
            <ac:spMk id="23" creationId="{00000000-0000-0000-0000-000000000000}"/>
          </ac:spMkLst>
        </pc:spChg>
        <pc:spChg chg="mod">
          <ac:chgData name="Abdi, Adnan" userId="503e002c-9b3b-4180-87fb-acabeb2b158a" providerId="ADAL" clId="{5C2CD6D4-C7A9-4CEF-AA9C-BC2977F70622}" dt="2024-02-22T09:18:11.346" v="55939" actId="1038"/>
          <ac:spMkLst>
            <pc:docMk/>
            <pc:sldMk cId="4171510167" sldId="2147483615"/>
            <ac:spMk id="26" creationId="{B681243F-25F9-774A-8FE2-488425A08045}"/>
          </ac:spMkLst>
        </pc:spChg>
        <pc:spChg chg="mod">
          <ac:chgData name="Abdi, Adnan" userId="503e002c-9b3b-4180-87fb-acabeb2b158a" providerId="ADAL" clId="{5C2CD6D4-C7A9-4CEF-AA9C-BC2977F70622}" dt="2024-02-22T09:18:11.346" v="55939" actId="1038"/>
          <ac:spMkLst>
            <pc:docMk/>
            <pc:sldMk cId="4171510167" sldId="2147483615"/>
            <ac:spMk id="28" creationId="{0CCC5F9A-B691-47D6-7F73-20E96765204F}"/>
          </ac:spMkLst>
        </pc:spChg>
        <pc:spChg chg="mod">
          <ac:chgData name="Abdi, Adnan" userId="503e002c-9b3b-4180-87fb-acabeb2b158a" providerId="ADAL" clId="{5C2CD6D4-C7A9-4CEF-AA9C-BC2977F70622}" dt="2024-02-22T09:18:11.346" v="55939" actId="1038"/>
          <ac:spMkLst>
            <pc:docMk/>
            <pc:sldMk cId="4171510167" sldId="2147483615"/>
            <ac:spMk id="31" creationId="{B44FD3F8-8599-237D-9A2F-C44CBED455D0}"/>
          </ac:spMkLst>
        </pc:spChg>
        <pc:spChg chg="mod">
          <ac:chgData name="Abdi, Adnan" userId="503e002c-9b3b-4180-87fb-acabeb2b158a" providerId="ADAL" clId="{5C2CD6D4-C7A9-4CEF-AA9C-BC2977F70622}" dt="2024-02-22T09:18:11.346" v="55939" actId="1038"/>
          <ac:spMkLst>
            <pc:docMk/>
            <pc:sldMk cId="4171510167" sldId="2147483615"/>
            <ac:spMk id="36" creationId="{FEF246A5-4168-38A6-9FA4-CE1CC3ACFB5D}"/>
          </ac:spMkLst>
        </pc:spChg>
        <pc:spChg chg="mod">
          <ac:chgData name="Abdi, Adnan" userId="503e002c-9b3b-4180-87fb-acabeb2b158a" providerId="ADAL" clId="{5C2CD6D4-C7A9-4CEF-AA9C-BC2977F70622}" dt="2024-02-22T09:18:11.346" v="55939" actId="1038"/>
          <ac:spMkLst>
            <pc:docMk/>
            <pc:sldMk cId="4171510167" sldId="2147483615"/>
            <ac:spMk id="37" creationId="{B9C2BCDD-793C-2D1F-C599-60521FF3554A}"/>
          </ac:spMkLst>
        </pc:spChg>
        <pc:spChg chg="mod ord topLvl">
          <ac:chgData name="Abdi, Adnan" userId="503e002c-9b3b-4180-87fb-acabeb2b158a" providerId="ADAL" clId="{5C2CD6D4-C7A9-4CEF-AA9C-BC2977F70622}" dt="2024-02-22T13:36:35.227" v="56729"/>
          <ac:spMkLst>
            <pc:docMk/>
            <pc:sldMk cId="4171510167" sldId="2147483615"/>
            <ac:spMk id="39" creationId="{B6ECE51B-363E-6B9F-DAA5-996829DE6EA0}"/>
          </ac:spMkLst>
        </pc:spChg>
        <pc:spChg chg="mod ord topLvl">
          <ac:chgData name="Abdi, Adnan" userId="503e002c-9b3b-4180-87fb-acabeb2b158a" providerId="ADAL" clId="{5C2CD6D4-C7A9-4CEF-AA9C-BC2977F70622}" dt="2024-02-22T13:36:35.228" v="56731"/>
          <ac:spMkLst>
            <pc:docMk/>
            <pc:sldMk cId="4171510167" sldId="2147483615"/>
            <ac:spMk id="40" creationId="{907DE964-C6BF-7FD3-7A98-95DC17AE1E7D}"/>
          </ac:spMkLst>
        </pc:spChg>
        <pc:spChg chg="mod ord topLvl">
          <ac:chgData name="Abdi, Adnan" userId="503e002c-9b3b-4180-87fb-acabeb2b158a" providerId="ADAL" clId="{5C2CD6D4-C7A9-4CEF-AA9C-BC2977F70622}" dt="2024-02-22T13:36:35.230" v="56733"/>
          <ac:spMkLst>
            <pc:docMk/>
            <pc:sldMk cId="4171510167" sldId="2147483615"/>
            <ac:spMk id="41" creationId="{7906A662-6B8D-BCCB-A047-4B7AEBCF9D8C}"/>
          </ac:spMkLst>
        </pc:spChg>
        <pc:spChg chg="mod ord topLvl">
          <ac:chgData name="Abdi, Adnan" userId="503e002c-9b3b-4180-87fb-acabeb2b158a" providerId="ADAL" clId="{5C2CD6D4-C7A9-4CEF-AA9C-BC2977F70622}" dt="2024-02-22T13:36:35.232" v="56735"/>
          <ac:spMkLst>
            <pc:docMk/>
            <pc:sldMk cId="4171510167" sldId="2147483615"/>
            <ac:spMk id="44" creationId="{A577934E-16C3-A4F0-53A2-00FA34E8D5F8}"/>
          </ac:spMkLst>
        </pc:spChg>
        <pc:spChg chg="mod ord topLvl">
          <ac:chgData name="Abdi, Adnan" userId="503e002c-9b3b-4180-87fb-acabeb2b158a" providerId="ADAL" clId="{5C2CD6D4-C7A9-4CEF-AA9C-BC2977F70622}" dt="2024-02-22T13:36:35.233" v="56737"/>
          <ac:spMkLst>
            <pc:docMk/>
            <pc:sldMk cId="4171510167" sldId="2147483615"/>
            <ac:spMk id="64" creationId="{8343C1B7-4CA0-DE93-0FE0-052E1F86A6C2}"/>
          </ac:spMkLst>
        </pc:spChg>
        <pc:spChg chg="mod ord topLvl">
          <ac:chgData name="Abdi, Adnan" userId="503e002c-9b3b-4180-87fb-acabeb2b158a" providerId="ADAL" clId="{5C2CD6D4-C7A9-4CEF-AA9C-BC2977F70622}" dt="2024-02-22T13:36:35.242" v="56748"/>
          <ac:spMkLst>
            <pc:docMk/>
            <pc:sldMk cId="4171510167" sldId="2147483615"/>
            <ac:spMk id="69" creationId="{FBC7C7BB-9BB0-FE9C-70C4-BCCF04721B3D}"/>
          </ac:spMkLst>
        </pc:spChg>
        <pc:spChg chg="mod topLvl">
          <ac:chgData name="Abdi, Adnan" userId="503e002c-9b3b-4180-87fb-acabeb2b158a" providerId="ADAL" clId="{5C2CD6D4-C7A9-4CEF-AA9C-BC2977F70622}" dt="2024-02-22T13:36:35.240" v="56746"/>
          <ac:spMkLst>
            <pc:docMk/>
            <pc:sldMk cId="4171510167" sldId="2147483615"/>
            <ac:spMk id="71" creationId="{E775E5E1-5713-8690-FBCA-EB63877B6750}"/>
          </ac:spMkLst>
        </pc:spChg>
        <pc:spChg chg="mod ord topLvl">
          <ac:chgData name="Abdi, Adnan" userId="503e002c-9b3b-4180-87fb-acabeb2b158a" providerId="ADAL" clId="{5C2CD6D4-C7A9-4CEF-AA9C-BC2977F70622}" dt="2024-02-22T13:36:35.225" v="56725"/>
          <ac:spMkLst>
            <pc:docMk/>
            <pc:sldMk cId="4171510167" sldId="2147483615"/>
            <ac:spMk id="73" creationId="{A50EF969-4B65-582B-8E6B-AF67E0EDA4F8}"/>
          </ac:spMkLst>
        </pc:spChg>
        <pc:spChg chg="mod ord topLvl">
          <ac:chgData name="Abdi, Adnan" userId="503e002c-9b3b-4180-87fb-acabeb2b158a" providerId="ADAL" clId="{5C2CD6D4-C7A9-4CEF-AA9C-BC2977F70622}" dt="2024-02-22T13:36:35.236" v="56740"/>
          <ac:spMkLst>
            <pc:docMk/>
            <pc:sldMk cId="4171510167" sldId="2147483615"/>
            <ac:spMk id="75" creationId="{49D02EC1-497C-7B2F-145D-B5705EF6E085}"/>
          </ac:spMkLst>
        </pc:spChg>
        <pc:spChg chg="mod ord topLvl">
          <ac:chgData name="Abdi, Adnan" userId="503e002c-9b3b-4180-87fb-acabeb2b158a" providerId="ADAL" clId="{5C2CD6D4-C7A9-4CEF-AA9C-BC2977F70622}" dt="2024-02-22T13:36:35.243" v="56750"/>
          <ac:spMkLst>
            <pc:docMk/>
            <pc:sldMk cId="4171510167" sldId="2147483615"/>
            <ac:spMk id="77" creationId="{FF07228E-72ED-A2E8-20BF-E0322E73853A}"/>
          </ac:spMkLst>
        </pc:spChg>
        <pc:spChg chg="mod topLvl">
          <ac:chgData name="Abdi, Adnan" userId="503e002c-9b3b-4180-87fb-acabeb2b158a" providerId="ADAL" clId="{5C2CD6D4-C7A9-4CEF-AA9C-BC2977F70622}" dt="2024-02-22T13:36:35.234" v="56738"/>
          <ac:spMkLst>
            <pc:docMk/>
            <pc:sldMk cId="4171510167" sldId="2147483615"/>
            <ac:spMk id="79" creationId="{B6C87280-E871-275A-FF11-F80A2D882532}"/>
          </ac:spMkLst>
        </pc:spChg>
        <pc:spChg chg="mod topLvl">
          <ac:chgData name="Abdi, Adnan" userId="503e002c-9b3b-4180-87fb-acabeb2b158a" providerId="ADAL" clId="{5C2CD6D4-C7A9-4CEF-AA9C-BC2977F70622}" dt="2024-02-22T13:36:35.260" v="56780"/>
          <ac:spMkLst>
            <pc:docMk/>
            <pc:sldMk cId="4171510167" sldId="2147483615"/>
            <ac:spMk id="80" creationId="{8EA44671-9873-14CD-396E-AD4115072F16}"/>
          </ac:spMkLst>
        </pc:spChg>
        <pc:spChg chg="mod topLvl">
          <ac:chgData name="Abdi, Adnan" userId="503e002c-9b3b-4180-87fb-acabeb2b158a" providerId="ADAL" clId="{5C2CD6D4-C7A9-4CEF-AA9C-BC2977F70622}" dt="2024-02-22T13:36:35.259" v="56779"/>
          <ac:spMkLst>
            <pc:docMk/>
            <pc:sldMk cId="4171510167" sldId="2147483615"/>
            <ac:spMk id="81" creationId="{BE7DD53F-1D19-F231-9B5A-E3A2EB3503B7}"/>
          </ac:spMkLst>
        </pc:spChg>
        <pc:spChg chg="mod ord topLvl">
          <ac:chgData name="Abdi, Adnan" userId="503e002c-9b3b-4180-87fb-acabeb2b158a" providerId="ADAL" clId="{5C2CD6D4-C7A9-4CEF-AA9C-BC2977F70622}" dt="2024-02-22T13:36:35.237" v="56742"/>
          <ac:spMkLst>
            <pc:docMk/>
            <pc:sldMk cId="4171510167" sldId="2147483615"/>
            <ac:spMk id="82" creationId="{C9C52679-1A3D-1418-4B07-2307A4E733BA}"/>
          </ac:spMkLst>
        </pc:spChg>
        <pc:spChg chg="mod topLvl">
          <ac:chgData name="Abdi, Adnan" userId="503e002c-9b3b-4180-87fb-acabeb2b158a" providerId="ADAL" clId="{5C2CD6D4-C7A9-4CEF-AA9C-BC2977F70622}" dt="2024-02-22T13:36:35.261" v="56781"/>
          <ac:spMkLst>
            <pc:docMk/>
            <pc:sldMk cId="4171510167" sldId="2147483615"/>
            <ac:spMk id="84" creationId="{177281A7-5556-E5E1-C2B2-10579B1BC460}"/>
          </ac:spMkLst>
        </pc:spChg>
        <pc:spChg chg="mod ord">
          <ac:chgData name="Abdi, Adnan" userId="503e002c-9b3b-4180-87fb-acabeb2b158a" providerId="ADAL" clId="{5C2CD6D4-C7A9-4CEF-AA9C-BC2977F70622}" dt="2024-02-22T13:36:35.217" v="56712"/>
          <ac:spMkLst>
            <pc:docMk/>
            <pc:sldMk cId="4171510167" sldId="2147483615"/>
            <ac:spMk id="97" creationId="{9DF0CE66-3057-405D-312C-4FFFD4F03417}"/>
          </ac:spMkLst>
        </pc:spChg>
        <pc:spChg chg="mod">
          <ac:chgData name="Abdi, Adnan" userId="503e002c-9b3b-4180-87fb-acabeb2b158a" providerId="ADAL" clId="{5C2CD6D4-C7A9-4CEF-AA9C-BC2977F70622}" dt="2024-02-22T13:36:35.261" v="56782"/>
          <ac:spMkLst>
            <pc:docMk/>
            <pc:sldMk cId="4171510167" sldId="2147483615"/>
            <ac:spMk id="109" creationId="{8D66650D-4A93-8801-556C-0B31EE2DDF7A}"/>
          </ac:spMkLst>
        </pc:spChg>
        <pc:spChg chg="add del mod ord">
          <ac:chgData name="Abdi, Adnan" userId="503e002c-9b3b-4180-87fb-acabeb2b158a" providerId="ADAL" clId="{5C2CD6D4-C7A9-4CEF-AA9C-BC2977F70622}" dt="2024-02-22T13:36:35.266" v="56791"/>
          <ac:spMkLst>
            <pc:docMk/>
            <pc:sldMk cId="4171510167" sldId="2147483615"/>
            <ac:spMk id="120" creationId="{E3DBF957-3FD7-B08C-2B9E-3E6E463E242D}"/>
          </ac:spMkLst>
        </pc:spChg>
        <pc:spChg chg="add mod ord">
          <ac:chgData name="Abdi, Adnan" userId="503e002c-9b3b-4180-87fb-acabeb2b158a" providerId="ADAL" clId="{5C2CD6D4-C7A9-4CEF-AA9C-BC2977F70622}" dt="2024-02-22T13:36:35.214" v="56708"/>
          <ac:spMkLst>
            <pc:docMk/>
            <pc:sldMk cId="4171510167" sldId="2147483615"/>
            <ac:spMk id="124" creationId="{A45A2ABB-4A1B-0441-8AF3-4FEFF9E65143}"/>
          </ac:spMkLst>
        </pc:spChg>
        <pc:spChg chg="add del">
          <ac:chgData name="Abdi, Adnan" userId="503e002c-9b3b-4180-87fb-acabeb2b158a" providerId="ADAL" clId="{5C2CD6D4-C7A9-4CEF-AA9C-BC2977F70622}" dt="2024-02-22T13:50:22.990" v="57232" actId="22"/>
          <ac:spMkLst>
            <pc:docMk/>
            <pc:sldMk cId="4171510167" sldId="2147483615"/>
            <ac:spMk id="126" creationId="{35826135-1D82-1C83-49DC-DB9B87CA9DE7}"/>
          </ac:spMkLst>
        </pc:spChg>
        <pc:spChg chg="del mod">
          <ac:chgData name="Abdi, Adnan" userId="503e002c-9b3b-4180-87fb-acabeb2b158a" providerId="ADAL" clId="{5C2CD6D4-C7A9-4CEF-AA9C-BC2977F70622}" dt="2024-02-21T15:56:13.059" v="44829" actId="478"/>
          <ac:spMkLst>
            <pc:docMk/>
            <pc:sldMk cId="4171510167" sldId="2147483615"/>
            <ac:spMk id="163" creationId="{8284026D-E7DA-76FC-E292-49D431256380}"/>
          </ac:spMkLst>
        </pc:spChg>
        <pc:spChg chg="mod ord topLvl">
          <ac:chgData name="Abdi, Adnan" userId="503e002c-9b3b-4180-87fb-acabeb2b158a" providerId="ADAL" clId="{5C2CD6D4-C7A9-4CEF-AA9C-BC2977F70622}" dt="2024-02-22T13:36:35.222" v="56721"/>
          <ac:spMkLst>
            <pc:docMk/>
            <pc:sldMk cId="4171510167" sldId="2147483615"/>
            <ac:spMk id="1087" creationId="{A9811922-0425-B20C-5CB6-5E15F57DA33D}"/>
          </ac:spMkLst>
        </pc:spChg>
        <pc:spChg chg="mod">
          <ac:chgData name="Abdi, Adnan" userId="503e002c-9b3b-4180-87fb-acabeb2b158a" providerId="ADAL" clId="{5C2CD6D4-C7A9-4CEF-AA9C-BC2977F70622}" dt="2024-02-21T17:15:35.980" v="50575" actId="1076"/>
          <ac:spMkLst>
            <pc:docMk/>
            <pc:sldMk cId="4171510167" sldId="2147483615"/>
            <ac:spMk id="1269" creationId="{77FCE180-D041-30A8-C74E-425D57F59BD5}"/>
          </ac:spMkLst>
        </pc:spChg>
        <pc:grpChg chg="mod ord topLvl">
          <ac:chgData name="Abdi, Adnan" userId="503e002c-9b3b-4180-87fb-acabeb2b158a" providerId="ADAL" clId="{5C2CD6D4-C7A9-4CEF-AA9C-BC2977F70622}" dt="2024-02-22T13:36:35.226" v="56727"/>
          <ac:grpSpMkLst>
            <pc:docMk/>
            <pc:sldMk cId="4171510167" sldId="2147483615"/>
            <ac:grpSpMk id="2" creationId="{0FFBC4EA-61E4-7F05-7283-85E4590FBE37}"/>
          </ac:grpSpMkLst>
        </pc:grpChg>
        <pc:grpChg chg="add del mod">
          <ac:chgData name="Abdi, Adnan" userId="503e002c-9b3b-4180-87fb-acabeb2b158a" providerId="ADAL" clId="{5C2CD6D4-C7A9-4CEF-AA9C-BC2977F70622}" dt="2024-02-21T15:49:59.831" v="44447" actId="165"/>
          <ac:grpSpMkLst>
            <pc:docMk/>
            <pc:sldMk cId="4171510167" sldId="2147483615"/>
            <ac:grpSpMk id="3" creationId="{2055699A-0B52-1969-BA64-5EBED6D82CF8}"/>
          </ac:grpSpMkLst>
        </pc:grpChg>
        <pc:grpChg chg="mod">
          <ac:chgData name="Abdi, Adnan" userId="503e002c-9b3b-4180-87fb-acabeb2b158a" providerId="ADAL" clId="{5C2CD6D4-C7A9-4CEF-AA9C-BC2977F70622}" dt="2024-02-22T09:18:11.346" v="55939" actId="1038"/>
          <ac:grpSpMkLst>
            <pc:docMk/>
            <pc:sldMk cId="4171510167" sldId="2147483615"/>
            <ac:grpSpMk id="12" creationId="{9E1F67CD-DC0A-9FD4-F861-B158ED733E43}"/>
          </ac:grpSpMkLst>
        </pc:grpChg>
        <pc:grpChg chg="add mod">
          <ac:chgData name="Abdi, Adnan" userId="503e002c-9b3b-4180-87fb-acabeb2b158a" providerId="ADAL" clId="{5C2CD6D4-C7A9-4CEF-AA9C-BC2977F70622}" dt="2024-02-22T13:36:35.258" v="56777"/>
          <ac:grpSpMkLst>
            <pc:docMk/>
            <pc:sldMk cId="4171510167" sldId="2147483615"/>
            <ac:grpSpMk id="92" creationId="{9D84AA0C-9590-C8C1-9CED-972A9DB30C08}"/>
          </ac:grpSpMkLst>
        </pc:grpChg>
        <pc:grpChg chg="add mod">
          <ac:chgData name="Abdi, Adnan" userId="503e002c-9b3b-4180-87fb-acabeb2b158a" providerId="ADAL" clId="{5C2CD6D4-C7A9-4CEF-AA9C-BC2977F70622}" dt="2024-02-22T13:36:35.259" v="56778"/>
          <ac:grpSpMkLst>
            <pc:docMk/>
            <pc:sldMk cId="4171510167" sldId="2147483615"/>
            <ac:grpSpMk id="93" creationId="{6A831E64-22BE-C1BB-08E7-C510A69364BB}"/>
          </ac:grpSpMkLst>
        </pc:grpChg>
        <pc:grpChg chg="mod topLvl">
          <ac:chgData name="Abdi, Adnan" userId="503e002c-9b3b-4180-87fb-acabeb2b158a" providerId="ADAL" clId="{5C2CD6D4-C7A9-4CEF-AA9C-BC2977F70622}" dt="2024-02-22T13:36:35.258" v="56776"/>
          <ac:grpSpMkLst>
            <pc:docMk/>
            <pc:sldMk cId="4171510167" sldId="2147483615"/>
            <ac:grpSpMk id="1271" creationId="{963873F5-0832-4334-B96D-602583809DE5}"/>
          </ac:grpSpMkLst>
        </pc:grpChg>
        <pc:graphicFrameChg chg="mod ord modGraphic">
          <ac:chgData name="Abdi, Adnan" userId="503e002c-9b3b-4180-87fb-acabeb2b158a" providerId="ADAL" clId="{5C2CD6D4-C7A9-4CEF-AA9C-BC2977F70622}" dt="2024-02-22T13:36:35.267" v="56793"/>
          <ac:graphicFrameMkLst>
            <pc:docMk/>
            <pc:sldMk cId="4171510167" sldId="2147483615"/>
            <ac:graphicFrameMk id="13" creationId="{034AEA76-5AE2-01DD-180F-8BA7BC68C55D}"/>
          </ac:graphicFrameMkLst>
        </pc:graphicFrameChg>
        <pc:graphicFrameChg chg="mod ord modGraphic">
          <ac:chgData name="Abdi, Adnan" userId="503e002c-9b3b-4180-87fb-acabeb2b158a" providerId="ADAL" clId="{5C2CD6D4-C7A9-4CEF-AA9C-BC2977F70622}" dt="2024-02-22T13:36:35.268" v="56795"/>
          <ac:graphicFrameMkLst>
            <pc:docMk/>
            <pc:sldMk cId="4171510167" sldId="2147483615"/>
            <ac:graphicFrameMk id="15" creationId="{3B1F5321-C599-3836-CEFC-2D505ADE8D48}"/>
          </ac:graphicFrameMkLst>
        </pc:graphicFrameChg>
        <pc:graphicFrameChg chg="mod">
          <ac:chgData name="Abdi, Adnan" userId="503e002c-9b3b-4180-87fb-acabeb2b158a" providerId="ADAL" clId="{5C2CD6D4-C7A9-4CEF-AA9C-BC2977F70622}" dt="2024-02-22T13:36:35.296" v="56828"/>
          <ac:graphicFrameMkLst>
            <pc:docMk/>
            <pc:sldMk cId="4171510167" sldId="2147483615"/>
            <ac:graphicFrameMk id="24" creationId="{00000000-0000-0000-0000-000000000000}"/>
          </ac:graphicFrameMkLst>
        </pc:graphicFrameChg>
        <pc:picChg chg="mod">
          <ac:chgData name="Abdi, Adnan" userId="503e002c-9b3b-4180-87fb-acabeb2b158a" providerId="ADAL" clId="{5C2CD6D4-C7A9-4CEF-AA9C-BC2977F70622}" dt="2024-02-22T13:36:35.269" v="56796"/>
          <ac:picMkLst>
            <pc:docMk/>
            <pc:sldMk cId="4171510167" sldId="2147483615"/>
            <ac:picMk id="18" creationId="{A9B26D04-B5F6-23B8-2CE4-1C8F80A20AAE}"/>
          </ac:picMkLst>
        </pc:picChg>
        <pc:picChg chg="mod">
          <ac:chgData name="Abdi, Adnan" userId="503e002c-9b3b-4180-87fb-acabeb2b158a" providerId="ADAL" clId="{5C2CD6D4-C7A9-4CEF-AA9C-BC2977F70622}" dt="2024-02-22T13:36:35.269" v="56797"/>
          <ac:picMkLst>
            <pc:docMk/>
            <pc:sldMk cId="4171510167" sldId="2147483615"/>
            <ac:picMk id="22" creationId="{75112055-35FD-70CB-06F7-9C2BB0380330}"/>
          </ac:picMkLst>
        </pc:picChg>
        <pc:picChg chg="mod">
          <ac:chgData name="Abdi, Adnan" userId="503e002c-9b3b-4180-87fb-acabeb2b158a" providerId="ADAL" clId="{5C2CD6D4-C7A9-4CEF-AA9C-BC2977F70622}" dt="2024-02-22T13:36:35.270" v="56798"/>
          <ac:picMkLst>
            <pc:docMk/>
            <pc:sldMk cId="4171510167" sldId="2147483615"/>
            <ac:picMk id="25" creationId="{18B419F6-765A-1096-5F99-965937FAEBD2}"/>
          </ac:picMkLst>
        </pc:picChg>
        <pc:picChg chg="mod">
          <ac:chgData name="Abdi, Adnan" userId="503e002c-9b3b-4180-87fb-acabeb2b158a" providerId="ADAL" clId="{5C2CD6D4-C7A9-4CEF-AA9C-BC2977F70622}" dt="2024-02-22T13:36:35.270" v="56799"/>
          <ac:picMkLst>
            <pc:docMk/>
            <pc:sldMk cId="4171510167" sldId="2147483615"/>
            <ac:picMk id="27" creationId="{2DD46412-CC92-7A36-A651-963F75BDB18F}"/>
          </ac:picMkLst>
        </pc:picChg>
        <pc:picChg chg="mod">
          <ac:chgData name="Abdi, Adnan" userId="503e002c-9b3b-4180-87fb-acabeb2b158a" providerId="ADAL" clId="{5C2CD6D4-C7A9-4CEF-AA9C-BC2977F70622}" dt="2024-02-22T13:36:35.271" v="56800"/>
          <ac:picMkLst>
            <pc:docMk/>
            <pc:sldMk cId="4171510167" sldId="2147483615"/>
            <ac:picMk id="29" creationId="{1602B96D-0128-A78E-EEED-0A01AD84FB81}"/>
          </ac:picMkLst>
        </pc:picChg>
        <pc:picChg chg="mod">
          <ac:chgData name="Abdi, Adnan" userId="503e002c-9b3b-4180-87fb-acabeb2b158a" providerId="ADAL" clId="{5C2CD6D4-C7A9-4CEF-AA9C-BC2977F70622}" dt="2024-02-22T13:36:35.271" v="56801"/>
          <ac:picMkLst>
            <pc:docMk/>
            <pc:sldMk cId="4171510167" sldId="2147483615"/>
            <ac:picMk id="30" creationId="{EA6B4B26-1482-3ED7-3D67-201D2870CE61}"/>
          </ac:picMkLst>
        </pc:picChg>
        <pc:picChg chg="mod">
          <ac:chgData name="Abdi, Adnan" userId="503e002c-9b3b-4180-87fb-acabeb2b158a" providerId="ADAL" clId="{5C2CD6D4-C7A9-4CEF-AA9C-BC2977F70622}" dt="2024-02-22T13:36:35.272" v="56802"/>
          <ac:picMkLst>
            <pc:docMk/>
            <pc:sldMk cId="4171510167" sldId="2147483615"/>
            <ac:picMk id="32" creationId="{1BEE0AF3-3C34-B472-C3EE-DCBAD77DC808}"/>
          </ac:picMkLst>
        </pc:picChg>
        <pc:picChg chg="mod">
          <ac:chgData name="Abdi, Adnan" userId="503e002c-9b3b-4180-87fb-acabeb2b158a" providerId="ADAL" clId="{5C2CD6D4-C7A9-4CEF-AA9C-BC2977F70622}" dt="2024-02-22T13:36:35.272" v="56803"/>
          <ac:picMkLst>
            <pc:docMk/>
            <pc:sldMk cId="4171510167" sldId="2147483615"/>
            <ac:picMk id="33" creationId="{E4CA3237-F09B-F28C-2925-CB01DAB8D486}"/>
          </ac:picMkLst>
        </pc:picChg>
        <pc:picChg chg="mod">
          <ac:chgData name="Abdi, Adnan" userId="503e002c-9b3b-4180-87fb-acabeb2b158a" providerId="ADAL" clId="{5C2CD6D4-C7A9-4CEF-AA9C-BC2977F70622}" dt="2024-02-22T13:36:35.273" v="56804"/>
          <ac:picMkLst>
            <pc:docMk/>
            <pc:sldMk cId="4171510167" sldId="2147483615"/>
            <ac:picMk id="34" creationId="{E3D0418D-7D9D-6529-B9C2-59893063A6C2}"/>
          </ac:picMkLst>
        </pc:picChg>
        <pc:picChg chg="mod">
          <ac:chgData name="Abdi, Adnan" userId="503e002c-9b3b-4180-87fb-acabeb2b158a" providerId="ADAL" clId="{5C2CD6D4-C7A9-4CEF-AA9C-BC2977F70622}" dt="2024-02-22T13:36:35.273" v="56805"/>
          <ac:picMkLst>
            <pc:docMk/>
            <pc:sldMk cId="4171510167" sldId="2147483615"/>
            <ac:picMk id="38" creationId="{ED967D85-1894-149F-DDAA-6BEF9A442EEB}"/>
          </ac:picMkLst>
        </pc:picChg>
        <pc:picChg chg="mod">
          <ac:chgData name="Abdi, Adnan" userId="503e002c-9b3b-4180-87fb-acabeb2b158a" providerId="ADAL" clId="{5C2CD6D4-C7A9-4CEF-AA9C-BC2977F70622}" dt="2024-02-22T13:36:35.274" v="56806"/>
          <ac:picMkLst>
            <pc:docMk/>
            <pc:sldMk cId="4171510167" sldId="2147483615"/>
            <ac:picMk id="42" creationId="{D2CF4420-946F-E189-75B0-3083EF9206E0}"/>
          </ac:picMkLst>
        </pc:picChg>
        <pc:picChg chg="mod">
          <ac:chgData name="Abdi, Adnan" userId="503e002c-9b3b-4180-87fb-acabeb2b158a" providerId="ADAL" clId="{5C2CD6D4-C7A9-4CEF-AA9C-BC2977F70622}" dt="2024-02-22T13:36:35.274" v="56807"/>
          <ac:picMkLst>
            <pc:docMk/>
            <pc:sldMk cId="4171510167" sldId="2147483615"/>
            <ac:picMk id="43" creationId="{4C98D5FB-323B-CE21-F506-C8BA66ED4887}"/>
          </ac:picMkLst>
        </pc:picChg>
        <pc:picChg chg="mod">
          <ac:chgData name="Abdi, Adnan" userId="503e002c-9b3b-4180-87fb-acabeb2b158a" providerId="ADAL" clId="{5C2CD6D4-C7A9-4CEF-AA9C-BC2977F70622}" dt="2024-02-22T13:36:35.275" v="56808"/>
          <ac:picMkLst>
            <pc:docMk/>
            <pc:sldMk cId="4171510167" sldId="2147483615"/>
            <ac:picMk id="45" creationId="{B59C6327-A854-8B4C-6B18-5DBCC66E8A24}"/>
          </ac:picMkLst>
        </pc:picChg>
        <pc:picChg chg="mod">
          <ac:chgData name="Abdi, Adnan" userId="503e002c-9b3b-4180-87fb-acabeb2b158a" providerId="ADAL" clId="{5C2CD6D4-C7A9-4CEF-AA9C-BC2977F70622}" dt="2024-02-22T13:36:35.275" v="56809"/>
          <ac:picMkLst>
            <pc:docMk/>
            <pc:sldMk cId="4171510167" sldId="2147483615"/>
            <ac:picMk id="46" creationId="{F161FD06-DAB5-4A0E-B278-4B7961D0CA28}"/>
          </ac:picMkLst>
        </pc:picChg>
        <pc:picChg chg="mod">
          <ac:chgData name="Abdi, Adnan" userId="503e002c-9b3b-4180-87fb-acabeb2b158a" providerId="ADAL" clId="{5C2CD6D4-C7A9-4CEF-AA9C-BC2977F70622}" dt="2024-02-22T13:36:35.276" v="56810"/>
          <ac:picMkLst>
            <pc:docMk/>
            <pc:sldMk cId="4171510167" sldId="2147483615"/>
            <ac:picMk id="47" creationId="{86C8C553-44F6-E077-AA3E-ADCA837B6C31}"/>
          </ac:picMkLst>
        </pc:picChg>
        <pc:picChg chg="mod">
          <ac:chgData name="Abdi, Adnan" userId="503e002c-9b3b-4180-87fb-acabeb2b158a" providerId="ADAL" clId="{5C2CD6D4-C7A9-4CEF-AA9C-BC2977F70622}" dt="2024-02-22T13:36:35.276" v="56811"/>
          <ac:picMkLst>
            <pc:docMk/>
            <pc:sldMk cId="4171510167" sldId="2147483615"/>
            <ac:picMk id="48" creationId="{D1838D56-682A-D7F6-7B9A-DC0EA7987476}"/>
          </ac:picMkLst>
        </pc:picChg>
        <pc:picChg chg="mod">
          <ac:chgData name="Abdi, Adnan" userId="503e002c-9b3b-4180-87fb-acabeb2b158a" providerId="ADAL" clId="{5C2CD6D4-C7A9-4CEF-AA9C-BC2977F70622}" dt="2024-02-22T13:36:35.277" v="56812"/>
          <ac:picMkLst>
            <pc:docMk/>
            <pc:sldMk cId="4171510167" sldId="2147483615"/>
            <ac:picMk id="49" creationId="{AF61ACC4-0E33-142F-FEBC-E411C2251192}"/>
          </ac:picMkLst>
        </pc:picChg>
        <pc:picChg chg="mod ord">
          <ac:chgData name="Abdi, Adnan" userId="503e002c-9b3b-4180-87fb-acabeb2b158a" providerId="ADAL" clId="{5C2CD6D4-C7A9-4CEF-AA9C-BC2977F70622}" dt="2024-02-22T13:36:35.279" v="56814"/>
          <ac:picMkLst>
            <pc:docMk/>
            <pc:sldMk cId="4171510167" sldId="2147483615"/>
            <ac:picMk id="50" creationId="{37981C4D-C09E-FDFB-5E86-71C8182D638A}"/>
          </ac:picMkLst>
        </pc:picChg>
        <pc:picChg chg="mod">
          <ac:chgData name="Abdi, Adnan" userId="503e002c-9b3b-4180-87fb-acabeb2b158a" providerId="ADAL" clId="{5C2CD6D4-C7A9-4CEF-AA9C-BC2977F70622}" dt="2024-02-22T13:36:35.279" v="56815"/>
          <ac:picMkLst>
            <pc:docMk/>
            <pc:sldMk cId="4171510167" sldId="2147483615"/>
            <ac:picMk id="51" creationId="{F286D917-997A-C269-3C35-2EFFA79E0B4F}"/>
          </ac:picMkLst>
        </pc:picChg>
        <pc:picChg chg="mod">
          <ac:chgData name="Abdi, Adnan" userId="503e002c-9b3b-4180-87fb-acabeb2b158a" providerId="ADAL" clId="{5C2CD6D4-C7A9-4CEF-AA9C-BC2977F70622}" dt="2024-02-22T13:36:35.280" v="56816"/>
          <ac:picMkLst>
            <pc:docMk/>
            <pc:sldMk cId="4171510167" sldId="2147483615"/>
            <ac:picMk id="52" creationId="{05AD413F-E587-906D-7B3D-07549DDB1649}"/>
          </ac:picMkLst>
        </pc:picChg>
        <pc:picChg chg="mod">
          <ac:chgData name="Abdi, Adnan" userId="503e002c-9b3b-4180-87fb-acabeb2b158a" providerId="ADAL" clId="{5C2CD6D4-C7A9-4CEF-AA9C-BC2977F70622}" dt="2024-02-22T13:36:35.281" v="56817"/>
          <ac:picMkLst>
            <pc:docMk/>
            <pc:sldMk cId="4171510167" sldId="2147483615"/>
            <ac:picMk id="53" creationId="{7AA5D0BB-7DDB-E496-F0A7-BFFF3A2AFA71}"/>
          </ac:picMkLst>
        </pc:picChg>
        <pc:picChg chg="mod">
          <ac:chgData name="Abdi, Adnan" userId="503e002c-9b3b-4180-87fb-acabeb2b158a" providerId="ADAL" clId="{5C2CD6D4-C7A9-4CEF-AA9C-BC2977F70622}" dt="2024-02-22T13:36:35.281" v="56818"/>
          <ac:picMkLst>
            <pc:docMk/>
            <pc:sldMk cId="4171510167" sldId="2147483615"/>
            <ac:picMk id="54" creationId="{102B9346-DC6D-8617-6A15-E45F1980E161}"/>
          </ac:picMkLst>
        </pc:picChg>
        <pc:picChg chg="mod">
          <ac:chgData name="Abdi, Adnan" userId="503e002c-9b3b-4180-87fb-acabeb2b158a" providerId="ADAL" clId="{5C2CD6D4-C7A9-4CEF-AA9C-BC2977F70622}" dt="2024-02-22T13:36:35.282" v="56819"/>
          <ac:picMkLst>
            <pc:docMk/>
            <pc:sldMk cId="4171510167" sldId="2147483615"/>
            <ac:picMk id="55" creationId="{8315A803-FE87-BCBA-CE5D-98E56AD99C0B}"/>
          </ac:picMkLst>
        </pc:picChg>
        <pc:picChg chg="mod">
          <ac:chgData name="Abdi, Adnan" userId="503e002c-9b3b-4180-87fb-acabeb2b158a" providerId="ADAL" clId="{5C2CD6D4-C7A9-4CEF-AA9C-BC2977F70622}" dt="2024-02-22T13:36:35.283" v="56820"/>
          <ac:picMkLst>
            <pc:docMk/>
            <pc:sldMk cId="4171510167" sldId="2147483615"/>
            <ac:picMk id="56" creationId="{F2C1BD3F-3928-1C9F-CE47-F0416021C5D3}"/>
          </ac:picMkLst>
        </pc:picChg>
        <pc:picChg chg="mod">
          <ac:chgData name="Abdi, Adnan" userId="503e002c-9b3b-4180-87fb-acabeb2b158a" providerId="ADAL" clId="{5C2CD6D4-C7A9-4CEF-AA9C-BC2977F70622}" dt="2024-02-22T13:36:35.283" v="56821"/>
          <ac:picMkLst>
            <pc:docMk/>
            <pc:sldMk cId="4171510167" sldId="2147483615"/>
            <ac:picMk id="57" creationId="{E059E7A7-2B28-BD3F-2D23-7F78ED641243}"/>
          </ac:picMkLst>
        </pc:picChg>
        <pc:picChg chg="mod">
          <ac:chgData name="Abdi, Adnan" userId="503e002c-9b3b-4180-87fb-acabeb2b158a" providerId="ADAL" clId="{5C2CD6D4-C7A9-4CEF-AA9C-BC2977F70622}" dt="2024-02-22T13:36:35.284" v="56822"/>
          <ac:picMkLst>
            <pc:docMk/>
            <pc:sldMk cId="4171510167" sldId="2147483615"/>
            <ac:picMk id="58" creationId="{C1F2F6E9-69C6-4EE0-005C-6575DC41143C}"/>
          </ac:picMkLst>
        </pc:picChg>
        <pc:picChg chg="mod">
          <ac:chgData name="Abdi, Adnan" userId="503e002c-9b3b-4180-87fb-acabeb2b158a" providerId="ADAL" clId="{5C2CD6D4-C7A9-4CEF-AA9C-BC2977F70622}" dt="2024-02-22T13:36:35.285" v="56823"/>
          <ac:picMkLst>
            <pc:docMk/>
            <pc:sldMk cId="4171510167" sldId="2147483615"/>
            <ac:picMk id="59" creationId="{55D6CFEF-B126-63CE-5659-AFEDEBF8351E}"/>
          </ac:picMkLst>
        </pc:picChg>
        <pc:picChg chg="mod">
          <ac:chgData name="Abdi, Adnan" userId="503e002c-9b3b-4180-87fb-acabeb2b158a" providerId="ADAL" clId="{5C2CD6D4-C7A9-4CEF-AA9C-BC2977F70622}" dt="2024-02-22T13:36:35.285" v="56824"/>
          <ac:picMkLst>
            <pc:docMk/>
            <pc:sldMk cId="4171510167" sldId="2147483615"/>
            <ac:picMk id="60" creationId="{5A0F1E49-A902-EA7E-BBB0-2D42B2D83FE7}"/>
          </ac:picMkLst>
        </pc:picChg>
        <pc:picChg chg="mod topLvl">
          <ac:chgData name="Abdi, Adnan" userId="503e002c-9b3b-4180-87fb-acabeb2b158a" providerId="ADAL" clId="{5C2CD6D4-C7A9-4CEF-AA9C-BC2977F70622}" dt="2024-02-22T13:36:35.239" v="56745"/>
          <ac:picMkLst>
            <pc:docMk/>
            <pc:sldMk cId="4171510167" sldId="2147483615"/>
            <ac:picMk id="106" creationId="{92AEEC6E-C126-41CA-529B-9B990FD87843}"/>
          </ac:picMkLst>
        </pc:picChg>
        <pc:picChg chg="add del mod">
          <ac:chgData name="Abdi, Adnan" userId="503e002c-9b3b-4180-87fb-acabeb2b158a" providerId="ADAL" clId="{5C2CD6D4-C7A9-4CEF-AA9C-BC2977F70622}" dt="2024-02-21T15:52:13.658" v="44587" actId="478"/>
          <ac:picMkLst>
            <pc:docMk/>
            <pc:sldMk cId="4171510167" sldId="2147483615"/>
            <ac:picMk id="108" creationId="{E9883F7F-71EF-88D8-6E10-144248AFCB75}"/>
          </ac:picMkLst>
        </pc:picChg>
        <pc:picChg chg="mod topLvl">
          <ac:chgData name="Abdi, Adnan" userId="503e002c-9b3b-4180-87fb-acabeb2b158a" providerId="ADAL" clId="{5C2CD6D4-C7A9-4CEF-AA9C-BC2977F70622}" dt="2024-02-22T09:18:11.346" v="55939" actId="1038"/>
          <ac:picMkLst>
            <pc:docMk/>
            <pc:sldMk cId="4171510167" sldId="2147483615"/>
            <ac:picMk id="110" creationId="{88061E43-EE53-A20E-D441-546A2A5AC6FE}"/>
          </ac:picMkLst>
        </pc:picChg>
        <pc:picChg chg="mod topLvl">
          <ac:chgData name="Abdi, Adnan" userId="503e002c-9b3b-4180-87fb-acabeb2b158a" providerId="ADAL" clId="{5C2CD6D4-C7A9-4CEF-AA9C-BC2977F70622}" dt="2024-02-22T09:18:11.346" v="55939" actId="1038"/>
          <ac:picMkLst>
            <pc:docMk/>
            <pc:sldMk cId="4171510167" sldId="2147483615"/>
            <ac:picMk id="114" creationId="{D612E89F-C331-1441-B82B-246085A4B2F0}"/>
          </ac:picMkLst>
        </pc:picChg>
        <pc:picChg chg="mod topLvl">
          <ac:chgData name="Abdi, Adnan" userId="503e002c-9b3b-4180-87fb-acabeb2b158a" providerId="ADAL" clId="{5C2CD6D4-C7A9-4CEF-AA9C-BC2977F70622}" dt="2024-02-22T09:18:11.346" v="55939" actId="1038"/>
          <ac:picMkLst>
            <pc:docMk/>
            <pc:sldMk cId="4171510167" sldId="2147483615"/>
            <ac:picMk id="116" creationId="{28DB033B-1E08-9CAB-1096-E58EF0D912A3}"/>
          </ac:picMkLst>
        </pc:picChg>
        <pc:picChg chg="mod topLvl">
          <ac:chgData name="Abdi, Adnan" userId="503e002c-9b3b-4180-87fb-acabeb2b158a" providerId="ADAL" clId="{5C2CD6D4-C7A9-4CEF-AA9C-BC2977F70622}" dt="2024-02-22T09:18:11.346" v="55939" actId="1038"/>
          <ac:picMkLst>
            <pc:docMk/>
            <pc:sldMk cId="4171510167" sldId="2147483615"/>
            <ac:picMk id="117" creationId="{40558822-E8E3-8314-B23C-10401673B24C}"/>
          </ac:picMkLst>
        </pc:picChg>
        <pc:picChg chg="add mod ord">
          <ac:chgData name="Abdi, Adnan" userId="503e002c-9b3b-4180-87fb-acabeb2b158a" providerId="ADAL" clId="{5C2CD6D4-C7A9-4CEF-AA9C-BC2977F70622}" dt="2024-02-22T13:36:35.212" v="56706"/>
          <ac:picMkLst>
            <pc:docMk/>
            <pc:sldMk cId="4171510167" sldId="2147483615"/>
            <ac:picMk id="122" creationId="{8DD119BE-C135-195A-C802-4BCBAA1F464F}"/>
          </ac:picMkLst>
        </pc:picChg>
        <pc:picChg chg="mod topLvl">
          <ac:chgData name="Abdi, Adnan" userId="503e002c-9b3b-4180-87fb-acabeb2b158a" providerId="ADAL" clId="{5C2CD6D4-C7A9-4CEF-AA9C-BC2977F70622}" dt="2024-02-22T09:18:11.346" v="55939" actId="1038"/>
          <ac:picMkLst>
            <pc:docMk/>
            <pc:sldMk cId="4171510167" sldId="2147483615"/>
            <ac:picMk id="123" creationId="{6D2A08E9-7662-F38D-0340-50B87BA8F12C}"/>
          </ac:picMkLst>
        </pc:picChg>
        <pc:picChg chg="mod topLvl">
          <ac:chgData name="Abdi, Adnan" userId="503e002c-9b3b-4180-87fb-acabeb2b158a" providerId="ADAL" clId="{5C2CD6D4-C7A9-4CEF-AA9C-BC2977F70622}" dt="2024-02-22T09:18:11.346" v="55939" actId="1038"/>
          <ac:picMkLst>
            <pc:docMk/>
            <pc:sldMk cId="4171510167" sldId="2147483615"/>
            <ac:picMk id="127" creationId="{628CB6FA-CD13-13C9-07CB-EAE4DD34C022}"/>
          </ac:picMkLst>
        </pc:picChg>
        <pc:picChg chg="mod topLvl">
          <ac:chgData name="Abdi, Adnan" userId="503e002c-9b3b-4180-87fb-acabeb2b158a" providerId="ADAL" clId="{5C2CD6D4-C7A9-4CEF-AA9C-BC2977F70622}" dt="2024-02-22T09:18:11.346" v="55939" actId="1038"/>
          <ac:picMkLst>
            <pc:docMk/>
            <pc:sldMk cId="4171510167" sldId="2147483615"/>
            <ac:picMk id="128" creationId="{CA9E7F12-DEAC-52D7-EBBA-BEF37F26C386}"/>
          </ac:picMkLst>
        </pc:picChg>
        <pc:picChg chg="mod topLvl">
          <ac:chgData name="Abdi, Adnan" userId="503e002c-9b3b-4180-87fb-acabeb2b158a" providerId="ADAL" clId="{5C2CD6D4-C7A9-4CEF-AA9C-BC2977F70622}" dt="2024-02-22T13:36:35.256" v="56774"/>
          <ac:picMkLst>
            <pc:docMk/>
            <pc:sldMk cId="4171510167" sldId="2147483615"/>
            <ac:picMk id="129" creationId="{7CD6E342-C7BE-2494-D714-E842C263A33D}"/>
          </ac:picMkLst>
        </pc:picChg>
        <pc:picChg chg="mod topLvl">
          <ac:chgData name="Abdi, Adnan" userId="503e002c-9b3b-4180-87fb-acabeb2b158a" providerId="ADAL" clId="{5C2CD6D4-C7A9-4CEF-AA9C-BC2977F70622}" dt="2024-02-22T09:18:11.346" v="55939" actId="1038"/>
          <ac:picMkLst>
            <pc:docMk/>
            <pc:sldMk cId="4171510167" sldId="2147483615"/>
            <ac:picMk id="139" creationId="{DE3A5EDA-5E28-C09A-516F-AB86AC6ED5FD}"/>
          </ac:picMkLst>
        </pc:picChg>
        <pc:picChg chg="mod topLvl">
          <ac:chgData name="Abdi, Adnan" userId="503e002c-9b3b-4180-87fb-acabeb2b158a" providerId="ADAL" clId="{5C2CD6D4-C7A9-4CEF-AA9C-BC2977F70622}" dt="2024-02-22T09:18:11.346" v="55939" actId="1038"/>
          <ac:picMkLst>
            <pc:docMk/>
            <pc:sldMk cId="4171510167" sldId="2147483615"/>
            <ac:picMk id="142" creationId="{1513D5D6-FBF4-EACF-D16F-BC8CC43575B6}"/>
          </ac:picMkLst>
        </pc:picChg>
        <pc:picChg chg="mod topLvl">
          <ac:chgData name="Abdi, Adnan" userId="503e002c-9b3b-4180-87fb-acabeb2b158a" providerId="ADAL" clId="{5C2CD6D4-C7A9-4CEF-AA9C-BC2977F70622}" dt="2024-02-22T09:18:11.346" v="55939" actId="1038"/>
          <ac:picMkLst>
            <pc:docMk/>
            <pc:sldMk cId="4171510167" sldId="2147483615"/>
            <ac:picMk id="145" creationId="{228B29F5-E920-F99F-68C6-DF89712C7114}"/>
          </ac:picMkLst>
        </pc:picChg>
        <pc:picChg chg="mod ord topLvl">
          <ac:chgData name="Abdi, Adnan" userId="503e002c-9b3b-4180-87fb-acabeb2b158a" providerId="ADAL" clId="{5C2CD6D4-C7A9-4CEF-AA9C-BC2977F70622}" dt="2024-02-22T09:18:11.346" v="55939" actId="1038"/>
          <ac:picMkLst>
            <pc:docMk/>
            <pc:sldMk cId="4171510167" sldId="2147483615"/>
            <ac:picMk id="147" creationId="{7BBB5E52-0C1C-D853-BDED-48E6981FE801}"/>
          </ac:picMkLst>
        </pc:picChg>
        <pc:picChg chg="mod topLvl">
          <ac:chgData name="Abdi, Adnan" userId="503e002c-9b3b-4180-87fb-acabeb2b158a" providerId="ADAL" clId="{5C2CD6D4-C7A9-4CEF-AA9C-BC2977F70622}" dt="2024-02-22T09:18:11.346" v="55939" actId="1038"/>
          <ac:picMkLst>
            <pc:docMk/>
            <pc:sldMk cId="4171510167" sldId="2147483615"/>
            <ac:picMk id="162" creationId="{237C2B18-A5F0-1CE8-7666-42A6949AE3D5}"/>
          </ac:picMkLst>
        </pc:picChg>
        <pc:picChg chg="mod topLvl">
          <ac:chgData name="Abdi, Adnan" userId="503e002c-9b3b-4180-87fb-acabeb2b158a" providerId="ADAL" clId="{5C2CD6D4-C7A9-4CEF-AA9C-BC2977F70622}" dt="2024-02-22T13:36:35.257" v="56775"/>
          <ac:picMkLst>
            <pc:docMk/>
            <pc:sldMk cId="4171510167" sldId="2147483615"/>
            <ac:picMk id="167" creationId="{2E1CE657-9DA8-D066-CEF1-AEECB564A2D6}"/>
          </ac:picMkLst>
        </pc:picChg>
        <pc:picChg chg="mod topLvl">
          <ac:chgData name="Abdi, Adnan" userId="503e002c-9b3b-4180-87fb-acabeb2b158a" providerId="ADAL" clId="{5C2CD6D4-C7A9-4CEF-AA9C-BC2977F70622}" dt="2024-02-22T13:36:35.245" v="56752"/>
          <ac:picMkLst>
            <pc:docMk/>
            <pc:sldMk cId="4171510167" sldId="2147483615"/>
            <ac:picMk id="169" creationId="{F34688AB-3301-76DB-3217-96DA529C5A13}"/>
          </ac:picMkLst>
        </pc:picChg>
        <pc:picChg chg="mod topLvl">
          <ac:chgData name="Abdi, Adnan" userId="503e002c-9b3b-4180-87fb-acabeb2b158a" providerId="ADAL" clId="{5C2CD6D4-C7A9-4CEF-AA9C-BC2977F70622}" dt="2024-02-22T13:36:35.244" v="56751"/>
          <ac:picMkLst>
            <pc:docMk/>
            <pc:sldMk cId="4171510167" sldId="2147483615"/>
            <ac:picMk id="175" creationId="{84998F23-61D4-CF2C-A5F1-6CAC77F6B60D}"/>
          </ac:picMkLst>
        </pc:picChg>
        <pc:picChg chg="mod topLvl">
          <ac:chgData name="Abdi, Adnan" userId="503e002c-9b3b-4180-87fb-acabeb2b158a" providerId="ADAL" clId="{5C2CD6D4-C7A9-4CEF-AA9C-BC2977F70622}" dt="2024-02-22T13:36:35.245" v="56753"/>
          <ac:picMkLst>
            <pc:docMk/>
            <pc:sldMk cId="4171510167" sldId="2147483615"/>
            <ac:picMk id="1034" creationId="{E876DF3D-B7AA-F8ED-26DD-010C7E1B42B6}"/>
          </ac:picMkLst>
        </pc:picChg>
        <pc:picChg chg="mod topLvl">
          <ac:chgData name="Abdi, Adnan" userId="503e002c-9b3b-4180-87fb-acabeb2b158a" providerId="ADAL" clId="{5C2CD6D4-C7A9-4CEF-AA9C-BC2977F70622}" dt="2024-02-22T13:36:35.246" v="56754"/>
          <ac:picMkLst>
            <pc:docMk/>
            <pc:sldMk cId="4171510167" sldId="2147483615"/>
            <ac:picMk id="1036" creationId="{61350C6A-5C7C-7567-2D4F-10B01A060F81}"/>
          </ac:picMkLst>
        </pc:picChg>
        <pc:picChg chg="mod topLvl">
          <ac:chgData name="Abdi, Adnan" userId="503e002c-9b3b-4180-87fb-acabeb2b158a" providerId="ADAL" clId="{5C2CD6D4-C7A9-4CEF-AA9C-BC2977F70622}" dt="2024-02-22T13:36:35.250" v="56761"/>
          <ac:picMkLst>
            <pc:docMk/>
            <pc:sldMk cId="4171510167" sldId="2147483615"/>
            <ac:picMk id="1045" creationId="{C336F53D-E40F-BC31-9935-40090A8C6A42}"/>
          </ac:picMkLst>
        </pc:picChg>
        <pc:picChg chg="mod topLvl">
          <ac:chgData name="Abdi, Adnan" userId="503e002c-9b3b-4180-87fb-acabeb2b158a" providerId="ADAL" clId="{5C2CD6D4-C7A9-4CEF-AA9C-BC2977F70622}" dt="2024-02-22T13:36:35.248" v="56757"/>
          <ac:picMkLst>
            <pc:docMk/>
            <pc:sldMk cId="4171510167" sldId="2147483615"/>
            <ac:picMk id="1047" creationId="{D6299A9F-497A-6671-62EF-E0AA5D6C0DD2}"/>
          </ac:picMkLst>
        </pc:picChg>
        <pc:picChg chg="mod topLvl">
          <ac:chgData name="Abdi, Adnan" userId="503e002c-9b3b-4180-87fb-acabeb2b158a" providerId="ADAL" clId="{5C2CD6D4-C7A9-4CEF-AA9C-BC2977F70622}" dt="2024-02-22T09:18:11.346" v="55939" actId="1038"/>
          <ac:picMkLst>
            <pc:docMk/>
            <pc:sldMk cId="4171510167" sldId="2147483615"/>
            <ac:picMk id="1049" creationId="{E7A5229F-8BBE-3747-1074-4EF24435E7C4}"/>
          </ac:picMkLst>
        </pc:picChg>
        <pc:picChg chg="mod topLvl">
          <ac:chgData name="Abdi, Adnan" userId="503e002c-9b3b-4180-87fb-acabeb2b158a" providerId="ADAL" clId="{5C2CD6D4-C7A9-4CEF-AA9C-BC2977F70622}" dt="2024-02-22T13:36:35.247" v="56756"/>
          <ac:picMkLst>
            <pc:docMk/>
            <pc:sldMk cId="4171510167" sldId="2147483615"/>
            <ac:picMk id="1051" creationId="{DC835167-3332-98E0-EE5C-9AA2B5CF4902}"/>
          </ac:picMkLst>
        </pc:picChg>
        <pc:picChg chg="mod topLvl">
          <ac:chgData name="Abdi, Adnan" userId="503e002c-9b3b-4180-87fb-acabeb2b158a" providerId="ADAL" clId="{5C2CD6D4-C7A9-4CEF-AA9C-BC2977F70622}" dt="2024-02-22T09:18:11.346" v="55939" actId="1038"/>
          <ac:picMkLst>
            <pc:docMk/>
            <pc:sldMk cId="4171510167" sldId="2147483615"/>
            <ac:picMk id="1056" creationId="{A8274C55-6C75-AE9A-E6D7-B7673F4DEEAC}"/>
          </ac:picMkLst>
        </pc:picChg>
        <pc:picChg chg="mod topLvl">
          <ac:chgData name="Abdi, Adnan" userId="503e002c-9b3b-4180-87fb-acabeb2b158a" providerId="ADAL" clId="{5C2CD6D4-C7A9-4CEF-AA9C-BC2977F70622}" dt="2024-02-22T13:36:35.248" v="56758"/>
          <ac:picMkLst>
            <pc:docMk/>
            <pc:sldMk cId="4171510167" sldId="2147483615"/>
            <ac:picMk id="1057" creationId="{74992C1A-76E9-2E0E-9DD6-5FC0A320E809}"/>
          </ac:picMkLst>
        </pc:picChg>
        <pc:picChg chg="mod topLvl">
          <ac:chgData name="Abdi, Adnan" userId="503e002c-9b3b-4180-87fb-acabeb2b158a" providerId="ADAL" clId="{5C2CD6D4-C7A9-4CEF-AA9C-BC2977F70622}" dt="2024-02-22T13:36:35.249" v="56759"/>
          <ac:picMkLst>
            <pc:docMk/>
            <pc:sldMk cId="4171510167" sldId="2147483615"/>
            <ac:picMk id="1059" creationId="{3CF5D709-B471-F309-5838-771B9DE1E796}"/>
          </ac:picMkLst>
        </pc:picChg>
        <pc:picChg chg="mod topLvl">
          <ac:chgData name="Abdi, Adnan" userId="503e002c-9b3b-4180-87fb-acabeb2b158a" providerId="ADAL" clId="{5C2CD6D4-C7A9-4CEF-AA9C-BC2977F70622}" dt="2024-02-22T09:18:11.346" v="55939" actId="1038"/>
          <ac:picMkLst>
            <pc:docMk/>
            <pc:sldMk cId="4171510167" sldId="2147483615"/>
            <ac:picMk id="1060" creationId="{AAA32F3F-9B50-0860-D32C-B9D459AF25CA}"/>
          </ac:picMkLst>
        </pc:picChg>
        <pc:picChg chg="mod topLvl">
          <ac:chgData name="Abdi, Adnan" userId="503e002c-9b3b-4180-87fb-acabeb2b158a" providerId="ADAL" clId="{5C2CD6D4-C7A9-4CEF-AA9C-BC2977F70622}" dt="2024-02-22T13:36:35.255" v="56772"/>
          <ac:picMkLst>
            <pc:docMk/>
            <pc:sldMk cId="4171510167" sldId="2147483615"/>
            <ac:picMk id="1061" creationId="{A9BBE592-CE09-CA56-433F-3D264F4EC48C}"/>
          </ac:picMkLst>
        </pc:picChg>
        <pc:picChg chg="mod ord topLvl">
          <ac:chgData name="Abdi, Adnan" userId="503e002c-9b3b-4180-87fb-acabeb2b158a" providerId="ADAL" clId="{5C2CD6D4-C7A9-4CEF-AA9C-BC2977F70622}" dt="2024-02-22T09:18:11.346" v="55939" actId="1038"/>
          <ac:picMkLst>
            <pc:docMk/>
            <pc:sldMk cId="4171510167" sldId="2147483615"/>
            <ac:picMk id="1063" creationId="{F46D05C0-42F6-BDAF-67ED-11C11C9B457F}"/>
          </ac:picMkLst>
        </pc:picChg>
        <pc:picChg chg="mod topLvl">
          <ac:chgData name="Abdi, Adnan" userId="503e002c-9b3b-4180-87fb-acabeb2b158a" providerId="ADAL" clId="{5C2CD6D4-C7A9-4CEF-AA9C-BC2977F70622}" dt="2024-02-22T13:36:35.249" v="56760"/>
          <ac:picMkLst>
            <pc:docMk/>
            <pc:sldMk cId="4171510167" sldId="2147483615"/>
            <ac:picMk id="1065" creationId="{14D85C8E-AED8-7137-8D0F-F5771FADF041}"/>
          </ac:picMkLst>
        </pc:picChg>
        <pc:picChg chg="mod topLvl">
          <ac:chgData name="Abdi, Adnan" userId="503e002c-9b3b-4180-87fb-acabeb2b158a" providerId="ADAL" clId="{5C2CD6D4-C7A9-4CEF-AA9C-BC2977F70622}" dt="2024-02-22T13:36:35.247" v="56755"/>
          <ac:picMkLst>
            <pc:docMk/>
            <pc:sldMk cId="4171510167" sldId="2147483615"/>
            <ac:picMk id="1066" creationId="{ADF7F0F8-3AB9-41C2-E39E-2C840BC45E98}"/>
          </ac:picMkLst>
        </pc:picChg>
        <pc:picChg chg="mod">
          <ac:chgData name="Abdi, Adnan" userId="503e002c-9b3b-4180-87fb-acabeb2b158a" providerId="ADAL" clId="{5C2CD6D4-C7A9-4CEF-AA9C-BC2977F70622}" dt="2024-02-21T17:15:35.980" v="50575" actId="1076"/>
          <ac:picMkLst>
            <pc:docMk/>
            <pc:sldMk cId="4171510167" sldId="2147483615"/>
            <ac:picMk id="1158" creationId="{3E38DA46-CBFC-6CEC-2862-876FED18F3E8}"/>
          </ac:picMkLst>
        </pc:picChg>
        <pc:picChg chg="mod topLvl">
          <ac:chgData name="Abdi, Adnan" userId="503e002c-9b3b-4180-87fb-acabeb2b158a" providerId="ADAL" clId="{5C2CD6D4-C7A9-4CEF-AA9C-BC2977F70622}" dt="2024-02-22T13:36:35.256" v="56773"/>
          <ac:picMkLst>
            <pc:docMk/>
            <pc:sldMk cId="4171510167" sldId="2147483615"/>
            <ac:picMk id="1258" creationId="{EEF38A9A-1848-F56A-7601-03A5ECCDCE72}"/>
          </ac:picMkLst>
        </pc:picChg>
        <pc:picChg chg="mod topLvl">
          <ac:chgData name="Abdi, Adnan" userId="503e002c-9b3b-4180-87fb-acabeb2b158a" providerId="ADAL" clId="{5C2CD6D4-C7A9-4CEF-AA9C-BC2977F70622}" dt="2024-02-22T09:18:11.346" v="55939" actId="1038"/>
          <ac:picMkLst>
            <pc:docMk/>
            <pc:sldMk cId="4171510167" sldId="2147483615"/>
            <ac:picMk id="1272" creationId="{0E05A216-DE2B-3F04-50DA-EAE685FD24F9}"/>
          </ac:picMkLst>
        </pc:picChg>
        <pc:picChg chg="mod topLvl">
          <ac:chgData name="Abdi, Adnan" userId="503e002c-9b3b-4180-87fb-acabeb2b158a" providerId="ADAL" clId="{5C2CD6D4-C7A9-4CEF-AA9C-BC2977F70622}" dt="2024-02-22T09:18:11.346" v="55939" actId="1038"/>
          <ac:picMkLst>
            <pc:docMk/>
            <pc:sldMk cId="4171510167" sldId="2147483615"/>
            <ac:picMk id="1273" creationId="{E368146B-296C-34F3-8441-6EA1AD9A7AC7}"/>
          </ac:picMkLst>
        </pc:picChg>
        <pc:picChg chg="mod topLvl">
          <ac:chgData name="Abdi, Adnan" userId="503e002c-9b3b-4180-87fb-acabeb2b158a" providerId="ADAL" clId="{5C2CD6D4-C7A9-4CEF-AA9C-BC2977F70622}" dt="2024-02-22T09:18:11.346" v="55939" actId="1038"/>
          <ac:picMkLst>
            <pc:docMk/>
            <pc:sldMk cId="4171510167" sldId="2147483615"/>
            <ac:picMk id="1274" creationId="{85D62ED9-FEEB-802E-E017-93DF9A61E59D}"/>
          </ac:picMkLst>
        </pc:picChg>
        <pc:picChg chg="mod topLvl">
          <ac:chgData name="Abdi, Adnan" userId="503e002c-9b3b-4180-87fb-acabeb2b158a" providerId="ADAL" clId="{5C2CD6D4-C7A9-4CEF-AA9C-BC2977F70622}" dt="2024-02-22T09:18:11.346" v="55939" actId="1038"/>
          <ac:picMkLst>
            <pc:docMk/>
            <pc:sldMk cId="4171510167" sldId="2147483615"/>
            <ac:picMk id="1276" creationId="{9E418D8C-FCA4-4F81-7034-17F707068721}"/>
          </ac:picMkLst>
        </pc:picChg>
        <pc:cxnChg chg="mod ord topLvl">
          <ac:chgData name="Abdi, Adnan" userId="503e002c-9b3b-4180-87fb-acabeb2b158a" providerId="ADAL" clId="{5C2CD6D4-C7A9-4CEF-AA9C-BC2977F70622}" dt="2024-02-22T13:36:35.238" v="56744"/>
          <ac:cxnSpMkLst>
            <pc:docMk/>
            <pc:sldMk cId="4171510167" sldId="2147483615"/>
            <ac:cxnSpMk id="85" creationId="{7BFA9EF9-3D9A-B370-3D5C-81C8D24F1E35}"/>
          </ac:cxnSpMkLst>
        </pc:cxnChg>
        <pc:cxnChg chg="mod ord topLvl">
          <ac:chgData name="Abdi, Adnan" userId="503e002c-9b3b-4180-87fb-acabeb2b158a" providerId="ADAL" clId="{5C2CD6D4-C7A9-4CEF-AA9C-BC2977F70622}" dt="2024-02-22T13:36:35.223" v="56723"/>
          <ac:cxnSpMkLst>
            <pc:docMk/>
            <pc:sldMk cId="4171510167" sldId="2147483615"/>
            <ac:cxnSpMk id="87" creationId="{81D71726-5BBF-49A7-AECF-8FD13E067B16}"/>
          </ac:cxnSpMkLst>
        </pc:cxnChg>
        <pc:cxnChg chg="mod ord topLvl">
          <ac:chgData name="Abdi, Adnan" userId="503e002c-9b3b-4180-87fb-acabeb2b158a" providerId="ADAL" clId="{5C2CD6D4-C7A9-4CEF-AA9C-BC2977F70622}" dt="2024-02-22T13:36:35.221" v="56719"/>
          <ac:cxnSpMkLst>
            <pc:docMk/>
            <pc:sldMk cId="4171510167" sldId="2147483615"/>
            <ac:cxnSpMk id="94" creationId="{D115F4DA-040A-409E-8CD1-E4D3E5E496B9}"/>
          </ac:cxnSpMkLst>
        </pc:cxnChg>
        <pc:cxnChg chg="mod ord topLvl">
          <ac:chgData name="Abdi, Adnan" userId="503e002c-9b3b-4180-87fb-acabeb2b158a" providerId="ADAL" clId="{5C2CD6D4-C7A9-4CEF-AA9C-BC2977F70622}" dt="2024-02-22T13:36:35.216" v="56710"/>
          <ac:cxnSpMkLst>
            <pc:docMk/>
            <pc:sldMk cId="4171510167" sldId="2147483615"/>
            <ac:cxnSpMk id="121" creationId="{A182D112-7BA4-8D8C-3C3B-3C130D37F5CE}"/>
          </ac:cxnSpMkLst>
        </pc:cxnChg>
        <pc:cxnChg chg="mod ord topLvl">
          <ac:chgData name="Abdi, Adnan" userId="503e002c-9b3b-4180-87fb-acabeb2b158a" providerId="ADAL" clId="{5C2CD6D4-C7A9-4CEF-AA9C-BC2977F70622}" dt="2024-02-22T13:36:35.251" v="56763"/>
          <ac:cxnSpMkLst>
            <pc:docMk/>
            <pc:sldMk cId="4171510167" sldId="2147483615"/>
            <ac:cxnSpMk id="1068" creationId="{C063233F-A632-1D9F-1FF0-5BD212A5E587}"/>
          </ac:cxnSpMkLst>
        </pc:cxnChg>
        <pc:cxnChg chg="mod ord topLvl">
          <ac:chgData name="Abdi, Adnan" userId="503e002c-9b3b-4180-87fb-acabeb2b158a" providerId="ADAL" clId="{5C2CD6D4-C7A9-4CEF-AA9C-BC2977F70622}" dt="2024-02-22T13:36:35.252" v="56765"/>
          <ac:cxnSpMkLst>
            <pc:docMk/>
            <pc:sldMk cId="4171510167" sldId="2147483615"/>
            <ac:cxnSpMk id="1069" creationId="{326F7AD6-D109-7BA4-6184-095BC7C493B4}"/>
          </ac:cxnSpMkLst>
        </pc:cxnChg>
        <pc:cxnChg chg="mod ord topLvl">
          <ac:chgData name="Abdi, Adnan" userId="503e002c-9b3b-4180-87fb-acabeb2b158a" providerId="ADAL" clId="{5C2CD6D4-C7A9-4CEF-AA9C-BC2977F70622}" dt="2024-02-22T13:36:35.253" v="56767"/>
          <ac:cxnSpMkLst>
            <pc:docMk/>
            <pc:sldMk cId="4171510167" sldId="2147483615"/>
            <ac:cxnSpMk id="1072" creationId="{9DE98D2A-D3EE-CEE7-0BB5-B3AA86CD8706}"/>
          </ac:cxnSpMkLst>
        </pc:cxnChg>
        <pc:cxnChg chg="mod ord topLvl">
          <ac:chgData name="Abdi, Adnan" userId="503e002c-9b3b-4180-87fb-acabeb2b158a" providerId="ADAL" clId="{5C2CD6D4-C7A9-4CEF-AA9C-BC2977F70622}" dt="2024-02-22T13:36:35.254" v="56769"/>
          <ac:cxnSpMkLst>
            <pc:docMk/>
            <pc:sldMk cId="4171510167" sldId="2147483615"/>
            <ac:cxnSpMk id="1079" creationId="{74F52100-29B8-7B53-F80F-495C26F196C9}"/>
          </ac:cxnSpMkLst>
        </pc:cxnChg>
        <pc:cxnChg chg="mod ord topLvl">
          <ac:chgData name="Abdi, Adnan" userId="503e002c-9b3b-4180-87fb-acabeb2b158a" providerId="ADAL" clId="{5C2CD6D4-C7A9-4CEF-AA9C-BC2977F70622}" dt="2024-02-22T13:36:35.255" v="56771"/>
          <ac:cxnSpMkLst>
            <pc:docMk/>
            <pc:sldMk cId="4171510167" sldId="2147483615"/>
            <ac:cxnSpMk id="1084" creationId="{BAB7134C-ADB3-A352-A133-0844B7FA0350}"/>
          </ac:cxnSpMkLst>
        </pc:cxnChg>
      </pc:sldChg>
      <pc:sldChg chg="addSp modSp mod">
        <pc:chgData name="Abdi, Adnan" userId="503e002c-9b3b-4180-87fb-acabeb2b158a" providerId="ADAL" clId="{5C2CD6D4-C7A9-4CEF-AA9C-BC2977F70622}" dt="2024-02-26T09:10:21.674" v="73109"/>
        <pc:sldMkLst>
          <pc:docMk/>
          <pc:sldMk cId="4205166027" sldId="2147483616"/>
        </pc:sldMkLst>
        <pc:spChg chg="add mod">
          <ac:chgData name="Abdi, Adnan" userId="503e002c-9b3b-4180-87fb-acabeb2b158a" providerId="ADAL" clId="{5C2CD6D4-C7A9-4CEF-AA9C-BC2977F70622}" dt="2024-02-23T14:56:56.683" v="71409" actId="20577"/>
          <ac:spMkLst>
            <pc:docMk/>
            <pc:sldMk cId="4205166027" sldId="2147483616"/>
            <ac:spMk id="3" creationId="{C2914163-58A9-3DAA-B6A0-363146614978}"/>
          </ac:spMkLst>
        </pc:spChg>
        <pc:spChg chg="mod">
          <ac:chgData name="Abdi, Adnan" userId="503e002c-9b3b-4180-87fb-acabeb2b158a" providerId="ADAL" clId="{5C2CD6D4-C7A9-4CEF-AA9C-BC2977F70622}" dt="2024-02-22T14:45:46.753" v="58275" actId="14100"/>
          <ac:spMkLst>
            <pc:docMk/>
            <pc:sldMk cId="4205166027" sldId="2147483616"/>
            <ac:spMk id="4" creationId="{1ACE0363-4257-C076-AC52-76509DDD2E0C}"/>
          </ac:spMkLst>
        </pc:spChg>
        <pc:spChg chg="mod">
          <ac:chgData name="Abdi, Adnan" userId="503e002c-9b3b-4180-87fb-acabeb2b158a" providerId="ADAL" clId="{5C2CD6D4-C7A9-4CEF-AA9C-BC2977F70622}" dt="2024-02-26T09:10:21.674" v="73109"/>
          <ac:spMkLst>
            <pc:docMk/>
            <pc:sldMk cId="4205166027" sldId="2147483616"/>
            <ac:spMk id="9" creationId="{8B906931-74A7-2CB0-052E-7823C807FEED}"/>
          </ac:spMkLst>
        </pc:spChg>
        <pc:spChg chg="add mod">
          <ac:chgData name="Abdi, Adnan" userId="503e002c-9b3b-4180-87fb-acabeb2b158a" providerId="ADAL" clId="{5C2CD6D4-C7A9-4CEF-AA9C-BC2977F70622}" dt="2024-02-23T15:32:09.917" v="71465"/>
          <ac:spMkLst>
            <pc:docMk/>
            <pc:sldMk cId="4205166027" sldId="2147483616"/>
            <ac:spMk id="10" creationId="{A206C3BD-3FFF-0A34-08FF-0F16FF32F26F}"/>
          </ac:spMkLst>
        </pc:spChg>
        <pc:spChg chg="mod">
          <ac:chgData name="Abdi, Adnan" userId="503e002c-9b3b-4180-87fb-acabeb2b158a" providerId="ADAL" clId="{5C2CD6D4-C7A9-4CEF-AA9C-BC2977F70622}" dt="2024-02-23T14:47:33.811" v="71169" actId="20577"/>
          <ac:spMkLst>
            <pc:docMk/>
            <pc:sldMk cId="4205166027" sldId="2147483616"/>
            <ac:spMk id="85" creationId="{60BECB16-66DC-ED92-B420-482909299A4E}"/>
          </ac:spMkLst>
        </pc:spChg>
      </pc:sldChg>
      <pc:sldChg chg="addSp delSp modSp mod modShow">
        <pc:chgData name="Abdi, Adnan" userId="503e002c-9b3b-4180-87fb-acabeb2b158a" providerId="ADAL" clId="{5C2CD6D4-C7A9-4CEF-AA9C-BC2977F70622}" dt="2024-02-22T14:51:43.082" v="58289" actId="729"/>
        <pc:sldMkLst>
          <pc:docMk/>
          <pc:sldMk cId="2943834540" sldId="2147483617"/>
        </pc:sldMkLst>
        <pc:spChg chg="del">
          <ac:chgData name="Abdi, Adnan" userId="503e002c-9b3b-4180-87fb-acabeb2b158a" providerId="ADAL" clId="{5C2CD6D4-C7A9-4CEF-AA9C-BC2977F70622}" dt="2024-02-22T11:06:41.186" v="55954" actId="478"/>
          <ac:spMkLst>
            <pc:docMk/>
            <pc:sldMk cId="2943834540" sldId="2147483617"/>
            <ac:spMk id="5" creationId="{B1612928-626D-D44E-6DE7-C1C2231CC148}"/>
          </ac:spMkLst>
        </pc:spChg>
        <pc:spChg chg="add del mod">
          <ac:chgData name="Abdi, Adnan" userId="503e002c-9b3b-4180-87fb-acabeb2b158a" providerId="ADAL" clId="{5C2CD6D4-C7A9-4CEF-AA9C-BC2977F70622}" dt="2024-02-22T11:06:43.809" v="55955"/>
          <ac:spMkLst>
            <pc:docMk/>
            <pc:sldMk cId="2943834540" sldId="2147483617"/>
            <ac:spMk id="9" creationId="{DDFFB903-235A-5A61-3862-5EE182421713}"/>
          </ac:spMkLst>
        </pc:spChg>
        <pc:spChg chg="add del mod">
          <ac:chgData name="Abdi, Adnan" userId="503e002c-9b3b-4180-87fb-acabeb2b158a" providerId="ADAL" clId="{5C2CD6D4-C7A9-4CEF-AA9C-BC2977F70622}" dt="2024-02-22T11:07:28.476" v="55958" actId="478"/>
          <ac:spMkLst>
            <pc:docMk/>
            <pc:sldMk cId="2943834540" sldId="2147483617"/>
            <ac:spMk id="10" creationId="{FD89561B-646D-F4D0-9EBD-D33D3EA79157}"/>
          </ac:spMkLst>
        </pc:spChg>
        <pc:spChg chg="add del mod">
          <ac:chgData name="Abdi, Adnan" userId="503e002c-9b3b-4180-87fb-acabeb2b158a" providerId="ADAL" clId="{5C2CD6D4-C7A9-4CEF-AA9C-BC2977F70622}" dt="2024-02-22T11:07:59.117" v="55959"/>
          <ac:spMkLst>
            <pc:docMk/>
            <pc:sldMk cId="2943834540" sldId="2147483617"/>
            <ac:spMk id="12" creationId="{84713C6A-06FD-7854-C52C-EA89EF22C0C6}"/>
          </ac:spMkLst>
        </pc:spChg>
        <pc:spChg chg="add mod">
          <ac:chgData name="Abdi, Adnan" userId="503e002c-9b3b-4180-87fb-acabeb2b158a" providerId="ADAL" clId="{5C2CD6D4-C7A9-4CEF-AA9C-BC2977F70622}" dt="2024-02-22T14:41:23.622" v="58253" actId="14100"/>
          <ac:spMkLst>
            <pc:docMk/>
            <pc:sldMk cId="2943834540" sldId="2147483617"/>
            <ac:spMk id="13" creationId="{AFFF1BD5-08F8-9EEC-22D7-CEBF26E0F90F}"/>
          </ac:spMkLst>
        </pc:spChg>
        <pc:spChg chg="add del mod">
          <ac:chgData name="Abdi, Adnan" userId="503e002c-9b3b-4180-87fb-acabeb2b158a" providerId="ADAL" clId="{5C2CD6D4-C7A9-4CEF-AA9C-BC2977F70622}" dt="2024-02-22T14:31:16.933" v="58248" actId="478"/>
          <ac:spMkLst>
            <pc:docMk/>
            <pc:sldMk cId="2943834540" sldId="2147483617"/>
            <ac:spMk id="24" creationId="{5EF9A222-FA45-039A-2B51-379264BACCC6}"/>
          </ac:spMkLst>
        </pc:spChg>
        <pc:spChg chg="add del mod">
          <ac:chgData name="Abdi, Adnan" userId="503e002c-9b3b-4180-87fb-acabeb2b158a" providerId="ADAL" clId="{5C2CD6D4-C7A9-4CEF-AA9C-BC2977F70622}" dt="2024-02-22T14:31:11.842" v="58247"/>
          <ac:spMkLst>
            <pc:docMk/>
            <pc:sldMk cId="2943834540" sldId="2147483617"/>
            <ac:spMk id="25" creationId="{5D5CD968-F7BF-F570-5637-DC7484B102D0}"/>
          </ac:spMkLst>
        </pc:spChg>
        <pc:spChg chg="add del mod">
          <ac:chgData name="Abdi, Adnan" userId="503e002c-9b3b-4180-87fb-acabeb2b158a" providerId="ADAL" clId="{5C2CD6D4-C7A9-4CEF-AA9C-BC2977F70622}" dt="2024-02-22T14:31:16.933" v="58248" actId="478"/>
          <ac:spMkLst>
            <pc:docMk/>
            <pc:sldMk cId="2943834540" sldId="2147483617"/>
            <ac:spMk id="26" creationId="{1D2AAA1F-DB9A-0B0E-1879-7DEE06861A89}"/>
          </ac:spMkLst>
        </pc:spChg>
        <pc:spChg chg="add mod">
          <ac:chgData name="Abdi, Adnan" userId="503e002c-9b3b-4180-87fb-acabeb2b158a" providerId="ADAL" clId="{5C2CD6D4-C7A9-4CEF-AA9C-BC2977F70622}" dt="2024-02-22T14:39:17.842" v="58250"/>
          <ac:spMkLst>
            <pc:docMk/>
            <pc:sldMk cId="2943834540" sldId="2147483617"/>
            <ac:spMk id="27" creationId="{C85B61DE-2ABD-6329-1D41-744557163410}"/>
          </ac:spMkLst>
        </pc:spChg>
        <pc:spChg chg="add mod">
          <ac:chgData name="Abdi, Adnan" userId="503e002c-9b3b-4180-87fb-acabeb2b158a" providerId="ADAL" clId="{5C2CD6D4-C7A9-4CEF-AA9C-BC2977F70622}" dt="2024-02-22T14:39:17.842" v="58250"/>
          <ac:spMkLst>
            <pc:docMk/>
            <pc:sldMk cId="2943834540" sldId="2147483617"/>
            <ac:spMk id="28" creationId="{D68CA140-883E-E179-A1DC-373944D6A740}"/>
          </ac:spMkLst>
        </pc:spChg>
        <pc:spChg chg="mod">
          <ac:chgData name="Abdi, Adnan" userId="503e002c-9b3b-4180-87fb-acabeb2b158a" providerId="ADAL" clId="{5C2CD6D4-C7A9-4CEF-AA9C-BC2977F70622}" dt="2024-02-22T14:39:17.842" v="58250"/>
          <ac:spMkLst>
            <pc:docMk/>
            <pc:sldMk cId="2943834540" sldId="2147483617"/>
            <ac:spMk id="32" creationId="{E664C91F-8B4D-6C2B-6CD5-16F43A0F4291}"/>
          </ac:spMkLst>
        </pc:spChg>
        <pc:spChg chg="mod">
          <ac:chgData name="Abdi, Adnan" userId="503e002c-9b3b-4180-87fb-acabeb2b158a" providerId="ADAL" clId="{5C2CD6D4-C7A9-4CEF-AA9C-BC2977F70622}" dt="2024-02-22T14:39:17.842" v="58250"/>
          <ac:spMkLst>
            <pc:docMk/>
            <pc:sldMk cId="2943834540" sldId="2147483617"/>
            <ac:spMk id="33" creationId="{81919CD6-FE6E-4467-C06B-F33064CE8751}"/>
          </ac:spMkLst>
        </pc:spChg>
        <pc:spChg chg="mod">
          <ac:chgData name="Abdi, Adnan" userId="503e002c-9b3b-4180-87fb-acabeb2b158a" providerId="ADAL" clId="{5C2CD6D4-C7A9-4CEF-AA9C-BC2977F70622}" dt="2024-02-22T14:39:24.817" v="58252" actId="571"/>
          <ac:spMkLst>
            <pc:docMk/>
            <pc:sldMk cId="2943834540" sldId="2147483617"/>
            <ac:spMk id="37" creationId="{033A57D1-9D2E-3820-D8AE-3219FADFD61E}"/>
          </ac:spMkLst>
        </pc:spChg>
        <pc:spChg chg="mod">
          <ac:chgData name="Abdi, Adnan" userId="503e002c-9b3b-4180-87fb-acabeb2b158a" providerId="ADAL" clId="{5C2CD6D4-C7A9-4CEF-AA9C-BC2977F70622}" dt="2024-02-22T14:39:24.817" v="58252" actId="571"/>
          <ac:spMkLst>
            <pc:docMk/>
            <pc:sldMk cId="2943834540" sldId="2147483617"/>
            <ac:spMk id="38" creationId="{2F24F2A0-3988-7EB1-01A9-867FA8A3EE11}"/>
          </ac:spMkLst>
        </pc:spChg>
        <pc:grpChg chg="add mod">
          <ac:chgData name="Abdi, Adnan" userId="503e002c-9b3b-4180-87fb-acabeb2b158a" providerId="ADAL" clId="{5C2CD6D4-C7A9-4CEF-AA9C-BC2977F70622}" dt="2024-02-22T14:39:17.842" v="58250"/>
          <ac:grpSpMkLst>
            <pc:docMk/>
            <pc:sldMk cId="2943834540" sldId="2147483617"/>
            <ac:grpSpMk id="29" creationId="{F4F10D5C-9066-79FC-50E5-7941111C1ABD}"/>
          </ac:grpSpMkLst>
        </pc:grpChg>
        <pc:grpChg chg="mod">
          <ac:chgData name="Abdi, Adnan" userId="503e002c-9b3b-4180-87fb-acabeb2b158a" providerId="ADAL" clId="{5C2CD6D4-C7A9-4CEF-AA9C-BC2977F70622}" dt="2024-02-22T14:39:17.842" v="58250"/>
          <ac:grpSpMkLst>
            <pc:docMk/>
            <pc:sldMk cId="2943834540" sldId="2147483617"/>
            <ac:grpSpMk id="31" creationId="{3A5C545A-2CFB-E391-E530-C77F9D21F5EE}"/>
          </ac:grpSpMkLst>
        </pc:grpChg>
        <pc:grpChg chg="add mod">
          <ac:chgData name="Abdi, Adnan" userId="503e002c-9b3b-4180-87fb-acabeb2b158a" providerId="ADAL" clId="{5C2CD6D4-C7A9-4CEF-AA9C-BC2977F70622}" dt="2024-02-22T14:39:24.817" v="58252" actId="571"/>
          <ac:grpSpMkLst>
            <pc:docMk/>
            <pc:sldMk cId="2943834540" sldId="2147483617"/>
            <ac:grpSpMk id="34" creationId="{1BC917C3-0CBF-490F-5923-BBE20FDF825A}"/>
          </ac:grpSpMkLst>
        </pc:grpChg>
        <pc:grpChg chg="mod">
          <ac:chgData name="Abdi, Adnan" userId="503e002c-9b3b-4180-87fb-acabeb2b158a" providerId="ADAL" clId="{5C2CD6D4-C7A9-4CEF-AA9C-BC2977F70622}" dt="2024-02-22T14:39:24.817" v="58252" actId="571"/>
          <ac:grpSpMkLst>
            <pc:docMk/>
            <pc:sldMk cId="2943834540" sldId="2147483617"/>
            <ac:grpSpMk id="36" creationId="{9FAA43AE-3928-291F-B34C-E08FEBA16ED8}"/>
          </ac:grpSpMkLst>
        </pc:grpChg>
        <pc:cxnChg chg="add del mod">
          <ac:chgData name="Abdi, Adnan" userId="503e002c-9b3b-4180-87fb-acabeb2b158a" providerId="ADAL" clId="{5C2CD6D4-C7A9-4CEF-AA9C-BC2977F70622}" dt="2024-02-22T14:29:11.219" v="58146" actId="478"/>
          <ac:cxnSpMkLst>
            <pc:docMk/>
            <pc:sldMk cId="2943834540" sldId="2147483617"/>
            <ac:cxnSpMk id="15" creationId="{4BFB599D-560B-2851-05DC-6B5F1E7F2886}"/>
          </ac:cxnSpMkLst>
        </pc:cxnChg>
        <pc:cxnChg chg="add del mod">
          <ac:chgData name="Abdi, Adnan" userId="503e002c-9b3b-4180-87fb-acabeb2b158a" providerId="ADAL" clId="{5C2CD6D4-C7A9-4CEF-AA9C-BC2977F70622}" dt="2024-02-22T14:29:11.219" v="58146" actId="478"/>
          <ac:cxnSpMkLst>
            <pc:docMk/>
            <pc:sldMk cId="2943834540" sldId="2147483617"/>
            <ac:cxnSpMk id="17" creationId="{1296B572-0F4E-5924-5199-1C2F35876FB0}"/>
          </ac:cxnSpMkLst>
        </pc:cxnChg>
        <pc:cxnChg chg="add del mod">
          <ac:chgData name="Abdi, Adnan" userId="503e002c-9b3b-4180-87fb-acabeb2b158a" providerId="ADAL" clId="{5C2CD6D4-C7A9-4CEF-AA9C-BC2977F70622}" dt="2024-02-22T14:31:16.933" v="58248" actId="478"/>
          <ac:cxnSpMkLst>
            <pc:docMk/>
            <pc:sldMk cId="2943834540" sldId="2147483617"/>
            <ac:cxnSpMk id="18" creationId="{07D9E156-3E08-711E-0FF8-B75E826538E5}"/>
          </ac:cxnSpMkLst>
        </pc:cxnChg>
        <pc:cxnChg chg="add del mod">
          <ac:chgData name="Abdi, Adnan" userId="503e002c-9b3b-4180-87fb-acabeb2b158a" providerId="ADAL" clId="{5C2CD6D4-C7A9-4CEF-AA9C-BC2977F70622}" dt="2024-02-22T14:31:16.933" v="58248" actId="478"/>
          <ac:cxnSpMkLst>
            <pc:docMk/>
            <pc:sldMk cId="2943834540" sldId="2147483617"/>
            <ac:cxnSpMk id="20" creationId="{5D8CA673-5F62-C159-BBA1-6C0F67F9D5F0}"/>
          </ac:cxnSpMkLst>
        </pc:cxnChg>
        <pc:cxnChg chg="add del mod">
          <ac:chgData name="Abdi, Adnan" userId="503e002c-9b3b-4180-87fb-acabeb2b158a" providerId="ADAL" clId="{5C2CD6D4-C7A9-4CEF-AA9C-BC2977F70622}" dt="2024-02-22T14:31:16.933" v="58248" actId="478"/>
          <ac:cxnSpMkLst>
            <pc:docMk/>
            <pc:sldMk cId="2943834540" sldId="2147483617"/>
            <ac:cxnSpMk id="21" creationId="{31BCBF2A-4B26-8FB4-7FB1-98B729B4637A}"/>
          </ac:cxnSpMkLst>
        </pc:cxnChg>
        <pc:cxnChg chg="add del mod">
          <ac:chgData name="Abdi, Adnan" userId="503e002c-9b3b-4180-87fb-acabeb2b158a" providerId="ADAL" clId="{5C2CD6D4-C7A9-4CEF-AA9C-BC2977F70622}" dt="2024-02-22T14:31:16.933" v="58248" actId="478"/>
          <ac:cxnSpMkLst>
            <pc:docMk/>
            <pc:sldMk cId="2943834540" sldId="2147483617"/>
            <ac:cxnSpMk id="22" creationId="{C0D960CB-DF7B-4283-2E59-C64BFF8FED89}"/>
          </ac:cxnSpMkLst>
        </pc:cxnChg>
        <pc:cxnChg chg="add del mod">
          <ac:chgData name="Abdi, Adnan" userId="503e002c-9b3b-4180-87fb-acabeb2b158a" providerId="ADAL" clId="{5C2CD6D4-C7A9-4CEF-AA9C-BC2977F70622}" dt="2024-02-22T14:31:16.933" v="58248" actId="478"/>
          <ac:cxnSpMkLst>
            <pc:docMk/>
            <pc:sldMk cId="2943834540" sldId="2147483617"/>
            <ac:cxnSpMk id="23" creationId="{A4999586-A5EA-8187-127A-DF9681FB349B}"/>
          </ac:cxnSpMkLst>
        </pc:cxnChg>
        <pc:cxnChg chg="mod">
          <ac:chgData name="Abdi, Adnan" userId="503e002c-9b3b-4180-87fb-acabeb2b158a" providerId="ADAL" clId="{5C2CD6D4-C7A9-4CEF-AA9C-BC2977F70622}" dt="2024-02-22T14:39:17.842" v="58250"/>
          <ac:cxnSpMkLst>
            <pc:docMk/>
            <pc:sldMk cId="2943834540" sldId="2147483617"/>
            <ac:cxnSpMk id="30" creationId="{E6875D8C-BC7C-6708-37B3-C9E243457E90}"/>
          </ac:cxnSpMkLst>
        </pc:cxnChg>
        <pc:cxnChg chg="mod">
          <ac:chgData name="Abdi, Adnan" userId="503e002c-9b3b-4180-87fb-acabeb2b158a" providerId="ADAL" clId="{5C2CD6D4-C7A9-4CEF-AA9C-BC2977F70622}" dt="2024-02-22T14:39:24.817" v="58252" actId="571"/>
          <ac:cxnSpMkLst>
            <pc:docMk/>
            <pc:sldMk cId="2943834540" sldId="2147483617"/>
            <ac:cxnSpMk id="35" creationId="{19A478D3-7D65-AF5E-723C-94497724BDC2}"/>
          </ac:cxnSpMkLst>
        </pc:cxnChg>
      </pc:sldChg>
      <pc:sldChg chg="addSp delSp modSp mod ord modShow">
        <pc:chgData name="Abdi, Adnan" userId="503e002c-9b3b-4180-87fb-acabeb2b158a" providerId="ADAL" clId="{5C2CD6D4-C7A9-4CEF-AA9C-BC2977F70622}" dt="2024-02-27T18:47:43.118" v="73594" actId="478"/>
        <pc:sldMkLst>
          <pc:docMk/>
          <pc:sldMk cId="3540406656" sldId="2147483617"/>
        </pc:sldMkLst>
        <pc:spChg chg="mod ord">
          <ac:chgData name="Abdi, Adnan" userId="503e002c-9b3b-4180-87fb-acabeb2b158a" providerId="ADAL" clId="{5C2CD6D4-C7A9-4CEF-AA9C-BC2977F70622}" dt="2024-02-23T14:15:12.230" v="70523"/>
          <ac:spMkLst>
            <pc:docMk/>
            <pc:sldMk cId="3540406656" sldId="2147483617"/>
            <ac:spMk id="2" creationId="{EB2E9218-CB60-9600-B3E9-6E5A1FD345D3}"/>
          </ac:spMkLst>
        </pc:spChg>
        <pc:spChg chg="mod ord">
          <ac:chgData name="Abdi, Adnan" userId="503e002c-9b3b-4180-87fb-acabeb2b158a" providerId="ADAL" clId="{5C2CD6D4-C7A9-4CEF-AA9C-BC2977F70622}" dt="2024-02-26T09:09:43.066" v="73095"/>
          <ac:spMkLst>
            <pc:docMk/>
            <pc:sldMk cId="3540406656" sldId="2147483617"/>
            <ac:spMk id="3" creationId="{82671AEF-4E73-A754-FBBE-DE6BBB308B6B}"/>
          </ac:spMkLst>
        </pc:spChg>
        <pc:spChg chg="add mod ord">
          <ac:chgData name="Abdi, Adnan" userId="503e002c-9b3b-4180-87fb-acabeb2b158a" providerId="ADAL" clId="{5C2CD6D4-C7A9-4CEF-AA9C-BC2977F70622}" dt="2024-02-23T15:32:09.917" v="71465"/>
          <ac:spMkLst>
            <pc:docMk/>
            <pc:sldMk cId="3540406656" sldId="2147483617"/>
            <ac:spMk id="4" creationId="{02A718DA-5930-258E-7B27-FBC80A8DC238}"/>
          </ac:spMkLst>
        </pc:spChg>
        <pc:spChg chg="mod">
          <ac:chgData name="Abdi, Adnan" userId="503e002c-9b3b-4180-87fb-acabeb2b158a" providerId="ADAL" clId="{5C2CD6D4-C7A9-4CEF-AA9C-BC2977F70622}" dt="2024-02-27T18:47:25.865" v="73564"/>
          <ac:spMkLst>
            <pc:docMk/>
            <pc:sldMk cId="3540406656" sldId="2147483617"/>
            <ac:spMk id="8" creationId="{A8975395-0381-FB41-B30F-8515986F856E}"/>
          </ac:spMkLst>
        </pc:spChg>
        <pc:spChg chg="mod">
          <ac:chgData name="Abdi, Adnan" userId="503e002c-9b3b-4180-87fb-acabeb2b158a" providerId="ADAL" clId="{5C2CD6D4-C7A9-4CEF-AA9C-BC2977F70622}" dt="2024-02-27T18:47:25.865" v="73564"/>
          <ac:spMkLst>
            <pc:docMk/>
            <pc:sldMk cId="3540406656" sldId="2147483617"/>
            <ac:spMk id="10" creationId="{4A1655F2-6ADD-2A81-BA24-063C207E442F}"/>
          </ac:spMkLst>
        </pc:spChg>
        <pc:spChg chg="mod ord">
          <ac:chgData name="Abdi, Adnan" userId="503e002c-9b3b-4180-87fb-acabeb2b158a" providerId="ADAL" clId="{5C2CD6D4-C7A9-4CEF-AA9C-BC2977F70622}" dt="2024-02-23T14:30:48.742" v="70884" actId="20577"/>
          <ac:spMkLst>
            <pc:docMk/>
            <pc:sldMk cId="3540406656" sldId="2147483617"/>
            <ac:spMk id="13" creationId="{AFFF1BD5-08F8-9EEC-22D7-CEBF26E0F90F}"/>
          </ac:spMkLst>
        </pc:spChg>
        <pc:spChg chg="add del mod replST">
          <ac:chgData name="Abdi, Adnan" userId="503e002c-9b3b-4180-87fb-acabeb2b158a" providerId="ADAL" clId="{5C2CD6D4-C7A9-4CEF-AA9C-BC2977F70622}" dt="2024-02-23T12:04:02.062" v="61377"/>
          <ac:spMkLst>
            <pc:docMk/>
            <pc:sldMk cId="3540406656" sldId="2147483617"/>
            <ac:spMk id="14" creationId="{F52F675F-B298-E6D1-140E-4F71806FF051}"/>
          </ac:spMkLst>
        </pc:spChg>
        <pc:spChg chg="add del mod replST">
          <ac:chgData name="Abdi, Adnan" userId="503e002c-9b3b-4180-87fb-acabeb2b158a" providerId="ADAL" clId="{5C2CD6D4-C7A9-4CEF-AA9C-BC2977F70622}" dt="2024-02-23T12:04:02.061" v="61374"/>
          <ac:spMkLst>
            <pc:docMk/>
            <pc:sldMk cId="3540406656" sldId="2147483617"/>
            <ac:spMk id="15" creationId="{E0A3C885-ED22-7771-A771-0203CBECE612}"/>
          </ac:spMkLst>
        </pc:spChg>
        <pc:spChg chg="add del mod replST">
          <ac:chgData name="Abdi, Adnan" userId="503e002c-9b3b-4180-87fb-acabeb2b158a" providerId="ADAL" clId="{5C2CD6D4-C7A9-4CEF-AA9C-BC2977F70622}" dt="2024-02-23T12:04:02.060" v="61371"/>
          <ac:spMkLst>
            <pc:docMk/>
            <pc:sldMk cId="3540406656" sldId="2147483617"/>
            <ac:spMk id="16" creationId="{932DDEC8-DE5F-4B05-8B32-40EEBB1F9B96}"/>
          </ac:spMkLst>
        </pc:spChg>
        <pc:spChg chg="mod">
          <ac:chgData name="Abdi, Adnan" userId="503e002c-9b3b-4180-87fb-acabeb2b158a" providerId="ADAL" clId="{5C2CD6D4-C7A9-4CEF-AA9C-BC2977F70622}" dt="2024-02-27T18:47:38.538" v="73569"/>
          <ac:spMkLst>
            <pc:docMk/>
            <pc:sldMk cId="3540406656" sldId="2147483617"/>
            <ac:spMk id="16" creationId="{9CB95ACF-BCE1-2EAB-BDCC-AB42AF4591A6}"/>
          </ac:spMkLst>
        </pc:spChg>
        <pc:spChg chg="add del mod replST">
          <ac:chgData name="Abdi, Adnan" userId="503e002c-9b3b-4180-87fb-acabeb2b158a" providerId="ADAL" clId="{5C2CD6D4-C7A9-4CEF-AA9C-BC2977F70622}" dt="2024-02-23T12:04:02.059" v="61368"/>
          <ac:spMkLst>
            <pc:docMk/>
            <pc:sldMk cId="3540406656" sldId="2147483617"/>
            <ac:spMk id="17" creationId="{3668C9B7-C0F7-B481-4909-FCCBCEF8FA19}"/>
          </ac:spMkLst>
        </pc:spChg>
        <pc:spChg chg="add mod replST">
          <ac:chgData name="Abdi, Adnan" userId="503e002c-9b3b-4180-87fb-acabeb2b158a" providerId="ADAL" clId="{5C2CD6D4-C7A9-4CEF-AA9C-BC2977F70622}" dt="2024-02-23T14:15:12.237" v="70546"/>
          <ac:spMkLst>
            <pc:docMk/>
            <pc:sldMk cId="3540406656" sldId="2147483617"/>
            <ac:spMk id="18" creationId="{DA67438F-6D79-736F-49FB-308EA5BBA8EE}"/>
          </ac:spMkLst>
        </pc:spChg>
        <pc:spChg chg="add del mod replST">
          <ac:chgData name="Abdi, Adnan" userId="503e002c-9b3b-4180-87fb-acabeb2b158a" providerId="ADAL" clId="{5C2CD6D4-C7A9-4CEF-AA9C-BC2977F70622}" dt="2024-02-23T12:04:02.058" v="61365"/>
          <ac:spMkLst>
            <pc:docMk/>
            <pc:sldMk cId="3540406656" sldId="2147483617"/>
            <ac:spMk id="19" creationId="{353FF8DE-B324-D790-1823-18F471E96F13}"/>
          </ac:spMkLst>
        </pc:spChg>
        <pc:spChg chg="mod">
          <ac:chgData name="Abdi, Adnan" userId="503e002c-9b3b-4180-87fb-acabeb2b158a" providerId="ADAL" clId="{5C2CD6D4-C7A9-4CEF-AA9C-BC2977F70622}" dt="2024-02-27T18:47:38.538" v="73569"/>
          <ac:spMkLst>
            <pc:docMk/>
            <pc:sldMk cId="3540406656" sldId="2147483617"/>
            <ac:spMk id="19" creationId="{98FF3822-F61D-F6AE-D287-A69EAFA20442}"/>
          </ac:spMkLst>
        </pc:spChg>
        <pc:spChg chg="add del mod replST">
          <ac:chgData name="Abdi, Adnan" userId="503e002c-9b3b-4180-87fb-acabeb2b158a" providerId="ADAL" clId="{5C2CD6D4-C7A9-4CEF-AA9C-BC2977F70622}" dt="2024-02-23T12:04:02.056" v="61362"/>
          <ac:spMkLst>
            <pc:docMk/>
            <pc:sldMk cId="3540406656" sldId="2147483617"/>
            <ac:spMk id="20" creationId="{61426D0E-780E-F749-4D8D-E1E09A9771A2}"/>
          </ac:spMkLst>
        </pc:spChg>
        <pc:spChg chg="add mod replST">
          <ac:chgData name="Abdi, Adnan" userId="503e002c-9b3b-4180-87fb-acabeb2b158a" providerId="ADAL" clId="{5C2CD6D4-C7A9-4CEF-AA9C-BC2977F70622}" dt="2024-02-23T14:15:12.238" v="70549"/>
          <ac:spMkLst>
            <pc:docMk/>
            <pc:sldMk cId="3540406656" sldId="2147483617"/>
            <ac:spMk id="21" creationId="{6062892B-8947-21A6-6D21-1D4B26D833FE}"/>
          </ac:spMkLst>
        </pc:spChg>
        <pc:spChg chg="add mod replST">
          <ac:chgData name="Abdi, Adnan" userId="503e002c-9b3b-4180-87fb-acabeb2b158a" providerId="ADAL" clId="{5C2CD6D4-C7A9-4CEF-AA9C-BC2977F70622}" dt="2024-02-23T14:15:12.239" v="70550"/>
          <ac:spMkLst>
            <pc:docMk/>
            <pc:sldMk cId="3540406656" sldId="2147483617"/>
            <ac:spMk id="22" creationId="{9749088D-3808-94B6-332F-E8DA1ECDF3FB}"/>
          </ac:spMkLst>
        </pc:spChg>
        <pc:spChg chg="add mod replST">
          <ac:chgData name="Abdi, Adnan" userId="503e002c-9b3b-4180-87fb-acabeb2b158a" providerId="ADAL" clId="{5C2CD6D4-C7A9-4CEF-AA9C-BC2977F70622}" dt="2024-02-23T14:15:12.239" v="70551"/>
          <ac:spMkLst>
            <pc:docMk/>
            <pc:sldMk cId="3540406656" sldId="2147483617"/>
            <ac:spMk id="23" creationId="{440C9793-8B38-C632-8A71-63811F7254A7}"/>
          </ac:spMkLst>
        </pc:spChg>
        <pc:spChg chg="add mod replST">
          <ac:chgData name="Abdi, Adnan" userId="503e002c-9b3b-4180-87fb-acabeb2b158a" providerId="ADAL" clId="{5C2CD6D4-C7A9-4CEF-AA9C-BC2977F70622}" dt="2024-02-23T14:15:12.240" v="70552"/>
          <ac:spMkLst>
            <pc:docMk/>
            <pc:sldMk cId="3540406656" sldId="2147483617"/>
            <ac:spMk id="24" creationId="{4BCED682-F630-C427-44A2-605E2D21E78C}"/>
          </ac:spMkLst>
        </pc:spChg>
        <pc:spChg chg="add mod replST">
          <ac:chgData name="Abdi, Adnan" userId="503e002c-9b3b-4180-87fb-acabeb2b158a" providerId="ADAL" clId="{5C2CD6D4-C7A9-4CEF-AA9C-BC2977F70622}" dt="2024-02-23T14:15:12.240" v="70553"/>
          <ac:spMkLst>
            <pc:docMk/>
            <pc:sldMk cId="3540406656" sldId="2147483617"/>
            <ac:spMk id="25" creationId="{DC2441AD-9C16-1DCE-AD00-E826014D3311}"/>
          </ac:spMkLst>
        </pc:spChg>
        <pc:spChg chg="add mod replST">
          <ac:chgData name="Abdi, Adnan" userId="503e002c-9b3b-4180-87fb-acabeb2b158a" providerId="ADAL" clId="{5C2CD6D4-C7A9-4CEF-AA9C-BC2977F70622}" dt="2024-02-23T14:15:12.241" v="70554"/>
          <ac:spMkLst>
            <pc:docMk/>
            <pc:sldMk cId="3540406656" sldId="2147483617"/>
            <ac:spMk id="26" creationId="{A51F07DB-9A38-9C6C-7DF5-BF961A3D3A22}"/>
          </ac:spMkLst>
        </pc:spChg>
        <pc:spChg chg="add mod replST">
          <ac:chgData name="Abdi, Adnan" userId="503e002c-9b3b-4180-87fb-acabeb2b158a" providerId="ADAL" clId="{5C2CD6D4-C7A9-4CEF-AA9C-BC2977F70622}" dt="2024-02-23T14:15:12.241" v="70555"/>
          <ac:spMkLst>
            <pc:docMk/>
            <pc:sldMk cId="3540406656" sldId="2147483617"/>
            <ac:spMk id="27" creationId="{10558318-9A5B-129E-6F44-B6EAB5BBAED5}"/>
          </ac:spMkLst>
        </pc:spChg>
        <pc:spChg chg="add mod replST">
          <ac:chgData name="Abdi, Adnan" userId="503e002c-9b3b-4180-87fb-acabeb2b158a" providerId="ADAL" clId="{5C2CD6D4-C7A9-4CEF-AA9C-BC2977F70622}" dt="2024-02-23T14:15:12.242" v="70556"/>
          <ac:spMkLst>
            <pc:docMk/>
            <pc:sldMk cId="3540406656" sldId="2147483617"/>
            <ac:spMk id="28" creationId="{CCC872DC-4193-117D-1D2B-782704246CFA}"/>
          </ac:spMkLst>
        </pc:spChg>
        <pc:spChg chg="add del mod modVis">
          <ac:chgData name="Abdi, Adnan" userId="503e002c-9b3b-4180-87fb-acabeb2b158a" providerId="ADAL" clId="{5C2CD6D4-C7A9-4CEF-AA9C-BC2977F70622}" dt="2024-02-23T12:04:02.631" v="61742"/>
          <ac:spMkLst>
            <pc:docMk/>
            <pc:sldMk cId="3540406656" sldId="2147483617"/>
            <ac:spMk id="29" creationId="{96427D61-84DA-9445-4B43-1B65A0822A34}"/>
          </ac:spMkLst>
        </pc:spChg>
        <pc:spChg chg="add del mod replST">
          <ac:chgData name="Abdi, Adnan" userId="503e002c-9b3b-4180-87fb-acabeb2b158a" providerId="ADAL" clId="{5C2CD6D4-C7A9-4CEF-AA9C-BC2977F70622}" dt="2024-02-23T12:45:44.001" v="65230"/>
          <ac:spMkLst>
            <pc:docMk/>
            <pc:sldMk cId="3540406656" sldId="2147483617"/>
            <ac:spMk id="30" creationId="{C3354E5C-EF0A-E55F-86EC-B9352D390018}"/>
          </ac:spMkLst>
        </pc:spChg>
        <pc:spChg chg="add del mod replST">
          <ac:chgData name="Abdi, Adnan" userId="503e002c-9b3b-4180-87fb-acabeb2b158a" providerId="ADAL" clId="{5C2CD6D4-C7A9-4CEF-AA9C-BC2977F70622}" dt="2024-02-23T12:45:43.997" v="65227"/>
          <ac:spMkLst>
            <pc:docMk/>
            <pc:sldMk cId="3540406656" sldId="2147483617"/>
            <ac:spMk id="31" creationId="{44A2B29F-F370-4749-DE38-BA38DBBC5F52}"/>
          </ac:spMkLst>
        </pc:spChg>
        <pc:spChg chg="add del mod replST">
          <ac:chgData name="Abdi, Adnan" userId="503e002c-9b3b-4180-87fb-acabeb2b158a" providerId="ADAL" clId="{5C2CD6D4-C7A9-4CEF-AA9C-BC2977F70622}" dt="2024-02-23T12:45:43.992" v="65224"/>
          <ac:spMkLst>
            <pc:docMk/>
            <pc:sldMk cId="3540406656" sldId="2147483617"/>
            <ac:spMk id="32" creationId="{0D52F9B2-9E12-FC17-0898-D015424504B2}"/>
          </ac:spMkLst>
        </pc:spChg>
        <pc:spChg chg="add del mod modVis">
          <ac:chgData name="Abdi, Adnan" userId="503e002c-9b3b-4180-87fb-acabeb2b158a" providerId="ADAL" clId="{5C2CD6D4-C7A9-4CEF-AA9C-BC2977F70622}" dt="2024-02-23T12:04:16.706" v="61997"/>
          <ac:spMkLst>
            <pc:docMk/>
            <pc:sldMk cId="3540406656" sldId="2147483617"/>
            <ac:spMk id="38" creationId="{0F9E34BC-9953-EF06-D653-230805B869F5}"/>
          </ac:spMkLst>
        </pc:spChg>
        <pc:spChg chg="add del mod modVis">
          <ac:chgData name="Abdi, Adnan" userId="503e002c-9b3b-4180-87fb-acabeb2b158a" providerId="ADAL" clId="{5C2CD6D4-C7A9-4CEF-AA9C-BC2977F70622}" dt="2024-02-23T12:04:40.228" v="62096"/>
          <ac:spMkLst>
            <pc:docMk/>
            <pc:sldMk cId="3540406656" sldId="2147483617"/>
            <ac:spMk id="40" creationId="{DD8A9000-57A6-0F97-89F2-67CC343FEA68}"/>
          </ac:spMkLst>
        </pc:spChg>
        <pc:spChg chg="add del mod modVis">
          <ac:chgData name="Abdi, Adnan" userId="503e002c-9b3b-4180-87fb-acabeb2b158a" providerId="ADAL" clId="{5C2CD6D4-C7A9-4CEF-AA9C-BC2977F70622}" dt="2024-02-23T12:04:45.566" v="62195"/>
          <ac:spMkLst>
            <pc:docMk/>
            <pc:sldMk cId="3540406656" sldId="2147483617"/>
            <ac:spMk id="42" creationId="{EA177765-DC26-0037-36AB-AE5172149485}"/>
          </ac:spMkLst>
        </pc:spChg>
        <pc:spChg chg="add del mod modVis">
          <ac:chgData name="Abdi, Adnan" userId="503e002c-9b3b-4180-87fb-acabeb2b158a" providerId="ADAL" clId="{5C2CD6D4-C7A9-4CEF-AA9C-BC2977F70622}" dt="2024-02-23T12:04:53.689" v="62294"/>
          <ac:spMkLst>
            <pc:docMk/>
            <pc:sldMk cId="3540406656" sldId="2147483617"/>
            <ac:spMk id="44" creationId="{B5B8FA59-6F93-FEDE-EAC8-B57F0AC46E0B}"/>
          </ac:spMkLst>
        </pc:spChg>
        <pc:spChg chg="add del mod modVis">
          <ac:chgData name="Abdi, Adnan" userId="503e002c-9b3b-4180-87fb-acabeb2b158a" providerId="ADAL" clId="{5C2CD6D4-C7A9-4CEF-AA9C-BC2977F70622}" dt="2024-02-23T12:05:03.657" v="62393"/>
          <ac:spMkLst>
            <pc:docMk/>
            <pc:sldMk cId="3540406656" sldId="2147483617"/>
            <ac:spMk id="46" creationId="{32C5324C-6093-EB5B-29C3-6E7B59F78D91}"/>
          </ac:spMkLst>
        </pc:spChg>
        <pc:spChg chg="add del mod modVis">
          <ac:chgData name="Abdi, Adnan" userId="503e002c-9b3b-4180-87fb-acabeb2b158a" providerId="ADAL" clId="{5C2CD6D4-C7A9-4CEF-AA9C-BC2977F70622}" dt="2024-02-23T12:17:11.099" v="62501"/>
          <ac:spMkLst>
            <pc:docMk/>
            <pc:sldMk cId="3540406656" sldId="2147483617"/>
            <ac:spMk id="48" creationId="{A9C14A19-8035-6868-94B3-870BF2902026}"/>
          </ac:spMkLst>
        </pc:spChg>
        <pc:spChg chg="add del mod modVis">
          <ac:chgData name="Abdi, Adnan" userId="503e002c-9b3b-4180-87fb-acabeb2b158a" providerId="ADAL" clId="{5C2CD6D4-C7A9-4CEF-AA9C-BC2977F70622}" dt="2024-02-23T12:17:25.466" v="62609"/>
          <ac:spMkLst>
            <pc:docMk/>
            <pc:sldMk cId="3540406656" sldId="2147483617"/>
            <ac:spMk id="50" creationId="{53771207-7A5C-6A9C-A5CE-DB3E034CE5DA}"/>
          </ac:spMkLst>
        </pc:spChg>
        <pc:spChg chg="add del mod modVis">
          <ac:chgData name="Abdi, Adnan" userId="503e002c-9b3b-4180-87fb-acabeb2b158a" providerId="ADAL" clId="{5C2CD6D4-C7A9-4CEF-AA9C-BC2977F70622}" dt="2024-02-23T12:20:55.551" v="62726"/>
          <ac:spMkLst>
            <pc:docMk/>
            <pc:sldMk cId="3540406656" sldId="2147483617"/>
            <ac:spMk id="52" creationId="{27C37A7A-BA77-5194-B14C-10B14ECE22D0}"/>
          </ac:spMkLst>
        </pc:spChg>
        <pc:spChg chg="add del mod modVis">
          <ac:chgData name="Abdi, Adnan" userId="503e002c-9b3b-4180-87fb-acabeb2b158a" providerId="ADAL" clId="{5C2CD6D4-C7A9-4CEF-AA9C-BC2977F70622}" dt="2024-02-23T12:21:29.536" v="62920"/>
          <ac:spMkLst>
            <pc:docMk/>
            <pc:sldMk cId="3540406656" sldId="2147483617"/>
            <ac:spMk id="54" creationId="{1BC9A5DE-5BDD-5C1D-1A94-8D950EB5B309}"/>
          </ac:spMkLst>
        </pc:spChg>
        <pc:spChg chg="add del mod modVis">
          <ac:chgData name="Abdi, Adnan" userId="503e002c-9b3b-4180-87fb-acabeb2b158a" providerId="ADAL" clId="{5C2CD6D4-C7A9-4CEF-AA9C-BC2977F70622}" dt="2024-02-23T12:21:34.714" v="63069"/>
          <ac:spMkLst>
            <pc:docMk/>
            <pc:sldMk cId="3540406656" sldId="2147483617"/>
            <ac:spMk id="56" creationId="{39BD0C43-1355-699B-86BF-3600DCF85E73}"/>
          </ac:spMkLst>
        </pc:spChg>
        <pc:spChg chg="add del mod modVis">
          <ac:chgData name="Abdi, Adnan" userId="503e002c-9b3b-4180-87fb-acabeb2b158a" providerId="ADAL" clId="{5C2CD6D4-C7A9-4CEF-AA9C-BC2977F70622}" dt="2024-02-23T12:21:35.936" v="63168"/>
          <ac:spMkLst>
            <pc:docMk/>
            <pc:sldMk cId="3540406656" sldId="2147483617"/>
            <ac:spMk id="58" creationId="{A545BE54-1C01-8494-EC63-BE7270CED731}"/>
          </ac:spMkLst>
        </pc:spChg>
        <pc:spChg chg="add del mod modVis">
          <ac:chgData name="Abdi, Adnan" userId="503e002c-9b3b-4180-87fb-acabeb2b158a" providerId="ADAL" clId="{5C2CD6D4-C7A9-4CEF-AA9C-BC2977F70622}" dt="2024-02-23T12:21:40.828" v="63267"/>
          <ac:spMkLst>
            <pc:docMk/>
            <pc:sldMk cId="3540406656" sldId="2147483617"/>
            <ac:spMk id="60" creationId="{5DC752D3-E4E2-AC0B-63F9-6A944DD7CED2}"/>
          </ac:spMkLst>
        </pc:spChg>
        <pc:spChg chg="add del mod modVis">
          <ac:chgData name="Abdi, Adnan" userId="503e002c-9b3b-4180-87fb-acabeb2b158a" providerId="ADAL" clId="{5C2CD6D4-C7A9-4CEF-AA9C-BC2977F70622}" dt="2024-02-23T12:21:46.944" v="63384"/>
          <ac:spMkLst>
            <pc:docMk/>
            <pc:sldMk cId="3540406656" sldId="2147483617"/>
            <ac:spMk id="62" creationId="{50336E77-1E31-2C3D-5D22-CB75723A047E}"/>
          </ac:spMkLst>
        </pc:spChg>
        <pc:spChg chg="add del mod modVis">
          <ac:chgData name="Abdi, Adnan" userId="503e002c-9b3b-4180-87fb-acabeb2b158a" providerId="ADAL" clId="{5C2CD6D4-C7A9-4CEF-AA9C-BC2977F70622}" dt="2024-02-23T12:22:09.661" v="63505"/>
          <ac:spMkLst>
            <pc:docMk/>
            <pc:sldMk cId="3540406656" sldId="2147483617"/>
            <ac:spMk id="64" creationId="{EF41F9DE-A35D-8933-2D02-443F951BFA37}"/>
          </ac:spMkLst>
        </pc:spChg>
        <pc:spChg chg="add del mod modVis">
          <ac:chgData name="Abdi, Adnan" userId="503e002c-9b3b-4180-87fb-acabeb2b158a" providerId="ADAL" clId="{5C2CD6D4-C7A9-4CEF-AA9C-BC2977F70622}" dt="2024-02-23T12:22:12.220" v="63626"/>
          <ac:spMkLst>
            <pc:docMk/>
            <pc:sldMk cId="3540406656" sldId="2147483617"/>
            <ac:spMk id="66" creationId="{C83F1A4D-D604-5886-09A5-9AE894AB1ADB}"/>
          </ac:spMkLst>
        </pc:spChg>
        <pc:spChg chg="add del mod modVis">
          <ac:chgData name="Abdi, Adnan" userId="503e002c-9b3b-4180-87fb-acabeb2b158a" providerId="ADAL" clId="{5C2CD6D4-C7A9-4CEF-AA9C-BC2977F70622}" dt="2024-02-23T12:23:29.075" v="63887"/>
          <ac:spMkLst>
            <pc:docMk/>
            <pc:sldMk cId="3540406656" sldId="2147483617"/>
            <ac:spMk id="69" creationId="{674BB2C7-2113-71A8-F530-FE161E978BDA}"/>
          </ac:spMkLst>
        </pc:spChg>
        <pc:spChg chg="add mod ord">
          <ac:chgData name="Abdi, Adnan" userId="503e002c-9b3b-4180-87fb-acabeb2b158a" providerId="ADAL" clId="{5C2CD6D4-C7A9-4CEF-AA9C-BC2977F70622}" dt="2024-02-23T14:15:12.242" v="70558"/>
          <ac:spMkLst>
            <pc:docMk/>
            <pc:sldMk cId="3540406656" sldId="2147483617"/>
            <ac:spMk id="71" creationId="{EE992E18-1609-A45F-C55E-2F8EB9B43B4F}"/>
          </ac:spMkLst>
        </pc:spChg>
        <pc:spChg chg="add del mod modVis">
          <ac:chgData name="Abdi, Adnan" userId="503e002c-9b3b-4180-87fb-acabeb2b158a" providerId="ADAL" clId="{5C2CD6D4-C7A9-4CEF-AA9C-BC2977F70622}" dt="2024-02-23T12:24:41.368" v="64034"/>
          <ac:spMkLst>
            <pc:docMk/>
            <pc:sldMk cId="3540406656" sldId="2147483617"/>
            <ac:spMk id="72" creationId="{CB1C13C3-5241-D612-4990-4C30DFD006D7}"/>
          </ac:spMkLst>
        </pc:spChg>
        <pc:spChg chg="add del mod modVis">
          <ac:chgData name="Abdi, Adnan" userId="503e002c-9b3b-4180-87fb-acabeb2b158a" providerId="ADAL" clId="{5C2CD6D4-C7A9-4CEF-AA9C-BC2977F70622}" dt="2024-02-23T12:24:51.083" v="64280"/>
          <ac:spMkLst>
            <pc:docMk/>
            <pc:sldMk cId="3540406656" sldId="2147483617"/>
            <ac:spMk id="74" creationId="{0F139824-F64B-35B3-B4A6-4FCAFD0D6D96}"/>
          </ac:spMkLst>
        </pc:spChg>
        <pc:spChg chg="add del mod modVis">
          <ac:chgData name="Abdi, Adnan" userId="503e002c-9b3b-4180-87fb-acabeb2b158a" providerId="ADAL" clId="{5C2CD6D4-C7A9-4CEF-AA9C-BC2977F70622}" dt="2024-02-23T12:24:58.200" v="64423"/>
          <ac:spMkLst>
            <pc:docMk/>
            <pc:sldMk cId="3540406656" sldId="2147483617"/>
            <ac:spMk id="76" creationId="{2DE5043A-FC51-C212-1B89-F7ACED0EABCB}"/>
          </ac:spMkLst>
        </pc:spChg>
        <pc:spChg chg="mod">
          <ac:chgData name="Abdi, Adnan" userId="503e002c-9b3b-4180-87fb-acabeb2b158a" providerId="ADAL" clId="{5C2CD6D4-C7A9-4CEF-AA9C-BC2977F70622}" dt="2024-02-27T18:47:38.538" v="73570"/>
          <ac:spMkLst>
            <pc:docMk/>
            <pc:sldMk cId="3540406656" sldId="2147483617"/>
            <ac:spMk id="92" creationId="{6549695D-DB61-6B3E-3873-C2FAE8FA150D}"/>
          </ac:spMkLst>
        </pc:spChg>
        <pc:spChg chg="del mod">
          <ac:chgData name="Abdi, Adnan" userId="503e002c-9b3b-4180-87fb-acabeb2b158a" providerId="ADAL" clId="{5C2CD6D4-C7A9-4CEF-AA9C-BC2977F70622}" dt="2024-02-23T13:30:48.604" v="67541" actId="478"/>
          <ac:spMkLst>
            <pc:docMk/>
            <pc:sldMk cId="3540406656" sldId="2147483617"/>
            <ac:spMk id="93" creationId="{5C8827BE-938E-E26C-8614-4EB3B1F341E5}"/>
          </ac:spMkLst>
        </pc:spChg>
        <pc:spChg chg="add del mod ord">
          <ac:chgData name="Abdi, Adnan" userId="503e002c-9b3b-4180-87fb-acabeb2b158a" providerId="ADAL" clId="{5C2CD6D4-C7A9-4CEF-AA9C-BC2977F70622}" dt="2024-02-23T12:52:05.087" v="67025" actId="478"/>
          <ac:spMkLst>
            <pc:docMk/>
            <pc:sldMk cId="3540406656" sldId="2147483617"/>
            <ac:spMk id="94" creationId="{8D4032E4-5821-28F7-C5E5-DBA618E113B1}"/>
          </ac:spMkLst>
        </pc:spChg>
        <pc:spChg chg="add del mod ord">
          <ac:chgData name="Abdi, Adnan" userId="503e002c-9b3b-4180-87fb-acabeb2b158a" providerId="ADAL" clId="{5C2CD6D4-C7A9-4CEF-AA9C-BC2977F70622}" dt="2024-02-23T12:52:05.087" v="67025" actId="478"/>
          <ac:spMkLst>
            <pc:docMk/>
            <pc:sldMk cId="3540406656" sldId="2147483617"/>
            <ac:spMk id="95" creationId="{1E423B50-6B4B-FC36-AC7D-BEA1AB31DD2A}"/>
          </ac:spMkLst>
        </pc:spChg>
        <pc:spChg chg="mod">
          <ac:chgData name="Abdi, Adnan" userId="503e002c-9b3b-4180-87fb-acabeb2b158a" providerId="ADAL" clId="{5C2CD6D4-C7A9-4CEF-AA9C-BC2977F70622}" dt="2024-02-23T14:03:39.098" v="69414"/>
          <ac:spMkLst>
            <pc:docMk/>
            <pc:sldMk cId="3540406656" sldId="2147483617"/>
            <ac:spMk id="99" creationId="{EA6B145C-C91D-FED1-7F91-1D4E7F880746}"/>
          </ac:spMkLst>
        </pc:spChg>
        <pc:spChg chg="mod">
          <ac:chgData name="Abdi, Adnan" userId="503e002c-9b3b-4180-87fb-acabeb2b158a" providerId="ADAL" clId="{5C2CD6D4-C7A9-4CEF-AA9C-BC2977F70622}" dt="2024-02-23T14:03:39.098" v="69414"/>
          <ac:spMkLst>
            <pc:docMk/>
            <pc:sldMk cId="3540406656" sldId="2147483617"/>
            <ac:spMk id="100" creationId="{D7F17940-7E5F-D0EA-0AC5-BA09BCCE4698}"/>
          </ac:spMkLst>
        </pc:spChg>
        <pc:spChg chg="add del mod modVis">
          <ac:chgData name="Abdi, Adnan" userId="503e002c-9b3b-4180-87fb-acabeb2b158a" providerId="ADAL" clId="{5C2CD6D4-C7A9-4CEF-AA9C-BC2977F70622}" dt="2024-02-23T12:45:01.535" v="64807"/>
          <ac:spMkLst>
            <pc:docMk/>
            <pc:sldMk cId="3540406656" sldId="2147483617"/>
            <ac:spMk id="102" creationId="{96418156-EF44-2079-A277-C0E50AA3C88D}"/>
          </ac:spMkLst>
        </pc:spChg>
        <pc:spChg chg="add del mod modVis">
          <ac:chgData name="Abdi, Adnan" userId="503e002c-9b3b-4180-87fb-acabeb2b158a" providerId="ADAL" clId="{5C2CD6D4-C7A9-4CEF-AA9C-BC2977F70622}" dt="2024-02-23T12:45:07.403" v="65051"/>
          <ac:spMkLst>
            <pc:docMk/>
            <pc:sldMk cId="3540406656" sldId="2147483617"/>
            <ac:spMk id="104" creationId="{8D8D2BB4-D8D7-418C-D6FA-AA5227243495}"/>
          </ac:spMkLst>
        </pc:spChg>
        <pc:spChg chg="add del mod modVis">
          <ac:chgData name="Abdi, Adnan" userId="503e002c-9b3b-4180-87fb-acabeb2b158a" providerId="ADAL" clId="{5C2CD6D4-C7A9-4CEF-AA9C-BC2977F70622}" dt="2024-02-23T12:45:17.809" v="65187"/>
          <ac:spMkLst>
            <pc:docMk/>
            <pc:sldMk cId="3540406656" sldId="2147483617"/>
            <ac:spMk id="106" creationId="{1586E60D-E040-DC1D-6E6D-F8A7FE4FF87B}"/>
          </ac:spMkLst>
        </pc:spChg>
        <pc:spChg chg="add del mod modVis">
          <ac:chgData name="Abdi, Adnan" userId="503e002c-9b3b-4180-87fb-acabeb2b158a" providerId="ADAL" clId="{5C2CD6D4-C7A9-4CEF-AA9C-BC2977F70622}" dt="2024-02-23T12:45:45.376" v="65776"/>
          <ac:spMkLst>
            <pc:docMk/>
            <pc:sldMk cId="3540406656" sldId="2147483617"/>
            <ac:spMk id="108" creationId="{B3BBA618-CB29-A6EF-2127-872C11632613}"/>
          </ac:spMkLst>
        </pc:spChg>
        <pc:spChg chg="add del mod replST">
          <ac:chgData name="Abdi, Adnan" userId="503e002c-9b3b-4180-87fb-acabeb2b158a" providerId="ADAL" clId="{5C2CD6D4-C7A9-4CEF-AA9C-BC2977F70622}" dt="2024-02-23T12:46:30.189" v="66165"/>
          <ac:spMkLst>
            <pc:docMk/>
            <pc:sldMk cId="3540406656" sldId="2147483617"/>
            <ac:spMk id="109" creationId="{5556FB49-9D87-B870-31F7-0C5949FE2234}"/>
          </ac:spMkLst>
        </pc:spChg>
        <pc:spChg chg="add mod replST">
          <ac:chgData name="Abdi, Adnan" userId="503e002c-9b3b-4180-87fb-acabeb2b158a" providerId="ADAL" clId="{5C2CD6D4-C7A9-4CEF-AA9C-BC2977F70622}" dt="2024-02-23T14:15:12.235" v="70543"/>
          <ac:spMkLst>
            <pc:docMk/>
            <pc:sldMk cId="3540406656" sldId="2147483617"/>
            <ac:spMk id="110" creationId="{38943964-F61D-F32E-B560-07010A69F31B}"/>
          </ac:spMkLst>
        </pc:spChg>
        <pc:spChg chg="add mod replST">
          <ac:chgData name="Abdi, Adnan" userId="503e002c-9b3b-4180-87fb-acabeb2b158a" providerId="ADAL" clId="{5C2CD6D4-C7A9-4CEF-AA9C-BC2977F70622}" dt="2024-02-23T14:15:12.235" v="70544"/>
          <ac:spMkLst>
            <pc:docMk/>
            <pc:sldMk cId="3540406656" sldId="2147483617"/>
            <ac:spMk id="111" creationId="{4829619A-C091-1060-0081-09BA7F24A7A5}"/>
          </ac:spMkLst>
        </pc:spChg>
        <pc:spChg chg="add mod replST">
          <ac:chgData name="Abdi, Adnan" userId="503e002c-9b3b-4180-87fb-acabeb2b158a" providerId="ADAL" clId="{5C2CD6D4-C7A9-4CEF-AA9C-BC2977F70622}" dt="2024-02-23T14:15:12.236" v="70545"/>
          <ac:spMkLst>
            <pc:docMk/>
            <pc:sldMk cId="3540406656" sldId="2147483617"/>
            <ac:spMk id="112" creationId="{7CD8E8D5-F06F-655B-5493-4110B566CDDB}"/>
          </ac:spMkLst>
        </pc:spChg>
        <pc:spChg chg="add mod replST">
          <ac:chgData name="Abdi, Adnan" userId="503e002c-9b3b-4180-87fb-acabeb2b158a" providerId="ADAL" clId="{5C2CD6D4-C7A9-4CEF-AA9C-BC2977F70622}" dt="2024-02-23T14:15:12.238" v="70547"/>
          <ac:spMkLst>
            <pc:docMk/>
            <pc:sldMk cId="3540406656" sldId="2147483617"/>
            <ac:spMk id="113" creationId="{FCD65EA2-3170-BB6E-B692-ADCABB1D69B0}"/>
          </ac:spMkLst>
        </pc:spChg>
        <pc:spChg chg="add mod replST">
          <ac:chgData name="Abdi, Adnan" userId="503e002c-9b3b-4180-87fb-acabeb2b158a" providerId="ADAL" clId="{5C2CD6D4-C7A9-4CEF-AA9C-BC2977F70622}" dt="2024-02-23T14:15:12.238" v="70548"/>
          <ac:spMkLst>
            <pc:docMk/>
            <pc:sldMk cId="3540406656" sldId="2147483617"/>
            <ac:spMk id="114" creationId="{649107F8-7132-1F71-1CED-83957C024B8C}"/>
          </ac:spMkLst>
        </pc:spChg>
        <pc:spChg chg="add del mod modVis">
          <ac:chgData name="Abdi, Adnan" userId="503e002c-9b3b-4180-87fb-acabeb2b158a" providerId="ADAL" clId="{5C2CD6D4-C7A9-4CEF-AA9C-BC2977F70622}" dt="2024-02-23T12:46:07.203" v="65892"/>
          <ac:spMkLst>
            <pc:docMk/>
            <pc:sldMk cId="3540406656" sldId="2147483617"/>
            <ac:spMk id="122" creationId="{F44C5132-1CD8-9238-89CB-FE480484E418}"/>
          </ac:spMkLst>
        </pc:spChg>
        <pc:spChg chg="add del mod modVis">
          <ac:chgData name="Abdi, Adnan" userId="503e002c-9b3b-4180-87fb-acabeb2b158a" providerId="ADAL" clId="{5C2CD6D4-C7A9-4CEF-AA9C-BC2977F70622}" dt="2024-02-23T12:46:11.907" v="66012"/>
          <ac:spMkLst>
            <pc:docMk/>
            <pc:sldMk cId="3540406656" sldId="2147483617"/>
            <ac:spMk id="124" creationId="{D4585802-0D28-73CF-E570-6AD63BD0CAC9}"/>
          </ac:spMkLst>
        </pc:spChg>
        <pc:spChg chg="add del mod modVis">
          <ac:chgData name="Abdi, Adnan" userId="503e002c-9b3b-4180-87fb-acabeb2b158a" providerId="ADAL" clId="{5C2CD6D4-C7A9-4CEF-AA9C-BC2977F70622}" dt="2024-02-23T12:46:18.839" v="66128"/>
          <ac:spMkLst>
            <pc:docMk/>
            <pc:sldMk cId="3540406656" sldId="2147483617"/>
            <ac:spMk id="126" creationId="{5174BC08-4F52-8077-2FD1-2B55C748566F}"/>
          </ac:spMkLst>
        </pc:spChg>
        <pc:spChg chg="add del mod modVis">
          <ac:chgData name="Abdi, Adnan" userId="503e002c-9b3b-4180-87fb-acabeb2b158a" providerId="ADAL" clId="{5C2CD6D4-C7A9-4CEF-AA9C-BC2977F70622}" dt="2024-02-23T12:46:30.580" v="66277"/>
          <ac:spMkLst>
            <pc:docMk/>
            <pc:sldMk cId="3540406656" sldId="2147483617"/>
            <ac:spMk id="128" creationId="{5A5478E1-4744-5A00-030F-9BA9756BCDE3}"/>
          </ac:spMkLst>
        </pc:spChg>
        <pc:spChg chg="add del mod modVis">
          <ac:chgData name="Abdi, Adnan" userId="503e002c-9b3b-4180-87fb-acabeb2b158a" providerId="ADAL" clId="{5C2CD6D4-C7A9-4CEF-AA9C-BC2977F70622}" dt="2024-02-23T12:47:24.334" v="66407"/>
          <ac:spMkLst>
            <pc:docMk/>
            <pc:sldMk cId="3540406656" sldId="2147483617"/>
            <ac:spMk id="130" creationId="{B4C298AD-3687-8A99-8BC4-FC49F88BF73F}"/>
          </ac:spMkLst>
        </pc:spChg>
        <pc:spChg chg="add del mod modVis">
          <ac:chgData name="Abdi, Adnan" userId="503e002c-9b3b-4180-87fb-acabeb2b158a" providerId="ADAL" clId="{5C2CD6D4-C7A9-4CEF-AA9C-BC2977F70622}" dt="2024-02-23T12:47:39.386" v="66541"/>
          <ac:spMkLst>
            <pc:docMk/>
            <pc:sldMk cId="3540406656" sldId="2147483617"/>
            <ac:spMk id="132" creationId="{94D79A2B-CF90-229F-1AD2-AADCAF8315EA}"/>
          </ac:spMkLst>
        </pc:spChg>
        <pc:spChg chg="add del mod modVis">
          <ac:chgData name="Abdi, Adnan" userId="503e002c-9b3b-4180-87fb-acabeb2b158a" providerId="ADAL" clId="{5C2CD6D4-C7A9-4CEF-AA9C-BC2977F70622}" dt="2024-02-23T12:47:47.661" v="66664"/>
          <ac:spMkLst>
            <pc:docMk/>
            <pc:sldMk cId="3540406656" sldId="2147483617"/>
            <ac:spMk id="134" creationId="{5CB8FFBE-7C62-D5C9-3DC3-19F10723C830}"/>
          </ac:spMkLst>
        </pc:spChg>
        <pc:spChg chg="add del mod modVis">
          <ac:chgData name="Abdi, Adnan" userId="503e002c-9b3b-4180-87fb-acabeb2b158a" providerId="ADAL" clId="{5C2CD6D4-C7A9-4CEF-AA9C-BC2977F70622}" dt="2024-02-23T12:47:50.675" v="66787"/>
          <ac:spMkLst>
            <pc:docMk/>
            <pc:sldMk cId="3540406656" sldId="2147483617"/>
            <ac:spMk id="136" creationId="{FD6879E6-92DA-A68B-874A-055881F03544}"/>
          </ac:spMkLst>
        </pc:spChg>
        <pc:spChg chg="add del mod modVis">
          <ac:chgData name="Abdi, Adnan" userId="503e002c-9b3b-4180-87fb-acabeb2b158a" providerId="ADAL" clId="{5C2CD6D4-C7A9-4CEF-AA9C-BC2977F70622}" dt="2024-02-23T12:48:09.147" v="66919"/>
          <ac:spMkLst>
            <pc:docMk/>
            <pc:sldMk cId="3540406656" sldId="2147483617"/>
            <ac:spMk id="138" creationId="{1ADC8398-D3E2-50C6-A885-D2A54F51AAFD}"/>
          </ac:spMkLst>
        </pc:spChg>
        <pc:spChg chg="add del mod">
          <ac:chgData name="Abdi, Adnan" userId="503e002c-9b3b-4180-87fb-acabeb2b158a" providerId="ADAL" clId="{5C2CD6D4-C7A9-4CEF-AA9C-BC2977F70622}" dt="2024-02-23T12:51:55.956" v="67023" actId="478"/>
          <ac:spMkLst>
            <pc:docMk/>
            <pc:sldMk cId="3540406656" sldId="2147483617"/>
            <ac:spMk id="140" creationId="{DBFD22AB-E88E-B9FA-C464-4011281880F3}"/>
          </ac:spMkLst>
        </pc:spChg>
        <pc:spChg chg="add del mod">
          <ac:chgData name="Abdi, Adnan" userId="503e002c-9b3b-4180-87fb-acabeb2b158a" providerId="ADAL" clId="{5C2CD6D4-C7A9-4CEF-AA9C-BC2977F70622}" dt="2024-02-23T12:51:55.956" v="67023" actId="478"/>
          <ac:spMkLst>
            <pc:docMk/>
            <pc:sldMk cId="3540406656" sldId="2147483617"/>
            <ac:spMk id="141" creationId="{7FE8080B-F84B-FE6E-BF41-21565BFB8F18}"/>
          </ac:spMkLst>
        </pc:spChg>
        <pc:spChg chg="add mod topLvl">
          <ac:chgData name="Abdi, Adnan" userId="503e002c-9b3b-4180-87fb-acabeb2b158a" providerId="ADAL" clId="{5C2CD6D4-C7A9-4CEF-AA9C-BC2977F70622}" dt="2024-02-23T12:51:35.591" v="67018"/>
          <ac:spMkLst>
            <pc:docMk/>
            <pc:sldMk cId="3540406656" sldId="2147483617"/>
            <ac:spMk id="142" creationId="{08A46128-C07E-5747-6EBF-AFD7168FA4DD}"/>
          </ac:spMkLst>
        </pc:spChg>
        <pc:spChg chg="add mod topLvl">
          <ac:chgData name="Abdi, Adnan" userId="503e002c-9b3b-4180-87fb-acabeb2b158a" providerId="ADAL" clId="{5C2CD6D4-C7A9-4CEF-AA9C-BC2977F70622}" dt="2024-02-23T12:51:35.591" v="67018"/>
          <ac:spMkLst>
            <pc:docMk/>
            <pc:sldMk cId="3540406656" sldId="2147483617"/>
            <ac:spMk id="143" creationId="{AFE0157D-D3F8-9C78-4517-62B6D754AA25}"/>
          </ac:spMkLst>
        </pc:spChg>
        <pc:spChg chg="mod">
          <ac:chgData name="Abdi, Adnan" userId="503e002c-9b3b-4180-87fb-acabeb2b158a" providerId="ADAL" clId="{5C2CD6D4-C7A9-4CEF-AA9C-BC2977F70622}" dt="2024-02-23T14:04:01.836" v="69431"/>
          <ac:spMkLst>
            <pc:docMk/>
            <pc:sldMk cId="3540406656" sldId="2147483617"/>
            <ac:spMk id="145" creationId="{757FFC55-CA74-42D2-8F4A-84ED89D35266}"/>
          </ac:spMkLst>
        </pc:spChg>
        <pc:spChg chg="mod">
          <ac:chgData name="Abdi, Adnan" userId="503e002c-9b3b-4180-87fb-acabeb2b158a" providerId="ADAL" clId="{5C2CD6D4-C7A9-4CEF-AA9C-BC2977F70622}" dt="2024-02-23T14:04:01.836" v="69431"/>
          <ac:spMkLst>
            <pc:docMk/>
            <pc:sldMk cId="3540406656" sldId="2147483617"/>
            <ac:spMk id="146" creationId="{1EEA723C-E274-4985-DC0D-7CB9FB415EDB}"/>
          </ac:spMkLst>
        </pc:spChg>
        <pc:spChg chg="mod">
          <ac:chgData name="Abdi, Adnan" userId="503e002c-9b3b-4180-87fb-acabeb2b158a" providerId="ADAL" clId="{5C2CD6D4-C7A9-4CEF-AA9C-BC2977F70622}" dt="2024-02-23T12:56:45.983" v="67051"/>
          <ac:spMkLst>
            <pc:docMk/>
            <pc:sldMk cId="3540406656" sldId="2147483617"/>
            <ac:spMk id="148" creationId="{5C933FE2-7378-3F14-72F9-FFA08F3E7981}"/>
          </ac:spMkLst>
        </pc:spChg>
        <pc:spChg chg="mod">
          <ac:chgData name="Abdi, Adnan" userId="503e002c-9b3b-4180-87fb-acabeb2b158a" providerId="ADAL" clId="{5C2CD6D4-C7A9-4CEF-AA9C-BC2977F70622}" dt="2024-02-23T12:56:45.983" v="67051"/>
          <ac:spMkLst>
            <pc:docMk/>
            <pc:sldMk cId="3540406656" sldId="2147483617"/>
            <ac:spMk id="149" creationId="{AC49F58C-DFD6-4E10-09D3-1A7883BD0D18}"/>
          </ac:spMkLst>
        </pc:spChg>
        <pc:spChg chg="mod">
          <ac:chgData name="Abdi, Adnan" userId="503e002c-9b3b-4180-87fb-acabeb2b158a" providerId="ADAL" clId="{5C2CD6D4-C7A9-4CEF-AA9C-BC2977F70622}" dt="2024-02-23T14:03:47.712" v="69418"/>
          <ac:spMkLst>
            <pc:docMk/>
            <pc:sldMk cId="3540406656" sldId="2147483617"/>
            <ac:spMk id="153" creationId="{F8DE5873-A2AA-8F2F-C644-020707DD18FA}"/>
          </ac:spMkLst>
        </pc:spChg>
        <pc:spChg chg="mod">
          <ac:chgData name="Abdi, Adnan" userId="503e002c-9b3b-4180-87fb-acabeb2b158a" providerId="ADAL" clId="{5C2CD6D4-C7A9-4CEF-AA9C-BC2977F70622}" dt="2024-02-23T14:03:47.712" v="69418"/>
          <ac:spMkLst>
            <pc:docMk/>
            <pc:sldMk cId="3540406656" sldId="2147483617"/>
            <ac:spMk id="154" creationId="{3DEC6CAB-21AB-D7D8-83CA-259476F53B02}"/>
          </ac:spMkLst>
        </pc:spChg>
        <pc:spChg chg="add del mod topLvl">
          <ac:chgData name="Abdi, Adnan" userId="503e002c-9b3b-4180-87fb-acabeb2b158a" providerId="ADAL" clId="{5C2CD6D4-C7A9-4CEF-AA9C-BC2977F70622}" dt="2024-02-23T14:04:27.731" v="69437"/>
          <ac:spMkLst>
            <pc:docMk/>
            <pc:sldMk cId="3540406656" sldId="2147483617"/>
            <ac:spMk id="156" creationId="{5AD1D4BE-5E31-E126-1375-4A0DD7EF09FC}"/>
          </ac:spMkLst>
        </pc:spChg>
        <pc:spChg chg="add del mod topLvl">
          <ac:chgData name="Abdi, Adnan" userId="503e002c-9b3b-4180-87fb-acabeb2b158a" providerId="ADAL" clId="{5C2CD6D4-C7A9-4CEF-AA9C-BC2977F70622}" dt="2024-02-23T14:04:27.731" v="69437"/>
          <ac:spMkLst>
            <pc:docMk/>
            <pc:sldMk cId="3540406656" sldId="2147483617"/>
            <ac:spMk id="157" creationId="{8A705D52-1769-A4EF-2E39-5E627803D45C}"/>
          </ac:spMkLst>
        </pc:spChg>
        <pc:spChg chg="add del mod ord">
          <ac:chgData name="Abdi, Adnan" userId="503e002c-9b3b-4180-87fb-acabeb2b158a" providerId="ADAL" clId="{5C2CD6D4-C7A9-4CEF-AA9C-BC2977F70622}" dt="2024-02-23T14:08:33.234" v="70406" actId="478"/>
          <ac:spMkLst>
            <pc:docMk/>
            <pc:sldMk cId="3540406656" sldId="2147483617"/>
            <ac:spMk id="162" creationId="{FA5B3739-D169-2BE4-5141-9408C74179C1}"/>
          </ac:spMkLst>
        </pc:spChg>
        <pc:spChg chg="add mod ord">
          <ac:chgData name="Abdi, Adnan" userId="503e002c-9b3b-4180-87fb-acabeb2b158a" providerId="ADAL" clId="{5C2CD6D4-C7A9-4CEF-AA9C-BC2977F70622}" dt="2024-02-23T14:15:31.239" v="70584" actId="20577"/>
          <ac:spMkLst>
            <pc:docMk/>
            <pc:sldMk cId="3540406656" sldId="2147483617"/>
            <ac:spMk id="163" creationId="{56AFCB97-D87A-64F7-138A-00AD64EFEA83}"/>
          </ac:spMkLst>
        </pc:spChg>
        <pc:spChg chg="mod">
          <ac:chgData name="Abdi, Adnan" userId="503e002c-9b3b-4180-87fb-acabeb2b158a" providerId="ADAL" clId="{5C2CD6D4-C7A9-4CEF-AA9C-BC2977F70622}" dt="2024-02-27T18:47:38.538" v="73570"/>
          <ac:spMkLst>
            <pc:docMk/>
            <pc:sldMk cId="3540406656" sldId="2147483617"/>
            <ac:spMk id="165" creationId="{624C2A4D-D4AF-B92C-39C1-77C8531EEA14}"/>
          </ac:spMkLst>
        </pc:spChg>
        <pc:spChg chg="mod">
          <ac:chgData name="Abdi, Adnan" userId="503e002c-9b3b-4180-87fb-acabeb2b158a" providerId="ADAL" clId="{5C2CD6D4-C7A9-4CEF-AA9C-BC2977F70622}" dt="2024-02-27T18:47:38.538" v="73570"/>
          <ac:spMkLst>
            <pc:docMk/>
            <pc:sldMk cId="3540406656" sldId="2147483617"/>
            <ac:spMk id="166" creationId="{85E9EDE3-B5AA-C84B-C06D-265FA562F63E}"/>
          </ac:spMkLst>
        </pc:spChg>
        <pc:spChg chg="add del mod ord">
          <ac:chgData name="Abdi, Adnan" userId="503e002c-9b3b-4180-87fb-acabeb2b158a" providerId="ADAL" clId="{5C2CD6D4-C7A9-4CEF-AA9C-BC2977F70622}" dt="2024-02-23T14:08:33.234" v="70406" actId="478"/>
          <ac:spMkLst>
            <pc:docMk/>
            <pc:sldMk cId="3540406656" sldId="2147483617"/>
            <ac:spMk id="172" creationId="{3220F913-CECB-5595-D932-1BEAF2B308E5}"/>
          </ac:spMkLst>
        </pc:spChg>
        <pc:spChg chg="add mod">
          <ac:chgData name="Abdi, Adnan" userId="503e002c-9b3b-4180-87fb-acabeb2b158a" providerId="ADAL" clId="{5C2CD6D4-C7A9-4CEF-AA9C-BC2977F70622}" dt="2024-02-23T13:42:01.558" v="68045"/>
          <ac:spMkLst>
            <pc:docMk/>
            <pc:sldMk cId="3540406656" sldId="2147483617"/>
            <ac:spMk id="173" creationId="{4B84B70E-A4A9-B3D5-EC8D-D31117104117}"/>
          </ac:spMkLst>
        </pc:spChg>
        <pc:spChg chg="add mod">
          <ac:chgData name="Abdi, Adnan" userId="503e002c-9b3b-4180-87fb-acabeb2b158a" providerId="ADAL" clId="{5C2CD6D4-C7A9-4CEF-AA9C-BC2977F70622}" dt="2024-02-23T13:42:01.558" v="68045"/>
          <ac:spMkLst>
            <pc:docMk/>
            <pc:sldMk cId="3540406656" sldId="2147483617"/>
            <ac:spMk id="174" creationId="{594E2BC2-3DE0-AAA3-EABB-65C66CF43D1A}"/>
          </ac:spMkLst>
        </pc:spChg>
        <pc:spChg chg="add mod">
          <ac:chgData name="Abdi, Adnan" userId="503e002c-9b3b-4180-87fb-acabeb2b158a" providerId="ADAL" clId="{5C2CD6D4-C7A9-4CEF-AA9C-BC2977F70622}" dt="2024-02-23T13:42:05.857" v="68046"/>
          <ac:spMkLst>
            <pc:docMk/>
            <pc:sldMk cId="3540406656" sldId="2147483617"/>
            <ac:spMk id="175" creationId="{C9BB0526-AE52-C346-A01A-D4F67662BC6F}"/>
          </ac:spMkLst>
        </pc:spChg>
        <pc:spChg chg="add mod">
          <ac:chgData name="Abdi, Adnan" userId="503e002c-9b3b-4180-87fb-acabeb2b158a" providerId="ADAL" clId="{5C2CD6D4-C7A9-4CEF-AA9C-BC2977F70622}" dt="2024-02-23T13:42:05.857" v="68046"/>
          <ac:spMkLst>
            <pc:docMk/>
            <pc:sldMk cId="3540406656" sldId="2147483617"/>
            <ac:spMk id="176" creationId="{20628071-B6E2-46C8-22C8-B2D6B5D1B696}"/>
          </ac:spMkLst>
        </pc:spChg>
        <pc:spChg chg="add del mod">
          <ac:chgData name="Abdi, Adnan" userId="503e002c-9b3b-4180-87fb-acabeb2b158a" providerId="ADAL" clId="{5C2CD6D4-C7A9-4CEF-AA9C-BC2977F70622}" dt="2024-02-23T13:43:36.441" v="68066" actId="478"/>
          <ac:spMkLst>
            <pc:docMk/>
            <pc:sldMk cId="3540406656" sldId="2147483617"/>
            <ac:spMk id="177" creationId="{8D3DB2B1-1D82-4B65-2966-45645D0C408D}"/>
          </ac:spMkLst>
        </pc:spChg>
        <pc:spChg chg="add del mod">
          <ac:chgData name="Abdi, Adnan" userId="503e002c-9b3b-4180-87fb-acabeb2b158a" providerId="ADAL" clId="{5C2CD6D4-C7A9-4CEF-AA9C-BC2977F70622}" dt="2024-02-23T13:43:36.441" v="68066" actId="478"/>
          <ac:spMkLst>
            <pc:docMk/>
            <pc:sldMk cId="3540406656" sldId="2147483617"/>
            <ac:spMk id="178" creationId="{8795B1D8-AF11-7022-7A6C-9E335850609C}"/>
          </ac:spMkLst>
        </pc:spChg>
        <pc:spChg chg="add mod">
          <ac:chgData name="Abdi, Adnan" userId="503e002c-9b3b-4180-87fb-acabeb2b158a" providerId="ADAL" clId="{5C2CD6D4-C7A9-4CEF-AA9C-BC2977F70622}" dt="2024-02-23T13:45:44.671" v="68138" actId="571"/>
          <ac:spMkLst>
            <pc:docMk/>
            <pc:sldMk cId="3540406656" sldId="2147483617"/>
            <ac:spMk id="179" creationId="{714C86AF-4BBE-D1DA-AC91-7E0FF77B174A}"/>
          </ac:spMkLst>
        </pc:spChg>
        <pc:spChg chg="add mod ord">
          <ac:chgData name="Abdi, Adnan" userId="503e002c-9b3b-4180-87fb-acabeb2b158a" providerId="ADAL" clId="{5C2CD6D4-C7A9-4CEF-AA9C-BC2977F70622}" dt="2024-02-23T14:15:12.245" v="70567"/>
          <ac:spMkLst>
            <pc:docMk/>
            <pc:sldMk cId="3540406656" sldId="2147483617"/>
            <ac:spMk id="180" creationId="{9248F7DF-EA88-DC15-52A0-3A9B216E4EFB}"/>
          </ac:spMkLst>
        </pc:spChg>
        <pc:spChg chg="add mod ord">
          <ac:chgData name="Abdi, Adnan" userId="503e002c-9b3b-4180-87fb-acabeb2b158a" providerId="ADAL" clId="{5C2CD6D4-C7A9-4CEF-AA9C-BC2977F70622}" dt="2024-02-23T14:15:12.245" v="70569"/>
          <ac:spMkLst>
            <pc:docMk/>
            <pc:sldMk cId="3540406656" sldId="2147483617"/>
            <ac:spMk id="181" creationId="{B90C14F6-DF1B-367D-C3FC-557A2E26378E}"/>
          </ac:spMkLst>
        </pc:spChg>
        <pc:spChg chg="add del mod modVis">
          <ac:chgData name="Abdi, Adnan" userId="503e002c-9b3b-4180-87fb-acabeb2b158a" providerId="ADAL" clId="{5C2CD6D4-C7A9-4CEF-AA9C-BC2977F70622}" dt="2024-02-23T13:46:37.294" v="68375"/>
          <ac:spMkLst>
            <pc:docMk/>
            <pc:sldMk cId="3540406656" sldId="2147483617"/>
            <ac:spMk id="182" creationId="{E92683FA-54D0-D389-543D-A1CB33BC10DF}"/>
          </ac:spMkLst>
        </pc:spChg>
        <pc:spChg chg="add del mod modVis">
          <ac:chgData name="Abdi, Adnan" userId="503e002c-9b3b-4180-87fb-acabeb2b158a" providerId="ADAL" clId="{5C2CD6D4-C7A9-4CEF-AA9C-BC2977F70622}" dt="2024-02-23T13:46:41.561" v="68537"/>
          <ac:spMkLst>
            <pc:docMk/>
            <pc:sldMk cId="3540406656" sldId="2147483617"/>
            <ac:spMk id="184" creationId="{B78172D8-F8A7-E784-39D3-695BDE7867B2}"/>
          </ac:spMkLst>
        </pc:spChg>
        <pc:spChg chg="add del mod modVis">
          <ac:chgData name="Abdi, Adnan" userId="503e002c-9b3b-4180-87fb-acabeb2b158a" providerId="ADAL" clId="{5C2CD6D4-C7A9-4CEF-AA9C-BC2977F70622}" dt="2024-02-23T13:54:27.110" v="68933"/>
          <ac:spMkLst>
            <pc:docMk/>
            <pc:sldMk cId="3540406656" sldId="2147483617"/>
            <ac:spMk id="186" creationId="{E8270430-FC74-F2D8-FC45-7B0072395752}"/>
          </ac:spMkLst>
        </pc:spChg>
        <pc:spChg chg="add del mod modVis">
          <ac:chgData name="Abdi, Adnan" userId="503e002c-9b3b-4180-87fb-acabeb2b158a" providerId="ADAL" clId="{5C2CD6D4-C7A9-4CEF-AA9C-BC2977F70622}" dt="2024-02-23T13:54:49.462" v="69075"/>
          <ac:spMkLst>
            <pc:docMk/>
            <pc:sldMk cId="3540406656" sldId="2147483617"/>
            <ac:spMk id="188" creationId="{2790BBD0-A660-3C93-27FB-5A8CC6CA4D5B}"/>
          </ac:spMkLst>
        </pc:spChg>
        <pc:spChg chg="add del mod modVis">
          <ac:chgData name="Abdi, Adnan" userId="503e002c-9b3b-4180-87fb-acabeb2b158a" providerId="ADAL" clId="{5C2CD6D4-C7A9-4CEF-AA9C-BC2977F70622}" dt="2024-02-23T14:06:45.491" v="70174"/>
          <ac:spMkLst>
            <pc:docMk/>
            <pc:sldMk cId="3540406656" sldId="2147483617"/>
            <ac:spMk id="190" creationId="{B86F13BB-1283-02C1-119E-5D9A2E58982D}"/>
          </ac:spMkLst>
        </pc:spChg>
        <pc:spChg chg="add del mod replST">
          <ac:chgData name="Abdi, Adnan" userId="503e002c-9b3b-4180-87fb-acabeb2b158a" providerId="ADAL" clId="{5C2CD6D4-C7A9-4CEF-AA9C-BC2977F70622}" dt="2024-02-23T14:15:12.032" v="70497"/>
          <ac:spMkLst>
            <pc:docMk/>
            <pc:sldMk cId="3540406656" sldId="2147483617"/>
            <ac:spMk id="191" creationId="{2D295CA6-932C-25FF-1745-78245930DC3C}"/>
          </ac:spMkLst>
        </pc:spChg>
        <pc:spChg chg="add del mod replST">
          <ac:chgData name="Abdi, Adnan" userId="503e002c-9b3b-4180-87fb-acabeb2b158a" providerId="ADAL" clId="{5C2CD6D4-C7A9-4CEF-AA9C-BC2977F70622}" dt="2024-02-23T14:15:12.031" v="70494"/>
          <ac:spMkLst>
            <pc:docMk/>
            <pc:sldMk cId="3540406656" sldId="2147483617"/>
            <ac:spMk id="192" creationId="{54FC978F-F665-A8A0-A317-47F36CFC28F6}"/>
          </ac:spMkLst>
        </pc:spChg>
        <pc:spChg chg="add del mod replST">
          <ac:chgData name="Abdi, Adnan" userId="503e002c-9b3b-4180-87fb-acabeb2b158a" providerId="ADAL" clId="{5C2CD6D4-C7A9-4CEF-AA9C-BC2977F70622}" dt="2024-02-23T14:15:12.030" v="70491"/>
          <ac:spMkLst>
            <pc:docMk/>
            <pc:sldMk cId="3540406656" sldId="2147483617"/>
            <ac:spMk id="193" creationId="{CF405139-1F48-99B9-6209-8F08668A958E}"/>
          </ac:spMkLst>
        </pc:spChg>
        <pc:spChg chg="add del mod replST">
          <ac:chgData name="Abdi, Adnan" userId="503e002c-9b3b-4180-87fb-acabeb2b158a" providerId="ADAL" clId="{5C2CD6D4-C7A9-4CEF-AA9C-BC2977F70622}" dt="2024-02-23T14:15:12.029" v="70488"/>
          <ac:spMkLst>
            <pc:docMk/>
            <pc:sldMk cId="3540406656" sldId="2147483617"/>
            <ac:spMk id="194" creationId="{FA0E14DF-402E-3DE6-0C00-D548805B7EAA}"/>
          </ac:spMkLst>
        </pc:spChg>
        <pc:spChg chg="add del mod replST">
          <ac:chgData name="Abdi, Adnan" userId="503e002c-9b3b-4180-87fb-acabeb2b158a" providerId="ADAL" clId="{5C2CD6D4-C7A9-4CEF-AA9C-BC2977F70622}" dt="2024-02-23T14:15:12.029" v="70485"/>
          <ac:spMkLst>
            <pc:docMk/>
            <pc:sldMk cId="3540406656" sldId="2147483617"/>
            <ac:spMk id="195" creationId="{D13D6755-083F-87EA-25AF-ED38BFCF6281}"/>
          </ac:spMkLst>
        </pc:spChg>
        <pc:spChg chg="add del mod replST">
          <ac:chgData name="Abdi, Adnan" userId="503e002c-9b3b-4180-87fb-acabeb2b158a" providerId="ADAL" clId="{5C2CD6D4-C7A9-4CEF-AA9C-BC2977F70622}" dt="2024-02-23T14:15:12.027" v="70482"/>
          <ac:spMkLst>
            <pc:docMk/>
            <pc:sldMk cId="3540406656" sldId="2147483617"/>
            <ac:spMk id="196" creationId="{152AE309-EE17-3EA2-35FA-CE3B29F75FE2}"/>
          </ac:spMkLst>
        </pc:spChg>
        <pc:spChg chg="add del mod modVis">
          <ac:chgData name="Abdi, Adnan" userId="503e002c-9b3b-4180-87fb-acabeb2b158a" providerId="ADAL" clId="{5C2CD6D4-C7A9-4CEF-AA9C-BC2977F70622}" dt="2024-02-23T14:06:50.286" v="70394"/>
          <ac:spMkLst>
            <pc:docMk/>
            <pc:sldMk cId="3540406656" sldId="2147483617"/>
            <ac:spMk id="204" creationId="{FBBFE564-D86F-BCEB-31A6-BC7AEE518A13}"/>
          </ac:spMkLst>
        </pc:spChg>
        <pc:spChg chg="add del mod modVis">
          <ac:chgData name="Abdi, Adnan" userId="503e002c-9b3b-4180-87fb-acabeb2b158a" providerId="ADAL" clId="{5C2CD6D4-C7A9-4CEF-AA9C-BC2977F70622}" dt="2024-02-23T14:15:12.248" v="70577"/>
          <ac:spMkLst>
            <pc:docMk/>
            <pc:sldMk cId="3540406656" sldId="2147483617"/>
            <ac:spMk id="209" creationId="{39416C83-C5F6-B232-0495-1D58F23DA75C}"/>
          </ac:spMkLst>
        </pc:spChg>
        <pc:grpChg chg="add mod">
          <ac:chgData name="Abdi, Adnan" userId="503e002c-9b3b-4180-87fb-acabeb2b158a" providerId="ADAL" clId="{5C2CD6D4-C7A9-4CEF-AA9C-BC2977F70622}" dt="2024-02-27T18:47:25.865" v="73564"/>
          <ac:grpSpMkLst>
            <pc:docMk/>
            <pc:sldMk cId="3540406656" sldId="2147483617"/>
            <ac:grpSpMk id="5" creationId="{5439DE14-5EAB-5C05-DC30-63543978FBDC}"/>
          </ac:grpSpMkLst>
        </pc:grpChg>
        <pc:grpChg chg="mod">
          <ac:chgData name="Abdi, Adnan" userId="503e002c-9b3b-4180-87fb-acabeb2b158a" providerId="ADAL" clId="{5C2CD6D4-C7A9-4CEF-AA9C-BC2977F70622}" dt="2024-02-27T18:47:25.865" v="73564"/>
          <ac:grpSpMkLst>
            <pc:docMk/>
            <pc:sldMk cId="3540406656" sldId="2147483617"/>
            <ac:grpSpMk id="7" creationId="{6497723B-3DF9-7267-B34C-4FADA7719632}"/>
          </ac:grpSpMkLst>
        </pc:grpChg>
        <pc:grpChg chg="add mod">
          <ac:chgData name="Abdi, Adnan" userId="503e002c-9b3b-4180-87fb-acabeb2b158a" providerId="ADAL" clId="{5C2CD6D4-C7A9-4CEF-AA9C-BC2977F70622}" dt="2024-02-27T18:47:38.546" v="73582"/>
          <ac:grpSpMkLst>
            <pc:docMk/>
            <pc:sldMk cId="3540406656" sldId="2147483617"/>
            <ac:grpSpMk id="11" creationId="{7B2C3B70-A9DD-70AA-6AED-58910B5724CA}"/>
          </ac:grpSpMkLst>
        </pc:grpChg>
        <pc:grpChg chg="mod">
          <ac:chgData name="Abdi, Adnan" userId="503e002c-9b3b-4180-87fb-acabeb2b158a" providerId="ADAL" clId="{5C2CD6D4-C7A9-4CEF-AA9C-BC2977F70622}" dt="2024-02-27T18:47:38.538" v="73569"/>
          <ac:grpSpMkLst>
            <pc:docMk/>
            <pc:sldMk cId="3540406656" sldId="2147483617"/>
            <ac:grpSpMk id="14" creationId="{84606152-2132-12A6-27D7-9D2D6A1F65E5}"/>
          </ac:grpSpMkLst>
        </pc:grpChg>
        <pc:grpChg chg="add del mod">
          <ac:chgData name="Abdi, Adnan" userId="503e002c-9b3b-4180-87fb-acabeb2b158a" providerId="ADAL" clId="{5C2CD6D4-C7A9-4CEF-AA9C-BC2977F70622}" dt="2024-02-27T18:47:38.538" v="73570"/>
          <ac:grpSpMkLst>
            <pc:docMk/>
            <pc:sldMk cId="3540406656" sldId="2147483617"/>
            <ac:grpSpMk id="90" creationId="{6E775289-05E4-CFBD-4877-234B1CB6F007}"/>
          </ac:grpSpMkLst>
        </pc:grpChg>
        <pc:grpChg chg="add del mod">
          <ac:chgData name="Abdi, Adnan" userId="503e002c-9b3b-4180-87fb-acabeb2b158a" providerId="ADAL" clId="{5C2CD6D4-C7A9-4CEF-AA9C-BC2977F70622}" dt="2024-02-23T12:42:26.702" v="64469" actId="165"/>
          <ac:grpSpMkLst>
            <pc:docMk/>
            <pc:sldMk cId="3540406656" sldId="2147483617"/>
            <ac:grpSpMk id="96" creationId="{E41FA7AF-71A0-2DFD-0205-55B91244BE81}"/>
          </ac:grpSpMkLst>
        </pc:grpChg>
        <pc:grpChg chg="del mod ord topLvl">
          <ac:chgData name="Abdi, Adnan" userId="503e002c-9b3b-4180-87fb-acabeb2b158a" providerId="ADAL" clId="{5C2CD6D4-C7A9-4CEF-AA9C-BC2977F70622}" dt="2024-02-23T14:08:57.236" v="70410" actId="478"/>
          <ac:grpSpMkLst>
            <pc:docMk/>
            <pc:sldMk cId="3540406656" sldId="2147483617"/>
            <ac:grpSpMk id="98" creationId="{A12D10EE-A606-69A7-C200-D082D43CB48F}"/>
          </ac:grpSpMkLst>
        </pc:grpChg>
        <pc:grpChg chg="add del mod ord">
          <ac:chgData name="Abdi, Adnan" userId="503e002c-9b3b-4180-87fb-acabeb2b158a" providerId="ADAL" clId="{5C2CD6D4-C7A9-4CEF-AA9C-BC2977F70622}" dt="2024-02-23T14:08:57.236" v="70410" actId="478"/>
          <ac:grpSpMkLst>
            <pc:docMk/>
            <pc:sldMk cId="3540406656" sldId="2147483617"/>
            <ac:grpSpMk id="144" creationId="{A1C89AB4-B715-1566-CEFB-D1F41191D8AB}"/>
          </ac:grpSpMkLst>
        </pc:grpChg>
        <pc:grpChg chg="add del mod">
          <ac:chgData name="Abdi, Adnan" userId="503e002c-9b3b-4180-87fb-acabeb2b158a" providerId="ADAL" clId="{5C2CD6D4-C7A9-4CEF-AA9C-BC2977F70622}" dt="2024-02-23T13:24:53.579" v="67439" actId="478"/>
          <ac:grpSpMkLst>
            <pc:docMk/>
            <pc:sldMk cId="3540406656" sldId="2147483617"/>
            <ac:grpSpMk id="147" creationId="{D7962E29-A2E2-6D30-7B28-85B40B987667}"/>
          </ac:grpSpMkLst>
        </pc:grpChg>
        <pc:grpChg chg="add del mod">
          <ac:chgData name="Abdi, Adnan" userId="503e002c-9b3b-4180-87fb-acabeb2b158a" providerId="ADAL" clId="{5C2CD6D4-C7A9-4CEF-AA9C-BC2977F70622}" dt="2024-02-23T12:51:25.990" v="67014" actId="165"/>
          <ac:grpSpMkLst>
            <pc:docMk/>
            <pc:sldMk cId="3540406656" sldId="2147483617"/>
            <ac:grpSpMk id="150" creationId="{91DCBCD1-1CE0-9829-D6E8-ED187BADDE84}"/>
          </ac:grpSpMkLst>
        </pc:grpChg>
        <pc:grpChg chg="add del mod">
          <ac:chgData name="Abdi, Adnan" userId="503e002c-9b3b-4180-87fb-acabeb2b158a" providerId="ADAL" clId="{5C2CD6D4-C7A9-4CEF-AA9C-BC2977F70622}" dt="2024-02-23T13:24:51.764" v="67438" actId="478"/>
          <ac:grpSpMkLst>
            <pc:docMk/>
            <pc:sldMk cId="3540406656" sldId="2147483617"/>
            <ac:grpSpMk id="151" creationId="{429CD12C-B49C-B6CA-FA7D-A41917855DAF}"/>
          </ac:grpSpMkLst>
        </pc:grpChg>
        <pc:grpChg chg="add del mod ord">
          <ac:chgData name="Abdi, Adnan" userId="503e002c-9b3b-4180-87fb-acabeb2b158a" providerId="ADAL" clId="{5C2CD6D4-C7A9-4CEF-AA9C-BC2977F70622}" dt="2024-02-23T14:08:46.587" v="70407" actId="478"/>
          <ac:grpSpMkLst>
            <pc:docMk/>
            <pc:sldMk cId="3540406656" sldId="2147483617"/>
            <ac:grpSpMk id="152" creationId="{8AD9BAE0-FE55-939A-1254-18F8A8DA28F6}"/>
          </ac:grpSpMkLst>
        </pc:grpChg>
        <pc:grpChg chg="add del mod ord">
          <ac:chgData name="Abdi, Adnan" userId="503e002c-9b3b-4180-87fb-acabeb2b158a" providerId="ADAL" clId="{5C2CD6D4-C7A9-4CEF-AA9C-BC2977F70622}" dt="2024-02-23T14:08:46.587" v="70407" actId="478"/>
          <ac:grpSpMkLst>
            <pc:docMk/>
            <pc:sldMk cId="3540406656" sldId="2147483617"/>
            <ac:grpSpMk id="155" creationId="{235334D3-0864-F34A-1FDC-80F1DB2485B4}"/>
          </ac:grpSpMkLst>
        </pc:grpChg>
        <pc:grpChg chg="add mod">
          <ac:chgData name="Abdi, Adnan" userId="503e002c-9b3b-4180-87fb-acabeb2b158a" providerId="ADAL" clId="{5C2CD6D4-C7A9-4CEF-AA9C-BC2977F70622}" dt="2024-02-27T18:47:38.538" v="73570"/>
          <ac:grpSpMkLst>
            <pc:docMk/>
            <pc:sldMk cId="3540406656" sldId="2147483617"/>
            <ac:grpSpMk id="164" creationId="{26EF0D1B-F0B5-93B4-9743-7198534EA873}"/>
          </ac:grpSpMkLst>
        </pc:grpChg>
        <pc:grpChg chg="add del mod">
          <ac:chgData name="Abdi, Adnan" userId="503e002c-9b3b-4180-87fb-acabeb2b158a" providerId="ADAL" clId="{5C2CD6D4-C7A9-4CEF-AA9C-BC2977F70622}" dt="2024-02-27T18:47:43.118" v="73594" actId="478"/>
          <ac:grpSpMkLst>
            <pc:docMk/>
            <pc:sldMk cId="3540406656" sldId="2147483617"/>
            <ac:grpSpMk id="167" creationId="{BE0F7A1A-F75E-6944-5C53-C3B955940FCF}"/>
          </ac:grpSpMkLst>
        </pc:grpChg>
        <pc:grpChg chg="add del mod">
          <ac:chgData name="Abdi, Adnan" userId="503e002c-9b3b-4180-87fb-acabeb2b158a" providerId="ADAL" clId="{5C2CD6D4-C7A9-4CEF-AA9C-BC2977F70622}" dt="2024-02-23T14:28:45.734" v="70649" actId="165"/>
          <ac:grpSpMkLst>
            <pc:docMk/>
            <pc:sldMk cId="3540406656" sldId="2147483617"/>
            <ac:grpSpMk id="219" creationId="{846F5F45-4EB5-1EFE-6E60-9E0092F2024A}"/>
          </ac:grpSpMkLst>
        </pc:grpChg>
        <pc:grpChg chg="add del mod">
          <ac:chgData name="Abdi, Adnan" userId="503e002c-9b3b-4180-87fb-acabeb2b158a" providerId="ADAL" clId="{5C2CD6D4-C7A9-4CEF-AA9C-BC2977F70622}" dt="2024-02-23T14:34:49.827" v="70944" actId="165"/>
          <ac:grpSpMkLst>
            <pc:docMk/>
            <pc:sldMk cId="3540406656" sldId="2147483617"/>
            <ac:grpSpMk id="220" creationId="{71C44DD3-AF15-6530-9AD1-BFEBE69368D3}"/>
          </ac:grpSpMkLst>
        </pc:grpChg>
        <pc:graphicFrameChg chg="add del mod replST">
          <ac:chgData name="Abdi, Adnan" userId="503e002c-9b3b-4180-87fb-acabeb2b158a" providerId="ADAL" clId="{5C2CD6D4-C7A9-4CEF-AA9C-BC2977F70622}" dt="2024-02-23T12:04:02.545" v="61703"/>
          <ac:graphicFrameMkLst>
            <pc:docMk/>
            <pc:sldMk cId="3540406656" sldId="2147483617"/>
            <ac:graphicFrameMk id="12" creationId="{09AADA9E-F6B7-38A7-66B0-2EA7F8A4A2A1}"/>
          </ac:graphicFrameMkLst>
        </pc:graphicFrameChg>
        <pc:graphicFrameChg chg="add del mod replST">
          <ac:chgData name="Abdi, Adnan" userId="503e002c-9b3b-4180-87fb-acabeb2b158a" providerId="ADAL" clId="{5C2CD6D4-C7A9-4CEF-AA9C-BC2977F70622}" dt="2024-02-23T12:04:16.623" v="61958"/>
          <ac:graphicFrameMkLst>
            <pc:docMk/>
            <pc:sldMk cId="3540406656" sldId="2147483617"/>
            <ac:graphicFrameMk id="36" creationId="{488FF8E1-5283-46E3-6BA6-0E1512311F14}"/>
          </ac:graphicFrameMkLst>
        </pc:graphicFrameChg>
        <pc:graphicFrameChg chg="add mod ord modVis replST">
          <ac:chgData name="Abdi, Adnan" userId="503e002c-9b3b-4180-87fb-acabeb2b158a" providerId="ADAL" clId="{5C2CD6D4-C7A9-4CEF-AA9C-BC2977F70622}" dt="2024-02-23T15:07:49.539" v="71464"/>
          <ac:graphicFrameMkLst>
            <pc:docMk/>
            <pc:sldMk cId="3540406656" sldId="2147483617"/>
            <ac:graphicFrameMk id="37" creationId="{F5F07971-76A7-DD18-A5BE-9C7ED42D9A89}"/>
          </ac:graphicFrameMkLst>
        </pc:graphicFrameChg>
        <pc:graphicFrameChg chg="add del mod replST">
          <ac:chgData name="Abdi, Adnan" userId="503e002c-9b3b-4180-87fb-acabeb2b158a" providerId="ADAL" clId="{5C2CD6D4-C7A9-4CEF-AA9C-BC2977F70622}" dt="2024-02-23T12:04:40.030" v="62057"/>
          <ac:graphicFrameMkLst>
            <pc:docMk/>
            <pc:sldMk cId="3540406656" sldId="2147483617"/>
            <ac:graphicFrameMk id="39" creationId="{315FD43B-61A8-E2CA-C5D6-6FD4726A4C4B}"/>
          </ac:graphicFrameMkLst>
        </pc:graphicFrameChg>
        <pc:graphicFrameChg chg="add del mod replST">
          <ac:chgData name="Abdi, Adnan" userId="503e002c-9b3b-4180-87fb-acabeb2b158a" providerId="ADAL" clId="{5C2CD6D4-C7A9-4CEF-AA9C-BC2977F70622}" dt="2024-02-23T12:04:45.434" v="62156"/>
          <ac:graphicFrameMkLst>
            <pc:docMk/>
            <pc:sldMk cId="3540406656" sldId="2147483617"/>
            <ac:graphicFrameMk id="41" creationId="{ED863471-45F0-A52A-528A-FD8EBFD85AFD}"/>
          </ac:graphicFrameMkLst>
        </pc:graphicFrameChg>
        <pc:graphicFrameChg chg="add del mod replST">
          <ac:chgData name="Abdi, Adnan" userId="503e002c-9b3b-4180-87fb-acabeb2b158a" providerId="ADAL" clId="{5C2CD6D4-C7A9-4CEF-AA9C-BC2977F70622}" dt="2024-02-23T12:04:53.606" v="62255"/>
          <ac:graphicFrameMkLst>
            <pc:docMk/>
            <pc:sldMk cId="3540406656" sldId="2147483617"/>
            <ac:graphicFrameMk id="43" creationId="{C5EA52E6-8A2B-F699-5D84-829EC2579130}"/>
          </ac:graphicFrameMkLst>
        </pc:graphicFrameChg>
        <pc:graphicFrameChg chg="add del mod replST">
          <ac:chgData name="Abdi, Adnan" userId="503e002c-9b3b-4180-87fb-acabeb2b158a" providerId="ADAL" clId="{5C2CD6D4-C7A9-4CEF-AA9C-BC2977F70622}" dt="2024-02-23T12:05:03.577" v="62354"/>
          <ac:graphicFrameMkLst>
            <pc:docMk/>
            <pc:sldMk cId="3540406656" sldId="2147483617"/>
            <ac:graphicFrameMk id="45" creationId="{FFE88654-8C2E-EB7F-A61E-5D736B390B13}"/>
          </ac:graphicFrameMkLst>
        </pc:graphicFrameChg>
        <pc:graphicFrameChg chg="add del mod replST">
          <ac:chgData name="Abdi, Adnan" userId="503e002c-9b3b-4180-87fb-acabeb2b158a" providerId="ADAL" clId="{5C2CD6D4-C7A9-4CEF-AA9C-BC2977F70622}" dt="2024-02-23T12:17:11.019" v="62462"/>
          <ac:graphicFrameMkLst>
            <pc:docMk/>
            <pc:sldMk cId="3540406656" sldId="2147483617"/>
            <ac:graphicFrameMk id="47" creationId="{DD02F087-BFAE-905E-4829-587D301C8FE1}"/>
          </ac:graphicFrameMkLst>
        </pc:graphicFrameChg>
        <pc:graphicFrameChg chg="add del mod replST">
          <ac:chgData name="Abdi, Adnan" userId="503e002c-9b3b-4180-87fb-acabeb2b158a" providerId="ADAL" clId="{5C2CD6D4-C7A9-4CEF-AA9C-BC2977F70622}" dt="2024-02-23T12:17:25.373" v="62570"/>
          <ac:graphicFrameMkLst>
            <pc:docMk/>
            <pc:sldMk cId="3540406656" sldId="2147483617"/>
            <ac:graphicFrameMk id="49" creationId="{EE8AA9D1-537B-D4AF-F5BB-5DBCEBAF15A3}"/>
          </ac:graphicFrameMkLst>
        </pc:graphicFrameChg>
        <pc:graphicFrameChg chg="add del mod replST">
          <ac:chgData name="Abdi, Adnan" userId="503e002c-9b3b-4180-87fb-acabeb2b158a" providerId="ADAL" clId="{5C2CD6D4-C7A9-4CEF-AA9C-BC2977F70622}" dt="2024-02-23T12:20:55.422" v="62687"/>
          <ac:graphicFrameMkLst>
            <pc:docMk/>
            <pc:sldMk cId="3540406656" sldId="2147483617"/>
            <ac:graphicFrameMk id="51" creationId="{D7130E90-875D-474C-8EA4-A2483137F71C}"/>
          </ac:graphicFrameMkLst>
        </pc:graphicFrameChg>
        <pc:graphicFrameChg chg="add del mod replST">
          <ac:chgData name="Abdi, Adnan" userId="503e002c-9b3b-4180-87fb-acabeb2b158a" providerId="ADAL" clId="{5C2CD6D4-C7A9-4CEF-AA9C-BC2977F70622}" dt="2024-02-23T12:21:34.621" v="63030"/>
          <ac:graphicFrameMkLst>
            <pc:docMk/>
            <pc:sldMk cId="3540406656" sldId="2147483617"/>
            <ac:graphicFrameMk id="53" creationId="{AD4CAE81-E0CB-D6FC-AEA0-04D671AE972D}"/>
          </ac:graphicFrameMkLst>
        </pc:graphicFrameChg>
        <pc:graphicFrameChg chg="add mod replST delST">
          <ac:chgData name="Abdi, Adnan" userId="503e002c-9b3b-4180-87fb-acabeb2b158a" providerId="ADAL" clId="{5C2CD6D4-C7A9-4CEF-AA9C-BC2977F70622}" dt="2024-02-23T12:21:29.536" v="62920"/>
          <ac:graphicFrameMkLst>
            <pc:docMk/>
            <pc:sldMk cId="3540406656" sldId="2147483617"/>
            <ac:graphicFrameMk id="55" creationId="{2DB9AF5A-AECB-CF93-EB42-8D7F8B0CC298}"/>
          </ac:graphicFrameMkLst>
        </pc:graphicFrameChg>
        <pc:graphicFrameChg chg="add del mod replST">
          <ac:chgData name="Abdi, Adnan" userId="503e002c-9b3b-4180-87fb-acabeb2b158a" providerId="ADAL" clId="{5C2CD6D4-C7A9-4CEF-AA9C-BC2977F70622}" dt="2024-02-23T12:21:35.847" v="63129"/>
          <ac:graphicFrameMkLst>
            <pc:docMk/>
            <pc:sldMk cId="3540406656" sldId="2147483617"/>
            <ac:graphicFrameMk id="57" creationId="{3FD81B68-595B-6B35-89F2-FF01CA2731C9}"/>
          </ac:graphicFrameMkLst>
        </pc:graphicFrameChg>
        <pc:graphicFrameChg chg="add del mod replST">
          <ac:chgData name="Abdi, Adnan" userId="503e002c-9b3b-4180-87fb-acabeb2b158a" providerId="ADAL" clId="{5C2CD6D4-C7A9-4CEF-AA9C-BC2977F70622}" dt="2024-02-23T12:21:40.696" v="63228"/>
          <ac:graphicFrameMkLst>
            <pc:docMk/>
            <pc:sldMk cId="3540406656" sldId="2147483617"/>
            <ac:graphicFrameMk id="59" creationId="{E6CE0252-218A-312D-734E-71E02853FC3B}"/>
          </ac:graphicFrameMkLst>
        </pc:graphicFrameChg>
        <pc:graphicFrameChg chg="add del mod replST">
          <ac:chgData name="Abdi, Adnan" userId="503e002c-9b3b-4180-87fb-acabeb2b158a" providerId="ADAL" clId="{5C2CD6D4-C7A9-4CEF-AA9C-BC2977F70622}" dt="2024-02-23T12:21:46.858" v="63345"/>
          <ac:graphicFrameMkLst>
            <pc:docMk/>
            <pc:sldMk cId="3540406656" sldId="2147483617"/>
            <ac:graphicFrameMk id="61" creationId="{0BDA2655-057C-FE65-1B7F-467065B5A0E0}"/>
          </ac:graphicFrameMkLst>
        </pc:graphicFrameChg>
        <pc:graphicFrameChg chg="add del mod replST">
          <ac:chgData name="Abdi, Adnan" userId="503e002c-9b3b-4180-87fb-acabeb2b158a" providerId="ADAL" clId="{5C2CD6D4-C7A9-4CEF-AA9C-BC2977F70622}" dt="2024-02-23T12:22:09.578" v="63466"/>
          <ac:graphicFrameMkLst>
            <pc:docMk/>
            <pc:sldMk cId="3540406656" sldId="2147483617"/>
            <ac:graphicFrameMk id="63" creationId="{A4910D4A-237E-45DD-A9A0-28DE86939B08}"/>
          </ac:graphicFrameMkLst>
        </pc:graphicFrameChg>
        <pc:graphicFrameChg chg="add del mod replST">
          <ac:chgData name="Abdi, Adnan" userId="503e002c-9b3b-4180-87fb-acabeb2b158a" providerId="ADAL" clId="{5C2CD6D4-C7A9-4CEF-AA9C-BC2977F70622}" dt="2024-02-23T12:22:12.115" v="63587"/>
          <ac:graphicFrameMkLst>
            <pc:docMk/>
            <pc:sldMk cId="3540406656" sldId="2147483617"/>
            <ac:graphicFrameMk id="65" creationId="{7A86CE39-3F3F-F9CA-7EEE-FD81EAA87C4A}"/>
          </ac:graphicFrameMkLst>
        </pc:graphicFrameChg>
        <pc:graphicFrameChg chg="add del mod replST">
          <ac:chgData name="Abdi, Adnan" userId="503e002c-9b3b-4180-87fb-acabeb2b158a" providerId="ADAL" clId="{5C2CD6D4-C7A9-4CEF-AA9C-BC2977F70622}" dt="2024-02-23T12:23:28.990" v="63846"/>
          <ac:graphicFrameMkLst>
            <pc:docMk/>
            <pc:sldMk cId="3540406656" sldId="2147483617"/>
            <ac:graphicFrameMk id="67" creationId="{3207A70B-868C-979F-5E61-9384A2FA1FFD}"/>
          </ac:graphicFrameMkLst>
        </pc:graphicFrameChg>
        <pc:graphicFrameChg chg="add del mod replST">
          <ac:chgData name="Abdi, Adnan" userId="503e002c-9b3b-4180-87fb-acabeb2b158a" providerId="ADAL" clId="{5C2CD6D4-C7A9-4CEF-AA9C-BC2977F70622}" dt="2024-02-23T12:24:41.224" v="63991"/>
          <ac:graphicFrameMkLst>
            <pc:docMk/>
            <pc:sldMk cId="3540406656" sldId="2147483617"/>
            <ac:graphicFrameMk id="70" creationId="{46DB1F71-C169-AE8A-ACAD-E774F02179AD}"/>
          </ac:graphicFrameMkLst>
        </pc:graphicFrameChg>
        <pc:graphicFrameChg chg="add del mod replST">
          <ac:chgData name="Abdi, Adnan" userId="503e002c-9b3b-4180-87fb-acabeb2b158a" providerId="ADAL" clId="{5C2CD6D4-C7A9-4CEF-AA9C-BC2977F70622}" dt="2024-02-23T12:24:50.985" v="64237"/>
          <ac:graphicFrameMkLst>
            <pc:docMk/>
            <pc:sldMk cId="3540406656" sldId="2147483617"/>
            <ac:graphicFrameMk id="73" creationId="{34E816E8-5545-0893-FFAF-DDC750DC506D}"/>
          </ac:graphicFrameMkLst>
        </pc:graphicFrameChg>
        <pc:graphicFrameChg chg="add del mod replST">
          <ac:chgData name="Abdi, Adnan" userId="503e002c-9b3b-4180-87fb-acabeb2b158a" providerId="ADAL" clId="{5C2CD6D4-C7A9-4CEF-AA9C-BC2977F70622}" dt="2024-02-23T12:24:58.097" v="64380"/>
          <ac:graphicFrameMkLst>
            <pc:docMk/>
            <pc:sldMk cId="3540406656" sldId="2147483617"/>
            <ac:graphicFrameMk id="75" creationId="{F715B522-00A9-668E-3B08-A2CEDFEDCACB}"/>
          </ac:graphicFrameMkLst>
        </pc:graphicFrameChg>
        <pc:graphicFrameChg chg="add del mod replST">
          <ac:chgData name="Abdi, Adnan" userId="503e002c-9b3b-4180-87fb-acabeb2b158a" providerId="ADAL" clId="{5C2CD6D4-C7A9-4CEF-AA9C-BC2977F70622}" dt="2024-02-23T12:45:07.266" v="64997"/>
          <ac:graphicFrameMkLst>
            <pc:docMk/>
            <pc:sldMk cId="3540406656" sldId="2147483617"/>
            <ac:graphicFrameMk id="77" creationId="{53528BB0-E1EB-09C7-E5D7-F224A29C3DDA}"/>
          </ac:graphicFrameMkLst>
        </pc:graphicFrameChg>
        <pc:graphicFrameChg chg="add mod replST delST">
          <ac:chgData name="Abdi, Adnan" userId="503e002c-9b3b-4180-87fb-acabeb2b158a" providerId="ADAL" clId="{5C2CD6D4-C7A9-4CEF-AA9C-BC2977F70622}" dt="2024-02-23T12:45:01.535" v="64807"/>
          <ac:graphicFrameMkLst>
            <pc:docMk/>
            <pc:sldMk cId="3540406656" sldId="2147483617"/>
            <ac:graphicFrameMk id="103" creationId="{9281AEF8-4426-515B-C54E-F5B09840E71D}"/>
          </ac:graphicFrameMkLst>
        </pc:graphicFrameChg>
        <pc:graphicFrameChg chg="add del mod replST">
          <ac:chgData name="Abdi, Adnan" userId="503e002c-9b3b-4180-87fb-acabeb2b158a" providerId="ADAL" clId="{5C2CD6D4-C7A9-4CEF-AA9C-BC2977F70622}" dt="2024-02-23T12:45:17.712" v="65133"/>
          <ac:graphicFrameMkLst>
            <pc:docMk/>
            <pc:sldMk cId="3540406656" sldId="2147483617"/>
            <ac:graphicFrameMk id="105" creationId="{4C0606FF-AEA3-8286-1879-79EE7180B85B}"/>
          </ac:graphicFrameMkLst>
        </pc:graphicFrameChg>
        <pc:graphicFrameChg chg="add del mod replST">
          <ac:chgData name="Abdi, Adnan" userId="503e002c-9b3b-4180-87fb-acabeb2b158a" providerId="ADAL" clId="{5C2CD6D4-C7A9-4CEF-AA9C-BC2977F70622}" dt="2024-02-23T12:45:45.203" v="65713"/>
          <ac:graphicFrameMkLst>
            <pc:docMk/>
            <pc:sldMk cId="3540406656" sldId="2147483617"/>
            <ac:graphicFrameMk id="107" creationId="{02CFDEF3-1747-D33E-5D5F-B8A371967734}"/>
          </ac:graphicFrameMkLst>
        </pc:graphicFrameChg>
        <pc:graphicFrameChg chg="add del mod replST">
          <ac:chgData name="Abdi, Adnan" userId="503e002c-9b3b-4180-87fb-acabeb2b158a" providerId="ADAL" clId="{5C2CD6D4-C7A9-4CEF-AA9C-BC2977F70622}" dt="2024-02-23T12:46:07.100" v="65829"/>
          <ac:graphicFrameMkLst>
            <pc:docMk/>
            <pc:sldMk cId="3540406656" sldId="2147483617"/>
            <ac:graphicFrameMk id="121" creationId="{47E8F674-3E00-C91D-64E0-DBD27BCE09EA}"/>
          </ac:graphicFrameMkLst>
        </pc:graphicFrameChg>
        <pc:graphicFrameChg chg="add del mod replST">
          <ac:chgData name="Abdi, Adnan" userId="503e002c-9b3b-4180-87fb-acabeb2b158a" providerId="ADAL" clId="{5C2CD6D4-C7A9-4CEF-AA9C-BC2977F70622}" dt="2024-02-23T12:46:11.790" v="65949"/>
          <ac:graphicFrameMkLst>
            <pc:docMk/>
            <pc:sldMk cId="3540406656" sldId="2147483617"/>
            <ac:graphicFrameMk id="123" creationId="{34B319CE-BA59-C605-41BD-E92EBA2997B0}"/>
          </ac:graphicFrameMkLst>
        </pc:graphicFrameChg>
        <pc:graphicFrameChg chg="add del mod replST">
          <ac:chgData name="Abdi, Adnan" userId="503e002c-9b3b-4180-87fb-acabeb2b158a" providerId="ADAL" clId="{5C2CD6D4-C7A9-4CEF-AA9C-BC2977F70622}" dt="2024-02-23T12:46:18.704" v="66065"/>
          <ac:graphicFrameMkLst>
            <pc:docMk/>
            <pc:sldMk cId="3540406656" sldId="2147483617"/>
            <ac:graphicFrameMk id="125" creationId="{12A36FB4-7B0D-2FD3-4ACC-EEB2F00F6AF2}"/>
          </ac:graphicFrameMkLst>
        </pc:graphicFrameChg>
        <pc:graphicFrameChg chg="add del mod replST">
          <ac:chgData name="Abdi, Adnan" userId="503e002c-9b3b-4180-87fb-acabeb2b158a" providerId="ADAL" clId="{5C2CD6D4-C7A9-4CEF-AA9C-BC2977F70622}" dt="2024-02-23T12:46:30.435" v="66217"/>
          <ac:graphicFrameMkLst>
            <pc:docMk/>
            <pc:sldMk cId="3540406656" sldId="2147483617"/>
            <ac:graphicFrameMk id="127" creationId="{B571A1B5-E9A7-2C2A-B132-BCDBE0F7E112}"/>
          </ac:graphicFrameMkLst>
        </pc:graphicFrameChg>
        <pc:graphicFrameChg chg="add del mod replST">
          <ac:chgData name="Abdi, Adnan" userId="503e002c-9b3b-4180-87fb-acabeb2b158a" providerId="ADAL" clId="{5C2CD6D4-C7A9-4CEF-AA9C-BC2977F70622}" dt="2024-02-23T12:47:24.175" v="66347"/>
          <ac:graphicFrameMkLst>
            <pc:docMk/>
            <pc:sldMk cId="3540406656" sldId="2147483617"/>
            <ac:graphicFrameMk id="129" creationId="{839D2F04-C448-8B5A-A9C8-3DD002E680E0}"/>
          </ac:graphicFrameMkLst>
        </pc:graphicFrameChg>
        <pc:graphicFrameChg chg="add del mod replST">
          <ac:chgData name="Abdi, Adnan" userId="503e002c-9b3b-4180-87fb-acabeb2b158a" providerId="ADAL" clId="{5C2CD6D4-C7A9-4CEF-AA9C-BC2977F70622}" dt="2024-02-23T12:47:39.219" v="66481"/>
          <ac:graphicFrameMkLst>
            <pc:docMk/>
            <pc:sldMk cId="3540406656" sldId="2147483617"/>
            <ac:graphicFrameMk id="131" creationId="{C82D9282-93A7-3018-581D-17EF720D106B}"/>
          </ac:graphicFrameMkLst>
        </pc:graphicFrameChg>
        <pc:graphicFrameChg chg="add del mod replST">
          <ac:chgData name="Abdi, Adnan" userId="503e002c-9b3b-4180-87fb-acabeb2b158a" providerId="ADAL" clId="{5C2CD6D4-C7A9-4CEF-AA9C-BC2977F70622}" dt="2024-02-23T12:47:47.561" v="66604"/>
          <ac:graphicFrameMkLst>
            <pc:docMk/>
            <pc:sldMk cId="3540406656" sldId="2147483617"/>
            <ac:graphicFrameMk id="133" creationId="{CBB1C5C9-5269-EC24-4026-65384C02775A}"/>
          </ac:graphicFrameMkLst>
        </pc:graphicFrameChg>
        <pc:graphicFrameChg chg="add del mod replST">
          <ac:chgData name="Abdi, Adnan" userId="503e002c-9b3b-4180-87fb-acabeb2b158a" providerId="ADAL" clId="{5C2CD6D4-C7A9-4CEF-AA9C-BC2977F70622}" dt="2024-02-23T12:47:50.500" v="66727"/>
          <ac:graphicFrameMkLst>
            <pc:docMk/>
            <pc:sldMk cId="3540406656" sldId="2147483617"/>
            <ac:graphicFrameMk id="135" creationId="{BE74BE2D-1F04-260E-C53A-991A94BA514A}"/>
          </ac:graphicFrameMkLst>
        </pc:graphicFrameChg>
        <pc:graphicFrameChg chg="add del mod replST">
          <ac:chgData name="Abdi, Adnan" userId="503e002c-9b3b-4180-87fb-acabeb2b158a" providerId="ADAL" clId="{5C2CD6D4-C7A9-4CEF-AA9C-BC2977F70622}" dt="2024-02-23T12:48:09.002" v="66859"/>
          <ac:graphicFrameMkLst>
            <pc:docMk/>
            <pc:sldMk cId="3540406656" sldId="2147483617"/>
            <ac:graphicFrameMk id="137" creationId="{D26FB65B-A6A7-79D5-70CA-57D8B5A7B14C}"/>
          </ac:graphicFrameMkLst>
        </pc:graphicFrameChg>
        <pc:graphicFrameChg chg="add del mod replST">
          <ac:chgData name="Abdi, Adnan" userId="503e002c-9b3b-4180-87fb-acabeb2b158a" providerId="ADAL" clId="{5C2CD6D4-C7A9-4CEF-AA9C-BC2977F70622}" dt="2024-02-23T13:46:37.107" v="68305"/>
          <ac:graphicFrameMkLst>
            <pc:docMk/>
            <pc:sldMk cId="3540406656" sldId="2147483617"/>
            <ac:graphicFrameMk id="139" creationId="{9EA3E4EC-2366-F8C3-5D18-09836B21E4AC}"/>
          </ac:graphicFrameMkLst>
        </pc:graphicFrameChg>
        <pc:graphicFrameChg chg="add del mod replST">
          <ac:chgData name="Abdi, Adnan" userId="503e002c-9b3b-4180-87fb-acabeb2b158a" providerId="ADAL" clId="{5C2CD6D4-C7A9-4CEF-AA9C-BC2977F70622}" dt="2024-02-23T13:46:41.374" v="68467"/>
          <ac:graphicFrameMkLst>
            <pc:docMk/>
            <pc:sldMk cId="3540406656" sldId="2147483617"/>
            <ac:graphicFrameMk id="183" creationId="{4966050E-E9E1-2D64-9A63-E87D0AEB5442}"/>
          </ac:graphicFrameMkLst>
        </pc:graphicFrameChg>
        <pc:graphicFrameChg chg="add del mod replST">
          <ac:chgData name="Abdi, Adnan" userId="503e002c-9b3b-4180-87fb-acabeb2b158a" providerId="ADAL" clId="{5C2CD6D4-C7A9-4CEF-AA9C-BC2977F70622}" dt="2024-02-23T13:54:26.966" v="68863"/>
          <ac:graphicFrameMkLst>
            <pc:docMk/>
            <pc:sldMk cId="3540406656" sldId="2147483617"/>
            <ac:graphicFrameMk id="185" creationId="{1ED71773-14BC-8C23-6C6D-21A8E7E846FD}"/>
          </ac:graphicFrameMkLst>
        </pc:graphicFrameChg>
        <pc:graphicFrameChg chg="add del mod replST">
          <ac:chgData name="Abdi, Adnan" userId="503e002c-9b3b-4180-87fb-acabeb2b158a" providerId="ADAL" clId="{5C2CD6D4-C7A9-4CEF-AA9C-BC2977F70622}" dt="2024-02-23T13:54:49.338" v="69005"/>
          <ac:graphicFrameMkLst>
            <pc:docMk/>
            <pc:sldMk cId="3540406656" sldId="2147483617"/>
            <ac:graphicFrameMk id="187" creationId="{30CA19AF-B867-1F08-104F-054CC8104E3B}"/>
          </ac:graphicFrameMkLst>
        </pc:graphicFrameChg>
        <pc:graphicFrameChg chg="add del mod replST">
          <ac:chgData name="Abdi, Adnan" userId="503e002c-9b3b-4180-87fb-acabeb2b158a" providerId="ADAL" clId="{5C2CD6D4-C7A9-4CEF-AA9C-BC2977F70622}" dt="2024-02-23T14:06:45.385" v="70086"/>
          <ac:graphicFrameMkLst>
            <pc:docMk/>
            <pc:sldMk cId="3540406656" sldId="2147483617"/>
            <ac:graphicFrameMk id="189" creationId="{067FA6A4-50C0-BB0A-6C99-2A5838C98560}"/>
          </ac:graphicFrameMkLst>
        </pc:graphicFrameChg>
        <pc:graphicFrameChg chg="add del mod replST">
          <ac:chgData name="Abdi, Adnan" userId="503e002c-9b3b-4180-87fb-acabeb2b158a" providerId="ADAL" clId="{5C2CD6D4-C7A9-4CEF-AA9C-BC2977F70622}" dt="2024-02-23T14:06:50.157" v="70306"/>
          <ac:graphicFrameMkLst>
            <pc:docMk/>
            <pc:sldMk cId="3540406656" sldId="2147483617"/>
            <ac:graphicFrameMk id="203" creationId="{860757B6-39BA-3639-619C-DCA0B18E61AE}"/>
          </ac:graphicFrameMkLst>
        </pc:graphicFrameChg>
        <pc:graphicFrameChg chg="add del mod replST">
          <ac:chgData name="Abdi, Adnan" userId="503e002c-9b3b-4180-87fb-acabeb2b158a" providerId="ADAL" clId="{5C2CD6D4-C7A9-4CEF-AA9C-BC2977F70622}" dt="2024-02-23T14:15:12.148" v="70515"/>
          <ac:graphicFrameMkLst>
            <pc:docMk/>
            <pc:sldMk cId="3540406656" sldId="2147483617"/>
            <ac:graphicFrameMk id="205" creationId="{DE0D8576-E219-5941-8D25-7B30F9D5CC80}"/>
          </ac:graphicFrameMkLst>
        </pc:graphicFrameChg>
        <pc:graphicFrameChg chg="add mod replST">
          <ac:chgData name="Abdi, Adnan" userId="503e002c-9b3b-4180-87fb-acabeb2b158a" providerId="ADAL" clId="{5C2CD6D4-C7A9-4CEF-AA9C-BC2977F70622}" dt="2024-02-23T14:15:12.234" v="70542"/>
          <ac:graphicFrameMkLst>
            <pc:docMk/>
            <pc:sldMk cId="3540406656" sldId="2147483617"/>
            <ac:graphicFrameMk id="210" creationId="{2CCAAAFE-9007-081C-51F3-354DDE58AB8A}"/>
          </ac:graphicFrameMkLst>
        </pc:graphicFrameChg>
        <pc:picChg chg="add del mod">
          <ac:chgData name="Abdi, Adnan" userId="503e002c-9b3b-4180-87fb-acabeb2b158a" providerId="ADAL" clId="{5C2CD6D4-C7A9-4CEF-AA9C-BC2977F70622}" dt="2024-02-23T12:26:14.930" v="64429" actId="478"/>
          <ac:picMkLst>
            <pc:docMk/>
            <pc:sldMk cId="3540406656" sldId="2147483617"/>
            <ac:picMk id="79" creationId="{8FC68C3C-EACB-C4A5-AA4F-8274C87E3265}"/>
          </ac:picMkLst>
        </pc:picChg>
        <pc:picChg chg="add del mod ord">
          <ac:chgData name="Abdi, Adnan" userId="503e002c-9b3b-4180-87fb-acabeb2b158a" providerId="ADAL" clId="{5C2CD6D4-C7A9-4CEF-AA9C-BC2977F70622}" dt="2024-02-23T12:50:18.243" v="66952" actId="21"/>
          <ac:picMkLst>
            <pc:docMk/>
            <pc:sldMk cId="3540406656" sldId="2147483617"/>
            <ac:picMk id="81" creationId="{F18F119C-C941-DD6C-C3D8-8CD467AE9F07}"/>
          </ac:picMkLst>
        </pc:picChg>
        <pc:picChg chg="add del mod">
          <ac:chgData name="Abdi, Adnan" userId="503e002c-9b3b-4180-87fb-acabeb2b158a" providerId="ADAL" clId="{5C2CD6D4-C7A9-4CEF-AA9C-BC2977F70622}" dt="2024-02-23T12:29:55.269" v="64446" actId="478"/>
          <ac:picMkLst>
            <pc:docMk/>
            <pc:sldMk cId="3540406656" sldId="2147483617"/>
            <ac:picMk id="83" creationId="{1A23414B-FC84-A3AE-241D-CDBDFE6AE816}"/>
          </ac:picMkLst>
        </pc:picChg>
        <pc:picChg chg="add del mod">
          <ac:chgData name="Abdi, Adnan" userId="503e002c-9b3b-4180-87fb-acabeb2b158a" providerId="ADAL" clId="{5C2CD6D4-C7A9-4CEF-AA9C-BC2977F70622}" dt="2024-02-23T12:29:20.147" v="64438" actId="478"/>
          <ac:picMkLst>
            <pc:docMk/>
            <pc:sldMk cId="3540406656" sldId="2147483617"/>
            <ac:picMk id="85" creationId="{EF77A9E8-B4E5-9B87-905F-F5940092D2B6}"/>
          </ac:picMkLst>
        </pc:picChg>
        <pc:picChg chg="add del mod">
          <ac:chgData name="Abdi, Adnan" userId="503e002c-9b3b-4180-87fb-acabeb2b158a" providerId="ADAL" clId="{5C2CD6D4-C7A9-4CEF-AA9C-BC2977F70622}" dt="2024-02-23T12:29:59.775" v="64449" actId="478"/>
          <ac:picMkLst>
            <pc:docMk/>
            <pc:sldMk cId="3540406656" sldId="2147483617"/>
            <ac:picMk id="87" creationId="{EC430FF2-16B5-B29F-10B0-C5351CBAB380}"/>
          </ac:picMkLst>
        </pc:picChg>
        <pc:picChg chg="add del mod ord">
          <ac:chgData name="Abdi, Adnan" userId="503e002c-9b3b-4180-87fb-acabeb2b158a" providerId="ADAL" clId="{5C2CD6D4-C7A9-4CEF-AA9C-BC2977F70622}" dt="2024-02-23T12:50:18.243" v="66952" actId="21"/>
          <ac:picMkLst>
            <pc:docMk/>
            <pc:sldMk cId="3540406656" sldId="2147483617"/>
            <ac:picMk id="89" creationId="{0C2600BC-3135-E48B-45EA-8BA0B5DA3E78}"/>
          </ac:picMkLst>
        </pc:picChg>
        <pc:picChg chg="add del mod">
          <ac:chgData name="Abdi, Adnan" userId="503e002c-9b3b-4180-87fb-acabeb2b158a" providerId="ADAL" clId="{5C2CD6D4-C7A9-4CEF-AA9C-BC2977F70622}" dt="2024-02-23T13:27:40.073" v="67501" actId="478"/>
          <ac:picMkLst>
            <pc:docMk/>
            <pc:sldMk cId="3540406656" sldId="2147483617"/>
            <ac:picMk id="159" creationId="{22560401-A299-7428-692E-5AE5F76DE88E}"/>
          </ac:picMkLst>
        </pc:picChg>
        <pc:picChg chg="add del mod ord">
          <ac:chgData name="Abdi, Adnan" userId="503e002c-9b3b-4180-87fb-acabeb2b158a" providerId="ADAL" clId="{5C2CD6D4-C7A9-4CEF-AA9C-BC2977F70622}" dt="2024-02-23T13:32:32.102" v="67594" actId="478"/>
          <ac:picMkLst>
            <pc:docMk/>
            <pc:sldMk cId="3540406656" sldId="2147483617"/>
            <ac:picMk id="160" creationId="{387E4B92-59FC-BB75-87CD-D7E6850F8DB7}"/>
          </ac:picMkLst>
        </pc:picChg>
        <pc:picChg chg="add mod ord topLvl">
          <ac:chgData name="Abdi, Adnan" userId="503e002c-9b3b-4180-87fb-acabeb2b158a" providerId="ADAL" clId="{5C2CD6D4-C7A9-4CEF-AA9C-BC2977F70622}" dt="2024-02-23T14:34:49.827" v="70944" actId="165"/>
          <ac:picMkLst>
            <pc:docMk/>
            <pc:sldMk cId="3540406656" sldId="2147483617"/>
            <ac:picMk id="161" creationId="{A28D1A19-22B7-EFA3-EECE-29B7E50A72EB}"/>
          </ac:picMkLst>
        </pc:picChg>
        <pc:picChg chg="add del mod ord">
          <ac:chgData name="Abdi, Adnan" userId="503e002c-9b3b-4180-87fb-acabeb2b158a" providerId="ADAL" clId="{5C2CD6D4-C7A9-4CEF-AA9C-BC2977F70622}" dt="2024-02-23T13:32:49.051" v="67597" actId="478"/>
          <ac:picMkLst>
            <pc:docMk/>
            <pc:sldMk cId="3540406656" sldId="2147483617"/>
            <ac:picMk id="169" creationId="{FC6AA76B-A48D-BE8E-E72F-34DA4B538351}"/>
          </ac:picMkLst>
        </pc:picChg>
        <pc:picChg chg="add mod ord topLvl">
          <ac:chgData name="Abdi, Adnan" userId="503e002c-9b3b-4180-87fb-acabeb2b158a" providerId="ADAL" clId="{5C2CD6D4-C7A9-4CEF-AA9C-BC2977F70622}" dt="2024-02-23T14:35:46.441" v="70971" actId="14100"/>
          <ac:picMkLst>
            <pc:docMk/>
            <pc:sldMk cId="3540406656" sldId="2147483617"/>
            <ac:picMk id="171" creationId="{C07D1D16-E76B-0685-C3EF-5FEF48FDFC47}"/>
          </ac:picMkLst>
        </pc:picChg>
        <pc:picChg chg="add mod ord topLvl">
          <ac:chgData name="Abdi, Adnan" userId="503e002c-9b3b-4180-87fb-acabeb2b158a" providerId="ADAL" clId="{5C2CD6D4-C7A9-4CEF-AA9C-BC2977F70622}" dt="2024-02-23T14:35:45.338" v="70968" actId="1076"/>
          <ac:picMkLst>
            <pc:docMk/>
            <pc:sldMk cId="3540406656" sldId="2147483617"/>
            <ac:picMk id="206" creationId="{D647D978-AD6A-425D-40D2-A88D899E5A37}"/>
          </ac:picMkLst>
        </pc:picChg>
        <pc:picChg chg="add del mod">
          <ac:chgData name="Abdi, Adnan" userId="503e002c-9b3b-4180-87fb-acabeb2b158a" providerId="ADAL" clId="{5C2CD6D4-C7A9-4CEF-AA9C-BC2977F70622}" dt="2024-02-23T14:11:30.811" v="70434" actId="478"/>
          <ac:picMkLst>
            <pc:docMk/>
            <pc:sldMk cId="3540406656" sldId="2147483617"/>
            <ac:picMk id="207" creationId="{B7140E6A-32AD-842E-B6D8-AE947EDE608B}"/>
          </ac:picMkLst>
        </pc:picChg>
        <pc:picChg chg="add mod ord topLvl">
          <ac:chgData name="Abdi, Adnan" userId="503e002c-9b3b-4180-87fb-acabeb2b158a" providerId="ADAL" clId="{5C2CD6D4-C7A9-4CEF-AA9C-BC2977F70622}" dt="2024-02-23T14:34:49.827" v="70944" actId="165"/>
          <ac:picMkLst>
            <pc:docMk/>
            <pc:sldMk cId="3540406656" sldId="2147483617"/>
            <ac:picMk id="208" creationId="{DBE0DB47-862F-3E1E-C625-7A05D8AE23EF}"/>
          </ac:picMkLst>
        </pc:picChg>
        <pc:picChg chg="add del">
          <ac:chgData name="Abdi, Adnan" userId="503e002c-9b3b-4180-87fb-acabeb2b158a" providerId="ADAL" clId="{5C2CD6D4-C7A9-4CEF-AA9C-BC2977F70622}" dt="2024-02-23T14:16:02.983" v="70586" actId="22"/>
          <ac:picMkLst>
            <pc:docMk/>
            <pc:sldMk cId="3540406656" sldId="2147483617"/>
            <ac:picMk id="212" creationId="{3D6B6975-200B-06F1-1B18-9AE4BF065F7B}"/>
          </ac:picMkLst>
        </pc:picChg>
        <pc:picChg chg="add del mod">
          <ac:chgData name="Abdi, Adnan" userId="503e002c-9b3b-4180-87fb-acabeb2b158a" providerId="ADAL" clId="{5C2CD6D4-C7A9-4CEF-AA9C-BC2977F70622}" dt="2024-02-23T14:16:30.928" v="70596" actId="21"/>
          <ac:picMkLst>
            <pc:docMk/>
            <pc:sldMk cId="3540406656" sldId="2147483617"/>
            <ac:picMk id="214" creationId="{52DE25F0-8191-28FF-4610-E990CAF7AAD4}"/>
          </ac:picMkLst>
        </pc:picChg>
        <pc:picChg chg="add mod topLvl">
          <ac:chgData name="Abdi, Adnan" userId="503e002c-9b3b-4180-87fb-acabeb2b158a" providerId="ADAL" clId="{5C2CD6D4-C7A9-4CEF-AA9C-BC2977F70622}" dt="2024-02-23T14:35:49.568" v="70975"/>
          <ac:picMkLst>
            <pc:docMk/>
            <pc:sldMk cId="3540406656" sldId="2147483617"/>
            <ac:picMk id="215" creationId="{3B000A68-2736-706C-32C8-AA2C599BE69A}"/>
          </ac:picMkLst>
        </pc:picChg>
        <pc:picChg chg="add del mod">
          <ac:chgData name="Abdi, Adnan" userId="503e002c-9b3b-4180-87fb-acabeb2b158a" providerId="ADAL" clId="{5C2CD6D4-C7A9-4CEF-AA9C-BC2977F70622}" dt="2024-02-23T14:16:28.829" v="70595" actId="478"/>
          <ac:picMkLst>
            <pc:docMk/>
            <pc:sldMk cId="3540406656" sldId="2147483617"/>
            <ac:picMk id="216" creationId="{AD703C36-7E51-398B-1873-D3A097A6FEC5}"/>
          </ac:picMkLst>
        </pc:picChg>
        <pc:picChg chg="add mod topLvl">
          <ac:chgData name="Abdi, Adnan" userId="503e002c-9b3b-4180-87fb-acabeb2b158a" providerId="ADAL" clId="{5C2CD6D4-C7A9-4CEF-AA9C-BC2977F70622}" dt="2024-02-23T14:34:49.827" v="70944" actId="165"/>
          <ac:picMkLst>
            <pc:docMk/>
            <pc:sldMk cId="3540406656" sldId="2147483617"/>
            <ac:picMk id="217" creationId="{35FE682E-4D09-15A2-A337-3A3DDB651BBF}"/>
          </ac:picMkLst>
        </pc:picChg>
        <pc:picChg chg="add mod topLvl">
          <ac:chgData name="Abdi, Adnan" userId="503e002c-9b3b-4180-87fb-acabeb2b158a" providerId="ADAL" clId="{5C2CD6D4-C7A9-4CEF-AA9C-BC2977F70622}" dt="2024-02-23T14:35:45.084" v="70967" actId="1076"/>
          <ac:picMkLst>
            <pc:docMk/>
            <pc:sldMk cId="3540406656" sldId="2147483617"/>
            <ac:picMk id="218" creationId="{999C99B5-CA09-304D-085F-700465424DC0}"/>
          </ac:picMkLst>
        </pc:picChg>
        <pc:cxnChg chg="add del mod replST">
          <ac:chgData name="Abdi, Adnan" userId="503e002c-9b3b-4180-87fb-acabeb2b158a" providerId="ADAL" clId="{5C2CD6D4-C7A9-4CEF-AA9C-BC2977F70622}" dt="2024-02-23T12:04:02.063" v="61379"/>
          <ac:cxnSpMkLst>
            <pc:docMk/>
            <pc:sldMk cId="3540406656" sldId="2147483617"/>
            <ac:cxnSpMk id="5" creationId="{BA10D0A1-36BC-670B-75E1-4E408C51F8F3}"/>
          </ac:cxnSpMkLst>
        </pc:cxnChg>
        <pc:cxnChg chg="mod">
          <ac:chgData name="Abdi, Adnan" userId="503e002c-9b3b-4180-87fb-acabeb2b158a" providerId="ADAL" clId="{5C2CD6D4-C7A9-4CEF-AA9C-BC2977F70622}" dt="2024-02-27T18:47:25.865" v="73564"/>
          <ac:cxnSpMkLst>
            <pc:docMk/>
            <pc:sldMk cId="3540406656" sldId="2147483617"/>
            <ac:cxnSpMk id="6" creationId="{35634CFC-A21B-0989-C336-D8A3CA9E384A}"/>
          </ac:cxnSpMkLst>
        </pc:cxnChg>
        <pc:cxnChg chg="add del mod replST">
          <ac:chgData name="Abdi, Adnan" userId="503e002c-9b3b-4180-87fb-acabeb2b158a" providerId="ADAL" clId="{5C2CD6D4-C7A9-4CEF-AA9C-BC2977F70622}" dt="2024-02-23T12:04:02.062" v="61376"/>
          <ac:cxnSpMkLst>
            <pc:docMk/>
            <pc:sldMk cId="3540406656" sldId="2147483617"/>
            <ac:cxnSpMk id="6" creationId="{8AEC0210-A4E4-FDEA-CB67-2D72BDC5B2D6}"/>
          </ac:cxnSpMkLst>
        </pc:cxnChg>
        <pc:cxnChg chg="add del mod replST">
          <ac:chgData name="Abdi, Adnan" userId="503e002c-9b3b-4180-87fb-acabeb2b158a" providerId="ADAL" clId="{5C2CD6D4-C7A9-4CEF-AA9C-BC2977F70622}" dt="2024-02-23T12:04:02.061" v="61373"/>
          <ac:cxnSpMkLst>
            <pc:docMk/>
            <pc:sldMk cId="3540406656" sldId="2147483617"/>
            <ac:cxnSpMk id="7" creationId="{E59A0E37-FB62-19D7-8A7E-059D4A7F656A}"/>
          </ac:cxnSpMkLst>
        </pc:cxnChg>
        <pc:cxnChg chg="add del mod replST">
          <ac:chgData name="Abdi, Adnan" userId="503e002c-9b3b-4180-87fb-acabeb2b158a" providerId="ADAL" clId="{5C2CD6D4-C7A9-4CEF-AA9C-BC2977F70622}" dt="2024-02-23T12:04:02.059" v="61370"/>
          <ac:cxnSpMkLst>
            <pc:docMk/>
            <pc:sldMk cId="3540406656" sldId="2147483617"/>
            <ac:cxnSpMk id="8" creationId="{0BE0BB80-EF1D-1E4C-A7EB-8688AA05797B}"/>
          </ac:cxnSpMkLst>
        </pc:cxnChg>
        <pc:cxnChg chg="add mod ord replST">
          <ac:chgData name="Abdi, Adnan" userId="503e002c-9b3b-4180-87fb-acabeb2b158a" providerId="ADAL" clId="{5C2CD6D4-C7A9-4CEF-AA9C-BC2977F70622}" dt="2024-02-23T14:15:12.233" v="70537"/>
          <ac:cxnSpMkLst>
            <pc:docMk/>
            <pc:sldMk cId="3540406656" sldId="2147483617"/>
            <ac:cxnSpMk id="9" creationId="{BECD55D3-BF0D-15A9-7584-9D17CCF535F3}"/>
          </ac:cxnSpMkLst>
        </pc:cxnChg>
        <pc:cxnChg chg="add del mod replST">
          <ac:chgData name="Abdi, Adnan" userId="503e002c-9b3b-4180-87fb-acabeb2b158a" providerId="ADAL" clId="{5C2CD6D4-C7A9-4CEF-AA9C-BC2977F70622}" dt="2024-02-23T12:04:02.058" v="61367"/>
          <ac:cxnSpMkLst>
            <pc:docMk/>
            <pc:sldMk cId="3540406656" sldId="2147483617"/>
            <ac:cxnSpMk id="10" creationId="{6052F13E-79E4-151E-03CD-C3E1309B256F}"/>
          </ac:cxnSpMkLst>
        </pc:cxnChg>
        <pc:cxnChg chg="add del mod replST">
          <ac:chgData name="Abdi, Adnan" userId="503e002c-9b3b-4180-87fb-acabeb2b158a" providerId="ADAL" clId="{5C2CD6D4-C7A9-4CEF-AA9C-BC2977F70622}" dt="2024-02-23T12:04:02.057" v="61364"/>
          <ac:cxnSpMkLst>
            <pc:docMk/>
            <pc:sldMk cId="3540406656" sldId="2147483617"/>
            <ac:cxnSpMk id="11" creationId="{D8854A69-594F-D8B9-D647-E5ABC14CBD3D}"/>
          </ac:cxnSpMkLst>
        </pc:cxnChg>
        <pc:cxnChg chg="mod">
          <ac:chgData name="Abdi, Adnan" userId="503e002c-9b3b-4180-87fb-acabeb2b158a" providerId="ADAL" clId="{5C2CD6D4-C7A9-4CEF-AA9C-BC2977F70622}" dt="2024-02-27T18:47:38.538" v="73569"/>
          <ac:cxnSpMkLst>
            <pc:docMk/>
            <pc:sldMk cId="3540406656" sldId="2147483617"/>
            <ac:cxnSpMk id="12" creationId="{83D76C3B-31C8-030F-2376-4C7CC7E173CA}"/>
          </ac:cxnSpMkLst>
        </pc:cxnChg>
        <pc:cxnChg chg="add del mod ord replST">
          <ac:chgData name="Abdi, Adnan" userId="503e002c-9b3b-4180-87fb-acabeb2b158a" providerId="ADAL" clId="{5C2CD6D4-C7A9-4CEF-AA9C-BC2977F70622}" dt="2024-02-23T12:45:44.004" v="65232"/>
          <ac:cxnSpMkLst>
            <pc:docMk/>
            <pc:sldMk cId="3540406656" sldId="2147483617"/>
            <ac:cxnSpMk id="33" creationId="{290406EE-46B8-23F7-FE47-BC4623963CDF}"/>
          </ac:cxnSpMkLst>
        </pc:cxnChg>
        <pc:cxnChg chg="add del mod ord replST">
          <ac:chgData name="Abdi, Adnan" userId="503e002c-9b3b-4180-87fb-acabeb2b158a" providerId="ADAL" clId="{5C2CD6D4-C7A9-4CEF-AA9C-BC2977F70622}" dt="2024-02-23T12:45:44" v="65229"/>
          <ac:cxnSpMkLst>
            <pc:docMk/>
            <pc:sldMk cId="3540406656" sldId="2147483617"/>
            <ac:cxnSpMk id="34" creationId="{3FFFC7A8-50E7-F939-95BA-49AA63540CA5}"/>
          </ac:cxnSpMkLst>
        </pc:cxnChg>
        <pc:cxnChg chg="add del mod ord replST">
          <ac:chgData name="Abdi, Adnan" userId="503e002c-9b3b-4180-87fb-acabeb2b158a" providerId="ADAL" clId="{5C2CD6D4-C7A9-4CEF-AA9C-BC2977F70622}" dt="2024-02-23T12:45:43.995" v="65226"/>
          <ac:cxnSpMkLst>
            <pc:docMk/>
            <pc:sldMk cId="3540406656" sldId="2147483617"/>
            <ac:cxnSpMk id="35" creationId="{B20279AD-571F-F217-1536-747B31E680A4}"/>
          </ac:cxnSpMkLst>
        </pc:cxnChg>
        <pc:cxnChg chg="add del mod ord">
          <ac:chgData name="Abdi, Adnan" userId="503e002c-9b3b-4180-87fb-acabeb2b158a" providerId="ADAL" clId="{5C2CD6D4-C7A9-4CEF-AA9C-BC2977F70622}" dt="2024-02-23T12:41:49.756" v="64463" actId="478"/>
          <ac:cxnSpMkLst>
            <pc:docMk/>
            <pc:sldMk cId="3540406656" sldId="2147483617"/>
            <ac:cxnSpMk id="68" creationId="{DBE87A90-D8F0-16D3-060B-80EF45CF3E7D}"/>
          </ac:cxnSpMkLst>
        </pc:cxnChg>
        <pc:cxnChg chg="add del mod">
          <ac:chgData name="Abdi, Adnan" userId="503e002c-9b3b-4180-87fb-acabeb2b158a" providerId="ADAL" clId="{5C2CD6D4-C7A9-4CEF-AA9C-BC2977F70622}" dt="2024-02-27T18:47:38.538" v="73570"/>
          <ac:cxnSpMkLst>
            <pc:docMk/>
            <pc:sldMk cId="3540406656" sldId="2147483617"/>
            <ac:cxnSpMk id="91" creationId="{21C08121-9B9D-103A-9C10-F224B80573F7}"/>
          </ac:cxnSpMkLst>
        </pc:cxnChg>
        <pc:cxnChg chg="del mod ord topLvl">
          <ac:chgData name="Abdi, Adnan" userId="503e002c-9b3b-4180-87fb-acabeb2b158a" providerId="ADAL" clId="{5C2CD6D4-C7A9-4CEF-AA9C-BC2977F70622}" dt="2024-02-23T12:50:45.561" v="66995" actId="478"/>
          <ac:cxnSpMkLst>
            <pc:docMk/>
            <pc:sldMk cId="3540406656" sldId="2147483617"/>
            <ac:cxnSpMk id="97" creationId="{92FE462E-677C-8A4E-0B17-15D2B7DA6D7C}"/>
          </ac:cxnSpMkLst>
        </pc:cxnChg>
        <pc:cxnChg chg="add del mod ord replST">
          <ac:chgData name="Abdi, Adnan" userId="503e002c-9b3b-4180-87fb-acabeb2b158a" providerId="ADAL" clId="{5C2CD6D4-C7A9-4CEF-AA9C-BC2977F70622}" dt="2024-02-23T12:46:30.191" v="66167"/>
          <ac:cxnSpMkLst>
            <pc:docMk/>
            <pc:sldMk cId="3540406656" sldId="2147483617"/>
            <ac:cxnSpMk id="115" creationId="{43B06486-C364-F7AF-8077-49315848B407}"/>
          </ac:cxnSpMkLst>
        </pc:cxnChg>
        <pc:cxnChg chg="add mod ord replST">
          <ac:chgData name="Abdi, Adnan" userId="503e002c-9b3b-4180-87fb-acabeb2b158a" providerId="ADAL" clId="{5C2CD6D4-C7A9-4CEF-AA9C-BC2977F70622}" dt="2024-02-23T14:15:12.232" v="70531"/>
          <ac:cxnSpMkLst>
            <pc:docMk/>
            <pc:sldMk cId="3540406656" sldId="2147483617"/>
            <ac:cxnSpMk id="116" creationId="{CABE946D-7716-DA15-3A3F-9453F27B40D5}"/>
          </ac:cxnSpMkLst>
        </pc:cxnChg>
        <pc:cxnChg chg="add mod ord replST">
          <ac:chgData name="Abdi, Adnan" userId="503e002c-9b3b-4180-87fb-acabeb2b158a" providerId="ADAL" clId="{5C2CD6D4-C7A9-4CEF-AA9C-BC2977F70622}" dt="2024-02-23T14:15:12.232" v="70533"/>
          <ac:cxnSpMkLst>
            <pc:docMk/>
            <pc:sldMk cId="3540406656" sldId="2147483617"/>
            <ac:cxnSpMk id="117" creationId="{EE7FBFFD-57FA-103C-4AA2-8CF4BBBDB3D8}"/>
          </ac:cxnSpMkLst>
        </pc:cxnChg>
        <pc:cxnChg chg="add mod ord replST">
          <ac:chgData name="Abdi, Adnan" userId="503e002c-9b3b-4180-87fb-acabeb2b158a" providerId="ADAL" clId="{5C2CD6D4-C7A9-4CEF-AA9C-BC2977F70622}" dt="2024-02-23T14:15:12.233" v="70535"/>
          <ac:cxnSpMkLst>
            <pc:docMk/>
            <pc:sldMk cId="3540406656" sldId="2147483617"/>
            <ac:cxnSpMk id="118" creationId="{247E4565-28A3-288C-F4B5-5FC70D430C02}"/>
          </ac:cxnSpMkLst>
        </pc:cxnChg>
        <pc:cxnChg chg="add mod ord replST">
          <ac:chgData name="Abdi, Adnan" userId="503e002c-9b3b-4180-87fb-acabeb2b158a" providerId="ADAL" clId="{5C2CD6D4-C7A9-4CEF-AA9C-BC2977F70622}" dt="2024-02-23T14:15:12.234" v="70539"/>
          <ac:cxnSpMkLst>
            <pc:docMk/>
            <pc:sldMk cId="3540406656" sldId="2147483617"/>
            <ac:cxnSpMk id="119" creationId="{CBFE325D-8382-BC92-11D1-EC49C84B6543}"/>
          </ac:cxnSpMkLst>
        </pc:cxnChg>
        <pc:cxnChg chg="add mod ord replST">
          <ac:chgData name="Abdi, Adnan" userId="503e002c-9b3b-4180-87fb-acabeb2b158a" providerId="ADAL" clId="{5C2CD6D4-C7A9-4CEF-AA9C-BC2977F70622}" dt="2024-02-23T14:15:12.234" v="70541"/>
          <ac:cxnSpMkLst>
            <pc:docMk/>
            <pc:sldMk cId="3540406656" sldId="2147483617"/>
            <ac:cxnSpMk id="120" creationId="{8264C9C8-1F16-D427-D063-7AE172AA9EE8}"/>
          </ac:cxnSpMkLst>
        </pc:cxnChg>
        <pc:cxnChg chg="add del mod ord replST">
          <ac:chgData name="Abdi, Adnan" userId="503e002c-9b3b-4180-87fb-acabeb2b158a" providerId="ADAL" clId="{5C2CD6D4-C7A9-4CEF-AA9C-BC2977F70622}" dt="2024-02-23T14:15:12.033" v="70499"/>
          <ac:cxnSpMkLst>
            <pc:docMk/>
            <pc:sldMk cId="3540406656" sldId="2147483617"/>
            <ac:cxnSpMk id="197" creationId="{75CB0803-64FB-3B4D-FF0F-D951133ACE4E}"/>
          </ac:cxnSpMkLst>
        </pc:cxnChg>
        <pc:cxnChg chg="add del mod ord replST">
          <ac:chgData name="Abdi, Adnan" userId="503e002c-9b3b-4180-87fb-acabeb2b158a" providerId="ADAL" clId="{5C2CD6D4-C7A9-4CEF-AA9C-BC2977F70622}" dt="2024-02-23T14:15:12.032" v="70496"/>
          <ac:cxnSpMkLst>
            <pc:docMk/>
            <pc:sldMk cId="3540406656" sldId="2147483617"/>
            <ac:cxnSpMk id="198" creationId="{420B0EC3-9A70-F29C-2E5E-74277A93E96A}"/>
          </ac:cxnSpMkLst>
        </pc:cxnChg>
        <pc:cxnChg chg="add del mod ord replST">
          <ac:chgData name="Abdi, Adnan" userId="503e002c-9b3b-4180-87fb-acabeb2b158a" providerId="ADAL" clId="{5C2CD6D4-C7A9-4CEF-AA9C-BC2977F70622}" dt="2024-02-23T14:15:12.031" v="70493"/>
          <ac:cxnSpMkLst>
            <pc:docMk/>
            <pc:sldMk cId="3540406656" sldId="2147483617"/>
            <ac:cxnSpMk id="199" creationId="{2AE5D933-C342-C11C-0D4E-D9B283E2E9C2}"/>
          </ac:cxnSpMkLst>
        </pc:cxnChg>
        <pc:cxnChg chg="add del mod ord replST">
          <ac:chgData name="Abdi, Adnan" userId="503e002c-9b3b-4180-87fb-acabeb2b158a" providerId="ADAL" clId="{5C2CD6D4-C7A9-4CEF-AA9C-BC2977F70622}" dt="2024-02-23T14:15:12.030" v="70490"/>
          <ac:cxnSpMkLst>
            <pc:docMk/>
            <pc:sldMk cId="3540406656" sldId="2147483617"/>
            <ac:cxnSpMk id="200" creationId="{89C8018C-CDF7-627E-8564-481851769235}"/>
          </ac:cxnSpMkLst>
        </pc:cxnChg>
        <pc:cxnChg chg="add del mod ord replST">
          <ac:chgData name="Abdi, Adnan" userId="503e002c-9b3b-4180-87fb-acabeb2b158a" providerId="ADAL" clId="{5C2CD6D4-C7A9-4CEF-AA9C-BC2977F70622}" dt="2024-02-23T14:15:12.029" v="70487"/>
          <ac:cxnSpMkLst>
            <pc:docMk/>
            <pc:sldMk cId="3540406656" sldId="2147483617"/>
            <ac:cxnSpMk id="201" creationId="{6AD47849-9D7B-ADB2-38C5-7993D5D322D8}"/>
          </ac:cxnSpMkLst>
        </pc:cxnChg>
        <pc:cxnChg chg="add del mod ord replST">
          <ac:chgData name="Abdi, Adnan" userId="503e002c-9b3b-4180-87fb-acabeb2b158a" providerId="ADAL" clId="{5C2CD6D4-C7A9-4CEF-AA9C-BC2977F70622}" dt="2024-02-23T14:15:12.028" v="70484"/>
          <ac:cxnSpMkLst>
            <pc:docMk/>
            <pc:sldMk cId="3540406656" sldId="2147483617"/>
            <ac:cxnSpMk id="202" creationId="{AE21C02C-ADE2-87D1-6379-42CFEB34C03D}"/>
          </ac:cxnSpMkLst>
        </pc:cxnChg>
      </pc:sldChg>
      <pc:sldChg chg="addSp delSp modSp mod">
        <pc:chgData name="Abdi, Adnan" userId="503e002c-9b3b-4180-87fb-acabeb2b158a" providerId="ADAL" clId="{5C2CD6D4-C7A9-4CEF-AA9C-BC2977F70622}" dt="2024-02-27T16:38:00.994" v="73562"/>
        <pc:sldMkLst>
          <pc:docMk/>
          <pc:sldMk cId="195621216" sldId="2147483619"/>
        </pc:sldMkLst>
        <pc:spChg chg="mod ord">
          <ac:chgData name="Abdi, Adnan" userId="503e002c-9b3b-4180-87fb-acabeb2b158a" providerId="ADAL" clId="{5C2CD6D4-C7A9-4CEF-AA9C-BC2977F70622}" dt="2024-02-27T16:38:00.912" v="73420"/>
          <ac:spMkLst>
            <pc:docMk/>
            <pc:sldMk cId="195621216" sldId="2147483619"/>
            <ac:spMk id="2" creationId="{551A0760-76B6-B0DA-473F-4F9BCE390A30}"/>
          </ac:spMkLst>
        </pc:spChg>
        <pc:spChg chg="mod ord">
          <ac:chgData name="Abdi, Adnan" userId="503e002c-9b3b-4180-87fb-acabeb2b158a" providerId="ADAL" clId="{5C2CD6D4-C7A9-4CEF-AA9C-BC2977F70622}" dt="2024-02-27T16:38:00.913" v="73422"/>
          <ac:spMkLst>
            <pc:docMk/>
            <pc:sldMk cId="195621216" sldId="2147483619"/>
            <ac:spMk id="3" creationId="{18FF0807-DAF8-B85E-04CD-C4F80F1262E3}"/>
          </ac:spMkLst>
        </pc:spChg>
        <pc:spChg chg="add mod ord">
          <ac:chgData name="Abdi, Adnan" userId="503e002c-9b3b-4180-87fb-acabeb2b158a" providerId="ADAL" clId="{5C2CD6D4-C7A9-4CEF-AA9C-BC2977F70622}" dt="2024-02-27T16:38:00.969" v="73556"/>
          <ac:spMkLst>
            <pc:docMk/>
            <pc:sldMk cId="195621216" sldId="2147483619"/>
            <ac:spMk id="4" creationId="{624E4400-E51F-503F-8733-CAB0AC9C1593}"/>
          </ac:spMkLst>
        </pc:spChg>
        <pc:spChg chg="mod ord">
          <ac:chgData name="Abdi, Adnan" userId="503e002c-9b3b-4180-87fb-acabeb2b158a" providerId="ADAL" clId="{5C2CD6D4-C7A9-4CEF-AA9C-BC2977F70622}" dt="2024-02-27T16:38:00.914" v="73424"/>
          <ac:spMkLst>
            <pc:docMk/>
            <pc:sldMk cId="195621216" sldId="2147483619"/>
            <ac:spMk id="5" creationId="{904AF0DD-C736-641B-E724-FB2A35E7801D}"/>
          </ac:spMkLst>
        </pc:spChg>
        <pc:spChg chg="mod">
          <ac:chgData name="Abdi, Adnan" userId="503e002c-9b3b-4180-87fb-acabeb2b158a" providerId="ADAL" clId="{5C2CD6D4-C7A9-4CEF-AA9C-BC2977F70622}" dt="2024-02-27T16:38:00.914" v="73425"/>
          <ac:spMkLst>
            <pc:docMk/>
            <pc:sldMk cId="195621216" sldId="2147483619"/>
            <ac:spMk id="6" creationId="{7E624B2B-6B3A-A95A-9FB1-955A0F155E43}"/>
          </ac:spMkLst>
        </pc:spChg>
        <pc:spChg chg="mod">
          <ac:chgData name="Abdi, Adnan" userId="503e002c-9b3b-4180-87fb-acabeb2b158a" providerId="ADAL" clId="{5C2CD6D4-C7A9-4CEF-AA9C-BC2977F70622}" dt="2024-02-27T16:38:00.915" v="73426"/>
          <ac:spMkLst>
            <pc:docMk/>
            <pc:sldMk cId="195621216" sldId="2147483619"/>
            <ac:spMk id="7" creationId="{C7EBDFB9-CDDA-A163-084A-A2FDD8481202}"/>
          </ac:spMkLst>
        </pc:spChg>
        <pc:spChg chg="mod">
          <ac:chgData name="Abdi, Adnan" userId="503e002c-9b3b-4180-87fb-acabeb2b158a" providerId="ADAL" clId="{5C2CD6D4-C7A9-4CEF-AA9C-BC2977F70622}" dt="2024-02-27T16:38:00.915" v="73427"/>
          <ac:spMkLst>
            <pc:docMk/>
            <pc:sldMk cId="195621216" sldId="2147483619"/>
            <ac:spMk id="8" creationId="{509CA467-F98E-715A-FF85-069C4B346E94}"/>
          </ac:spMkLst>
        </pc:spChg>
        <pc:spChg chg="mod">
          <ac:chgData name="Abdi, Adnan" userId="503e002c-9b3b-4180-87fb-acabeb2b158a" providerId="ADAL" clId="{5C2CD6D4-C7A9-4CEF-AA9C-BC2977F70622}" dt="2024-02-27T16:38:00.916" v="73428"/>
          <ac:spMkLst>
            <pc:docMk/>
            <pc:sldMk cId="195621216" sldId="2147483619"/>
            <ac:spMk id="9" creationId="{AC40E903-33AA-3C51-F348-AF542B46194F}"/>
          </ac:spMkLst>
        </pc:spChg>
        <pc:spChg chg="mod">
          <ac:chgData name="Abdi, Adnan" userId="503e002c-9b3b-4180-87fb-acabeb2b158a" providerId="ADAL" clId="{5C2CD6D4-C7A9-4CEF-AA9C-BC2977F70622}" dt="2024-02-27T16:38:00.916" v="73429"/>
          <ac:spMkLst>
            <pc:docMk/>
            <pc:sldMk cId="195621216" sldId="2147483619"/>
            <ac:spMk id="10" creationId="{AED3C9AB-BB1A-A2BF-2DCF-C7B8E59ED87A}"/>
          </ac:spMkLst>
        </pc:spChg>
        <pc:spChg chg="add del mod modVis">
          <ac:chgData name="Abdi, Adnan" userId="503e002c-9b3b-4180-87fb-acabeb2b158a" providerId="ADAL" clId="{5C2CD6D4-C7A9-4CEF-AA9C-BC2977F70622}" dt="2024-02-27T16:38:00.971" v="73560"/>
          <ac:spMkLst>
            <pc:docMk/>
            <pc:sldMk cId="195621216" sldId="2147483619"/>
            <ac:spMk id="11" creationId="{BB5ACF98-3A08-BE7E-2DD9-7B5A6EE4A1FA}"/>
          </ac:spMkLst>
        </pc:spChg>
        <pc:spChg chg="mod ord">
          <ac:chgData name="Abdi, Adnan" userId="503e002c-9b3b-4180-87fb-acabeb2b158a" providerId="ADAL" clId="{5C2CD6D4-C7A9-4CEF-AA9C-BC2977F70622}" dt="2024-02-27T16:38:00.917" v="73431"/>
          <ac:spMkLst>
            <pc:docMk/>
            <pc:sldMk cId="195621216" sldId="2147483619"/>
            <ac:spMk id="12" creationId="{0F6EC2C8-148E-08D4-83D4-9AA37827B597}"/>
          </ac:spMkLst>
        </pc:spChg>
        <pc:spChg chg="add del mod modVis">
          <ac:chgData name="Abdi, Adnan" userId="503e002c-9b3b-4180-87fb-acabeb2b158a" providerId="ADAL" clId="{5C2CD6D4-C7A9-4CEF-AA9C-BC2977F70622}" dt="2024-02-23T18:41:18.533" v="72791"/>
          <ac:spMkLst>
            <pc:docMk/>
            <pc:sldMk cId="195621216" sldId="2147483619"/>
            <ac:spMk id="13" creationId="{01C46B76-ABE9-FFF7-C8A8-9FAAE7EA237C}"/>
          </ac:spMkLst>
        </pc:spChg>
        <pc:spChg chg="add mod ord replST">
          <ac:chgData name="Abdi, Adnan" userId="503e002c-9b3b-4180-87fb-acabeb2b158a" providerId="ADAL" clId="{5C2CD6D4-C7A9-4CEF-AA9C-BC2977F70622}" dt="2024-02-27T16:38:00.930" v="73461"/>
          <ac:spMkLst>
            <pc:docMk/>
            <pc:sldMk cId="195621216" sldId="2147483619"/>
            <ac:spMk id="13" creationId="{7FF68CE6-9462-2CF2-BB03-B78922552D28}"/>
          </ac:spMkLst>
        </pc:spChg>
        <pc:spChg chg="mod">
          <ac:chgData name="Abdi, Adnan" userId="503e002c-9b3b-4180-87fb-acabeb2b158a" providerId="ADAL" clId="{5C2CD6D4-C7A9-4CEF-AA9C-BC2977F70622}" dt="2024-02-27T16:38:00.917" v="73433"/>
          <ac:spMkLst>
            <pc:docMk/>
            <pc:sldMk cId="195621216" sldId="2147483619"/>
            <ac:spMk id="14" creationId="{042DD343-6B62-B921-B582-087610584A52}"/>
          </ac:spMkLst>
        </pc:spChg>
        <pc:spChg chg="mod">
          <ac:chgData name="Abdi, Adnan" userId="503e002c-9b3b-4180-87fb-acabeb2b158a" providerId="ADAL" clId="{5C2CD6D4-C7A9-4CEF-AA9C-BC2977F70622}" dt="2024-02-27T16:38:00.918" v="73434"/>
          <ac:spMkLst>
            <pc:docMk/>
            <pc:sldMk cId="195621216" sldId="2147483619"/>
            <ac:spMk id="15" creationId="{7D9C0861-AE06-53FA-92EC-0BEFE2F70AFE}"/>
          </ac:spMkLst>
        </pc:spChg>
        <pc:spChg chg="mod">
          <ac:chgData name="Abdi, Adnan" userId="503e002c-9b3b-4180-87fb-acabeb2b158a" providerId="ADAL" clId="{5C2CD6D4-C7A9-4CEF-AA9C-BC2977F70622}" dt="2024-02-27T16:38:00.918" v="73435"/>
          <ac:spMkLst>
            <pc:docMk/>
            <pc:sldMk cId="195621216" sldId="2147483619"/>
            <ac:spMk id="16" creationId="{7EE98975-ACF9-60EA-7A8D-4F86FAC6CC37}"/>
          </ac:spMkLst>
        </pc:spChg>
        <pc:spChg chg="mod">
          <ac:chgData name="Abdi, Adnan" userId="503e002c-9b3b-4180-87fb-acabeb2b158a" providerId="ADAL" clId="{5C2CD6D4-C7A9-4CEF-AA9C-BC2977F70622}" dt="2024-02-27T16:38:00.918" v="73436"/>
          <ac:spMkLst>
            <pc:docMk/>
            <pc:sldMk cId="195621216" sldId="2147483619"/>
            <ac:spMk id="17" creationId="{20CBCBEC-C02C-210C-82F7-12C0821CC5C4}"/>
          </ac:spMkLst>
        </pc:spChg>
        <pc:spChg chg="mod">
          <ac:chgData name="Abdi, Adnan" userId="503e002c-9b3b-4180-87fb-acabeb2b158a" providerId="ADAL" clId="{5C2CD6D4-C7A9-4CEF-AA9C-BC2977F70622}" dt="2024-02-27T16:38:00.919" v="73437"/>
          <ac:spMkLst>
            <pc:docMk/>
            <pc:sldMk cId="195621216" sldId="2147483619"/>
            <ac:spMk id="18" creationId="{21296A22-1473-7F56-FACA-1CB8E5B11E4C}"/>
          </ac:spMkLst>
        </pc:spChg>
        <pc:spChg chg="mod">
          <ac:chgData name="Abdi, Adnan" userId="503e002c-9b3b-4180-87fb-acabeb2b158a" providerId="ADAL" clId="{5C2CD6D4-C7A9-4CEF-AA9C-BC2977F70622}" dt="2024-02-27T16:38:00.919" v="73438"/>
          <ac:spMkLst>
            <pc:docMk/>
            <pc:sldMk cId="195621216" sldId="2147483619"/>
            <ac:spMk id="19" creationId="{6FA4D75D-36C1-157A-E638-34FA99E7A321}"/>
          </ac:spMkLst>
        </pc:spChg>
        <pc:spChg chg="mod">
          <ac:chgData name="Abdi, Adnan" userId="503e002c-9b3b-4180-87fb-acabeb2b158a" providerId="ADAL" clId="{5C2CD6D4-C7A9-4CEF-AA9C-BC2977F70622}" dt="2024-02-27T16:38:00.920" v="73439"/>
          <ac:spMkLst>
            <pc:docMk/>
            <pc:sldMk cId="195621216" sldId="2147483619"/>
            <ac:spMk id="20" creationId="{53EB66FB-5A6E-BD62-2F8B-104E969CA30A}"/>
          </ac:spMkLst>
        </pc:spChg>
        <pc:spChg chg="mod">
          <ac:chgData name="Abdi, Adnan" userId="503e002c-9b3b-4180-87fb-acabeb2b158a" providerId="ADAL" clId="{5C2CD6D4-C7A9-4CEF-AA9C-BC2977F70622}" dt="2024-02-27T16:38:00.920" v="73440"/>
          <ac:spMkLst>
            <pc:docMk/>
            <pc:sldMk cId="195621216" sldId="2147483619"/>
            <ac:spMk id="21" creationId="{0075642A-7690-EDE1-68F7-01C3C22FA03C}"/>
          </ac:spMkLst>
        </pc:spChg>
        <pc:spChg chg="mod">
          <ac:chgData name="Abdi, Adnan" userId="503e002c-9b3b-4180-87fb-acabeb2b158a" providerId="ADAL" clId="{5C2CD6D4-C7A9-4CEF-AA9C-BC2977F70622}" dt="2024-02-27T16:38:00.920" v="73441"/>
          <ac:spMkLst>
            <pc:docMk/>
            <pc:sldMk cId="195621216" sldId="2147483619"/>
            <ac:spMk id="22" creationId="{7DF98394-00F8-44C9-554D-90022B99CCD5}"/>
          </ac:spMkLst>
        </pc:spChg>
        <pc:spChg chg="mod ord">
          <ac:chgData name="Abdi, Adnan" userId="503e002c-9b3b-4180-87fb-acabeb2b158a" providerId="ADAL" clId="{5C2CD6D4-C7A9-4CEF-AA9C-BC2977F70622}" dt="2024-02-27T16:38:00.923" v="73445"/>
          <ac:spMkLst>
            <pc:docMk/>
            <pc:sldMk cId="195621216" sldId="2147483619"/>
            <ac:spMk id="24" creationId="{A45F945A-6A24-C366-4F58-34061E6914B7}"/>
          </ac:spMkLst>
        </pc:spChg>
        <pc:spChg chg="mod">
          <ac:chgData name="Abdi, Adnan" userId="503e002c-9b3b-4180-87fb-acabeb2b158a" providerId="ADAL" clId="{5C2CD6D4-C7A9-4CEF-AA9C-BC2977F70622}" dt="2024-02-27T16:38:00.924" v="73447"/>
          <ac:spMkLst>
            <pc:docMk/>
            <pc:sldMk cId="195621216" sldId="2147483619"/>
            <ac:spMk id="26" creationId="{DE7E6193-0153-E1A0-489A-602DAA1F76BA}"/>
          </ac:spMkLst>
        </pc:spChg>
        <pc:spChg chg="mod">
          <ac:chgData name="Abdi, Adnan" userId="503e002c-9b3b-4180-87fb-acabeb2b158a" providerId="ADAL" clId="{5C2CD6D4-C7A9-4CEF-AA9C-BC2977F70622}" dt="2024-02-27T16:38:00.925" v="73448"/>
          <ac:spMkLst>
            <pc:docMk/>
            <pc:sldMk cId="195621216" sldId="2147483619"/>
            <ac:spMk id="27" creationId="{1AD693D0-35F9-41A2-BC6D-7EC121F69963}"/>
          </ac:spMkLst>
        </pc:spChg>
        <pc:spChg chg="mod">
          <ac:chgData name="Abdi, Adnan" userId="503e002c-9b3b-4180-87fb-acabeb2b158a" providerId="ADAL" clId="{5C2CD6D4-C7A9-4CEF-AA9C-BC2977F70622}" dt="2024-02-27T16:38:00.925" v="73449"/>
          <ac:spMkLst>
            <pc:docMk/>
            <pc:sldMk cId="195621216" sldId="2147483619"/>
            <ac:spMk id="28" creationId="{BBADFD8D-4D40-7D6D-5429-A631B375E464}"/>
          </ac:spMkLst>
        </pc:spChg>
        <pc:spChg chg="mod">
          <ac:chgData name="Abdi, Adnan" userId="503e002c-9b3b-4180-87fb-acabeb2b158a" providerId="ADAL" clId="{5C2CD6D4-C7A9-4CEF-AA9C-BC2977F70622}" dt="2024-02-27T16:38:00.925" v="73450"/>
          <ac:spMkLst>
            <pc:docMk/>
            <pc:sldMk cId="195621216" sldId="2147483619"/>
            <ac:spMk id="29" creationId="{C8BCCA10-D4A7-8D35-8411-7BFA4512619D}"/>
          </ac:spMkLst>
        </pc:spChg>
        <pc:spChg chg="mod">
          <ac:chgData name="Abdi, Adnan" userId="503e002c-9b3b-4180-87fb-acabeb2b158a" providerId="ADAL" clId="{5C2CD6D4-C7A9-4CEF-AA9C-BC2977F70622}" dt="2024-02-27T16:38:00.926" v="73451"/>
          <ac:spMkLst>
            <pc:docMk/>
            <pc:sldMk cId="195621216" sldId="2147483619"/>
            <ac:spMk id="30" creationId="{981184D8-D7DD-E55C-E318-91D5BA7615E9}"/>
          </ac:spMkLst>
        </pc:spChg>
        <pc:spChg chg="mod">
          <ac:chgData name="Abdi, Adnan" userId="503e002c-9b3b-4180-87fb-acabeb2b158a" providerId="ADAL" clId="{5C2CD6D4-C7A9-4CEF-AA9C-BC2977F70622}" dt="2024-02-27T16:38:00.926" v="73452"/>
          <ac:spMkLst>
            <pc:docMk/>
            <pc:sldMk cId="195621216" sldId="2147483619"/>
            <ac:spMk id="31" creationId="{6B27CC7B-ED07-71A5-912F-1A8560921E65}"/>
          </ac:spMkLst>
        </pc:spChg>
        <pc:spChg chg="mod">
          <ac:chgData name="Abdi, Adnan" userId="503e002c-9b3b-4180-87fb-acabeb2b158a" providerId="ADAL" clId="{5C2CD6D4-C7A9-4CEF-AA9C-BC2977F70622}" dt="2024-02-27T16:38:00.927" v="73453"/>
          <ac:spMkLst>
            <pc:docMk/>
            <pc:sldMk cId="195621216" sldId="2147483619"/>
            <ac:spMk id="32" creationId="{30BFB511-3FE8-5200-979E-3C4AD1BB2FB4}"/>
          </ac:spMkLst>
        </pc:spChg>
        <pc:spChg chg="mod">
          <ac:chgData name="Abdi, Adnan" userId="503e002c-9b3b-4180-87fb-acabeb2b158a" providerId="ADAL" clId="{5C2CD6D4-C7A9-4CEF-AA9C-BC2977F70622}" dt="2024-02-27T16:38:00.927" v="73454"/>
          <ac:spMkLst>
            <pc:docMk/>
            <pc:sldMk cId="195621216" sldId="2147483619"/>
            <ac:spMk id="33" creationId="{2E9EF003-9908-D7E6-D0D3-91EAB0667C3E}"/>
          </ac:spMkLst>
        </pc:spChg>
        <pc:spChg chg="mod">
          <ac:chgData name="Abdi, Adnan" userId="503e002c-9b3b-4180-87fb-acabeb2b158a" providerId="ADAL" clId="{5C2CD6D4-C7A9-4CEF-AA9C-BC2977F70622}" dt="2024-02-27T16:38:00.927" v="73455"/>
          <ac:spMkLst>
            <pc:docMk/>
            <pc:sldMk cId="195621216" sldId="2147483619"/>
            <ac:spMk id="34" creationId="{6A1C4E45-74E8-6558-3070-8A1BB63E7B63}"/>
          </ac:spMkLst>
        </pc:spChg>
        <pc:spChg chg="mod">
          <ac:chgData name="Abdi, Adnan" userId="503e002c-9b3b-4180-87fb-acabeb2b158a" providerId="ADAL" clId="{5C2CD6D4-C7A9-4CEF-AA9C-BC2977F70622}" dt="2024-02-27T16:38:00.928" v="73456"/>
          <ac:spMkLst>
            <pc:docMk/>
            <pc:sldMk cId="195621216" sldId="2147483619"/>
            <ac:spMk id="35" creationId="{2DB89FBB-1679-B05B-3118-780FABA99724}"/>
          </ac:spMkLst>
        </pc:spChg>
        <pc:spChg chg="mod">
          <ac:chgData name="Abdi, Adnan" userId="503e002c-9b3b-4180-87fb-acabeb2b158a" providerId="ADAL" clId="{5C2CD6D4-C7A9-4CEF-AA9C-BC2977F70622}" dt="2024-02-27T16:38:00.928" v="73457"/>
          <ac:spMkLst>
            <pc:docMk/>
            <pc:sldMk cId="195621216" sldId="2147483619"/>
            <ac:spMk id="36" creationId="{4AC12EE4-AAE0-600C-5B34-A2D1A5622BAE}"/>
          </ac:spMkLst>
        </pc:spChg>
        <pc:spChg chg="del">
          <ac:chgData name="Abdi, Adnan" userId="503e002c-9b3b-4180-87fb-acabeb2b158a" providerId="ADAL" clId="{5C2CD6D4-C7A9-4CEF-AA9C-BC2977F70622}" dt="2024-02-23T18:41:17.730" v="72256"/>
          <ac:spMkLst>
            <pc:docMk/>
            <pc:sldMk cId="195621216" sldId="2147483619"/>
            <ac:spMk id="37" creationId="{35052140-8C82-2F66-AC8E-DDF823272006}"/>
          </ac:spMkLst>
        </pc:spChg>
        <pc:spChg chg="add mod ord replST">
          <ac:chgData name="Abdi, Adnan" userId="503e002c-9b3b-4180-87fb-acabeb2b158a" providerId="ADAL" clId="{5C2CD6D4-C7A9-4CEF-AA9C-BC2977F70622}" dt="2024-02-27T16:38:00.930" v="73463"/>
          <ac:spMkLst>
            <pc:docMk/>
            <pc:sldMk cId="195621216" sldId="2147483619"/>
            <ac:spMk id="37" creationId="{E20F78AA-284A-EABA-92C9-7F177A0EC685}"/>
          </ac:spMkLst>
        </pc:spChg>
        <pc:spChg chg="add del mod ord replST">
          <ac:chgData name="Abdi, Adnan" userId="503e002c-9b3b-4180-87fb-acabeb2b158a" providerId="ADAL" clId="{5C2CD6D4-C7A9-4CEF-AA9C-BC2977F70622}" dt="2024-02-27T16:38:00.843" v="73365"/>
          <ac:spMkLst>
            <pc:docMk/>
            <pc:sldMk cId="195621216" sldId="2147483619"/>
            <ac:spMk id="38" creationId="{D565EAC1-9DC6-1216-2EF0-108D8A172BAB}"/>
          </ac:spMkLst>
        </pc:spChg>
        <pc:spChg chg="add mod ord replST">
          <ac:chgData name="Abdi, Adnan" userId="503e002c-9b3b-4180-87fb-acabeb2b158a" providerId="ADAL" clId="{5C2CD6D4-C7A9-4CEF-AA9C-BC2977F70622}" dt="2024-02-27T16:38:00.929" v="73459"/>
          <ac:spMkLst>
            <pc:docMk/>
            <pc:sldMk cId="195621216" sldId="2147483619"/>
            <ac:spMk id="39" creationId="{D0234EAA-6ACE-A34E-6BBA-B6E461E5A5B2}"/>
          </ac:spMkLst>
        </pc:spChg>
        <pc:spChg chg="add del mod ord replST">
          <ac:chgData name="Abdi, Adnan" userId="503e002c-9b3b-4180-87fb-acabeb2b158a" providerId="ADAL" clId="{5C2CD6D4-C7A9-4CEF-AA9C-BC2977F70622}" dt="2024-02-27T16:38:00.853" v="73381"/>
          <ac:spMkLst>
            <pc:docMk/>
            <pc:sldMk cId="195621216" sldId="2147483619"/>
            <ac:spMk id="40" creationId="{E494AC47-CE4C-0CBE-6807-BBAE043107EB}"/>
          </ac:spMkLst>
        </pc:spChg>
        <pc:spChg chg="mod">
          <ac:chgData name="Abdi, Adnan" userId="503e002c-9b3b-4180-87fb-acabeb2b158a" providerId="ADAL" clId="{5C2CD6D4-C7A9-4CEF-AA9C-BC2977F70622}" dt="2024-02-27T16:38:00.959" v="73532"/>
          <ac:spMkLst>
            <pc:docMk/>
            <pc:sldMk cId="195621216" sldId="2147483619"/>
            <ac:spMk id="43" creationId="{0554625D-7C6E-62D2-65F3-422532503E2B}"/>
          </ac:spMkLst>
        </pc:spChg>
        <pc:spChg chg="mod ord">
          <ac:chgData name="Abdi, Adnan" userId="503e002c-9b3b-4180-87fb-acabeb2b158a" providerId="ADAL" clId="{5C2CD6D4-C7A9-4CEF-AA9C-BC2977F70622}" dt="2024-02-27T16:38:00.932" v="73469"/>
          <ac:spMkLst>
            <pc:docMk/>
            <pc:sldMk cId="195621216" sldId="2147483619"/>
            <ac:spMk id="44" creationId="{2F53C558-95A0-4A38-769F-47657E73CFAB}"/>
          </ac:spMkLst>
        </pc:spChg>
        <pc:spChg chg="mod">
          <ac:chgData name="Abdi, Adnan" userId="503e002c-9b3b-4180-87fb-acabeb2b158a" providerId="ADAL" clId="{5C2CD6D4-C7A9-4CEF-AA9C-BC2977F70622}" dt="2024-02-27T16:38:00.933" v="73470"/>
          <ac:spMkLst>
            <pc:docMk/>
            <pc:sldMk cId="195621216" sldId="2147483619"/>
            <ac:spMk id="45" creationId="{805A1461-642D-563D-1518-A73DC58BC6A5}"/>
          </ac:spMkLst>
        </pc:spChg>
        <pc:spChg chg="mod">
          <ac:chgData name="Abdi, Adnan" userId="503e002c-9b3b-4180-87fb-acabeb2b158a" providerId="ADAL" clId="{5C2CD6D4-C7A9-4CEF-AA9C-BC2977F70622}" dt="2024-02-27T16:38:00.933" v="73471"/>
          <ac:spMkLst>
            <pc:docMk/>
            <pc:sldMk cId="195621216" sldId="2147483619"/>
            <ac:spMk id="46" creationId="{5EED3477-B67B-0FA6-E0C6-CA3B4D5561A4}"/>
          </ac:spMkLst>
        </pc:spChg>
        <pc:spChg chg="mod">
          <ac:chgData name="Abdi, Adnan" userId="503e002c-9b3b-4180-87fb-acabeb2b158a" providerId="ADAL" clId="{5C2CD6D4-C7A9-4CEF-AA9C-BC2977F70622}" dt="2024-02-27T16:38:00.934" v="73472"/>
          <ac:spMkLst>
            <pc:docMk/>
            <pc:sldMk cId="195621216" sldId="2147483619"/>
            <ac:spMk id="47" creationId="{A3D86680-6949-E7B7-69B6-D46C6E9BFA1F}"/>
          </ac:spMkLst>
        </pc:spChg>
        <pc:spChg chg="mod">
          <ac:chgData name="Abdi, Adnan" userId="503e002c-9b3b-4180-87fb-acabeb2b158a" providerId="ADAL" clId="{5C2CD6D4-C7A9-4CEF-AA9C-BC2977F70622}" dt="2024-02-27T16:38:00.934" v="73473"/>
          <ac:spMkLst>
            <pc:docMk/>
            <pc:sldMk cId="195621216" sldId="2147483619"/>
            <ac:spMk id="48" creationId="{9D1EB512-173B-BEA9-1C49-3647099823AD}"/>
          </ac:spMkLst>
        </pc:spChg>
        <pc:spChg chg="mod">
          <ac:chgData name="Abdi, Adnan" userId="503e002c-9b3b-4180-87fb-acabeb2b158a" providerId="ADAL" clId="{5C2CD6D4-C7A9-4CEF-AA9C-BC2977F70622}" dt="2024-02-27T16:38:00.934" v="73474"/>
          <ac:spMkLst>
            <pc:docMk/>
            <pc:sldMk cId="195621216" sldId="2147483619"/>
            <ac:spMk id="49" creationId="{98BDB999-CE36-81D6-39F9-75631658FF89}"/>
          </ac:spMkLst>
        </pc:spChg>
        <pc:spChg chg="mod ord">
          <ac:chgData name="Abdi, Adnan" userId="503e002c-9b3b-4180-87fb-acabeb2b158a" providerId="ADAL" clId="{5C2CD6D4-C7A9-4CEF-AA9C-BC2977F70622}" dt="2024-02-27T16:38:00.935" v="73476"/>
          <ac:spMkLst>
            <pc:docMk/>
            <pc:sldMk cId="195621216" sldId="2147483619"/>
            <ac:spMk id="50" creationId="{BA4CA0EB-846C-78CD-0FC5-4BC4385A1732}"/>
          </ac:spMkLst>
        </pc:spChg>
        <pc:spChg chg="mod">
          <ac:chgData name="Abdi, Adnan" userId="503e002c-9b3b-4180-87fb-acabeb2b158a" providerId="ADAL" clId="{5C2CD6D4-C7A9-4CEF-AA9C-BC2977F70622}" dt="2024-02-27T16:38:00.936" v="73477"/>
          <ac:spMkLst>
            <pc:docMk/>
            <pc:sldMk cId="195621216" sldId="2147483619"/>
            <ac:spMk id="51" creationId="{6A4480EA-0783-867A-F314-2FB3F2334C1C}"/>
          </ac:spMkLst>
        </pc:spChg>
        <pc:spChg chg="mod">
          <ac:chgData name="Abdi, Adnan" userId="503e002c-9b3b-4180-87fb-acabeb2b158a" providerId="ADAL" clId="{5C2CD6D4-C7A9-4CEF-AA9C-BC2977F70622}" dt="2024-02-27T16:38:00.936" v="73478"/>
          <ac:spMkLst>
            <pc:docMk/>
            <pc:sldMk cId="195621216" sldId="2147483619"/>
            <ac:spMk id="52" creationId="{7B80E7D0-3786-ECDC-3BDE-52E7D73BC0FB}"/>
          </ac:spMkLst>
        </pc:spChg>
        <pc:spChg chg="mod">
          <ac:chgData name="Abdi, Adnan" userId="503e002c-9b3b-4180-87fb-acabeb2b158a" providerId="ADAL" clId="{5C2CD6D4-C7A9-4CEF-AA9C-BC2977F70622}" dt="2024-02-27T16:38:00.937" v="73479"/>
          <ac:spMkLst>
            <pc:docMk/>
            <pc:sldMk cId="195621216" sldId="2147483619"/>
            <ac:spMk id="53" creationId="{549FE3A0-1B08-7B40-A513-38052FF461ED}"/>
          </ac:spMkLst>
        </pc:spChg>
        <pc:spChg chg="mod">
          <ac:chgData name="Abdi, Adnan" userId="503e002c-9b3b-4180-87fb-acabeb2b158a" providerId="ADAL" clId="{5C2CD6D4-C7A9-4CEF-AA9C-BC2977F70622}" dt="2024-02-27T16:38:00.937" v="73480"/>
          <ac:spMkLst>
            <pc:docMk/>
            <pc:sldMk cId="195621216" sldId="2147483619"/>
            <ac:spMk id="54" creationId="{FEFCCCDD-77E0-5253-0C42-7BD199E9B215}"/>
          </ac:spMkLst>
        </pc:spChg>
        <pc:spChg chg="mod">
          <ac:chgData name="Abdi, Adnan" userId="503e002c-9b3b-4180-87fb-acabeb2b158a" providerId="ADAL" clId="{5C2CD6D4-C7A9-4CEF-AA9C-BC2977F70622}" dt="2024-02-27T16:38:00.938" v="73481"/>
          <ac:spMkLst>
            <pc:docMk/>
            <pc:sldMk cId="195621216" sldId="2147483619"/>
            <ac:spMk id="55" creationId="{443C3E15-0B2D-3F9E-0829-060167045147}"/>
          </ac:spMkLst>
        </pc:spChg>
        <pc:spChg chg="mod ord">
          <ac:chgData name="Abdi, Adnan" userId="503e002c-9b3b-4180-87fb-acabeb2b158a" providerId="ADAL" clId="{5C2CD6D4-C7A9-4CEF-AA9C-BC2977F70622}" dt="2024-02-27T16:38:00.938" v="73483"/>
          <ac:spMkLst>
            <pc:docMk/>
            <pc:sldMk cId="195621216" sldId="2147483619"/>
            <ac:spMk id="56" creationId="{DEB97388-511B-BB6F-8086-930880E5F1BE}"/>
          </ac:spMkLst>
        </pc:spChg>
        <pc:spChg chg="mod">
          <ac:chgData name="Abdi, Adnan" userId="503e002c-9b3b-4180-87fb-acabeb2b158a" providerId="ADAL" clId="{5C2CD6D4-C7A9-4CEF-AA9C-BC2977F70622}" dt="2024-02-27T16:38:00.939" v="73484"/>
          <ac:spMkLst>
            <pc:docMk/>
            <pc:sldMk cId="195621216" sldId="2147483619"/>
            <ac:spMk id="57" creationId="{A40C8CF1-2AA1-25BD-B394-4905BDD9FD53}"/>
          </ac:spMkLst>
        </pc:spChg>
        <pc:spChg chg="mod">
          <ac:chgData name="Abdi, Adnan" userId="503e002c-9b3b-4180-87fb-acabeb2b158a" providerId="ADAL" clId="{5C2CD6D4-C7A9-4CEF-AA9C-BC2977F70622}" dt="2024-02-27T16:38:00.939" v="73485"/>
          <ac:spMkLst>
            <pc:docMk/>
            <pc:sldMk cId="195621216" sldId="2147483619"/>
            <ac:spMk id="58" creationId="{7ADEA06C-B3C7-CB0F-9763-70EFF2C73B76}"/>
          </ac:spMkLst>
        </pc:spChg>
        <pc:spChg chg="mod">
          <ac:chgData name="Abdi, Adnan" userId="503e002c-9b3b-4180-87fb-acabeb2b158a" providerId="ADAL" clId="{5C2CD6D4-C7A9-4CEF-AA9C-BC2977F70622}" dt="2024-02-27T16:38:00.940" v="73486"/>
          <ac:spMkLst>
            <pc:docMk/>
            <pc:sldMk cId="195621216" sldId="2147483619"/>
            <ac:spMk id="59" creationId="{E2F34B3D-B50C-7A29-A411-FBABA2897AF0}"/>
          </ac:spMkLst>
        </pc:spChg>
        <pc:spChg chg="mod">
          <ac:chgData name="Abdi, Adnan" userId="503e002c-9b3b-4180-87fb-acabeb2b158a" providerId="ADAL" clId="{5C2CD6D4-C7A9-4CEF-AA9C-BC2977F70622}" dt="2024-02-27T16:38:00.940" v="73487"/>
          <ac:spMkLst>
            <pc:docMk/>
            <pc:sldMk cId="195621216" sldId="2147483619"/>
            <ac:spMk id="60" creationId="{09118D09-58EB-9742-A59F-1204757A54FB}"/>
          </ac:spMkLst>
        </pc:spChg>
        <pc:spChg chg="mod">
          <ac:chgData name="Abdi, Adnan" userId="503e002c-9b3b-4180-87fb-acabeb2b158a" providerId="ADAL" clId="{5C2CD6D4-C7A9-4CEF-AA9C-BC2977F70622}" dt="2024-02-27T16:38:00.941" v="73488"/>
          <ac:spMkLst>
            <pc:docMk/>
            <pc:sldMk cId="195621216" sldId="2147483619"/>
            <ac:spMk id="61" creationId="{7883F257-DF5A-B4EE-54BF-53387BE32A8D}"/>
          </ac:spMkLst>
        </pc:spChg>
        <pc:spChg chg="mod ord">
          <ac:chgData name="Abdi, Adnan" userId="503e002c-9b3b-4180-87fb-acabeb2b158a" providerId="ADAL" clId="{5C2CD6D4-C7A9-4CEF-AA9C-BC2977F70622}" dt="2024-02-27T16:38:00.942" v="73490"/>
          <ac:spMkLst>
            <pc:docMk/>
            <pc:sldMk cId="195621216" sldId="2147483619"/>
            <ac:spMk id="62" creationId="{8C941C6D-E56B-D8FD-F36F-F3E2EECCF26C}"/>
          </ac:spMkLst>
        </pc:spChg>
        <pc:spChg chg="mod">
          <ac:chgData name="Abdi, Adnan" userId="503e002c-9b3b-4180-87fb-acabeb2b158a" providerId="ADAL" clId="{5C2CD6D4-C7A9-4CEF-AA9C-BC2977F70622}" dt="2024-02-27T16:38:00.942" v="73491"/>
          <ac:spMkLst>
            <pc:docMk/>
            <pc:sldMk cId="195621216" sldId="2147483619"/>
            <ac:spMk id="63" creationId="{F6DD9591-4703-CCB7-8215-052A8F1E50C8}"/>
          </ac:spMkLst>
        </pc:spChg>
        <pc:spChg chg="mod">
          <ac:chgData name="Abdi, Adnan" userId="503e002c-9b3b-4180-87fb-acabeb2b158a" providerId="ADAL" clId="{5C2CD6D4-C7A9-4CEF-AA9C-BC2977F70622}" dt="2024-02-27T16:38:00.943" v="73492"/>
          <ac:spMkLst>
            <pc:docMk/>
            <pc:sldMk cId="195621216" sldId="2147483619"/>
            <ac:spMk id="64" creationId="{34306094-62E5-4A20-4861-F13203EFFF6B}"/>
          </ac:spMkLst>
        </pc:spChg>
        <pc:spChg chg="mod">
          <ac:chgData name="Abdi, Adnan" userId="503e002c-9b3b-4180-87fb-acabeb2b158a" providerId="ADAL" clId="{5C2CD6D4-C7A9-4CEF-AA9C-BC2977F70622}" dt="2024-02-27T16:38:00.943" v="73493"/>
          <ac:spMkLst>
            <pc:docMk/>
            <pc:sldMk cId="195621216" sldId="2147483619"/>
            <ac:spMk id="65" creationId="{A6BECFA4-9E16-920C-6956-A69A4FC03220}"/>
          </ac:spMkLst>
        </pc:spChg>
        <pc:spChg chg="mod">
          <ac:chgData name="Abdi, Adnan" userId="503e002c-9b3b-4180-87fb-acabeb2b158a" providerId="ADAL" clId="{5C2CD6D4-C7A9-4CEF-AA9C-BC2977F70622}" dt="2024-02-27T16:38:00.944" v="73494"/>
          <ac:spMkLst>
            <pc:docMk/>
            <pc:sldMk cId="195621216" sldId="2147483619"/>
            <ac:spMk id="66" creationId="{5B624E33-F6A0-C26B-F725-3E2B37742EE0}"/>
          </ac:spMkLst>
        </pc:spChg>
        <pc:spChg chg="mod">
          <ac:chgData name="Abdi, Adnan" userId="503e002c-9b3b-4180-87fb-acabeb2b158a" providerId="ADAL" clId="{5C2CD6D4-C7A9-4CEF-AA9C-BC2977F70622}" dt="2024-02-27T16:38:00.944" v="73495"/>
          <ac:spMkLst>
            <pc:docMk/>
            <pc:sldMk cId="195621216" sldId="2147483619"/>
            <ac:spMk id="67" creationId="{C263D87A-6899-553D-DE5E-7E7FF095FACB}"/>
          </ac:spMkLst>
        </pc:spChg>
        <pc:spChg chg="mod ord">
          <ac:chgData name="Abdi, Adnan" userId="503e002c-9b3b-4180-87fb-acabeb2b158a" providerId="ADAL" clId="{5C2CD6D4-C7A9-4CEF-AA9C-BC2977F70622}" dt="2024-02-27T16:38:00.945" v="73497"/>
          <ac:spMkLst>
            <pc:docMk/>
            <pc:sldMk cId="195621216" sldId="2147483619"/>
            <ac:spMk id="68" creationId="{60A6EDEB-79C2-8D39-2A76-E3D80831AA9D}"/>
          </ac:spMkLst>
        </pc:spChg>
        <pc:spChg chg="mod">
          <ac:chgData name="Abdi, Adnan" userId="503e002c-9b3b-4180-87fb-acabeb2b158a" providerId="ADAL" clId="{5C2CD6D4-C7A9-4CEF-AA9C-BC2977F70622}" dt="2024-02-27T16:38:00.945" v="73498"/>
          <ac:spMkLst>
            <pc:docMk/>
            <pc:sldMk cId="195621216" sldId="2147483619"/>
            <ac:spMk id="69" creationId="{520F6DB1-F836-692D-CECD-F4B7B29CB482}"/>
          </ac:spMkLst>
        </pc:spChg>
        <pc:spChg chg="mod">
          <ac:chgData name="Abdi, Adnan" userId="503e002c-9b3b-4180-87fb-acabeb2b158a" providerId="ADAL" clId="{5C2CD6D4-C7A9-4CEF-AA9C-BC2977F70622}" dt="2024-02-27T16:38:00.946" v="73499"/>
          <ac:spMkLst>
            <pc:docMk/>
            <pc:sldMk cId="195621216" sldId="2147483619"/>
            <ac:spMk id="70" creationId="{C2C8256C-C46C-3C97-88D1-942A72D1CBF9}"/>
          </ac:spMkLst>
        </pc:spChg>
        <pc:spChg chg="mod">
          <ac:chgData name="Abdi, Adnan" userId="503e002c-9b3b-4180-87fb-acabeb2b158a" providerId="ADAL" clId="{5C2CD6D4-C7A9-4CEF-AA9C-BC2977F70622}" dt="2024-02-27T16:38:00.946" v="73500"/>
          <ac:spMkLst>
            <pc:docMk/>
            <pc:sldMk cId="195621216" sldId="2147483619"/>
            <ac:spMk id="71" creationId="{9534C55F-0096-111B-010E-6DAD16F3FED8}"/>
          </ac:spMkLst>
        </pc:spChg>
        <pc:spChg chg="mod">
          <ac:chgData name="Abdi, Adnan" userId="503e002c-9b3b-4180-87fb-acabeb2b158a" providerId="ADAL" clId="{5C2CD6D4-C7A9-4CEF-AA9C-BC2977F70622}" dt="2024-02-27T16:38:00.946" v="73501"/>
          <ac:spMkLst>
            <pc:docMk/>
            <pc:sldMk cId="195621216" sldId="2147483619"/>
            <ac:spMk id="72" creationId="{94FCB038-9062-C84A-8F51-59989B819371}"/>
          </ac:spMkLst>
        </pc:spChg>
        <pc:spChg chg="mod">
          <ac:chgData name="Abdi, Adnan" userId="503e002c-9b3b-4180-87fb-acabeb2b158a" providerId="ADAL" clId="{5C2CD6D4-C7A9-4CEF-AA9C-BC2977F70622}" dt="2024-02-27T16:38:00.947" v="73502"/>
          <ac:spMkLst>
            <pc:docMk/>
            <pc:sldMk cId="195621216" sldId="2147483619"/>
            <ac:spMk id="73" creationId="{4FBC1306-2951-E284-FB2C-0534E16488E5}"/>
          </ac:spMkLst>
        </pc:spChg>
        <pc:spChg chg="mod ord">
          <ac:chgData name="Abdi, Adnan" userId="503e002c-9b3b-4180-87fb-acabeb2b158a" providerId="ADAL" clId="{5C2CD6D4-C7A9-4CEF-AA9C-BC2977F70622}" dt="2024-02-27T16:38:00.947" v="73504"/>
          <ac:spMkLst>
            <pc:docMk/>
            <pc:sldMk cId="195621216" sldId="2147483619"/>
            <ac:spMk id="74" creationId="{95C366A9-6862-81B5-088F-6F57D48E9E3D}"/>
          </ac:spMkLst>
        </pc:spChg>
        <pc:spChg chg="mod">
          <ac:chgData name="Abdi, Adnan" userId="503e002c-9b3b-4180-87fb-acabeb2b158a" providerId="ADAL" clId="{5C2CD6D4-C7A9-4CEF-AA9C-BC2977F70622}" dt="2024-02-27T16:38:00.948" v="73505"/>
          <ac:spMkLst>
            <pc:docMk/>
            <pc:sldMk cId="195621216" sldId="2147483619"/>
            <ac:spMk id="75" creationId="{DB9B4F68-D404-BE3D-5C0A-7D527B76FD5F}"/>
          </ac:spMkLst>
        </pc:spChg>
        <pc:spChg chg="mod">
          <ac:chgData name="Abdi, Adnan" userId="503e002c-9b3b-4180-87fb-acabeb2b158a" providerId="ADAL" clId="{5C2CD6D4-C7A9-4CEF-AA9C-BC2977F70622}" dt="2024-02-27T16:38:00.948" v="73506"/>
          <ac:spMkLst>
            <pc:docMk/>
            <pc:sldMk cId="195621216" sldId="2147483619"/>
            <ac:spMk id="76" creationId="{0391D58F-BB98-6FE8-9975-4F9960B975FB}"/>
          </ac:spMkLst>
        </pc:spChg>
        <pc:spChg chg="mod">
          <ac:chgData name="Abdi, Adnan" userId="503e002c-9b3b-4180-87fb-acabeb2b158a" providerId="ADAL" clId="{5C2CD6D4-C7A9-4CEF-AA9C-BC2977F70622}" dt="2024-02-27T16:38:00.949" v="73507"/>
          <ac:spMkLst>
            <pc:docMk/>
            <pc:sldMk cId="195621216" sldId="2147483619"/>
            <ac:spMk id="77" creationId="{59F25E7F-1FFB-7230-7A20-6524FC236038}"/>
          </ac:spMkLst>
        </pc:spChg>
        <pc:spChg chg="mod">
          <ac:chgData name="Abdi, Adnan" userId="503e002c-9b3b-4180-87fb-acabeb2b158a" providerId="ADAL" clId="{5C2CD6D4-C7A9-4CEF-AA9C-BC2977F70622}" dt="2024-02-27T16:38:00.949" v="73508"/>
          <ac:spMkLst>
            <pc:docMk/>
            <pc:sldMk cId="195621216" sldId="2147483619"/>
            <ac:spMk id="78" creationId="{02A37BCD-B733-06C0-AB78-B5B1CC7C4A0E}"/>
          </ac:spMkLst>
        </pc:spChg>
        <pc:spChg chg="mod">
          <ac:chgData name="Abdi, Adnan" userId="503e002c-9b3b-4180-87fb-acabeb2b158a" providerId="ADAL" clId="{5C2CD6D4-C7A9-4CEF-AA9C-BC2977F70622}" dt="2024-02-27T16:38:00.950" v="73509"/>
          <ac:spMkLst>
            <pc:docMk/>
            <pc:sldMk cId="195621216" sldId="2147483619"/>
            <ac:spMk id="79" creationId="{529E8FB9-6374-32E5-1A95-F0A0F5760D0C}"/>
          </ac:spMkLst>
        </pc:spChg>
        <pc:spChg chg="mod ord">
          <ac:chgData name="Abdi, Adnan" userId="503e002c-9b3b-4180-87fb-acabeb2b158a" providerId="ADAL" clId="{5C2CD6D4-C7A9-4CEF-AA9C-BC2977F70622}" dt="2024-02-27T16:38:00.951" v="73511"/>
          <ac:spMkLst>
            <pc:docMk/>
            <pc:sldMk cId="195621216" sldId="2147483619"/>
            <ac:spMk id="80" creationId="{BC68EAE7-8F55-2729-8CCB-2E42DFC2335F}"/>
          </ac:spMkLst>
        </pc:spChg>
        <pc:spChg chg="mod">
          <ac:chgData name="Abdi, Adnan" userId="503e002c-9b3b-4180-87fb-acabeb2b158a" providerId="ADAL" clId="{5C2CD6D4-C7A9-4CEF-AA9C-BC2977F70622}" dt="2024-02-27T16:38:00.951" v="73512"/>
          <ac:spMkLst>
            <pc:docMk/>
            <pc:sldMk cId="195621216" sldId="2147483619"/>
            <ac:spMk id="81" creationId="{95E316D7-F5CE-B329-E73F-8BCABCE2AB46}"/>
          </ac:spMkLst>
        </pc:spChg>
        <pc:spChg chg="mod">
          <ac:chgData name="Abdi, Adnan" userId="503e002c-9b3b-4180-87fb-acabeb2b158a" providerId="ADAL" clId="{5C2CD6D4-C7A9-4CEF-AA9C-BC2977F70622}" dt="2024-02-27T16:38:00.952" v="73513"/>
          <ac:spMkLst>
            <pc:docMk/>
            <pc:sldMk cId="195621216" sldId="2147483619"/>
            <ac:spMk id="82" creationId="{1762F242-28CC-C769-6395-5B36FEE9D5FD}"/>
          </ac:spMkLst>
        </pc:spChg>
        <pc:spChg chg="mod">
          <ac:chgData name="Abdi, Adnan" userId="503e002c-9b3b-4180-87fb-acabeb2b158a" providerId="ADAL" clId="{5C2CD6D4-C7A9-4CEF-AA9C-BC2977F70622}" dt="2024-02-27T16:38:00.956" v="73524"/>
          <ac:spMkLst>
            <pc:docMk/>
            <pc:sldMk cId="195621216" sldId="2147483619"/>
            <ac:spMk id="83" creationId="{6A517DB3-A259-ACF8-5ACD-A483AEBDD5B5}"/>
          </ac:spMkLst>
        </pc:spChg>
        <pc:spChg chg="mod">
          <ac:chgData name="Abdi, Adnan" userId="503e002c-9b3b-4180-87fb-acabeb2b158a" providerId="ADAL" clId="{5C2CD6D4-C7A9-4CEF-AA9C-BC2977F70622}" dt="2024-02-27T16:38:00.953" v="73516"/>
          <ac:spMkLst>
            <pc:docMk/>
            <pc:sldMk cId="195621216" sldId="2147483619"/>
            <ac:spMk id="84" creationId="{CA243931-827C-0B6C-D517-00B7512CB0F0}"/>
          </ac:spMkLst>
        </pc:spChg>
        <pc:spChg chg="mod">
          <ac:chgData name="Abdi, Adnan" userId="503e002c-9b3b-4180-87fb-acabeb2b158a" providerId="ADAL" clId="{5C2CD6D4-C7A9-4CEF-AA9C-BC2977F70622}" dt="2024-02-27T16:38:00.953" v="73517"/>
          <ac:spMkLst>
            <pc:docMk/>
            <pc:sldMk cId="195621216" sldId="2147483619"/>
            <ac:spMk id="85" creationId="{77475196-C8D5-E87F-1DA6-17578D3009FB}"/>
          </ac:spMkLst>
        </pc:spChg>
        <pc:spChg chg="mod ord">
          <ac:chgData name="Abdi, Adnan" userId="503e002c-9b3b-4180-87fb-acabeb2b158a" providerId="ADAL" clId="{5C2CD6D4-C7A9-4CEF-AA9C-BC2977F70622}" dt="2024-02-27T16:38:00.954" v="73519"/>
          <ac:spMkLst>
            <pc:docMk/>
            <pc:sldMk cId="195621216" sldId="2147483619"/>
            <ac:spMk id="86" creationId="{8B5E83E2-378A-6D21-2DFF-90909FEA66E4}"/>
          </ac:spMkLst>
        </pc:spChg>
        <pc:spChg chg="mod ord">
          <ac:chgData name="Abdi, Adnan" userId="503e002c-9b3b-4180-87fb-acabeb2b158a" providerId="ADAL" clId="{5C2CD6D4-C7A9-4CEF-AA9C-BC2977F70622}" dt="2024-02-27T16:38:00.952" v="73515"/>
          <ac:spMkLst>
            <pc:docMk/>
            <pc:sldMk cId="195621216" sldId="2147483619"/>
            <ac:spMk id="87" creationId="{8BB88D57-110F-971E-4158-171CD829D728}"/>
          </ac:spMkLst>
        </pc:spChg>
        <pc:spChg chg="mod">
          <ac:chgData name="Abdi, Adnan" userId="503e002c-9b3b-4180-87fb-acabeb2b158a" providerId="ADAL" clId="{5C2CD6D4-C7A9-4CEF-AA9C-BC2977F70622}" dt="2024-02-27T16:38:00.955" v="73520"/>
          <ac:spMkLst>
            <pc:docMk/>
            <pc:sldMk cId="195621216" sldId="2147483619"/>
            <ac:spMk id="88" creationId="{BDF5670E-C596-ECFC-D41B-130E719A3AE2}"/>
          </ac:spMkLst>
        </pc:spChg>
        <pc:spChg chg="mod">
          <ac:chgData name="Abdi, Adnan" userId="503e002c-9b3b-4180-87fb-acabeb2b158a" providerId="ADAL" clId="{5C2CD6D4-C7A9-4CEF-AA9C-BC2977F70622}" dt="2024-02-27T16:38:00.955" v="73522"/>
          <ac:spMkLst>
            <pc:docMk/>
            <pc:sldMk cId="195621216" sldId="2147483619"/>
            <ac:spMk id="89" creationId="{D38B9884-44EC-93E5-2C0F-2A565EC41283}"/>
          </ac:spMkLst>
        </pc:spChg>
        <pc:spChg chg="mod">
          <ac:chgData name="Abdi, Adnan" userId="503e002c-9b3b-4180-87fb-acabeb2b158a" providerId="ADAL" clId="{5C2CD6D4-C7A9-4CEF-AA9C-BC2977F70622}" dt="2024-02-27T16:38:00.956" v="73523"/>
          <ac:spMkLst>
            <pc:docMk/>
            <pc:sldMk cId="195621216" sldId="2147483619"/>
            <ac:spMk id="90" creationId="{78863797-8572-5656-F97C-61776E4FAAAD}"/>
          </ac:spMkLst>
        </pc:spChg>
        <pc:spChg chg="mod">
          <ac:chgData name="Abdi, Adnan" userId="503e002c-9b3b-4180-87fb-acabeb2b158a" providerId="ADAL" clId="{5C2CD6D4-C7A9-4CEF-AA9C-BC2977F70622}" dt="2024-02-27T16:38:00.960" v="73533"/>
          <ac:spMkLst>
            <pc:docMk/>
            <pc:sldMk cId="195621216" sldId="2147483619"/>
            <ac:spMk id="91" creationId="{E39B64DF-EE1E-07A4-2BCF-2B36A0D0B117}"/>
          </ac:spMkLst>
        </pc:spChg>
        <pc:spChg chg="mod">
          <ac:chgData name="Abdi, Adnan" userId="503e002c-9b3b-4180-87fb-acabeb2b158a" providerId="ADAL" clId="{5C2CD6D4-C7A9-4CEF-AA9C-BC2977F70622}" dt="2024-02-27T16:38:00.957" v="73525"/>
          <ac:spMkLst>
            <pc:docMk/>
            <pc:sldMk cId="195621216" sldId="2147483619"/>
            <ac:spMk id="92" creationId="{4D2B1ED1-0296-2E94-9463-D7AB4904761C}"/>
          </ac:spMkLst>
        </pc:spChg>
        <pc:spChg chg="mod">
          <ac:chgData name="Abdi, Adnan" userId="503e002c-9b3b-4180-87fb-acabeb2b158a" providerId="ADAL" clId="{5C2CD6D4-C7A9-4CEF-AA9C-BC2977F70622}" dt="2024-02-27T16:38:00.957" v="73526"/>
          <ac:spMkLst>
            <pc:docMk/>
            <pc:sldMk cId="195621216" sldId="2147483619"/>
            <ac:spMk id="93" creationId="{4FB86E16-4977-20EA-6FF5-1CC61313937F}"/>
          </ac:spMkLst>
        </pc:spChg>
        <pc:spChg chg="mod">
          <ac:chgData name="Abdi, Adnan" userId="503e002c-9b3b-4180-87fb-acabeb2b158a" providerId="ADAL" clId="{5C2CD6D4-C7A9-4CEF-AA9C-BC2977F70622}" dt="2024-02-27T16:38:00.957" v="73527"/>
          <ac:spMkLst>
            <pc:docMk/>
            <pc:sldMk cId="195621216" sldId="2147483619"/>
            <ac:spMk id="94" creationId="{68AB1EB9-144C-DEDB-E0C8-FF7A25DF6427}"/>
          </ac:spMkLst>
        </pc:spChg>
        <pc:spChg chg="mod">
          <ac:chgData name="Abdi, Adnan" userId="503e002c-9b3b-4180-87fb-acabeb2b158a" providerId="ADAL" clId="{5C2CD6D4-C7A9-4CEF-AA9C-BC2977F70622}" dt="2024-02-27T16:38:00.955" v="73521"/>
          <ac:spMkLst>
            <pc:docMk/>
            <pc:sldMk cId="195621216" sldId="2147483619"/>
            <ac:spMk id="95" creationId="{D092AD21-9F4F-3DFD-20D2-2437D082C016}"/>
          </ac:spMkLst>
        </pc:spChg>
        <pc:spChg chg="mod">
          <ac:chgData name="Abdi, Adnan" userId="503e002c-9b3b-4180-87fb-acabeb2b158a" providerId="ADAL" clId="{5C2CD6D4-C7A9-4CEF-AA9C-BC2977F70622}" dt="2024-02-27T16:38:00.958" v="73530"/>
          <ac:spMkLst>
            <pc:docMk/>
            <pc:sldMk cId="195621216" sldId="2147483619"/>
            <ac:spMk id="96" creationId="{65A5F7AD-DDD2-7CAA-532A-2E2A3507F048}"/>
          </ac:spMkLst>
        </pc:spChg>
        <pc:spChg chg="mod">
          <ac:chgData name="Abdi, Adnan" userId="503e002c-9b3b-4180-87fb-acabeb2b158a" providerId="ADAL" clId="{5C2CD6D4-C7A9-4CEF-AA9C-BC2977F70622}" dt="2024-02-27T16:38:00.959" v="73531"/>
          <ac:spMkLst>
            <pc:docMk/>
            <pc:sldMk cId="195621216" sldId="2147483619"/>
            <ac:spMk id="97" creationId="{0A6CF955-9201-909D-9DA8-B29C814A9082}"/>
          </ac:spMkLst>
        </pc:spChg>
        <pc:spChg chg="mod">
          <ac:chgData name="Abdi, Adnan" userId="503e002c-9b3b-4180-87fb-acabeb2b158a" providerId="ADAL" clId="{5C2CD6D4-C7A9-4CEF-AA9C-BC2977F70622}" dt="2024-02-27T16:38:00.958" v="73528"/>
          <ac:spMkLst>
            <pc:docMk/>
            <pc:sldMk cId="195621216" sldId="2147483619"/>
            <ac:spMk id="98" creationId="{24173BF2-CAF8-4D1D-BE61-65C3A91DFAEA}"/>
          </ac:spMkLst>
        </pc:spChg>
        <pc:spChg chg="mod">
          <ac:chgData name="Abdi, Adnan" userId="503e002c-9b3b-4180-87fb-acabeb2b158a" providerId="ADAL" clId="{5C2CD6D4-C7A9-4CEF-AA9C-BC2977F70622}" dt="2024-02-27T16:38:00.958" v="73529"/>
          <ac:spMkLst>
            <pc:docMk/>
            <pc:sldMk cId="195621216" sldId="2147483619"/>
            <ac:spMk id="99" creationId="{15B2BE1D-7D8D-F3FB-893C-8643964E3964}"/>
          </ac:spMkLst>
        </pc:spChg>
        <pc:spChg chg="mod">
          <ac:chgData name="Abdi, Adnan" userId="503e002c-9b3b-4180-87fb-acabeb2b158a" providerId="ADAL" clId="{5C2CD6D4-C7A9-4CEF-AA9C-BC2977F70622}" dt="2024-02-27T16:38:00.960" v="73534"/>
          <ac:spMkLst>
            <pc:docMk/>
            <pc:sldMk cId="195621216" sldId="2147483619"/>
            <ac:spMk id="100" creationId="{361F27D7-FB91-4C86-5FC6-7FEF9706C429}"/>
          </ac:spMkLst>
        </pc:spChg>
        <pc:spChg chg="mod ord">
          <ac:chgData name="Abdi, Adnan" userId="503e002c-9b3b-4180-87fb-acabeb2b158a" providerId="ADAL" clId="{5C2CD6D4-C7A9-4CEF-AA9C-BC2977F70622}" dt="2024-02-27T16:38:00.961" v="73536"/>
          <ac:spMkLst>
            <pc:docMk/>
            <pc:sldMk cId="195621216" sldId="2147483619"/>
            <ac:spMk id="101" creationId="{40CAAA70-F467-0126-1C4B-55F8FF0D3C11}"/>
          </ac:spMkLst>
        </pc:spChg>
        <pc:spChg chg="mod ord">
          <ac:chgData name="Abdi, Adnan" userId="503e002c-9b3b-4180-87fb-acabeb2b158a" providerId="ADAL" clId="{5C2CD6D4-C7A9-4CEF-AA9C-BC2977F70622}" dt="2024-02-27T16:38:00.961" v="73538"/>
          <ac:spMkLst>
            <pc:docMk/>
            <pc:sldMk cId="195621216" sldId="2147483619"/>
            <ac:spMk id="102" creationId="{A4F5A3E5-16B2-EF77-F554-DF0EBF9AEF3B}"/>
          </ac:spMkLst>
        </pc:spChg>
        <pc:spChg chg="mod ord">
          <ac:chgData name="Abdi, Adnan" userId="503e002c-9b3b-4180-87fb-acabeb2b158a" providerId="ADAL" clId="{5C2CD6D4-C7A9-4CEF-AA9C-BC2977F70622}" dt="2024-02-27T16:38:00.962" v="73540"/>
          <ac:spMkLst>
            <pc:docMk/>
            <pc:sldMk cId="195621216" sldId="2147483619"/>
            <ac:spMk id="103" creationId="{43FCD4BF-8D6E-C310-ADD5-80F92CEFAC3A}"/>
          </ac:spMkLst>
        </pc:spChg>
        <pc:spChg chg="mod ord">
          <ac:chgData name="Abdi, Adnan" userId="503e002c-9b3b-4180-87fb-acabeb2b158a" providerId="ADAL" clId="{5C2CD6D4-C7A9-4CEF-AA9C-BC2977F70622}" dt="2024-02-27T16:38:00.963" v="73542"/>
          <ac:spMkLst>
            <pc:docMk/>
            <pc:sldMk cId="195621216" sldId="2147483619"/>
            <ac:spMk id="104" creationId="{0C98A232-B4DD-E488-7027-CDEB1A73A5EA}"/>
          </ac:spMkLst>
        </pc:spChg>
        <pc:spChg chg="mod ord">
          <ac:chgData name="Abdi, Adnan" userId="503e002c-9b3b-4180-87fb-acabeb2b158a" providerId="ADAL" clId="{5C2CD6D4-C7A9-4CEF-AA9C-BC2977F70622}" dt="2024-02-27T16:38:00.963" v="73544"/>
          <ac:spMkLst>
            <pc:docMk/>
            <pc:sldMk cId="195621216" sldId="2147483619"/>
            <ac:spMk id="105" creationId="{E36E6096-926D-AB85-19AD-9CA74FB3A36A}"/>
          </ac:spMkLst>
        </pc:spChg>
        <pc:spChg chg="mod ord">
          <ac:chgData name="Abdi, Adnan" userId="503e002c-9b3b-4180-87fb-acabeb2b158a" providerId="ADAL" clId="{5C2CD6D4-C7A9-4CEF-AA9C-BC2977F70622}" dt="2024-02-27T16:38:00.964" v="73546"/>
          <ac:spMkLst>
            <pc:docMk/>
            <pc:sldMk cId="195621216" sldId="2147483619"/>
            <ac:spMk id="106" creationId="{4A377679-16C9-B091-3292-41B0BEB8FAFA}"/>
          </ac:spMkLst>
        </pc:spChg>
        <pc:spChg chg="mod ord">
          <ac:chgData name="Abdi, Adnan" userId="503e002c-9b3b-4180-87fb-acabeb2b158a" providerId="ADAL" clId="{5C2CD6D4-C7A9-4CEF-AA9C-BC2977F70622}" dt="2024-02-27T16:38:00.965" v="73548"/>
          <ac:spMkLst>
            <pc:docMk/>
            <pc:sldMk cId="195621216" sldId="2147483619"/>
            <ac:spMk id="107" creationId="{9D58C52E-06D1-2D2E-0FFE-57463B8BE400}"/>
          </ac:spMkLst>
        </pc:spChg>
        <pc:spChg chg="mod ord">
          <ac:chgData name="Abdi, Adnan" userId="503e002c-9b3b-4180-87fb-acabeb2b158a" providerId="ADAL" clId="{5C2CD6D4-C7A9-4CEF-AA9C-BC2977F70622}" dt="2024-02-27T16:38:00.965" v="73550"/>
          <ac:spMkLst>
            <pc:docMk/>
            <pc:sldMk cId="195621216" sldId="2147483619"/>
            <ac:spMk id="108" creationId="{728407F1-35EC-F8C6-DC9A-207C5C61E3DB}"/>
          </ac:spMkLst>
        </pc:spChg>
        <pc:spChg chg="mod ord">
          <ac:chgData name="Abdi, Adnan" userId="503e002c-9b3b-4180-87fb-acabeb2b158a" providerId="ADAL" clId="{5C2CD6D4-C7A9-4CEF-AA9C-BC2977F70622}" dt="2024-02-27T16:38:00.966" v="73552"/>
          <ac:spMkLst>
            <pc:docMk/>
            <pc:sldMk cId="195621216" sldId="2147483619"/>
            <ac:spMk id="109" creationId="{FEFDDD24-76A9-BDB0-95FB-5D787D61631F}"/>
          </ac:spMkLst>
        </pc:spChg>
        <pc:spChg chg="add del mod ord replST">
          <ac:chgData name="Abdi, Adnan" userId="503e002c-9b3b-4180-87fb-acabeb2b158a" providerId="ADAL" clId="{5C2CD6D4-C7A9-4CEF-AA9C-BC2977F70622}" dt="2024-02-27T16:38:00.862" v="73397"/>
          <ac:spMkLst>
            <pc:docMk/>
            <pc:sldMk cId="195621216" sldId="2147483619"/>
            <ac:spMk id="110" creationId="{2AD38BF1-EE33-CE68-1C6B-6FFBFEE2E4EF}"/>
          </ac:spMkLst>
        </pc:spChg>
        <pc:spChg chg="add mod ord">
          <ac:chgData name="Abdi, Adnan" userId="503e002c-9b3b-4180-87fb-acabeb2b158a" providerId="ADAL" clId="{5C2CD6D4-C7A9-4CEF-AA9C-BC2977F70622}" dt="2024-02-27T16:38:00.968" v="73554"/>
          <ac:spMkLst>
            <pc:docMk/>
            <pc:sldMk cId="195621216" sldId="2147483619"/>
            <ac:spMk id="117" creationId="{0E6AD056-2923-FF2A-C0FD-8AB2C6E62685}"/>
          </ac:spMkLst>
        </pc:spChg>
        <pc:spChg chg="del">
          <ac:chgData name="Abdi, Adnan" userId="503e002c-9b3b-4180-87fb-acabeb2b158a" providerId="ADAL" clId="{5C2CD6D4-C7A9-4CEF-AA9C-BC2977F70622}" dt="2024-02-23T18:41:18.307" v="72572"/>
          <ac:spMkLst>
            <pc:docMk/>
            <pc:sldMk cId="195621216" sldId="2147483619"/>
            <ac:spMk id="135" creationId="{C97869E3-07F7-5993-2E1B-19E50CDF5416}"/>
          </ac:spMkLst>
        </pc:spChg>
        <pc:spChg chg="del">
          <ac:chgData name="Abdi, Adnan" userId="503e002c-9b3b-4180-87fb-acabeb2b158a" providerId="ADAL" clId="{5C2CD6D4-C7A9-4CEF-AA9C-BC2977F70622}" dt="2024-02-23T18:41:18.330" v="72588"/>
          <ac:spMkLst>
            <pc:docMk/>
            <pc:sldMk cId="195621216" sldId="2147483619"/>
            <ac:spMk id="136" creationId="{546C8BF3-5EF2-CD7B-8628-7AF12989B90C}"/>
          </ac:spMkLst>
        </pc:spChg>
        <pc:spChg chg="del">
          <ac:chgData name="Abdi, Adnan" userId="503e002c-9b3b-4180-87fb-acabeb2b158a" providerId="ADAL" clId="{5C2CD6D4-C7A9-4CEF-AA9C-BC2977F70622}" dt="2024-02-23T18:41:18.344" v="72604"/>
          <ac:spMkLst>
            <pc:docMk/>
            <pc:sldMk cId="195621216" sldId="2147483619"/>
            <ac:spMk id="137" creationId="{45130CD5-D8D8-5878-900A-6BB420CCC4CC}"/>
          </ac:spMkLst>
        </pc:spChg>
        <pc:graphicFrameChg chg="mod">
          <ac:chgData name="Abdi, Adnan" userId="503e002c-9b3b-4180-87fb-acabeb2b158a" providerId="ADAL" clId="{5C2CD6D4-C7A9-4CEF-AA9C-BC2977F70622}" dt="2024-02-27T16:38:00.917" v="73432"/>
          <ac:graphicFrameMkLst>
            <pc:docMk/>
            <pc:sldMk cId="195621216" sldId="2147483619"/>
            <ac:graphicFrameMk id="25" creationId="{1A382649-19EB-73BC-8565-A84FA45FBC76}"/>
          </ac:graphicFrameMkLst>
        </pc:graphicFrameChg>
        <pc:graphicFrameChg chg="add del mod replST">
          <ac:chgData name="Abdi, Adnan" userId="503e002c-9b3b-4180-87fb-acabeb2b158a" providerId="ADAL" clId="{5C2CD6D4-C7A9-4CEF-AA9C-BC2977F70622}" dt="2024-02-27T16:38:00.874" v="73412"/>
          <ac:graphicFrameMkLst>
            <pc:docMk/>
            <pc:sldMk cId="195621216" sldId="2147483619"/>
            <ac:graphicFrameMk id="111" creationId="{44EA4FFA-3818-90BC-E7B6-78924E399DA8}"/>
          </ac:graphicFrameMkLst>
        </pc:graphicFrameChg>
        <pc:graphicFrameChg chg="add mod replST">
          <ac:chgData name="Abdi, Adnan" userId="503e002c-9b3b-4180-87fb-acabeb2b158a" providerId="ADAL" clId="{5C2CD6D4-C7A9-4CEF-AA9C-BC2977F70622}" dt="2024-02-27T16:38:00.924" v="73446"/>
          <ac:graphicFrameMkLst>
            <pc:docMk/>
            <pc:sldMk cId="195621216" sldId="2147483619"/>
            <ac:graphicFrameMk id="112" creationId="{50B14056-3455-38E9-50E2-F3FF515EADA3}"/>
          </ac:graphicFrameMkLst>
        </pc:graphicFrameChg>
        <pc:graphicFrameChg chg="mod">
          <ac:chgData name="Abdi, Adnan" userId="503e002c-9b3b-4180-87fb-acabeb2b158a" providerId="ADAL" clId="{5C2CD6D4-C7A9-4CEF-AA9C-BC2977F70622}" dt="2024-02-27T16:38:00.994" v="73562"/>
          <ac:graphicFrameMkLst>
            <pc:docMk/>
            <pc:sldMk cId="195621216" sldId="2147483619"/>
            <ac:graphicFrameMk id="114" creationId="{E2D98394-C65C-A290-5DA9-6A9FB98B123B}"/>
          </ac:graphicFrameMkLst>
        </pc:graphicFrameChg>
        <pc:graphicFrameChg chg="del">
          <ac:chgData name="Abdi, Adnan" userId="503e002c-9b3b-4180-87fb-acabeb2b158a" providerId="ADAL" clId="{5C2CD6D4-C7A9-4CEF-AA9C-BC2977F70622}" dt="2024-02-23T18:41:18.385" v="72643"/>
          <ac:graphicFrameMkLst>
            <pc:docMk/>
            <pc:sldMk cId="195621216" sldId="2147483619"/>
            <ac:graphicFrameMk id="138" creationId="{95E2E17C-E0EA-EA59-F2E1-A487F4120636}"/>
          </ac:graphicFrameMkLst>
        </pc:graphicFrameChg>
        <pc:cxnChg chg="mod ord">
          <ac:chgData name="Abdi, Adnan" userId="503e002c-9b3b-4180-87fb-acabeb2b158a" providerId="ADAL" clId="{5C2CD6D4-C7A9-4CEF-AA9C-BC2977F70622}" dt="2024-02-27T16:38:00.922" v="73443"/>
          <ac:cxnSpMkLst>
            <pc:docMk/>
            <pc:sldMk cId="195621216" sldId="2147483619"/>
            <ac:cxnSpMk id="23" creationId="{002FE36B-C6D1-798C-E926-2E8B3CFB926D}"/>
          </ac:cxnSpMkLst>
        </pc:cxnChg>
        <pc:cxnChg chg="mod ord">
          <ac:chgData name="Abdi, Adnan" userId="503e002c-9b3b-4180-87fb-acabeb2b158a" providerId="ADAL" clId="{5C2CD6D4-C7A9-4CEF-AA9C-BC2977F70622}" dt="2024-02-27T16:38:00.931" v="73465"/>
          <ac:cxnSpMkLst>
            <pc:docMk/>
            <pc:sldMk cId="195621216" sldId="2147483619"/>
            <ac:cxnSpMk id="41" creationId="{FEDE17CA-9AEE-5D92-9727-EE284FD05B14}"/>
          </ac:cxnSpMkLst>
        </pc:cxnChg>
        <pc:cxnChg chg="mod ord">
          <ac:chgData name="Abdi, Adnan" userId="503e002c-9b3b-4180-87fb-acabeb2b158a" providerId="ADAL" clId="{5C2CD6D4-C7A9-4CEF-AA9C-BC2977F70622}" dt="2024-02-27T16:38:00.932" v="73467"/>
          <ac:cxnSpMkLst>
            <pc:docMk/>
            <pc:sldMk cId="195621216" sldId="2147483619"/>
            <ac:cxnSpMk id="42" creationId="{A195E535-01DA-1C6E-2AAF-F66406850CEF}"/>
          </ac:cxnSpMkLst>
        </pc:cxnChg>
      </pc:sldChg>
      <pc:sldChg chg="addSp delSp modSp mod">
        <pc:chgData name="Abdi, Adnan" userId="503e002c-9b3b-4180-87fb-acabeb2b158a" providerId="ADAL" clId="{5C2CD6D4-C7A9-4CEF-AA9C-BC2977F70622}" dt="2024-02-22T15:13:54.055" v="61026" actId="20577"/>
        <pc:sldMkLst>
          <pc:docMk/>
          <pc:sldMk cId="562939316" sldId="2147483620"/>
        </pc:sldMkLst>
        <pc:spChg chg="add del mod modVis">
          <ac:chgData name="Abdi, Adnan" userId="503e002c-9b3b-4180-87fb-acabeb2b158a" providerId="ADAL" clId="{5C2CD6D4-C7A9-4CEF-AA9C-BC2977F70622}" dt="2024-02-22T15:04:44.029" v="58581"/>
          <ac:spMkLst>
            <pc:docMk/>
            <pc:sldMk cId="562939316" sldId="2147483620"/>
            <ac:spMk id="2" creationId="{9B5AC025-013B-34A1-A349-9B5D5BD02E18}"/>
          </ac:spMkLst>
        </pc:spChg>
        <pc:spChg chg="mod ord">
          <ac:chgData name="Abdi, Adnan" userId="503e002c-9b3b-4180-87fb-acabeb2b158a" providerId="ADAL" clId="{5C2CD6D4-C7A9-4CEF-AA9C-BC2977F70622}" dt="2024-02-22T15:05:40.033" v="60333"/>
          <ac:spMkLst>
            <pc:docMk/>
            <pc:sldMk cId="562939316" sldId="2147483620"/>
            <ac:spMk id="3" creationId="{4DD4874D-B24E-A234-82E1-895C939E3BB6}"/>
          </ac:spMkLst>
        </pc:spChg>
        <pc:spChg chg="mod ord">
          <ac:chgData name="Abdi, Adnan" userId="503e002c-9b3b-4180-87fb-acabeb2b158a" providerId="ADAL" clId="{5C2CD6D4-C7A9-4CEF-AA9C-BC2977F70622}" dt="2024-02-22T15:05:40.034" v="60335"/>
          <ac:spMkLst>
            <pc:docMk/>
            <pc:sldMk cId="562939316" sldId="2147483620"/>
            <ac:spMk id="4" creationId="{842E4718-9F0E-FA93-C355-31021A2634F8}"/>
          </ac:spMkLst>
        </pc:spChg>
        <pc:spChg chg="add del mod modVis">
          <ac:chgData name="Abdi, Adnan" userId="503e002c-9b3b-4180-87fb-acabeb2b158a" providerId="ADAL" clId="{5C2CD6D4-C7A9-4CEF-AA9C-BC2977F70622}" dt="2024-02-22T15:04:59.776" v="58840" actId="962"/>
          <ac:spMkLst>
            <pc:docMk/>
            <pc:sldMk cId="562939316" sldId="2147483620"/>
            <ac:spMk id="7" creationId="{D0CBDAAA-8378-62D5-9D46-AF783D4B1520}"/>
          </ac:spMkLst>
        </pc:spChg>
        <pc:spChg chg="mod">
          <ac:chgData name="Abdi, Adnan" userId="503e002c-9b3b-4180-87fb-acabeb2b158a" providerId="ADAL" clId="{5C2CD6D4-C7A9-4CEF-AA9C-BC2977F70622}" dt="2024-02-22T15:05:40.036" v="60337"/>
          <ac:spMkLst>
            <pc:docMk/>
            <pc:sldMk cId="562939316" sldId="2147483620"/>
            <ac:spMk id="11" creationId="{E676DFC5-DD8C-95D8-BC01-7FC118CE7F29}"/>
          </ac:spMkLst>
        </pc:spChg>
        <pc:spChg chg="mod">
          <ac:chgData name="Abdi, Adnan" userId="503e002c-9b3b-4180-87fb-acabeb2b158a" providerId="ADAL" clId="{5C2CD6D4-C7A9-4CEF-AA9C-BC2977F70622}" dt="2024-02-22T15:05:40.036" v="60338"/>
          <ac:spMkLst>
            <pc:docMk/>
            <pc:sldMk cId="562939316" sldId="2147483620"/>
            <ac:spMk id="12" creationId="{093F95FC-D3E6-AA97-BFB9-CFA75DA3B74E}"/>
          </ac:spMkLst>
        </pc:spChg>
        <pc:spChg chg="mod">
          <ac:chgData name="Abdi, Adnan" userId="503e002c-9b3b-4180-87fb-acabeb2b158a" providerId="ADAL" clId="{5C2CD6D4-C7A9-4CEF-AA9C-BC2977F70622}" dt="2024-02-22T15:05:40.037" v="60339"/>
          <ac:spMkLst>
            <pc:docMk/>
            <pc:sldMk cId="562939316" sldId="2147483620"/>
            <ac:spMk id="13" creationId="{5DDB5555-7E9A-E408-0D87-617CD5EB6EE0}"/>
          </ac:spMkLst>
        </pc:spChg>
        <pc:spChg chg="mod">
          <ac:chgData name="Abdi, Adnan" userId="503e002c-9b3b-4180-87fb-acabeb2b158a" providerId="ADAL" clId="{5C2CD6D4-C7A9-4CEF-AA9C-BC2977F70622}" dt="2024-02-22T15:05:40.038" v="60340"/>
          <ac:spMkLst>
            <pc:docMk/>
            <pc:sldMk cId="562939316" sldId="2147483620"/>
            <ac:spMk id="14" creationId="{80C75D3B-4EF5-52F3-0A7E-20A35B54A492}"/>
          </ac:spMkLst>
        </pc:spChg>
        <pc:spChg chg="mod">
          <ac:chgData name="Abdi, Adnan" userId="503e002c-9b3b-4180-87fb-acabeb2b158a" providerId="ADAL" clId="{5C2CD6D4-C7A9-4CEF-AA9C-BC2977F70622}" dt="2024-02-22T15:05:40.038" v="60341"/>
          <ac:spMkLst>
            <pc:docMk/>
            <pc:sldMk cId="562939316" sldId="2147483620"/>
            <ac:spMk id="15" creationId="{C23E2A76-F869-69A5-D674-30193DC0AAD5}"/>
          </ac:spMkLst>
        </pc:spChg>
        <pc:spChg chg="mod">
          <ac:chgData name="Abdi, Adnan" userId="503e002c-9b3b-4180-87fb-acabeb2b158a" providerId="ADAL" clId="{5C2CD6D4-C7A9-4CEF-AA9C-BC2977F70622}" dt="2024-02-22T15:05:40.039" v="60342"/>
          <ac:spMkLst>
            <pc:docMk/>
            <pc:sldMk cId="562939316" sldId="2147483620"/>
            <ac:spMk id="16" creationId="{01B125B5-3E0E-4C5C-A735-5FDBB154C81B}"/>
          </ac:spMkLst>
        </pc:spChg>
        <pc:spChg chg="mod">
          <ac:chgData name="Abdi, Adnan" userId="503e002c-9b3b-4180-87fb-acabeb2b158a" providerId="ADAL" clId="{5C2CD6D4-C7A9-4CEF-AA9C-BC2977F70622}" dt="2024-02-22T15:05:40.040" v="60343"/>
          <ac:spMkLst>
            <pc:docMk/>
            <pc:sldMk cId="562939316" sldId="2147483620"/>
            <ac:spMk id="17" creationId="{F3B0F551-69CB-7CD0-6B5D-7EBB9A58B550}"/>
          </ac:spMkLst>
        </pc:spChg>
        <pc:spChg chg="mod">
          <ac:chgData name="Abdi, Adnan" userId="503e002c-9b3b-4180-87fb-acabeb2b158a" providerId="ADAL" clId="{5C2CD6D4-C7A9-4CEF-AA9C-BC2977F70622}" dt="2024-02-22T15:05:40.040" v="60344"/>
          <ac:spMkLst>
            <pc:docMk/>
            <pc:sldMk cId="562939316" sldId="2147483620"/>
            <ac:spMk id="18" creationId="{8D81F385-9264-BBEE-5930-86E340602B87}"/>
          </ac:spMkLst>
        </pc:spChg>
        <pc:spChg chg="mod">
          <ac:chgData name="Abdi, Adnan" userId="503e002c-9b3b-4180-87fb-acabeb2b158a" providerId="ADAL" clId="{5C2CD6D4-C7A9-4CEF-AA9C-BC2977F70622}" dt="2024-02-22T15:05:40.041" v="60345"/>
          <ac:spMkLst>
            <pc:docMk/>
            <pc:sldMk cId="562939316" sldId="2147483620"/>
            <ac:spMk id="19" creationId="{20B5738B-10F5-20E8-350A-45E71D2A4E22}"/>
          </ac:spMkLst>
        </pc:spChg>
        <pc:spChg chg="mod">
          <ac:chgData name="Abdi, Adnan" userId="503e002c-9b3b-4180-87fb-acabeb2b158a" providerId="ADAL" clId="{5C2CD6D4-C7A9-4CEF-AA9C-BC2977F70622}" dt="2024-02-22T15:05:40.042" v="60346"/>
          <ac:spMkLst>
            <pc:docMk/>
            <pc:sldMk cId="562939316" sldId="2147483620"/>
            <ac:spMk id="20" creationId="{E06EDE1D-0F89-E950-D990-F190D91E1E59}"/>
          </ac:spMkLst>
        </pc:spChg>
        <pc:spChg chg="mod">
          <ac:chgData name="Abdi, Adnan" userId="503e002c-9b3b-4180-87fb-acabeb2b158a" providerId="ADAL" clId="{5C2CD6D4-C7A9-4CEF-AA9C-BC2977F70622}" dt="2024-02-22T15:05:40.043" v="60347"/>
          <ac:spMkLst>
            <pc:docMk/>
            <pc:sldMk cId="562939316" sldId="2147483620"/>
            <ac:spMk id="21" creationId="{968CE64E-087E-2E5D-145A-FD8BE41042BD}"/>
          </ac:spMkLst>
        </pc:spChg>
        <pc:spChg chg="mod">
          <ac:chgData name="Abdi, Adnan" userId="503e002c-9b3b-4180-87fb-acabeb2b158a" providerId="ADAL" clId="{5C2CD6D4-C7A9-4CEF-AA9C-BC2977F70622}" dt="2024-02-22T15:05:40.043" v="60348"/>
          <ac:spMkLst>
            <pc:docMk/>
            <pc:sldMk cId="562939316" sldId="2147483620"/>
            <ac:spMk id="22" creationId="{1CE13F31-2DAC-58CC-07BA-2CB96B874BAE}"/>
          </ac:spMkLst>
        </pc:spChg>
        <pc:spChg chg="mod">
          <ac:chgData name="Abdi, Adnan" userId="503e002c-9b3b-4180-87fb-acabeb2b158a" providerId="ADAL" clId="{5C2CD6D4-C7A9-4CEF-AA9C-BC2977F70622}" dt="2024-02-22T15:05:40.044" v="60349"/>
          <ac:spMkLst>
            <pc:docMk/>
            <pc:sldMk cId="562939316" sldId="2147483620"/>
            <ac:spMk id="23" creationId="{D10F7F37-D676-FBD9-07FE-8F98FDE15658}"/>
          </ac:spMkLst>
        </pc:spChg>
        <pc:spChg chg="mod">
          <ac:chgData name="Abdi, Adnan" userId="503e002c-9b3b-4180-87fb-acabeb2b158a" providerId="ADAL" clId="{5C2CD6D4-C7A9-4CEF-AA9C-BC2977F70622}" dt="2024-02-22T15:05:40.045" v="60350"/>
          <ac:spMkLst>
            <pc:docMk/>
            <pc:sldMk cId="562939316" sldId="2147483620"/>
            <ac:spMk id="24" creationId="{BAF4A2B3-F847-E4AA-F935-2977262F43A5}"/>
          </ac:spMkLst>
        </pc:spChg>
        <pc:spChg chg="mod">
          <ac:chgData name="Abdi, Adnan" userId="503e002c-9b3b-4180-87fb-acabeb2b158a" providerId="ADAL" clId="{5C2CD6D4-C7A9-4CEF-AA9C-BC2977F70622}" dt="2024-02-22T15:05:40.046" v="60351"/>
          <ac:spMkLst>
            <pc:docMk/>
            <pc:sldMk cId="562939316" sldId="2147483620"/>
            <ac:spMk id="25" creationId="{D5DEB59C-853D-161C-EB3E-F3DCE21AF6BA}"/>
          </ac:spMkLst>
        </pc:spChg>
        <pc:spChg chg="mod">
          <ac:chgData name="Abdi, Adnan" userId="503e002c-9b3b-4180-87fb-acabeb2b158a" providerId="ADAL" clId="{5C2CD6D4-C7A9-4CEF-AA9C-BC2977F70622}" dt="2024-02-22T15:05:40.047" v="60352"/>
          <ac:spMkLst>
            <pc:docMk/>
            <pc:sldMk cId="562939316" sldId="2147483620"/>
            <ac:spMk id="26" creationId="{F6277A3E-E760-C8A7-112C-251FBF735686}"/>
          </ac:spMkLst>
        </pc:spChg>
        <pc:spChg chg="mod">
          <ac:chgData name="Abdi, Adnan" userId="503e002c-9b3b-4180-87fb-acabeb2b158a" providerId="ADAL" clId="{5C2CD6D4-C7A9-4CEF-AA9C-BC2977F70622}" dt="2024-02-22T15:05:40.047" v="60353"/>
          <ac:spMkLst>
            <pc:docMk/>
            <pc:sldMk cId="562939316" sldId="2147483620"/>
            <ac:spMk id="27" creationId="{764B204E-F147-7A9B-A4D2-2276D2168F07}"/>
          </ac:spMkLst>
        </pc:spChg>
        <pc:spChg chg="mod">
          <ac:chgData name="Abdi, Adnan" userId="503e002c-9b3b-4180-87fb-acabeb2b158a" providerId="ADAL" clId="{5C2CD6D4-C7A9-4CEF-AA9C-BC2977F70622}" dt="2024-02-22T15:05:40.048" v="60354"/>
          <ac:spMkLst>
            <pc:docMk/>
            <pc:sldMk cId="562939316" sldId="2147483620"/>
            <ac:spMk id="28" creationId="{C8852E3A-AC43-DBBB-2BDF-8307761C442C}"/>
          </ac:spMkLst>
        </pc:spChg>
        <pc:spChg chg="mod">
          <ac:chgData name="Abdi, Adnan" userId="503e002c-9b3b-4180-87fb-acabeb2b158a" providerId="ADAL" clId="{5C2CD6D4-C7A9-4CEF-AA9C-BC2977F70622}" dt="2024-02-22T15:05:40.049" v="60355"/>
          <ac:spMkLst>
            <pc:docMk/>
            <pc:sldMk cId="562939316" sldId="2147483620"/>
            <ac:spMk id="29" creationId="{728BA5F3-FC3E-D544-D110-F4DA9B177D8D}"/>
          </ac:spMkLst>
        </pc:spChg>
        <pc:spChg chg="mod">
          <ac:chgData name="Abdi, Adnan" userId="503e002c-9b3b-4180-87fb-acabeb2b158a" providerId="ADAL" clId="{5C2CD6D4-C7A9-4CEF-AA9C-BC2977F70622}" dt="2024-02-22T15:05:40.050" v="60356"/>
          <ac:spMkLst>
            <pc:docMk/>
            <pc:sldMk cId="562939316" sldId="2147483620"/>
            <ac:spMk id="30" creationId="{8910F6BE-B7BF-0E31-E9ED-C82D4F4FF90D}"/>
          </ac:spMkLst>
        </pc:spChg>
        <pc:spChg chg="mod">
          <ac:chgData name="Abdi, Adnan" userId="503e002c-9b3b-4180-87fb-acabeb2b158a" providerId="ADAL" clId="{5C2CD6D4-C7A9-4CEF-AA9C-BC2977F70622}" dt="2024-02-22T15:05:40.051" v="60357"/>
          <ac:spMkLst>
            <pc:docMk/>
            <pc:sldMk cId="562939316" sldId="2147483620"/>
            <ac:spMk id="31" creationId="{6B348867-B733-CEF9-A860-5FB326E530C6}"/>
          </ac:spMkLst>
        </pc:spChg>
        <pc:spChg chg="mod">
          <ac:chgData name="Abdi, Adnan" userId="503e002c-9b3b-4180-87fb-acabeb2b158a" providerId="ADAL" clId="{5C2CD6D4-C7A9-4CEF-AA9C-BC2977F70622}" dt="2024-02-22T15:05:40.052" v="60358"/>
          <ac:spMkLst>
            <pc:docMk/>
            <pc:sldMk cId="562939316" sldId="2147483620"/>
            <ac:spMk id="32" creationId="{62F630B8-33B0-C797-3B1E-6B3DE4C37983}"/>
          </ac:spMkLst>
        </pc:spChg>
        <pc:spChg chg="add mod replST">
          <ac:chgData name="Abdi, Adnan" userId="503e002c-9b3b-4180-87fb-acabeb2b158a" providerId="ADAL" clId="{5C2CD6D4-C7A9-4CEF-AA9C-BC2977F70622}" dt="2024-02-22T15:05:30.411" v="59782"/>
          <ac:spMkLst>
            <pc:docMk/>
            <pc:sldMk cId="562939316" sldId="2147483620"/>
            <ac:spMk id="52" creationId="{49C5AD60-B50B-7A50-E571-B63AEBDAE4C5}"/>
          </ac:spMkLst>
        </pc:spChg>
        <pc:spChg chg="add mod replST">
          <ac:chgData name="Abdi, Adnan" userId="503e002c-9b3b-4180-87fb-acabeb2b158a" providerId="ADAL" clId="{5C2CD6D4-C7A9-4CEF-AA9C-BC2977F70622}" dt="2024-02-22T15:05:30.411" v="59782"/>
          <ac:spMkLst>
            <pc:docMk/>
            <pc:sldMk cId="562939316" sldId="2147483620"/>
            <ac:spMk id="53" creationId="{79B557AE-60C3-9B48-0EE1-765583D68F99}"/>
          </ac:spMkLst>
        </pc:spChg>
        <pc:spChg chg="add mod replST">
          <ac:chgData name="Abdi, Adnan" userId="503e002c-9b3b-4180-87fb-acabeb2b158a" providerId="ADAL" clId="{5C2CD6D4-C7A9-4CEF-AA9C-BC2977F70622}" dt="2024-02-22T15:05:30.411" v="59782"/>
          <ac:spMkLst>
            <pc:docMk/>
            <pc:sldMk cId="562939316" sldId="2147483620"/>
            <ac:spMk id="54" creationId="{4DD920B6-EC9B-91CB-E124-C11710A49EA0}"/>
          </ac:spMkLst>
        </pc:spChg>
        <pc:spChg chg="add mod replST">
          <ac:chgData name="Abdi, Adnan" userId="503e002c-9b3b-4180-87fb-acabeb2b158a" providerId="ADAL" clId="{5C2CD6D4-C7A9-4CEF-AA9C-BC2977F70622}" dt="2024-02-22T15:05:30.411" v="59782"/>
          <ac:spMkLst>
            <pc:docMk/>
            <pc:sldMk cId="562939316" sldId="2147483620"/>
            <ac:spMk id="55" creationId="{0EE95F4B-3C8B-8635-E13E-5A2EB55925A3}"/>
          </ac:spMkLst>
        </pc:spChg>
        <pc:spChg chg="add mod replST">
          <ac:chgData name="Abdi, Adnan" userId="503e002c-9b3b-4180-87fb-acabeb2b158a" providerId="ADAL" clId="{5C2CD6D4-C7A9-4CEF-AA9C-BC2977F70622}" dt="2024-02-22T15:05:30.411" v="59782"/>
          <ac:spMkLst>
            <pc:docMk/>
            <pc:sldMk cId="562939316" sldId="2147483620"/>
            <ac:spMk id="56" creationId="{1917D313-C735-7069-FAD5-053B3458F539}"/>
          </ac:spMkLst>
        </pc:spChg>
        <pc:spChg chg="add mod replST">
          <ac:chgData name="Abdi, Adnan" userId="503e002c-9b3b-4180-87fb-acabeb2b158a" providerId="ADAL" clId="{5C2CD6D4-C7A9-4CEF-AA9C-BC2977F70622}" dt="2024-02-22T15:05:30.411" v="59782"/>
          <ac:spMkLst>
            <pc:docMk/>
            <pc:sldMk cId="562939316" sldId="2147483620"/>
            <ac:spMk id="57" creationId="{1FAFEFFD-A282-5F43-EC54-225A5787C04E}"/>
          </ac:spMkLst>
        </pc:spChg>
        <pc:spChg chg="mod">
          <ac:chgData name="Abdi, Adnan" userId="503e002c-9b3b-4180-87fb-acabeb2b158a" providerId="ADAL" clId="{5C2CD6D4-C7A9-4CEF-AA9C-BC2977F70622}" dt="2024-02-22T15:05:40.052" v="60359"/>
          <ac:spMkLst>
            <pc:docMk/>
            <pc:sldMk cId="562939316" sldId="2147483620"/>
            <ac:spMk id="65" creationId="{8DF33E55-9A50-4DD5-D3A0-F11F70D869FF}"/>
          </ac:spMkLst>
        </pc:spChg>
        <pc:spChg chg="add mod replST">
          <ac:chgData name="Abdi, Adnan" userId="503e002c-9b3b-4180-87fb-acabeb2b158a" providerId="ADAL" clId="{5C2CD6D4-C7A9-4CEF-AA9C-BC2977F70622}" dt="2024-02-22T15:05:30.411" v="59782"/>
          <ac:spMkLst>
            <pc:docMk/>
            <pc:sldMk cId="562939316" sldId="2147483620"/>
            <ac:spMk id="71" creationId="{3A45AE9C-FB55-CECB-107E-A9C8FEB2B953}"/>
          </ac:spMkLst>
        </pc:spChg>
        <pc:spChg chg="del mod">
          <ac:chgData name="Abdi, Adnan" userId="503e002c-9b3b-4180-87fb-acabeb2b158a" providerId="ADAL" clId="{5C2CD6D4-C7A9-4CEF-AA9C-BC2977F70622}" dt="2024-02-22T15:07:09.926" v="60382" actId="478"/>
          <ac:spMkLst>
            <pc:docMk/>
            <pc:sldMk cId="562939316" sldId="2147483620"/>
            <ac:spMk id="72" creationId="{68D0B6F8-54A2-8921-5288-CF492CD6E786}"/>
          </ac:spMkLst>
        </pc:spChg>
        <pc:spChg chg="add mod replST">
          <ac:chgData name="Abdi, Adnan" userId="503e002c-9b3b-4180-87fb-acabeb2b158a" providerId="ADAL" clId="{5C2CD6D4-C7A9-4CEF-AA9C-BC2977F70622}" dt="2024-02-22T15:05:30.411" v="59782"/>
          <ac:spMkLst>
            <pc:docMk/>
            <pc:sldMk cId="562939316" sldId="2147483620"/>
            <ac:spMk id="73" creationId="{C50D5F1F-3A32-EC79-973E-7EF27D2AA416}"/>
          </ac:spMkLst>
        </pc:spChg>
        <pc:spChg chg="add mod replST">
          <ac:chgData name="Abdi, Adnan" userId="503e002c-9b3b-4180-87fb-acabeb2b158a" providerId="ADAL" clId="{5C2CD6D4-C7A9-4CEF-AA9C-BC2977F70622}" dt="2024-02-22T15:05:30.411" v="59782"/>
          <ac:spMkLst>
            <pc:docMk/>
            <pc:sldMk cId="562939316" sldId="2147483620"/>
            <ac:spMk id="74" creationId="{F766EB3A-33AC-D171-5BE2-EE456C1A849B}"/>
          </ac:spMkLst>
        </pc:spChg>
        <pc:spChg chg="del mod ord">
          <ac:chgData name="Abdi, Adnan" userId="503e002c-9b3b-4180-87fb-acabeb2b158a" providerId="ADAL" clId="{5C2CD6D4-C7A9-4CEF-AA9C-BC2977F70622}" dt="2024-02-22T15:07:09.926" v="60382" actId="478"/>
          <ac:spMkLst>
            <pc:docMk/>
            <pc:sldMk cId="562939316" sldId="2147483620"/>
            <ac:spMk id="75" creationId="{4197401C-48D4-122B-419F-8961CC7AA15B}"/>
          </ac:spMkLst>
        </pc:spChg>
        <pc:spChg chg="mod ord">
          <ac:chgData name="Abdi, Adnan" userId="503e002c-9b3b-4180-87fb-acabeb2b158a" providerId="ADAL" clId="{5C2CD6D4-C7A9-4CEF-AA9C-BC2977F70622}" dt="2024-02-22T15:07:07.013" v="60381" actId="1076"/>
          <ac:spMkLst>
            <pc:docMk/>
            <pc:sldMk cId="562939316" sldId="2147483620"/>
            <ac:spMk id="76" creationId="{DC2ED2A8-0451-26DB-B7A0-4B478C7584A8}"/>
          </ac:spMkLst>
        </pc:spChg>
        <pc:spChg chg="mod ord">
          <ac:chgData name="Abdi, Adnan" userId="503e002c-9b3b-4180-87fb-acabeb2b158a" providerId="ADAL" clId="{5C2CD6D4-C7A9-4CEF-AA9C-BC2977F70622}" dt="2024-02-22T15:07:07.013" v="60381" actId="1076"/>
          <ac:spMkLst>
            <pc:docMk/>
            <pc:sldMk cId="562939316" sldId="2147483620"/>
            <ac:spMk id="77" creationId="{85AF0572-89CE-4AEF-41C5-5FD79C52ECBD}"/>
          </ac:spMkLst>
        </pc:spChg>
        <pc:spChg chg="add mod replST">
          <ac:chgData name="Abdi, Adnan" userId="503e002c-9b3b-4180-87fb-acabeb2b158a" providerId="ADAL" clId="{5C2CD6D4-C7A9-4CEF-AA9C-BC2977F70622}" dt="2024-02-22T15:05:30.411" v="59782"/>
          <ac:spMkLst>
            <pc:docMk/>
            <pc:sldMk cId="562939316" sldId="2147483620"/>
            <ac:spMk id="78" creationId="{C05D3FFE-1256-AE0F-B68D-56CB581C2087}"/>
          </ac:spMkLst>
        </pc:spChg>
        <pc:spChg chg="add mod replST">
          <ac:chgData name="Abdi, Adnan" userId="503e002c-9b3b-4180-87fb-acabeb2b158a" providerId="ADAL" clId="{5C2CD6D4-C7A9-4CEF-AA9C-BC2977F70622}" dt="2024-02-22T15:05:30.411" v="59782"/>
          <ac:spMkLst>
            <pc:docMk/>
            <pc:sldMk cId="562939316" sldId="2147483620"/>
            <ac:spMk id="79" creationId="{32F9A2A3-0431-7D90-B973-07561DB25ACF}"/>
          </ac:spMkLst>
        </pc:spChg>
        <pc:spChg chg="add mod replST">
          <ac:chgData name="Abdi, Adnan" userId="503e002c-9b3b-4180-87fb-acabeb2b158a" providerId="ADAL" clId="{5C2CD6D4-C7A9-4CEF-AA9C-BC2977F70622}" dt="2024-02-22T15:05:30.411" v="59782"/>
          <ac:spMkLst>
            <pc:docMk/>
            <pc:sldMk cId="562939316" sldId="2147483620"/>
            <ac:spMk id="81" creationId="{AF8F0EE1-1848-0ABA-03B3-A9109038E97B}"/>
          </ac:spMkLst>
        </pc:spChg>
        <pc:spChg chg="add mod replST">
          <ac:chgData name="Abdi, Adnan" userId="503e002c-9b3b-4180-87fb-acabeb2b158a" providerId="ADAL" clId="{5C2CD6D4-C7A9-4CEF-AA9C-BC2977F70622}" dt="2024-02-22T15:05:30.411" v="59782"/>
          <ac:spMkLst>
            <pc:docMk/>
            <pc:sldMk cId="562939316" sldId="2147483620"/>
            <ac:spMk id="82" creationId="{0CF2FC2C-4C28-60FA-2B4D-962638F873B2}"/>
          </ac:spMkLst>
        </pc:spChg>
        <pc:spChg chg="add mod replST">
          <ac:chgData name="Abdi, Adnan" userId="503e002c-9b3b-4180-87fb-acabeb2b158a" providerId="ADAL" clId="{5C2CD6D4-C7A9-4CEF-AA9C-BC2977F70622}" dt="2024-02-22T15:05:30.411" v="59782"/>
          <ac:spMkLst>
            <pc:docMk/>
            <pc:sldMk cId="562939316" sldId="2147483620"/>
            <ac:spMk id="83" creationId="{0338B737-9DE3-801D-8877-34AC88E4C109}"/>
          </ac:spMkLst>
        </pc:spChg>
        <pc:spChg chg="add mod replST">
          <ac:chgData name="Abdi, Adnan" userId="503e002c-9b3b-4180-87fb-acabeb2b158a" providerId="ADAL" clId="{5C2CD6D4-C7A9-4CEF-AA9C-BC2977F70622}" dt="2024-02-22T15:05:30.411" v="59782"/>
          <ac:spMkLst>
            <pc:docMk/>
            <pc:sldMk cId="562939316" sldId="2147483620"/>
            <ac:spMk id="84" creationId="{70052DD6-4C04-B35B-08A7-24229A27ACC1}"/>
          </ac:spMkLst>
        </pc:spChg>
        <pc:spChg chg="add mod replST">
          <ac:chgData name="Abdi, Adnan" userId="503e002c-9b3b-4180-87fb-acabeb2b158a" providerId="ADAL" clId="{5C2CD6D4-C7A9-4CEF-AA9C-BC2977F70622}" dt="2024-02-22T15:05:30.411" v="59782"/>
          <ac:spMkLst>
            <pc:docMk/>
            <pc:sldMk cId="562939316" sldId="2147483620"/>
            <ac:spMk id="85" creationId="{3D03FE5E-6492-54B8-B639-98892F1AEF6E}"/>
          </ac:spMkLst>
        </pc:spChg>
        <pc:spChg chg="add mod replST">
          <ac:chgData name="Abdi, Adnan" userId="503e002c-9b3b-4180-87fb-acabeb2b158a" providerId="ADAL" clId="{5C2CD6D4-C7A9-4CEF-AA9C-BC2977F70622}" dt="2024-02-22T15:05:30.411" v="59782"/>
          <ac:spMkLst>
            <pc:docMk/>
            <pc:sldMk cId="562939316" sldId="2147483620"/>
            <ac:spMk id="86" creationId="{C3C7E18F-A81F-3F23-4F15-A737108DC256}"/>
          </ac:spMkLst>
        </pc:spChg>
        <pc:spChg chg="add mod replST">
          <ac:chgData name="Abdi, Adnan" userId="503e002c-9b3b-4180-87fb-acabeb2b158a" providerId="ADAL" clId="{5C2CD6D4-C7A9-4CEF-AA9C-BC2977F70622}" dt="2024-02-22T15:05:30.411" v="59782"/>
          <ac:spMkLst>
            <pc:docMk/>
            <pc:sldMk cId="562939316" sldId="2147483620"/>
            <ac:spMk id="87" creationId="{DB9B65E8-64A0-8AAB-9549-D6241FD7D429}"/>
          </ac:spMkLst>
        </pc:spChg>
        <pc:spChg chg="add mod replST">
          <ac:chgData name="Abdi, Adnan" userId="503e002c-9b3b-4180-87fb-acabeb2b158a" providerId="ADAL" clId="{5C2CD6D4-C7A9-4CEF-AA9C-BC2977F70622}" dt="2024-02-22T15:05:30.411" v="59782"/>
          <ac:spMkLst>
            <pc:docMk/>
            <pc:sldMk cId="562939316" sldId="2147483620"/>
            <ac:spMk id="88" creationId="{5BE233C2-7E9D-67F3-7A93-76D2E9AECD9E}"/>
          </ac:spMkLst>
        </pc:spChg>
        <pc:spChg chg="add mod replST">
          <ac:chgData name="Abdi, Adnan" userId="503e002c-9b3b-4180-87fb-acabeb2b158a" providerId="ADAL" clId="{5C2CD6D4-C7A9-4CEF-AA9C-BC2977F70622}" dt="2024-02-22T15:05:30.411" v="59782"/>
          <ac:spMkLst>
            <pc:docMk/>
            <pc:sldMk cId="562939316" sldId="2147483620"/>
            <ac:spMk id="89" creationId="{432B2F2C-2153-8152-87EE-409501982507}"/>
          </ac:spMkLst>
        </pc:spChg>
        <pc:spChg chg="add mod replST">
          <ac:chgData name="Abdi, Adnan" userId="503e002c-9b3b-4180-87fb-acabeb2b158a" providerId="ADAL" clId="{5C2CD6D4-C7A9-4CEF-AA9C-BC2977F70622}" dt="2024-02-22T15:05:30.411" v="59782"/>
          <ac:spMkLst>
            <pc:docMk/>
            <pc:sldMk cId="562939316" sldId="2147483620"/>
            <ac:spMk id="90" creationId="{712AD61F-BF1A-5521-AF1F-B46490FF2B03}"/>
          </ac:spMkLst>
        </pc:spChg>
        <pc:spChg chg="add mod replST">
          <ac:chgData name="Abdi, Adnan" userId="503e002c-9b3b-4180-87fb-acabeb2b158a" providerId="ADAL" clId="{5C2CD6D4-C7A9-4CEF-AA9C-BC2977F70622}" dt="2024-02-22T15:05:30.411" v="59782"/>
          <ac:spMkLst>
            <pc:docMk/>
            <pc:sldMk cId="562939316" sldId="2147483620"/>
            <ac:spMk id="91" creationId="{967744BC-47AD-EB83-4216-31240069CF2D}"/>
          </ac:spMkLst>
        </pc:spChg>
        <pc:spChg chg="add del mod modVis">
          <ac:chgData name="Abdi, Adnan" userId="503e002c-9b3b-4180-87fb-acabeb2b158a" providerId="ADAL" clId="{5C2CD6D4-C7A9-4CEF-AA9C-BC2977F70622}" dt="2024-02-22T15:05:30.411" v="59782"/>
          <ac:spMkLst>
            <pc:docMk/>
            <pc:sldMk cId="562939316" sldId="2147483620"/>
            <ac:spMk id="92" creationId="{24A14890-81CB-407B-1CA5-491763F69832}"/>
          </ac:spMkLst>
        </pc:spChg>
        <pc:spChg chg="add del mod modVis">
          <ac:chgData name="Abdi, Adnan" userId="503e002c-9b3b-4180-87fb-acabeb2b158a" providerId="ADAL" clId="{5C2CD6D4-C7A9-4CEF-AA9C-BC2977F70622}" dt="2024-02-22T15:05:29.330" v="59660"/>
          <ac:spMkLst>
            <pc:docMk/>
            <pc:sldMk cId="562939316" sldId="2147483620"/>
            <ac:spMk id="94" creationId="{8B2C0A72-2632-D529-217E-B575A7F2A192}"/>
          </ac:spMkLst>
        </pc:spChg>
        <pc:spChg chg="add del mod modVis">
          <ac:chgData name="Abdi, Adnan" userId="503e002c-9b3b-4180-87fb-acabeb2b158a" providerId="ADAL" clId="{5C2CD6D4-C7A9-4CEF-AA9C-BC2977F70622}" dt="2024-02-22T15:05:35.456" v="60131"/>
          <ac:spMkLst>
            <pc:docMk/>
            <pc:sldMk cId="562939316" sldId="2147483620"/>
            <ac:spMk id="96" creationId="{E5A2B7E2-5D69-65D2-CB78-9ED2D2877630}"/>
          </ac:spMkLst>
        </pc:spChg>
        <pc:spChg chg="add del mod modVis">
          <ac:chgData name="Abdi, Adnan" userId="503e002c-9b3b-4180-87fb-acabeb2b158a" providerId="ADAL" clId="{5C2CD6D4-C7A9-4CEF-AA9C-BC2977F70622}" dt="2024-02-22T15:05:40.070" v="60378"/>
          <ac:spMkLst>
            <pc:docMk/>
            <pc:sldMk cId="562939316" sldId="2147483620"/>
            <ac:spMk id="99" creationId="{C5391072-A698-5AC0-3A41-B970261D085C}"/>
          </ac:spMkLst>
        </pc:spChg>
        <pc:spChg chg="add mod">
          <ac:chgData name="Abdi, Adnan" userId="503e002c-9b3b-4180-87fb-acabeb2b158a" providerId="ADAL" clId="{5C2CD6D4-C7A9-4CEF-AA9C-BC2977F70622}" dt="2024-02-22T15:13:54.055" v="61026" actId="20577"/>
          <ac:spMkLst>
            <pc:docMk/>
            <pc:sldMk cId="562939316" sldId="2147483620"/>
            <ac:spMk id="101" creationId="{CA506541-27AC-F645-4D14-2F2CD2F2570B}"/>
          </ac:spMkLst>
        </pc:spChg>
        <pc:spChg chg="mod ord">
          <ac:chgData name="Abdi, Adnan" userId="503e002c-9b3b-4180-87fb-acabeb2b158a" providerId="ADAL" clId="{5C2CD6D4-C7A9-4CEF-AA9C-BC2977F70622}" dt="2024-02-22T15:05:40.062" v="60368"/>
          <ac:spMkLst>
            <pc:docMk/>
            <pc:sldMk cId="562939316" sldId="2147483620"/>
            <ac:spMk id="105" creationId="{F6273616-B40F-C773-E8E5-5F871494B513}"/>
          </ac:spMkLst>
        </pc:spChg>
        <pc:spChg chg="mod ord">
          <ac:chgData name="Abdi, Adnan" userId="503e002c-9b3b-4180-87fb-acabeb2b158a" providerId="ADAL" clId="{5C2CD6D4-C7A9-4CEF-AA9C-BC2977F70622}" dt="2024-02-22T15:12:42.964" v="60894" actId="20577"/>
          <ac:spMkLst>
            <pc:docMk/>
            <pc:sldMk cId="562939316" sldId="2147483620"/>
            <ac:spMk id="110" creationId="{8CB3C35D-9708-3FA1-0E81-F1D2BB86A117}"/>
          </ac:spMkLst>
        </pc:spChg>
        <pc:spChg chg="mod ord">
          <ac:chgData name="Abdi, Adnan" userId="503e002c-9b3b-4180-87fb-acabeb2b158a" providerId="ADAL" clId="{5C2CD6D4-C7A9-4CEF-AA9C-BC2977F70622}" dt="2024-02-22T15:05:40.064" v="60372"/>
          <ac:spMkLst>
            <pc:docMk/>
            <pc:sldMk cId="562939316" sldId="2147483620"/>
            <ac:spMk id="111" creationId="{C1ACA344-1CD6-FFEF-019E-3CB174776F69}"/>
          </ac:spMkLst>
        </pc:spChg>
        <pc:spChg chg="mod ord">
          <ac:chgData name="Abdi, Adnan" userId="503e002c-9b3b-4180-87fb-acabeb2b158a" providerId="ADAL" clId="{5C2CD6D4-C7A9-4CEF-AA9C-BC2977F70622}" dt="2024-02-22T15:05:40.066" v="60374"/>
          <ac:spMkLst>
            <pc:docMk/>
            <pc:sldMk cId="562939316" sldId="2147483620"/>
            <ac:spMk id="112" creationId="{D34D15BE-211F-1286-CAE1-30498C795445}"/>
          </ac:spMkLst>
        </pc:spChg>
        <pc:graphicFrameChg chg="add mod replST delST">
          <ac:chgData name="Abdi, Adnan" userId="503e002c-9b3b-4180-87fb-acabeb2b158a" providerId="ADAL" clId="{5C2CD6D4-C7A9-4CEF-AA9C-BC2977F70622}" dt="2024-02-22T15:04:44.029" v="58581"/>
          <ac:graphicFrameMkLst>
            <pc:docMk/>
            <pc:sldMk cId="562939316" sldId="2147483620"/>
            <ac:graphicFrameMk id="6" creationId="{BE876024-2B87-B9E2-C2D1-0A7128239DB6}"/>
          </ac:graphicFrameMkLst>
        </pc:graphicFrameChg>
        <pc:graphicFrameChg chg="add mod replST delST">
          <ac:chgData name="Abdi, Adnan" userId="503e002c-9b3b-4180-87fb-acabeb2b158a" providerId="ADAL" clId="{5C2CD6D4-C7A9-4CEF-AA9C-BC2977F70622}" dt="2024-02-22T15:04:59.697" v="58761" actId="1076"/>
          <ac:graphicFrameMkLst>
            <pc:docMk/>
            <pc:sldMk cId="562939316" sldId="2147483620"/>
            <ac:graphicFrameMk id="10" creationId="{E2DED502-EC1A-F8C9-1CF7-256BA98C4A5F}"/>
          </ac:graphicFrameMkLst>
        </pc:graphicFrameChg>
        <pc:graphicFrameChg chg="add del mod replST">
          <ac:chgData name="Abdi, Adnan" userId="503e002c-9b3b-4180-87fb-acabeb2b158a" providerId="ADAL" clId="{5C2CD6D4-C7A9-4CEF-AA9C-BC2977F70622}" dt="2024-02-22T15:05:30.411" v="59782"/>
          <ac:graphicFrameMkLst>
            <pc:docMk/>
            <pc:sldMk cId="562939316" sldId="2147483620"/>
            <ac:graphicFrameMk id="51" creationId="{21D99B77-8EAA-890A-AF19-319391FDA0AC}"/>
          </ac:graphicFrameMkLst>
        </pc:graphicFrameChg>
        <pc:graphicFrameChg chg="mod">
          <ac:chgData name="Abdi, Adnan" userId="503e002c-9b3b-4180-87fb-acabeb2b158a" providerId="ADAL" clId="{5C2CD6D4-C7A9-4CEF-AA9C-BC2977F70622}" dt="2024-02-22T15:05:40.108" v="60380"/>
          <ac:graphicFrameMkLst>
            <pc:docMk/>
            <pc:sldMk cId="562939316" sldId="2147483620"/>
            <ac:graphicFrameMk id="80" creationId="{F3F4821B-1983-7338-DF56-E611BA998E73}"/>
          </ac:graphicFrameMkLst>
        </pc:graphicFrameChg>
        <pc:graphicFrameChg chg="add del mod replST delST">
          <ac:chgData name="Abdi, Adnan" userId="503e002c-9b3b-4180-87fb-acabeb2b158a" providerId="ADAL" clId="{5C2CD6D4-C7A9-4CEF-AA9C-BC2977F70622}" dt="2024-02-22T15:05:30.411" v="59782"/>
          <ac:graphicFrameMkLst>
            <pc:docMk/>
            <pc:sldMk cId="562939316" sldId="2147483620"/>
            <ac:graphicFrameMk id="93" creationId="{1D7684A6-3E26-2538-3067-A97470F19CD9}"/>
          </ac:graphicFrameMkLst>
        </pc:graphicFrameChg>
        <pc:graphicFrameChg chg="add mod replST delST">
          <ac:chgData name="Abdi, Adnan" userId="503e002c-9b3b-4180-87fb-acabeb2b158a" providerId="ADAL" clId="{5C2CD6D4-C7A9-4CEF-AA9C-BC2977F70622}" dt="2024-02-22T15:05:29.330" v="59660"/>
          <ac:graphicFrameMkLst>
            <pc:docMk/>
            <pc:sldMk cId="562939316" sldId="2147483620"/>
            <ac:graphicFrameMk id="95" creationId="{B7D207E6-BF56-CAB4-06D3-7BE778560EA6}"/>
          </ac:graphicFrameMkLst>
        </pc:graphicFrameChg>
        <pc:graphicFrameChg chg="add mod replST delST">
          <ac:chgData name="Abdi, Adnan" userId="503e002c-9b3b-4180-87fb-acabeb2b158a" providerId="ADAL" clId="{5C2CD6D4-C7A9-4CEF-AA9C-BC2977F70622}" dt="2024-02-22T15:05:35.456" v="60131"/>
          <ac:graphicFrameMkLst>
            <pc:docMk/>
            <pc:sldMk cId="562939316" sldId="2147483620"/>
            <ac:graphicFrameMk id="97" creationId="{1382AA1D-81C5-0F3B-338D-1AE583A91360}"/>
          </ac:graphicFrameMkLst>
        </pc:graphicFrameChg>
        <pc:graphicFrameChg chg="add mod replST">
          <ac:chgData name="Abdi, Adnan" userId="503e002c-9b3b-4180-87fb-acabeb2b158a" providerId="ADAL" clId="{5C2CD6D4-C7A9-4CEF-AA9C-BC2977F70622}" dt="2024-02-22T15:05:40.035" v="60336"/>
          <ac:graphicFrameMkLst>
            <pc:docMk/>
            <pc:sldMk cId="562939316" sldId="2147483620"/>
            <ac:graphicFrameMk id="100" creationId="{49FF9636-10AF-547B-04EA-5EE744D81DC5}"/>
          </ac:graphicFrameMkLst>
        </pc:graphicFrameChg>
        <pc:graphicFrameChg chg="add del mod">
          <ac:chgData name="Abdi, Adnan" userId="503e002c-9b3b-4180-87fb-acabeb2b158a" providerId="ADAL" clId="{5C2CD6D4-C7A9-4CEF-AA9C-BC2977F70622}" dt="2024-02-22T15:05:39.991" v="60325"/>
          <ac:graphicFrameMkLst>
            <pc:docMk/>
            <pc:sldMk cId="562939316" sldId="2147483620"/>
            <ac:graphicFrameMk id="116" creationId="{2C06AF69-0690-6C61-D07B-7C2A83B49C11}"/>
          </ac:graphicFrameMkLst>
        </pc:graphicFrameChg>
      </pc:sldChg>
      <pc:sldChg chg="addSp">
        <pc:chgData name="Abdi, Adnan" userId="503e002c-9b3b-4180-87fb-acabeb2b158a" providerId="ADAL" clId="{5C2CD6D4-C7A9-4CEF-AA9C-BC2977F70622}" dt="2024-02-23T15:32:09.917" v="71465"/>
        <pc:sldMkLst>
          <pc:docMk/>
          <pc:sldMk cId="2276466764" sldId="2147483620"/>
        </pc:sldMkLst>
        <pc:spChg chg="add">
          <ac:chgData name="Abdi, Adnan" userId="503e002c-9b3b-4180-87fb-acabeb2b158a" providerId="ADAL" clId="{5C2CD6D4-C7A9-4CEF-AA9C-BC2977F70622}" dt="2024-02-23T15:32:09.917" v="71465"/>
          <ac:spMkLst>
            <pc:docMk/>
            <pc:sldMk cId="2276466764" sldId="2147483620"/>
            <ac:spMk id="4" creationId="{842E4718-9F0E-FA93-C355-31021A2634F8}"/>
          </ac:spMkLst>
        </pc:spChg>
      </pc:sldChg>
      <pc:sldChg chg="addSp delSp modSp add mod ord">
        <pc:chgData name="Abdi, Adnan" userId="503e002c-9b3b-4180-87fb-acabeb2b158a" providerId="ADAL" clId="{5C2CD6D4-C7A9-4CEF-AA9C-BC2977F70622}" dt="2024-02-26T09:09:48.592" v="73097"/>
        <pc:sldMkLst>
          <pc:docMk/>
          <pc:sldMk cId="3103856749" sldId="2147483621"/>
        </pc:sldMkLst>
        <pc:spChg chg="mod ord">
          <ac:chgData name="Abdi, Adnan" userId="503e002c-9b3b-4180-87fb-acabeb2b158a" providerId="ADAL" clId="{5C2CD6D4-C7A9-4CEF-AA9C-BC2977F70622}" dt="2024-02-23T19:05:03.476" v="72990"/>
          <ac:spMkLst>
            <pc:docMk/>
            <pc:sldMk cId="3103856749" sldId="2147483621"/>
            <ac:spMk id="2" creationId="{3D276EDA-45C9-60D6-7BB0-61EE15635B23}"/>
          </ac:spMkLst>
        </pc:spChg>
        <pc:spChg chg="mod ord">
          <ac:chgData name="Abdi, Adnan" userId="503e002c-9b3b-4180-87fb-acabeb2b158a" providerId="ADAL" clId="{5C2CD6D4-C7A9-4CEF-AA9C-BC2977F70622}" dt="2024-02-26T09:09:48.592" v="73097"/>
          <ac:spMkLst>
            <pc:docMk/>
            <pc:sldMk cId="3103856749" sldId="2147483621"/>
            <ac:spMk id="3" creationId="{522AC60D-FE96-2546-F27F-FF49D8F5A326}"/>
          </ac:spMkLst>
        </pc:spChg>
        <pc:spChg chg="mod ord">
          <ac:chgData name="Abdi, Adnan" userId="503e002c-9b3b-4180-87fb-acabeb2b158a" providerId="ADAL" clId="{5C2CD6D4-C7A9-4CEF-AA9C-BC2977F70622}" dt="2024-02-23T19:05:03.478" v="72994"/>
          <ac:spMkLst>
            <pc:docMk/>
            <pc:sldMk cId="3103856749" sldId="2147483621"/>
            <ac:spMk id="4" creationId="{7DAD173B-050D-ADC2-C16D-F8C1AF4A1564}"/>
          </ac:spMkLst>
        </pc:spChg>
        <pc:spChg chg="mod ord">
          <ac:chgData name="Abdi, Adnan" userId="503e002c-9b3b-4180-87fb-acabeb2b158a" providerId="ADAL" clId="{5C2CD6D4-C7A9-4CEF-AA9C-BC2977F70622}" dt="2024-02-23T19:05:03.479" v="72996"/>
          <ac:spMkLst>
            <pc:docMk/>
            <pc:sldMk cId="3103856749" sldId="2147483621"/>
            <ac:spMk id="8" creationId="{9806F401-BD29-CD8B-DF35-C83F70109977}"/>
          </ac:spMkLst>
        </pc:spChg>
        <pc:spChg chg="mod ord">
          <ac:chgData name="Abdi, Adnan" userId="503e002c-9b3b-4180-87fb-acabeb2b158a" providerId="ADAL" clId="{5C2CD6D4-C7A9-4CEF-AA9C-BC2977F70622}" dt="2024-02-23T19:05:03.481" v="73000"/>
          <ac:spMkLst>
            <pc:docMk/>
            <pc:sldMk cId="3103856749" sldId="2147483621"/>
            <ac:spMk id="10" creationId="{1F785D3F-109F-A5E1-5CBB-62E16FFAD99C}"/>
          </ac:spMkLst>
        </pc:spChg>
        <pc:spChg chg="mod ord">
          <ac:chgData name="Abdi, Adnan" userId="503e002c-9b3b-4180-87fb-acabeb2b158a" providerId="ADAL" clId="{5C2CD6D4-C7A9-4CEF-AA9C-BC2977F70622}" dt="2024-02-23T19:05:03.482" v="73002"/>
          <ac:spMkLst>
            <pc:docMk/>
            <pc:sldMk cId="3103856749" sldId="2147483621"/>
            <ac:spMk id="12" creationId="{5DE12A3F-197C-4896-AE32-E7F7F65A4FBF}"/>
          </ac:spMkLst>
        </pc:spChg>
        <pc:spChg chg="mod">
          <ac:chgData name="Abdi, Adnan" userId="503e002c-9b3b-4180-87fb-acabeb2b158a" providerId="ADAL" clId="{5C2CD6D4-C7A9-4CEF-AA9C-BC2977F70622}" dt="2024-02-23T19:05:03.484" v="73004"/>
          <ac:spMkLst>
            <pc:docMk/>
            <pc:sldMk cId="3103856749" sldId="2147483621"/>
            <ac:spMk id="15" creationId="{7401882C-0FC8-C3C9-764A-50F6C6C1CD15}"/>
          </ac:spMkLst>
        </pc:spChg>
        <pc:spChg chg="mod ord">
          <ac:chgData name="Abdi, Adnan" userId="503e002c-9b3b-4180-87fb-acabeb2b158a" providerId="ADAL" clId="{5C2CD6D4-C7A9-4CEF-AA9C-BC2977F70622}" dt="2024-02-23T19:05:03.487" v="73009"/>
          <ac:spMkLst>
            <pc:docMk/>
            <pc:sldMk cId="3103856749" sldId="2147483621"/>
            <ac:spMk id="16" creationId="{3A1324D6-A7A5-F4E6-42D0-0CF65D3D8624}"/>
          </ac:spMkLst>
        </pc:spChg>
        <pc:spChg chg="mod">
          <ac:chgData name="Abdi, Adnan" userId="503e002c-9b3b-4180-87fb-acabeb2b158a" providerId="ADAL" clId="{5C2CD6D4-C7A9-4CEF-AA9C-BC2977F70622}" dt="2024-02-23T19:05:03.487" v="73010"/>
          <ac:spMkLst>
            <pc:docMk/>
            <pc:sldMk cId="3103856749" sldId="2147483621"/>
            <ac:spMk id="17" creationId="{8E6D5BF3-9530-C112-DF33-12A77A6F1FE9}"/>
          </ac:spMkLst>
        </pc:spChg>
        <pc:spChg chg="mod ord">
          <ac:chgData name="Abdi, Adnan" userId="503e002c-9b3b-4180-87fb-acabeb2b158a" providerId="ADAL" clId="{5C2CD6D4-C7A9-4CEF-AA9C-BC2977F70622}" dt="2024-02-23T19:05:03.485" v="73006"/>
          <ac:spMkLst>
            <pc:docMk/>
            <pc:sldMk cId="3103856749" sldId="2147483621"/>
            <ac:spMk id="18" creationId="{1E5C105C-7FB0-FFEF-0CF3-B10F28A5C194}"/>
          </ac:spMkLst>
        </pc:spChg>
        <pc:spChg chg="mod">
          <ac:chgData name="Abdi, Adnan" userId="503e002c-9b3b-4180-87fb-acabeb2b158a" providerId="ADAL" clId="{5C2CD6D4-C7A9-4CEF-AA9C-BC2977F70622}" dt="2024-02-23T19:05:03.486" v="73007"/>
          <ac:spMkLst>
            <pc:docMk/>
            <pc:sldMk cId="3103856749" sldId="2147483621"/>
            <ac:spMk id="19" creationId="{F8DC370C-F68E-0C82-FDE1-01E2F1E46CDF}"/>
          </ac:spMkLst>
        </pc:spChg>
        <pc:spChg chg="mod">
          <ac:chgData name="Abdi, Adnan" userId="503e002c-9b3b-4180-87fb-acabeb2b158a" providerId="ADAL" clId="{5C2CD6D4-C7A9-4CEF-AA9C-BC2977F70622}" dt="2024-02-23T19:05:03.488" v="73011"/>
          <ac:spMkLst>
            <pc:docMk/>
            <pc:sldMk cId="3103856749" sldId="2147483621"/>
            <ac:spMk id="20" creationId="{CA816FF0-4593-4490-B043-75A97697C067}"/>
          </ac:spMkLst>
        </pc:spChg>
        <pc:spChg chg="mod ord">
          <ac:chgData name="Abdi, Adnan" userId="503e002c-9b3b-4180-87fb-acabeb2b158a" providerId="ADAL" clId="{5C2CD6D4-C7A9-4CEF-AA9C-BC2977F70622}" dt="2024-02-23T19:05:03.490" v="73013"/>
          <ac:spMkLst>
            <pc:docMk/>
            <pc:sldMk cId="3103856749" sldId="2147483621"/>
            <ac:spMk id="21" creationId="{AF6C42F1-0A0A-654F-B94A-A32ECBEB0AE2}"/>
          </ac:spMkLst>
        </pc:spChg>
        <pc:spChg chg="mod">
          <ac:chgData name="Abdi, Adnan" userId="503e002c-9b3b-4180-87fb-acabeb2b158a" providerId="ADAL" clId="{5C2CD6D4-C7A9-4CEF-AA9C-BC2977F70622}" dt="2024-02-23T19:05:03.491" v="73014"/>
          <ac:spMkLst>
            <pc:docMk/>
            <pc:sldMk cId="3103856749" sldId="2147483621"/>
            <ac:spMk id="22" creationId="{0C68B494-FF7D-74F5-A641-619AF3387052}"/>
          </ac:spMkLst>
        </pc:spChg>
        <pc:spChg chg="mod ord">
          <ac:chgData name="Abdi, Adnan" userId="503e002c-9b3b-4180-87fb-acabeb2b158a" providerId="ADAL" clId="{5C2CD6D4-C7A9-4CEF-AA9C-BC2977F70622}" dt="2024-02-23T19:05:03.493" v="73016"/>
          <ac:spMkLst>
            <pc:docMk/>
            <pc:sldMk cId="3103856749" sldId="2147483621"/>
            <ac:spMk id="23" creationId="{752977E1-34EF-1C47-EC81-F0BC8BC4993C}"/>
          </ac:spMkLst>
        </pc:spChg>
        <pc:spChg chg="mod ord">
          <ac:chgData name="Abdi, Adnan" userId="503e002c-9b3b-4180-87fb-acabeb2b158a" providerId="ADAL" clId="{5C2CD6D4-C7A9-4CEF-AA9C-BC2977F70622}" dt="2024-02-23T19:05:03.494" v="73018"/>
          <ac:spMkLst>
            <pc:docMk/>
            <pc:sldMk cId="3103856749" sldId="2147483621"/>
            <ac:spMk id="24" creationId="{FD32732E-BA07-A446-1F8B-49A27F0D7E71}"/>
          </ac:spMkLst>
        </pc:spChg>
        <pc:spChg chg="mod ord">
          <ac:chgData name="Abdi, Adnan" userId="503e002c-9b3b-4180-87fb-acabeb2b158a" providerId="ADAL" clId="{5C2CD6D4-C7A9-4CEF-AA9C-BC2977F70622}" dt="2024-02-23T19:05:03.496" v="73020"/>
          <ac:spMkLst>
            <pc:docMk/>
            <pc:sldMk cId="3103856749" sldId="2147483621"/>
            <ac:spMk id="25" creationId="{6E6A7902-B5ED-7879-2904-2F4F7B823878}"/>
          </ac:spMkLst>
        </pc:spChg>
        <pc:spChg chg="mod ord">
          <ac:chgData name="Abdi, Adnan" userId="503e002c-9b3b-4180-87fb-acabeb2b158a" providerId="ADAL" clId="{5C2CD6D4-C7A9-4CEF-AA9C-BC2977F70622}" dt="2024-02-23T19:05:03.497" v="73022"/>
          <ac:spMkLst>
            <pc:docMk/>
            <pc:sldMk cId="3103856749" sldId="2147483621"/>
            <ac:spMk id="26" creationId="{1C423085-878A-BE2C-534A-3E5DE531065F}"/>
          </ac:spMkLst>
        </pc:spChg>
        <pc:spChg chg="mod ord">
          <ac:chgData name="Abdi, Adnan" userId="503e002c-9b3b-4180-87fb-acabeb2b158a" providerId="ADAL" clId="{5C2CD6D4-C7A9-4CEF-AA9C-BC2977F70622}" dt="2024-02-23T19:05:03.498" v="73024"/>
          <ac:spMkLst>
            <pc:docMk/>
            <pc:sldMk cId="3103856749" sldId="2147483621"/>
            <ac:spMk id="27" creationId="{11F9DEA9-0AE1-B1EC-9C00-B9CE096FF815}"/>
          </ac:spMkLst>
        </pc:spChg>
        <pc:spChg chg="mod ord">
          <ac:chgData name="Abdi, Adnan" userId="503e002c-9b3b-4180-87fb-acabeb2b158a" providerId="ADAL" clId="{5C2CD6D4-C7A9-4CEF-AA9C-BC2977F70622}" dt="2024-02-23T19:05:03.499" v="73026"/>
          <ac:spMkLst>
            <pc:docMk/>
            <pc:sldMk cId="3103856749" sldId="2147483621"/>
            <ac:spMk id="28" creationId="{38E12450-6CCA-A3A6-1CAD-9A2D37F20E34}"/>
          </ac:spMkLst>
        </pc:spChg>
        <pc:spChg chg="mod ord">
          <ac:chgData name="Abdi, Adnan" userId="503e002c-9b3b-4180-87fb-acabeb2b158a" providerId="ADAL" clId="{5C2CD6D4-C7A9-4CEF-AA9C-BC2977F70622}" dt="2024-02-23T19:05:03.500" v="73028"/>
          <ac:spMkLst>
            <pc:docMk/>
            <pc:sldMk cId="3103856749" sldId="2147483621"/>
            <ac:spMk id="29" creationId="{D45E247E-9A6C-3DE7-72EF-1D070D368BDD}"/>
          </ac:spMkLst>
        </pc:spChg>
        <pc:spChg chg="mod ord">
          <ac:chgData name="Abdi, Adnan" userId="503e002c-9b3b-4180-87fb-acabeb2b158a" providerId="ADAL" clId="{5C2CD6D4-C7A9-4CEF-AA9C-BC2977F70622}" dt="2024-02-23T19:05:03.501" v="73030"/>
          <ac:spMkLst>
            <pc:docMk/>
            <pc:sldMk cId="3103856749" sldId="2147483621"/>
            <ac:spMk id="30" creationId="{7BF34145-C6C4-065E-C019-78A220F9EAA2}"/>
          </ac:spMkLst>
        </pc:spChg>
        <pc:spChg chg="mod ord">
          <ac:chgData name="Abdi, Adnan" userId="503e002c-9b3b-4180-87fb-acabeb2b158a" providerId="ADAL" clId="{5C2CD6D4-C7A9-4CEF-AA9C-BC2977F70622}" dt="2024-02-23T19:05:03.503" v="73032"/>
          <ac:spMkLst>
            <pc:docMk/>
            <pc:sldMk cId="3103856749" sldId="2147483621"/>
            <ac:spMk id="31" creationId="{AACA09E4-06E1-74BF-8C5D-7B8B4C5E34DA}"/>
          </ac:spMkLst>
        </pc:spChg>
        <pc:spChg chg="mod ord">
          <ac:chgData name="Abdi, Adnan" userId="503e002c-9b3b-4180-87fb-acabeb2b158a" providerId="ADAL" clId="{5C2CD6D4-C7A9-4CEF-AA9C-BC2977F70622}" dt="2024-02-23T19:05:03.504" v="73034"/>
          <ac:spMkLst>
            <pc:docMk/>
            <pc:sldMk cId="3103856749" sldId="2147483621"/>
            <ac:spMk id="32" creationId="{36316487-72CB-EE66-7730-E094E070DF52}"/>
          </ac:spMkLst>
        </pc:spChg>
        <pc:spChg chg="mod ord">
          <ac:chgData name="Abdi, Adnan" userId="503e002c-9b3b-4180-87fb-acabeb2b158a" providerId="ADAL" clId="{5C2CD6D4-C7A9-4CEF-AA9C-BC2977F70622}" dt="2024-02-23T19:05:03.505" v="73036"/>
          <ac:spMkLst>
            <pc:docMk/>
            <pc:sldMk cId="3103856749" sldId="2147483621"/>
            <ac:spMk id="33" creationId="{27E1480E-F722-C391-9DFF-CAA22A8F59F9}"/>
          </ac:spMkLst>
        </pc:spChg>
        <pc:spChg chg="mod ord">
          <ac:chgData name="Abdi, Adnan" userId="503e002c-9b3b-4180-87fb-acabeb2b158a" providerId="ADAL" clId="{5C2CD6D4-C7A9-4CEF-AA9C-BC2977F70622}" dt="2024-02-23T19:05:03.506" v="73038"/>
          <ac:spMkLst>
            <pc:docMk/>
            <pc:sldMk cId="3103856749" sldId="2147483621"/>
            <ac:spMk id="34" creationId="{C1E80E5D-16CF-4E90-DC49-CA194E023031}"/>
          </ac:spMkLst>
        </pc:spChg>
        <pc:spChg chg="mod ord">
          <ac:chgData name="Abdi, Adnan" userId="503e002c-9b3b-4180-87fb-acabeb2b158a" providerId="ADAL" clId="{5C2CD6D4-C7A9-4CEF-AA9C-BC2977F70622}" dt="2024-02-23T19:05:03.507" v="73040"/>
          <ac:spMkLst>
            <pc:docMk/>
            <pc:sldMk cId="3103856749" sldId="2147483621"/>
            <ac:spMk id="35" creationId="{ED1469CC-CEDF-0F51-174A-16056B67A8B2}"/>
          </ac:spMkLst>
        </pc:spChg>
        <pc:spChg chg="mod ord">
          <ac:chgData name="Abdi, Adnan" userId="503e002c-9b3b-4180-87fb-acabeb2b158a" providerId="ADAL" clId="{5C2CD6D4-C7A9-4CEF-AA9C-BC2977F70622}" dt="2024-02-23T19:05:03.508" v="73042"/>
          <ac:spMkLst>
            <pc:docMk/>
            <pc:sldMk cId="3103856749" sldId="2147483621"/>
            <ac:spMk id="36" creationId="{F95ACB3C-C490-7AC3-F728-F51C6A035A48}"/>
          </ac:spMkLst>
        </pc:spChg>
        <pc:spChg chg="mod ord">
          <ac:chgData name="Abdi, Adnan" userId="503e002c-9b3b-4180-87fb-acabeb2b158a" providerId="ADAL" clId="{5C2CD6D4-C7A9-4CEF-AA9C-BC2977F70622}" dt="2024-02-23T19:05:03.509" v="73044"/>
          <ac:spMkLst>
            <pc:docMk/>
            <pc:sldMk cId="3103856749" sldId="2147483621"/>
            <ac:spMk id="37" creationId="{728421F0-E587-F7F2-9ADE-C8EA4211A239}"/>
          </ac:spMkLst>
        </pc:spChg>
        <pc:spChg chg="mod ord">
          <ac:chgData name="Abdi, Adnan" userId="503e002c-9b3b-4180-87fb-acabeb2b158a" providerId="ADAL" clId="{5C2CD6D4-C7A9-4CEF-AA9C-BC2977F70622}" dt="2024-02-23T19:05:03.510" v="73046"/>
          <ac:spMkLst>
            <pc:docMk/>
            <pc:sldMk cId="3103856749" sldId="2147483621"/>
            <ac:spMk id="38" creationId="{AF4C27CD-192E-813A-48DC-F3E793A828BA}"/>
          </ac:spMkLst>
        </pc:spChg>
        <pc:spChg chg="mod ord">
          <ac:chgData name="Abdi, Adnan" userId="503e002c-9b3b-4180-87fb-acabeb2b158a" providerId="ADAL" clId="{5C2CD6D4-C7A9-4CEF-AA9C-BC2977F70622}" dt="2024-02-23T19:05:03.511" v="73048"/>
          <ac:spMkLst>
            <pc:docMk/>
            <pc:sldMk cId="3103856749" sldId="2147483621"/>
            <ac:spMk id="39" creationId="{01032468-CFDE-00B2-11EB-9BF3DC3CDB53}"/>
          </ac:spMkLst>
        </pc:spChg>
        <pc:spChg chg="mod ord">
          <ac:chgData name="Abdi, Adnan" userId="503e002c-9b3b-4180-87fb-acabeb2b158a" providerId="ADAL" clId="{5C2CD6D4-C7A9-4CEF-AA9C-BC2977F70622}" dt="2024-02-23T19:05:03.512" v="73050"/>
          <ac:spMkLst>
            <pc:docMk/>
            <pc:sldMk cId="3103856749" sldId="2147483621"/>
            <ac:spMk id="40" creationId="{413E66E8-263C-DDBF-6E0C-4F4ACA7E5255}"/>
          </ac:spMkLst>
        </pc:spChg>
        <pc:spChg chg="mod ord">
          <ac:chgData name="Abdi, Adnan" userId="503e002c-9b3b-4180-87fb-acabeb2b158a" providerId="ADAL" clId="{5C2CD6D4-C7A9-4CEF-AA9C-BC2977F70622}" dt="2024-02-23T19:05:03.513" v="73052"/>
          <ac:spMkLst>
            <pc:docMk/>
            <pc:sldMk cId="3103856749" sldId="2147483621"/>
            <ac:spMk id="41" creationId="{8836F41A-9C45-B99F-841D-0F0C00A919BA}"/>
          </ac:spMkLst>
        </pc:spChg>
        <pc:spChg chg="mod ord">
          <ac:chgData name="Abdi, Adnan" userId="503e002c-9b3b-4180-87fb-acabeb2b158a" providerId="ADAL" clId="{5C2CD6D4-C7A9-4CEF-AA9C-BC2977F70622}" dt="2024-02-23T19:05:03.514" v="73054"/>
          <ac:spMkLst>
            <pc:docMk/>
            <pc:sldMk cId="3103856749" sldId="2147483621"/>
            <ac:spMk id="42" creationId="{870C4CD2-0373-CF14-C4DA-525816A6211E}"/>
          </ac:spMkLst>
        </pc:spChg>
        <pc:spChg chg="mod ord">
          <ac:chgData name="Abdi, Adnan" userId="503e002c-9b3b-4180-87fb-acabeb2b158a" providerId="ADAL" clId="{5C2CD6D4-C7A9-4CEF-AA9C-BC2977F70622}" dt="2024-02-23T19:05:03.516" v="73056"/>
          <ac:spMkLst>
            <pc:docMk/>
            <pc:sldMk cId="3103856749" sldId="2147483621"/>
            <ac:spMk id="43" creationId="{98EB1A6E-A021-7AE6-EA6F-2FBF402E5A36}"/>
          </ac:spMkLst>
        </pc:spChg>
        <pc:spChg chg="mod ord">
          <ac:chgData name="Abdi, Adnan" userId="503e002c-9b3b-4180-87fb-acabeb2b158a" providerId="ADAL" clId="{5C2CD6D4-C7A9-4CEF-AA9C-BC2977F70622}" dt="2024-02-23T19:05:03.517" v="73058"/>
          <ac:spMkLst>
            <pc:docMk/>
            <pc:sldMk cId="3103856749" sldId="2147483621"/>
            <ac:spMk id="44" creationId="{86341E98-075E-F6EF-8D70-083638FB5ECD}"/>
          </ac:spMkLst>
        </pc:spChg>
        <pc:spChg chg="mod ord">
          <ac:chgData name="Abdi, Adnan" userId="503e002c-9b3b-4180-87fb-acabeb2b158a" providerId="ADAL" clId="{5C2CD6D4-C7A9-4CEF-AA9C-BC2977F70622}" dt="2024-02-23T19:05:03.518" v="73060"/>
          <ac:spMkLst>
            <pc:docMk/>
            <pc:sldMk cId="3103856749" sldId="2147483621"/>
            <ac:spMk id="45" creationId="{47E64E72-2E93-DAEA-680B-850F96E5612F}"/>
          </ac:spMkLst>
        </pc:spChg>
        <pc:spChg chg="mod ord">
          <ac:chgData name="Abdi, Adnan" userId="503e002c-9b3b-4180-87fb-acabeb2b158a" providerId="ADAL" clId="{5C2CD6D4-C7A9-4CEF-AA9C-BC2977F70622}" dt="2024-02-23T19:05:03.519" v="73062"/>
          <ac:spMkLst>
            <pc:docMk/>
            <pc:sldMk cId="3103856749" sldId="2147483621"/>
            <ac:spMk id="46" creationId="{E0C8F4D1-BF6A-AE86-B603-A97171603F63}"/>
          </ac:spMkLst>
        </pc:spChg>
        <pc:spChg chg="mod ord">
          <ac:chgData name="Abdi, Adnan" userId="503e002c-9b3b-4180-87fb-acabeb2b158a" providerId="ADAL" clId="{5C2CD6D4-C7A9-4CEF-AA9C-BC2977F70622}" dt="2024-02-23T19:05:03.520" v="73064"/>
          <ac:spMkLst>
            <pc:docMk/>
            <pc:sldMk cId="3103856749" sldId="2147483621"/>
            <ac:spMk id="47" creationId="{67C14584-D255-2353-AE8E-B5BE82BE5CD6}"/>
          </ac:spMkLst>
        </pc:spChg>
        <pc:spChg chg="mod ord">
          <ac:chgData name="Abdi, Adnan" userId="503e002c-9b3b-4180-87fb-acabeb2b158a" providerId="ADAL" clId="{5C2CD6D4-C7A9-4CEF-AA9C-BC2977F70622}" dt="2024-02-23T19:05:03.521" v="73066"/>
          <ac:spMkLst>
            <pc:docMk/>
            <pc:sldMk cId="3103856749" sldId="2147483621"/>
            <ac:spMk id="48" creationId="{AE71FF3B-A6A3-A358-A012-A70511E4B77B}"/>
          </ac:spMkLst>
        </pc:spChg>
        <pc:spChg chg="mod ord">
          <ac:chgData name="Abdi, Adnan" userId="503e002c-9b3b-4180-87fb-acabeb2b158a" providerId="ADAL" clId="{5C2CD6D4-C7A9-4CEF-AA9C-BC2977F70622}" dt="2024-02-23T19:05:03.522" v="73068"/>
          <ac:spMkLst>
            <pc:docMk/>
            <pc:sldMk cId="3103856749" sldId="2147483621"/>
            <ac:spMk id="49" creationId="{A2011173-4073-1364-AB99-9C1F71630D89}"/>
          </ac:spMkLst>
        </pc:spChg>
        <pc:spChg chg="mod ord">
          <ac:chgData name="Abdi, Adnan" userId="503e002c-9b3b-4180-87fb-acabeb2b158a" providerId="ADAL" clId="{5C2CD6D4-C7A9-4CEF-AA9C-BC2977F70622}" dt="2024-02-23T19:05:03.523" v="73070"/>
          <ac:spMkLst>
            <pc:docMk/>
            <pc:sldMk cId="3103856749" sldId="2147483621"/>
            <ac:spMk id="50" creationId="{0648BAF4-8FFF-2ABB-24C2-ACDC3CDA9E9B}"/>
          </ac:spMkLst>
        </pc:spChg>
        <pc:spChg chg="mod ord">
          <ac:chgData name="Abdi, Adnan" userId="503e002c-9b3b-4180-87fb-acabeb2b158a" providerId="ADAL" clId="{5C2CD6D4-C7A9-4CEF-AA9C-BC2977F70622}" dt="2024-02-23T19:05:03.524" v="73072"/>
          <ac:spMkLst>
            <pc:docMk/>
            <pc:sldMk cId="3103856749" sldId="2147483621"/>
            <ac:spMk id="51" creationId="{91C02490-4429-2FDB-0C02-29CBD6ABFB9A}"/>
          </ac:spMkLst>
        </pc:spChg>
        <pc:spChg chg="mod ord">
          <ac:chgData name="Abdi, Adnan" userId="503e002c-9b3b-4180-87fb-acabeb2b158a" providerId="ADAL" clId="{5C2CD6D4-C7A9-4CEF-AA9C-BC2977F70622}" dt="2024-02-23T19:05:03.525" v="73074"/>
          <ac:spMkLst>
            <pc:docMk/>
            <pc:sldMk cId="3103856749" sldId="2147483621"/>
            <ac:spMk id="52" creationId="{8BB4BDC5-CDF1-9FC1-CA83-8BC8F0553DD6}"/>
          </ac:spMkLst>
        </pc:spChg>
        <pc:spChg chg="mod">
          <ac:chgData name="Abdi, Adnan" userId="503e002c-9b3b-4180-87fb-acabeb2b158a" providerId="ADAL" clId="{5C2CD6D4-C7A9-4CEF-AA9C-BC2977F70622}" dt="2024-02-23T19:05:03.526" v="73075"/>
          <ac:spMkLst>
            <pc:docMk/>
            <pc:sldMk cId="3103856749" sldId="2147483621"/>
            <ac:spMk id="53" creationId="{E52486E8-3A13-5DE8-61E9-9ED900BA5D4E}"/>
          </ac:spMkLst>
        </pc:spChg>
        <pc:spChg chg="mod">
          <ac:chgData name="Abdi, Adnan" userId="503e002c-9b3b-4180-87fb-acabeb2b158a" providerId="ADAL" clId="{5C2CD6D4-C7A9-4CEF-AA9C-BC2977F70622}" dt="2024-02-23T19:05:03.526" v="73076"/>
          <ac:spMkLst>
            <pc:docMk/>
            <pc:sldMk cId="3103856749" sldId="2147483621"/>
            <ac:spMk id="54" creationId="{488FCF46-7EE0-68A5-7F7A-BB5340A048FD}"/>
          </ac:spMkLst>
        </pc:spChg>
        <pc:spChg chg="mod">
          <ac:chgData name="Abdi, Adnan" userId="503e002c-9b3b-4180-87fb-acabeb2b158a" providerId="ADAL" clId="{5C2CD6D4-C7A9-4CEF-AA9C-BC2977F70622}" dt="2024-02-23T19:05:03.527" v="73077"/>
          <ac:spMkLst>
            <pc:docMk/>
            <pc:sldMk cId="3103856749" sldId="2147483621"/>
            <ac:spMk id="55" creationId="{D6BF1236-7915-54E0-7C33-929D0379B7DB}"/>
          </ac:spMkLst>
        </pc:spChg>
        <pc:graphicFrameChg chg="add mod replST">
          <ac:chgData name="Abdi, Adnan" userId="503e002c-9b3b-4180-87fb-acabeb2b158a" providerId="ADAL" clId="{5C2CD6D4-C7A9-4CEF-AA9C-BC2977F70622}" dt="2024-02-23T19:05:03.483" v="73003"/>
          <ac:graphicFrameMkLst>
            <pc:docMk/>
            <pc:sldMk cId="3103856749" sldId="2147483621"/>
            <ac:graphicFrameMk id="5" creationId="{057479DE-B8DE-1112-54C0-06BD0322918F}"/>
          </ac:graphicFrameMkLst>
        </pc:graphicFrameChg>
        <pc:graphicFrameChg chg="mod ord modGraphic">
          <ac:chgData name="Abdi, Adnan" userId="503e002c-9b3b-4180-87fb-acabeb2b158a" providerId="ADAL" clId="{5C2CD6D4-C7A9-4CEF-AA9C-BC2977F70622}" dt="2024-02-23T19:05:03.480" v="72998"/>
          <ac:graphicFrameMkLst>
            <pc:docMk/>
            <pc:sldMk cId="3103856749" sldId="2147483621"/>
            <ac:graphicFrameMk id="9" creationId="{8DED4956-6027-EA3D-52B0-1344BC7B73FE}"/>
          </ac:graphicFrameMkLst>
        </pc:graphicFrameChg>
        <pc:graphicFrameChg chg="mod">
          <ac:chgData name="Abdi, Adnan" userId="503e002c-9b3b-4180-87fb-acabeb2b158a" providerId="ADAL" clId="{5C2CD6D4-C7A9-4CEF-AA9C-BC2977F70622}" dt="2024-02-23T19:05:03.541" v="73085"/>
          <ac:graphicFrameMkLst>
            <pc:docMk/>
            <pc:sldMk cId="3103856749" sldId="2147483621"/>
            <ac:graphicFrameMk id="57" creationId="{745B1105-B840-B99A-7C1D-6569D6060CCD}"/>
          </ac:graphicFrameMkLst>
        </pc:graphicFrameChg>
        <pc:graphicFrameChg chg="del">
          <ac:chgData name="Abdi, Adnan" userId="503e002c-9b3b-4180-87fb-acabeb2b158a" providerId="ADAL" clId="{5C2CD6D4-C7A9-4CEF-AA9C-BC2977F70622}" dt="2024-02-23T19:05:03.416" v="72982"/>
          <ac:graphicFrameMkLst>
            <pc:docMk/>
            <pc:sldMk cId="3103856749" sldId="2147483621"/>
            <ac:graphicFrameMk id="85" creationId="{EE722E80-DD14-10D8-69F4-B85D374D014A}"/>
          </ac:graphicFrameMkLst>
        </pc:graphicFrameChg>
        <pc:cxnChg chg="mod ord">
          <ac:chgData name="Abdi, Adnan" userId="503e002c-9b3b-4180-87fb-acabeb2b158a" providerId="ADAL" clId="{5C2CD6D4-C7A9-4CEF-AA9C-BC2977F70622}" dt="2024-02-23T19:05:03.528" v="73079"/>
          <ac:cxnSpMkLst>
            <pc:docMk/>
            <pc:sldMk cId="3103856749" sldId="2147483621"/>
            <ac:cxnSpMk id="72" creationId="{1194051A-5FB9-E3C6-B0BD-A96098D48CEF}"/>
          </ac:cxnSpMkLst>
        </pc:cxnChg>
        <pc:cxnChg chg="mod ord">
          <ac:chgData name="Abdi, Adnan" userId="503e002c-9b3b-4180-87fb-acabeb2b158a" providerId="ADAL" clId="{5C2CD6D4-C7A9-4CEF-AA9C-BC2977F70622}" dt="2024-02-23T19:05:03.528" v="73081"/>
          <ac:cxnSpMkLst>
            <pc:docMk/>
            <pc:sldMk cId="3103856749" sldId="2147483621"/>
            <ac:cxnSpMk id="73" creationId="{885899E0-700B-BD20-6865-A99FEA4B64F0}"/>
          </ac:cxnSpMkLst>
        </pc:cxnChg>
      </pc:sldChg>
      <pc:sldMasterChg chg="delSp modSp mod modSldLayout">
        <pc:chgData name="Abdi, Adnan" userId="503e002c-9b3b-4180-87fb-acabeb2b158a" providerId="ADAL" clId="{5C2CD6D4-C7A9-4CEF-AA9C-BC2977F70622}" dt="2024-02-20T12:53:05.100" v="20650"/>
        <pc:sldMasterMkLst>
          <pc:docMk/>
          <pc:sldMasterMk cId="729942253" sldId="2147483648"/>
        </pc:sldMasterMkLst>
        <pc:spChg chg="del mod modVis">
          <ac:chgData name="Abdi, Adnan" userId="503e002c-9b3b-4180-87fb-acabeb2b158a" providerId="ADAL" clId="{5C2CD6D4-C7A9-4CEF-AA9C-BC2977F70622}" dt="2024-02-20T12:53:04.300" v="20445" actId="478"/>
          <ac:spMkLst>
            <pc:docMk/>
            <pc:sldMasterMk cId="729942253" sldId="2147483648"/>
            <ac:spMk id="2" creationId="{9B514143-2AEF-4C05-791B-A90B6FF8F33B}"/>
          </ac:spMkLst>
        </pc:spChg>
        <pc:spChg chg="mod">
          <ac:chgData name="Abdi, Adnan" userId="503e002c-9b3b-4180-87fb-acabeb2b158a" providerId="ADAL" clId="{5C2CD6D4-C7A9-4CEF-AA9C-BC2977F70622}" dt="2024-02-20T12:52:58.213" v="17050" actId="790"/>
          <ac:spMkLst>
            <pc:docMk/>
            <pc:sldMasterMk cId="729942253" sldId="2147483648"/>
            <ac:spMk id="7" creationId="{00000000-0000-0000-0000-000000000000}"/>
          </ac:spMkLst>
        </pc:spChg>
        <pc:spChg chg="mod">
          <ac:chgData name="Abdi, Adnan" userId="503e002c-9b3b-4180-87fb-acabeb2b158a" providerId="ADAL" clId="{5C2CD6D4-C7A9-4CEF-AA9C-BC2977F70622}" dt="2024-02-20T12:52:58.229" v="17051" actId="790"/>
          <ac:spMkLst>
            <pc:docMk/>
            <pc:sldMasterMk cId="729942253" sldId="2147483648"/>
            <ac:spMk id="8" creationId="{00000000-0000-0000-0000-000000000000}"/>
          </ac:spMkLst>
        </pc:spChg>
        <pc:spChg chg="mod">
          <ac:chgData name="Abdi, Adnan" userId="503e002c-9b3b-4180-87fb-acabeb2b158a" providerId="ADAL" clId="{5C2CD6D4-C7A9-4CEF-AA9C-BC2977F70622}" dt="2024-02-20T12:52:58.245" v="17054" actId="790"/>
          <ac:spMkLst>
            <pc:docMk/>
            <pc:sldMasterMk cId="729942253" sldId="2147483648"/>
            <ac:spMk id="13" creationId="{00000000-0000-0000-0000-000000000000}"/>
          </ac:spMkLst>
        </pc:spChg>
        <pc:spChg chg="mod">
          <ac:chgData name="Abdi, Adnan" userId="503e002c-9b3b-4180-87fb-acabeb2b158a" providerId="ADAL" clId="{5C2CD6D4-C7A9-4CEF-AA9C-BC2977F70622}" dt="2024-02-20T12:52:58.229" v="17052" actId="790"/>
          <ac:spMkLst>
            <pc:docMk/>
            <pc:sldMasterMk cId="729942253" sldId="2147483648"/>
            <ac:spMk id="26" creationId="{00000000-0000-0000-0000-000000000000}"/>
          </ac:spMkLst>
        </pc:spChg>
        <pc:spChg chg="mod">
          <ac:chgData name="Abdi, Adnan" userId="503e002c-9b3b-4180-87fb-acabeb2b158a" providerId="ADAL" clId="{5C2CD6D4-C7A9-4CEF-AA9C-BC2977F70622}" dt="2024-02-20T12:53:02.304" v="19274" actId="948"/>
          <ac:spMkLst>
            <pc:docMk/>
            <pc:sldMasterMk cId="729942253" sldId="2147483648"/>
            <ac:spMk id="27" creationId="{00000000-0000-0000-0000-000000000000}"/>
          </ac:spMkLst>
        </pc:spChg>
        <pc:graphicFrameChg chg="mod">
          <ac:chgData name="Abdi, Adnan" userId="503e002c-9b3b-4180-87fb-acabeb2b158a" providerId="ADAL" clId="{5C2CD6D4-C7A9-4CEF-AA9C-BC2977F70622}" dt="2024-02-20T12:53:04.316" v="20446" actId="1076"/>
          <ac:graphicFrameMkLst>
            <pc:docMk/>
            <pc:sldMasterMk cId="729942253" sldId="2147483648"/>
            <ac:graphicFrameMk id="3" creationId="{1FFB956D-309A-DEDC-14B0-E2ABE8923BFE}"/>
          </ac:graphicFrameMkLst>
        </pc:graphicFrameChg>
        <pc:sldLayoutChg chg="modSp mod">
          <pc:chgData name="Abdi, Adnan" userId="503e002c-9b3b-4180-87fb-acabeb2b158a" providerId="ADAL" clId="{5C2CD6D4-C7A9-4CEF-AA9C-BC2977F70622}" dt="2024-02-20T12:53:04.371" v="20460"/>
          <pc:sldLayoutMkLst>
            <pc:docMk/>
            <pc:sldMasterMk cId="729942253" sldId="2147483648"/>
            <pc:sldLayoutMk cId="456958868" sldId="2147483664"/>
          </pc:sldLayoutMkLst>
          <pc:spChg chg="mod">
            <ac:chgData name="Abdi, Adnan" userId="503e002c-9b3b-4180-87fb-acabeb2b158a" providerId="ADAL" clId="{5C2CD6D4-C7A9-4CEF-AA9C-BC2977F70622}" dt="2024-02-20T12:52:58.263" v="17059" actId="790"/>
            <ac:spMkLst>
              <pc:docMk/>
              <pc:sldMasterMk cId="729942253" sldId="2147483648"/>
              <pc:sldLayoutMk cId="456958868" sldId="2147483664"/>
              <ac:spMk id="9" creationId="{00000000-0000-0000-0000-000000000000}"/>
            </ac:spMkLst>
          </pc:spChg>
          <pc:spChg chg="mod">
            <ac:chgData name="Abdi, Adnan" userId="503e002c-9b3b-4180-87fb-acabeb2b158a" providerId="ADAL" clId="{5C2CD6D4-C7A9-4CEF-AA9C-BC2977F70622}" dt="2024-02-20T12:52:58.263" v="17060" actId="790"/>
            <ac:spMkLst>
              <pc:docMk/>
              <pc:sldMasterMk cId="729942253" sldId="2147483648"/>
              <pc:sldLayoutMk cId="456958868" sldId="2147483664"/>
              <ac:spMk id="10" creationId="{00000000-0000-0000-0000-000000000000}"/>
            </ac:spMkLst>
          </pc:spChg>
          <pc:spChg chg="mod">
            <ac:chgData name="Abdi, Adnan" userId="503e002c-9b3b-4180-87fb-acabeb2b158a" providerId="ADAL" clId="{5C2CD6D4-C7A9-4CEF-AA9C-BC2977F70622}" dt="2024-02-20T12:52:58.263" v="17061" actId="790"/>
            <ac:spMkLst>
              <pc:docMk/>
              <pc:sldMasterMk cId="729942253" sldId="2147483648"/>
              <pc:sldLayoutMk cId="456958868" sldId="2147483664"/>
              <ac:spMk id="12" creationId="{00000000-0000-0000-0000-000000000000}"/>
            </ac:spMkLst>
          </pc:spChg>
          <pc:spChg chg="mod">
            <ac:chgData name="Abdi, Adnan" userId="503e002c-9b3b-4180-87fb-acabeb2b158a" providerId="ADAL" clId="{5C2CD6D4-C7A9-4CEF-AA9C-BC2977F70622}" dt="2024-02-20T12:52:58.263" v="17062" actId="790"/>
            <ac:spMkLst>
              <pc:docMk/>
              <pc:sldMasterMk cId="729942253" sldId="2147483648"/>
              <pc:sldLayoutMk cId="456958868" sldId="2147483664"/>
              <ac:spMk id="14" creationId="{00000000-0000-0000-0000-000000000000}"/>
            </ac:spMkLst>
          </pc:spChg>
          <pc:graphicFrameChg chg="mod ord modVis replST">
            <ac:chgData name="Abdi, Adnan" userId="503e002c-9b3b-4180-87fb-acabeb2b158a" providerId="ADAL" clId="{5C2CD6D4-C7A9-4CEF-AA9C-BC2977F70622}" dt="2024-02-20T12:53:04.371" v="20460"/>
            <ac:graphicFrameMkLst>
              <pc:docMk/>
              <pc:sldMasterMk cId="729942253" sldId="2147483648"/>
              <pc:sldLayoutMk cId="456958868" sldId="2147483664"/>
              <ac:graphicFrameMk id="2" creationId="{2C1A753B-C458-DF53-F012-D2C499DB27ED}"/>
            </ac:graphicFrameMkLst>
          </pc:graphicFrameChg>
        </pc:sldLayoutChg>
        <pc:sldLayoutChg chg="modSp mod">
          <pc:chgData name="Abdi, Adnan" userId="503e002c-9b3b-4180-87fb-acabeb2b158a" providerId="ADAL" clId="{5C2CD6D4-C7A9-4CEF-AA9C-BC2977F70622}" dt="2024-02-20T12:53:04.415" v="20474"/>
          <pc:sldLayoutMkLst>
            <pc:docMk/>
            <pc:sldMasterMk cId="729942253" sldId="2147483648"/>
            <pc:sldLayoutMk cId="1747701072" sldId="2147483665"/>
          </pc:sldLayoutMkLst>
          <pc:spChg chg="mod">
            <ac:chgData name="Abdi, Adnan" userId="503e002c-9b3b-4180-87fb-acabeb2b158a" providerId="ADAL" clId="{5C2CD6D4-C7A9-4CEF-AA9C-BC2977F70622}" dt="2024-02-20T12:52:58.297" v="17068" actId="790"/>
            <ac:spMkLst>
              <pc:docMk/>
              <pc:sldMasterMk cId="729942253" sldId="2147483648"/>
              <pc:sldLayoutMk cId="1747701072" sldId="2147483665"/>
              <ac:spMk id="10" creationId="{00000000-0000-0000-0000-000000000000}"/>
            </ac:spMkLst>
          </pc:spChg>
          <pc:spChg chg="mod">
            <ac:chgData name="Abdi, Adnan" userId="503e002c-9b3b-4180-87fb-acabeb2b158a" providerId="ADAL" clId="{5C2CD6D4-C7A9-4CEF-AA9C-BC2977F70622}" dt="2024-02-20T12:52:58.300" v="17069" actId="790"/>
            <ac:spMkLst>
              <pc:docMk/>
              <pc:sldMasterMk cId="729942253" sldId="2147483648"/>
              <pc:sldLayoutMk cId="1747701072" sldId="2147483665"/>
              <ac:spMk id="12" creationId="{00000000-0000-0000-0000-000000000000}"/>
            </ac:spMkLst>
          </pc:spChg>
          <pc:spChg chg="mod">
            <ac:chgData name="Abdi, Adnan" userId="503e002c-9b3b-4180-87fb-acabeb2b158a" providerId="ADAL" clId="{5C2CD6D4-C7A9-4CEF-AA9C-BC2977F70622}" dt="2024-02-20T12:52:58.304" v="17070" actId="790"/>
            <ac:spMkLst>
              <pc:docMk/>
              <pc:sldMasterMk cId="729942253" sldId="2147483648"/>
              <pc:sldLayoutMk cId="1747701072" sldId="2147483665"/>
              <ac:spMk id="14" creationId="{00000000-0000-0000-0000-000000000000}"/>
            </ac:spMkLst>
          </pc:spChg>
          <pc:spChg chg="mod">
            <ac:chgData name="Abdi, Adnan" userId="503e002c-9b3b-4180-87fb-acabeb2b158a" providerId="ADAL" clId="{5C2CD6D4-C7A9-4CEF-AA9C-BC2977F70622}" dt="2024-02-20T12:52:58.307" v="17071" actId="790"/>
            <ac:spMkLst>
              <pc:docMk/>
              <pc:sldMasterMk cId="729942253" sldId="2147483648"/>
              <pc:sldLayoutMk cId="1747701072" sldId="2147483665"/>
              <ac:spMk id="15" creationId="{00000000-0000-0000-0000-000000000000}"/>
            </ac:spMkLst>
          </pc:spChg>
          <pc:graphicFrameChg chg="mod ord modVis replST">
            <ac:chgData name="Abdi, Adnan" userId="503e002c-9b3b-4180-87fb-acabeb2b158a" providerId="ADAL" clId="{5C2CD6D4-C7A9-4CEF-AA9C-BC2977F70622}" dt="2024-02-20T12:53:04.415" v="20474"/>
            <ac:graphicFrameMkLst>
              <pc:docMk/>
              <pc:sldMasterMk cId="729942253" sldId="2147483648"/>
              <pc:sldLayoutMk cId="1747701072" sldId="2147483665"/>
              <ac:graphicFrameMk id="2" creationId="{8D5B8126-8D85-378E-5A34-30F7BAF80434}"/>
            </ac:graphicFrameMkLst>
          </pc:graphicFrameChg>
        </pc:sldLayoutChg>
        <pc:sldLayoutChg chg="modSp mod">
          <pc:chgData name="Abdi, Adnan" userId="503e002c-9b3b-4180-87fb-acabeb2b158a" providerId="ADAL" clId="{5C2CD6D4-C7A9-4CEF-AA9C-BC2977F70622}" dt="2024-02-20T12:53:04.481" v="20488"/>
          <pc:sldLayoutMkLst>
            <pc:docMk/>
            <pc:sldMasterMk cId="729942253" sldId="2147483648"/>
            <pc:sldLayoutMk cId="4062311651" sldId="2147483666"/>
          </pc:sldLayoutMkLst>
          <pc:spChg chg="mod">
            <ac:chgData name="Abdi, Adnan" userId="503e002c-9b3b-4180-87fb-acabeb2b158a" providerId="ADAL" clId="{5C2CD6D4-C7A9-4CEF-AA9C-BC2977F70622}" dt="2024-02-20T12:52:58.329" v="17077" actId="790"/>
            <ac:spMkLst>
              <pc:docMk/>
              <pc:sldMasterMk cId="729942253" sldId="2147483648"/>
              <pc:sldLayoutMk cId="4062311651" sldId="2147483666"/>
              <ac:spMk id="10" creationId="{00000000-0000-0000-0000-000000000000}"/>
            </ac:spMkLst>
          </pc:spChg>
          <pc:spChg chg="mod">
            <ac:chgData name="Abdi, Adnan" userId="503e002c-9b3b-4180-87fb-acabeb2b158a" providerId="ADAL" clId="{5C2CD6D4-C7A9-4CEF-AA9C-BC2977F70622}" dt="2024-02-20T12:52:58.332" v="17078" actId="790"/>
            <ac:spMkLst>
              <pc:docMk/>
              <pc:sldMasterMk cId="729942253" sldId="2147483648"/>
              <pc:sldLayoutMk cId="4062311651" sldId="2147483666"/>
              <ac:spMk id="12" creationId="{00000000-0000-0000-0000-000000000000}"/>
            </ac:spMkLst>
          </pc:spChg>
          <pc:spChg chg="mod">
            <ac:chgData name="Abdi, Adnan" userId="503e002c-9b3b-4180-87fb-acabeb2b158a" providerId="ADAL" clId="{5C2CD6D4-C7A9-4CEF-AA9C-BC2977F70622}" dt="2024-02-20T12:52:58.333" v="17079" actId="790"/>
            <ac:spMkLst>
              <pc:docMk/>
              <pc:sldMasterMk cId="729942253" sldId="2147483648"/>
              <pc:sldLayoutMk cId="4062311651" sldId="2147483666"/>
              <ac:spMk id="14" creationId="{00000000-0000-0000-0000-000000000000}"/>
            </ac:spMkLst>
          </pc:spChg>
          <pc:spChg chg="mod">
            <ac:chgData name="Abdi, Adnan" userId="503e002c-9b3b-4180-87fb-acabeb2b158a" providerId="ADAL" clId="{5C2CD6D4-C7A9-4CEF-AA9C-BC2977F70622}" dt="2024-02-20T12:52:58.333" v="17080" actId="790"/>
            <ac:spMkLst>
              <pc:docMk/>
              <pc:sldMasterMk cId="729942253" sldId="2147483648"/>
              <pc:sldLayoutMk cId="4062311651" sldId="2147483666"/>
              <ac:spMk id="15" creationId="{00000000-0000-0000-0000-000000000000}"/>
            </ac:spMkLst>
          </pc:spChg>
          <pc:graphicFrameChg chg="mod ord modVis replST">
            <ac:chgData name="Abdi, Adnan" userId="503e002c-9b3b-4180-87fb-acabeb2b158a" providerId="ADAL" clId="{5C2CD6D4-C7A9-4CEF-AA9C-BC2977F70622}" dt="2024-02-20T12:53:04.481" v="20488"/>
            <ac:graphicFrameMkLst>
              <pc:docMk/>
              <pc:sldMasterMk cId="729942253" sldId="2147483648"/>
              <pc:sldLayoutMk cId="4062311651" sldId="2147483666"/>
              <ac:graphicFrameMk id="2" creationId="{488925EC-9F46-508F-F0AA-A64AA382DC44}"/>
            </ac:graphicFrameMkLst>
          </pc:graphicFrameChg>
        </pc:sldLayoutChg>
        <pc:sldLayoutChg chg="modSp mod">
          <pc:chgData name="Abdi, Adnan" userId="503e002c-9b3b-4180-87fb-acabeb2b158a" providerId="ADAL" clId="{5C2CD6D4-C7A9-4CEF-AA9C-BC2977F70622}" dt="2024-02-20T12:53:04.547" v="20509"/>
          <pc:sldLayoutMkLst>
            <pc:docMk/>
            <pc:sldMasterMk cId="729942253" sldId="2147483648"/>
            <pc:sldLayoutMk cId="330501944" sldId="2147483667"/>
          </pc:sldLayoutMkLst>
          <pc:spChg chg="mod">
            <ac:chgData name="Abdi, Adnan" userId="503e002c-9b3b-4180-87fb-acabeb2b158a" providerId="ADAL" clId="{5C2CD6D4-C7A9-4CEF-AA9C-BC2977F70622}" dt="2024-02-20T12:52:58.387" v="17091" actId="790"/>
            <ac:spMkLst>
              <pc:docMk/>
              <pc:sldMasterMk cId="729942253" sldId="2147483648"/>
              <pc:sldLayoutMk cId="330501944" sldId="2147483667"/>
              <ac:spMk id="10" creationId="{00000000-0000-0000-0000-000000000000}"/>
            </ac:spMkLst>
          </pc:spChg>
          <pc:spChg chg="mod">
            <ac:chgData name="Abdi, Adnan" userId="503e002c-9b3b-4180-87fb-acabeb2b158a" providerId="ADAL" clId="{5C2CD6D4-C7A9-4CEF-AA9C-BC2977F70622}" dt="2024-02-20T12:52:58.391" v="17092" actId="790"/>
            <ac:spMkLst>
              <pc:docMk/>
              <pc:sldMasterMk cId="729942253" sldId="2147483648"/>
              <pc:sldLayoutMk cId="330501944" sldId="2147483667"/>
              <ac:spMk id="12" creationId="{00000000-0000-0000-0000-000000000000}"/>
            </ac:spMkLst>
          </pc:spChg>
          <pc:spChg chg="mod">
            <ac:chgData name="Abdi, Adnan" userId="503e002c-9b3b-4180-87fb-acabeb2b158a" providerId="ADAL" clId="{5C2CD6D4-C7A9-4CEF-AA9C-BC2977F70622}" dt="2024-02-20T12:52:58.393" v="17093" actId="790"/>
            <ac:spMkLst>
              <pc:docMk/>
              <pc:sldMasterMk cId="729942253" sldId="2147483648"/>
              <pc:sldLayoutMk cId="330501944" sldId="2147483667"/>
              <ac:spMk id="14" creationId="{00000000-0000-0000-0000-000000000000}"/>
            </ac:spMkLst>
          </pc:spChg>
          <pc:spChg chg="mod">
            <ac:chgData name="Abdi, Adnan" userId="503e002c-9b3b-4180-87fb-acabeb2b158a" providerId="ADAL" clId="{5C2CD6D4-C7A9-4CEF-AA9C-BC2977F70622}" dt="2024-02-20T12:52:58.396" v="17094" actId="790"/>
            <ac:spMkLst>
              <pc:docMk/>
              <pc:sldMasterMk cId="729942253" sldId="2147483648"/>
              <pc:sldLayoutMk cId="330501944" sldId="2147483667"/>
              <ac:spMk id="15" creationId="{00000000-0000-0000-0000-000000000000}"/>
            </ac:spMkLst>
          </pc:spChg>
          <pc:graphicFrameChg chg="mod ord modVis replST">
            <ac:chgData name="Abdi, Adnan" userId="503e002c-9b3b-4180-87fb-acabeb2b158a" providerId="ADAL" clId="{5C2CD6D4-C7A9-4CEF-AA9C-BC2977F70622}" dt="2024-02-20T12:53:04.547" v="20509"/>
            <ac:graphicFrameMkLst>
              <pc:docMk/>
              <pc:sldMasterMk cId="729942253" sldId="2147483648"/>
              <pc:sldLayoutMk cId="330501944" sldId="2147483667"/>
              <ac:graphicFrameMk id="2" creationId="{01433024-3247-E555-48C2-C45CE9F44EFD}"/>
            </ac:graphicFrameMkLst>
          </pc:graphicFrameChg>
        </pc:sldLayoutChg>
        <pc:sldLayoutChg chg="modSp mod">
          <pc:chgData name="Abdi, Adnan" userId="503e002c-9b3b-4180-87fb-acabeb2b158a" providerId="ADAL" clId="{5C2CD6D4-C7A9-4CEF-AA9C-BC2977F70622}" dt="2024-02-20T12:53:04.587" v="20516"/>
          <pc:sldLayoutMkLst>
            <pc:docMk/>
            <pc:sldMasterMk cId="729942253" sldId="2147483648"/>
            <pc:sldLayoutMk cId="2080886621" sldId="2147483668"/>
          </pc:sldLayoutMkLst>
          <pc:spChg chg="mod">
            <ac:chgData name="Abdi, Adnan" userId="503e002c-9b3b-4180-87fb-acabeb2b158a" providerId="ADAL" clId="{5C2CD6D4-C7A9-4CEF-AA9C-BC2977F70622}" dt="2024-02-20T12:52:58.400" v="17095" actId="790"/>
            <ac:spMkLst>
              <pc:docMk/>
              <pc:sldMasterMk cId="729942253" sldId="2147483648"/>
              <pc:sldLayoutMk cId="2080886621" sldId="2147483668"/>
              <ac:spMk id="14" creationId="{00000000-0000-0000-0000-000000000000}"/>
            </ac:spMkLst>
          </pc:spChg>
          <pc:spChg chg="mod">
            <ac:chgData name="Abdi, Adnan" userId="503e002c-9b3b-4180-87fb-acabeb2b158a" providerId="ADAL" clId="{5C2CD6D4-C7A9-4CEF-AA9C-BC2977F70622}" dt="2024-02-20T12:52:58.402" v="17096" actId="790"/>
            <ac:spMkLst>
              <pc:docMk/>
              <pc:sldMasterMk cId="729942253" sldId="2147483648"/>
              <pc:sldLayoutMk cId="2080886621" sldId="2147483668"/>
              <ac:spMk id="15" creationId="{00000000-0000-0000-0000-000000000000}"/>
            </ac:spMkLst>
          </pc:spChg>
          <pc:spChg chg="mod">
            <ac:chgData name="Abdi, Adnan" userId="503e002c-9b3b-4180-87fb-acabeb2b158a" providerId="ADAL" clId="{5C2CD6D4-C7A9-4CEF-AA9C-BC2977F70622}" dt="2024-02-20T12:52:58.405" v="17097" actId="790"/>
            <ac:spMkLst>
              <pc:docMk/>
              <pc:sldMasterMk cId="729942253" sldId="2147483648"/>
              <pc:sldLayoutMk cId="2080886621" sldId="2147483668"/>
              <ac:spMk id="17" creationId="{00000000-0000-0000-0000-000000000000}"/>
            </ac:spMkLst>
          </pc:spChg>
          <pc:spChg chg="mod">
            <ac:chgData name="Abdi, Adnan" userId="503e002c-9b3b-4180-87fb-acabeb2b158a" providerId="ADAL" clId="{5C2CD6D4-C7A9-4CEF-AA9C-BC2977F70622}" dt="2024-02-20T12:52:58.407" v="17098" actId="790"/>
            <ac:spMkLst>
              <pc:docMk/>
              <pc:sldMasterMk cId="729942253" sldId="2147483648"/>
              <pc:sldLayoutMk cId="2080886621" sldId="2147483668"/>
              <ac:spMk id="18" creationId="{00000000-0000-0000-0000-000000000000}"/>
            </ac:spMkLst>
          </pc:spChg>
          <pc:graphicFrameChg chg="mod ord modVis replST">
            <ac:chgData name="Abdi, Adnan" userId="503e002c-9b3b-4180-87fb-acabeb2b158a" providerId="ADAL" clId="{5C2CD6D4-C7A9-4CEF-AA9C-BC2977F70622}" dt="2024-02-20T12:53:04.587" v="20516"/>
            <ac:graphicFrameMkLst>
              <pc:docMk/>
              <pc:sldMasterMk cId="729942253" sldId="2147483648"/>
              <pc:sldLayoutMk cId="2080886621" sldId="2147483668"/>
              <ac:graphicFrameMk id="2" creationId="{D1C4763D-9549-1D53-8C2F-59ED4E9AE26F}"/>
            </ac:graphicFrameMkLst>
          </pc:graphicFrameChg>
        </pc:sldLayoutChg>
        <pc:sldLayoutChg chg="modSp mod">
          <pc:chgData name="Abdi, Adnan" userId="503e002c-9b3b-4180-87fb-acabeb2b158a" providerId="ADAL" clId="{5C2CD6D4-C7A9-4CEF-AA9C-BC2977F70622}" dt="2024-02-20T12:53:04.631" v="20530"/>
          <pc:sldLayoutMkLst>
            <pc:docMk/>
            <pc:sldMasterMk cId="729942253" sldId="2147483648"/>
            <pc:sldLayoutMk cId="641818466" sldId="2147483669"/>
          </pc:sldLayoutMkLst>
          <pc:spChg chg="mod">
            <ac:chgData name="Abdi, Adnan" userId="503e002c-9b3b-4180-87fb-acabeb2b158a" providerId="ADAL" clId="{5C2CD6D4-C7A9-4CEF-AA9C-BC2977F70622}" dt="2024-02-20T12:52:58.414" v="17104" actId="790"/>
            <ac:spMkLst>
              <pc:docMk/>
              <pc:sldMasterMk cId="729942253" sldId="2147483648"/>
              <pc:sldLayoutMk cId="641818466" sldId="2147483669"/>
              <ac:spMk id="10" creationId="{00000000-0000-0000-0000-000000000000}"/>
            </ac:spMkLst>
          </pc:spChg>
          <pc:spChg chg="mod">
            <ac:chgData name="Abdi, Adnan" userId="503e002c-9b3b-4180-87fb-acabeb2b158a" providerId="ADAL" clId="{5C2CD6D4-C7A9-4CEF-AA9C-BC2977F70622}" dt="2024-02-20T12:52:58.414" v="17105" actId="790"/>
            <ac:spMkLst>
              <pc:docMk/>
              <pc:sldMasterMk cId="729942253" sldId="2147483648"/>
              <pc:sldLayoutMk cId="641818466" sldId="2147483669"/>
              <ac:spMk id="12" creationId="{00000000-0000-0000-0000-000000000000}"/>
            </ac:spMkLst>
          </pc:spChg>
          <pc:spChg chg="mod">
            <ac:chgData name="Abdi, Adnan" userId="503e002c-9b3b-4180-87fb-acabeb2b158a" providerId="ADAL" clId="{5C2CD6D4-C7A9-4CEF-AA9C-BC2977F70622}" dt="2024-02-20T12:52:58.429" v="17106" actId="790"/>
            <ac:spMkLst>
              <pc:docMk/>
              <pc:sldMasterMk cId="729942253" sldId="2147483648"/>
              <pc:sldLayoutMk cId="641818466" sldId="2147483669"/>
              <ac:spMk id="14" creationId="{00000000-0000-0000-0000-000000000000}"/>
            </ac:spMkLst>
          </pc:spChg>
          <pc:spChg chg="mod">
            <ac:chgData name="Abdi, Adnan" userId="503e002c-9b3b-4180-87fb-acabeb2b158a" providerId="ADAL" clId="{5C2CD6D4-C7A9-4CEF-AA9C-BC2977F70622}" dt="2024-02-20T12:52:58.429" v="17107" actId="790"/>
            <ac:spMkLst>
              <pc:docMk/>
              <pc:sldMasterMk cId="729942253" sldId="2147483648"/>
              <pc:sldLayoutMk cId="641818466" sldId="2147483669"/>
              <ac:spMk id="15" creationId="{00000000-0000-0000-0000-000000000000}"/>
            </ac:spMkLst>
          </pc:spChg>
          <pc:graphicFrameChg chg="mod ord modVis replST">
            <ac:chgData name="Abdi, Adnan" userId="503e002c-9b3b-4180-87fb-acabeb2b158a" providerId="ADAL" clId="{5C2CD6D4-C7A9-4CEF-AA9C-BC2977F70622}" dt="2024-02-20T12:53:04.631" v="20530"/>
            <ac:graphicFrameMkLst>
              <pc:docMk/>
              <pc:sldMasterMk cId="729942253" sldId="2147483648"/>
              <pc:sldLayoutMk cId="641818466" sldId="2147483669"/>
              <ac:graphicFrameMk id="2" creationId="{17A0E26C-7ACF-F201-BB03-1BFCA9D90172}"/>
            </ac:graphicFrameMkLst>
          </pc:graphicFrameChg>
        </pc:sldLayoutChg>
        <pc:sldLayoutChg chg="modSp mod">
          <pc:chgData name="Abdi, Adnan" userId="503e002c-9b3b-4180-87fb-acabeb2b158a" providerId="ADAL" clId="{5C2CD6D4-C7A9-4CEF-AA9C-BC2977F70622}" dt="2024-02-20T12:53:04.697" v="20544"/>
          <pc:sldLayoutMkLst>
            <pc:docMk/>
            <pc:sldMasterMk cId="729942253" sldId="2147483648"/>
            <pc:sldLayoutMk cId="1667850046" sldId="2147483670"/>
          </pc:sldLayoutMkLst>
          <pc:spChg chg="mod">
            <ac:chgData name="Abdi, Adnan" userId="503e002c-9b3b-4180-87fb-acabeb2b158a" providerId="ADAL" clId="{5C2CD6D4-C7A9-4CEF-AA9C-BC2977F70622}" dt="2024-02-20T12:52:58.445" v="17113" actId="790"/>
            <ac:spMkLst>
              <pc:docMk/>
              <pc:sldMasterMk cId="729942253" sldId="2147483648"/>
              <pc:sldLayoutMk cId="1667850046" sldId="2147483670"/>
              <ac:spMk id="10" creationId="{00000000-0000-0000-0000-000000000000}"/>
            </ac:spMkLst>
          </pc:spChg>
          <pc:spChg chg="mod">
            <ac:chgData name="Abdi, Adnan" userId="503e002c-9b3b-4180-87fb-acabeb2b158a" providerId="ADAL" clId="{5C2CD6D4-C7A9-4CEF-AA9C-BC2977F70622}" dt="2024-02-20T12:52:58.445" v="17114" actId="790"/>
            <ac:spMkLst>
              <pc:docMk/>
              <pc:sldMasterMk cId="729942253" sldId="2147483648"/>
              <pc:sldLayoutMk cId="1667850046" sldId="2147483670"/>
              <ac:spMk id="12" creationId="{00000000-0000-0000-0000-000000000000}"/>
            </ac:spMkLst>
          </pc:spChg>
          <pc:spChg chg="mod">
            <ac:chgData name="Abdi, Adnan" userId="503e002c-9b3b-4180-87fb-acabeb2b158a" providerId="ADAL" clId="{5C2CD6D4-C7A9-4CEF-AA9C-BC2977F70622}" dt="2024-02-20T12:52:58.445" v="17115" actId="790"/>
            <ac:spMkLst>
              <pc:docMk/>
              <pc:sldMasterMk cId="729942253" sldId="2147483648"/>
              <pc:sldLayoutMk cId="1667850046" sldId="2147483670"/>
              <ac:spMk id="14" creationId="{00000000-0000-0000-0000-000000000000}"/>
            </ac:spMkLst>
          </pc:spChg>
          <pc:spChg chg="mod">
            <ac:chgData name="Abdi, Adnan" userId="503e002c-9b3b-4180-87fb-acabeb2b158a" providerId="ADAL" clId="{5C2CD6D4-C7A9-4CEF-AA9C-BC2977F70622}" dt="2024-02-20T12:52:58.461" v="17116" actId="790"/>
            <ac:spMkLst>
              <pc:docMk/>
              <pc:sldMasterMk cId="729942253" sldId="2147483648"/>
              <pc:sldLayoutMk cId="1667850046" sldId="2147483670"/>
              <ac:spMk id="15" creationId="{00000000-0000-0000-0000-000000000000}"/>
            </ac:spMkLst>
          </pc:spChg>
          <pc:graphicFrameChg chg="mod ord modVis replST">
            <ac:chgData name="Abdi, Adnan" userId="503e002c-9b3b-4180-87fb-acabeb2b158a" providerId="ADAL" clId="{5C2CD6D4-C7A9-4CEF-AA9C-BC2977F70622}" dt="2024-02-20T12:53:04.697" v="20544"/>
            <ac:graphicFrameMkLst>
              <pc:docMk/>
              <pc:sldMasterMk cId="729942253" sldId="2147483648"/>
              <pc:sldLayoutMk cId="1667850046" sldId="2147483670"/>
              <ac:graphicFrameMk id="2" creationId="{B4F593BC-EAE5-4F51-E5A5-FC4AD14D6215}"/>
            </ac:graphicFrameMkLst>
          </pc:graphicFrameChg>
        </pc:sldLayoutChg>
        <pc:sldLayoutChg chg="modSp mod">
          <pc:chgData name="Abdi, Adnan" userId="503e002c-9b3b-4180-87fb-acabeb2b158a" providerId="ADAL" clId="{5C2CD6D4-C7A9-4CEF-AA9C-BC2977F70622}" dt="2024-02-20T12:53:04.781" v="20565"/>
          <pc:sldLayoutMkLst>
            <pc:docMk/>
            <pc:sldMasterMk cId="729942253" sldId="2147483648"/>
            <pc:sldLayoutMk cId="549499557" sldId="2147483671"/>
          </pc:sldLayoutMkLst>
          <pc:spChg chg="mod">
            <ac:chgData name="Abdi, Adnan" userId="503e002c-9b3b-4180-87fb-acabeb2b158a" providerId="ADAL" clId="{5C2CD6D4-C7A9-4CEF-AA9C-BC2977F70622}" dt="2024-02-20T12:52:58.495" v="17127" actId="790"/>
            <ac:spMkLst>
              <pc:docMk/>
              <pc:sldMasterMk cId="729942253" sldId="2147483648"/>
              <pc:sldLayoutMk cId="549499557" sldId="2147483671"/>
              <ac:spMk id="10" creationId="{00000000-0000-0000-0000-000000000000}"/>
            </ac:spMkLst>
          </pc:spChg>
          <pc:spChg chg="mod">
            <ac:chgData name="Abdi, Adnan" userId="503e002c-9b3b-4180-87fb-acabeb2b158a" providerId="ADAL" clId="{5C2CD6D4-C7A9-4CEF-AA9C-BC2977F70622}" dt="2024-02-20T12:52:58.499" v="17128" actId="790"/>
            <ac:spMkLst>
              <pc:docMk/>
              <pc:sldMasterMk cId="729942253" sldId="2147483648"/>
              <pc:sldLayoutMk cId="549499557" sldId="2147483671"/>
              <ac:spMk id="12" creationId="{00000000-0000-0000-0000-000000000000}"/>
            </ac:spMkLst>
          </pc:spChg>
          <pc:spChg chg="mod">
            <ac:chgData name="Abdi, Adnan" userId="503e002c-9b3b-4180-87fb-acabeb2b158a" providerId="ADAL" clId="{5C2CD6D4-C7A9-4CEF-AA9C-BC2977F70622}" dt="2024-02-20T12:52:58.502" v="17129" actId="790"/>
            <ac:spMkLst>
              <pc:docMk/>
              <pc:sldMasterMk cId="729942253" sldId="2147483648"/>
              <pc:sldLayoutMk cId="549499557" sldId="2147483671"/>
              <ac:spMk id="14" creationId="{00000000-0000-0000-0000-000000000000}"/>
            </ac:spMkLst>
          </pc:spChg>
          <pc:spChg chg="mod">
            <ac:chgData name="Abdi, Adnan" userId="503e002c-9b3b-4180-87fb-acabeb2b158a" providerId="ADAL" clId="{5C2CD6D4-C7A9-4CEF-AA9C-BC2977F70622}" dt="2024-02-20T12:52:58.504" v="17130" actId="790"/>
            <ac:spMkLst>
              <pc:docMk/>
              <pc:sldMasterMk cId="729942253" sldId="2147483648"/>
              <pc:sldLayoutMk cId="549499557" sldId="2147483671"/>
              <ac:spMk id="15" creationId="{00000000-0000-0000-0000-000000000000}"/>
            </ac:spMkLst>
          </pc:spChg>
          <pc:graphicFrameChg chg="mod ord modVis replST">
            <ac:chgData name="Abdi, Adnan" userId="503e002c-9b3b-4180-87fb-acabeb2b158a" providerId="ADAL" clId="{5C2CD6D4-C7A9-4CEF-AA9C-BC2977F70622}" dt="2024-02-20T12:53:04.781" v="20565"/>
            <ac:graphicFrameMkLst>
              <pc:docMk/>
              <pc:sldMasterMk cId="729942253" sldId="2147483648"/>
              <pc:sldLayoutMk cId="549499557" sldId="2147483671"/>
              <ac:graphicFrameMk id="2" creationId="{82CE00AC-1E43-7956-E753-CEAE3FAA56E8}"/>
            </ac:graphicFrameMkLst>
          </pc:graphicFrameChg>
        </pc:sldLayoutChg>
        <pc:sldLayoutChg chg="modSp mod">
          <pc:chgData name="Abdi, Adnan" userId="503e002c-9b3b-4180-87fb-acabeb2b158a" providerId="ADAL" clId="{5C2CD6D4-C7A9-4CEF-AA9C-BC2977F70622}" dt="2024-02-20T12:53:05.022" v="20628"/>
          <pc:sldLayoutMkLst>
            <pc:docMk/>
            <pc:sldMasterMk cId="729942253" sldId="2147483648"/>
            <pc:sldLayoutMk cId="1067460176" sldId="2147483673"/>
          </pc:sldLayoutMkLst>
          <pc:spChg chg="mod">
            <ac:chgData name="Abdi, Adnan" userId="503e002c-9b3b-4180-87fb-acabeb2b158a" providerId="ADAL" clId="{5C2CD6D4-C7A9-4CEF-AA9C-BC2977F70622}" dt="2024-02-20T12:52:58.647" v="17179" actId="790"/>
            <ac:spMkLst>
              <pc:docMk/>
              <pc:sldMasterMk cId="729942253" sldId="2147483648"/>
              <pc:sldLayoutMk cId="1067460176" sldId="2147483673"/>
              <ac:spMk id="5" creationId="{00000000-0000-0000-0000-000000000000}"/>
            </ac:spMkLst>
          </pc:spChg>
          <pc:spChg chg="mod">
            <ac:chgData name="Abdi, Adnan" userId="503e002c-9b3b-4180-87fb-acabeb2b158a" providerId="ADAL" clId="{5C2CD6D4-C7A9-4CEF-AA9C-BC2977F70622}" dt="2024-02-20T12:52:58.647" v="17180" actId="790"/>
            <ac:spMkLst>
              <pc:docMk/>
              <pc:sldMasterMk cId="729942253" sldId="2147483648"/>
              <pc:sldLayoutMk cId="1067460176" sldId="2147483673"/>
              <ac:spMk id="16" creationId="{00000000-0000-0000-0000-000000000000}"/>
            </ac:spMkLst>
          </pc:spChg>
          <pc:spChg chg="mod">
            <ac:chgData name="Abdi, Adnan" userId="503e002c-9b3b-4180-87fb-acabeb2b158a" providerId="ADAL" clId="{5C2CD6D4-C7A9-4CEF-AA9C-BC2977F70622}" dt="2024-02-20T12:52:58.647" v="17176" actId="790"/>
            <ac:spMkLst>
              <pc:docMk/>
              <pc:sldMasterMk cId="729942253" sldId="2147483648"/>
              <pc:sldLayoutMk cId="1067460176" sldId="2147483673"/>
              <ac:spMk id="17" creationId="{00000000-0000-0000-0000-000000000000}"/>
            </ac:spMkLst>
          </pc:spChg>
          <pc:spChg chg="mod">
            <ac:chgData name="Abdi, Adnan" userId="503e002c-9b3b-4180-87fb-acabeb2b158a" providerId="ADAL" clId="{5C2CD6D4-C7A9-4CEF-AA9C-BC2977F70622}" dt="2024-02-20T12:52:58.647" v="17177" actId="790"/>
            <ac:spMkLst>
              <pc:docMk/>
              <pc:sldMasterMk cId="729942253" sldId="2147483648"/>
              <pc:sldLayoutMk cId="1067460176" sldId="2147483673"/>
              <ac:spMk id="18" creationId="{00000000-0000-0000-0000-000000000000}"/>
            </ac:spMkLst>
          </pc:spChg>
          <pc:spChg chg="mod">
            <ac:chgData name="Abdi, Adnan" userId="503e002c-9b3b-4180-87fb-acabeb2b158a" providerId="ADAL" clId="{5C2CD6D4-C7A9-4CEF-AA9C-BC2977F70622}" dt="2024-02-20T12:52:58.647" v="17178" actId="790"/>
            <ac:spMkLst>
              <pc:docMk/>
              <pc:sldMasterMk cId="729942253" sldId="2147483648"/>
              <pc:sldLayoutMk cId="1067460176" sldId="2147483673"/>
              <ac:spMk id="19" creationId="{00000000-0000-0000-0000-000000000000}"/>
            </ac:spMkLst>
          </pc:spChg>
          <pc:spChg chg="mod">
            <ac:chgData name="Abdi, Adnan" userId="503e002c-9b3b-4180-87fb-acabeb2b158a" providerId="ADAL" clId="{5C2CD6D4-C7A9-4CEF-AA9C-BC2977F70622}" dt="2024-02-20T12:52:58.647" v="17175" actId="790"/>
            <ac:spMkLst>
              <pc:docMk/>
              <pc:sldMasterMk cId="729942253" sldId="2147483648"/>
              <pc:sldLayoutMk cId="1067460176" sldId="2147483673"/>
              <ac:spMk id="30" creationId="{00000000-0000-0000-0000-000000000000}"/>
            </ac:spMkLst>
          </pc:spChg>
          <pc:graphicFrameChg chg="mod ord modVis replST">
            <ac:chgData name="Abdi, Adnan" userId="503e002c-9b3b-4180-87fb-acabeb2b158a" providerId="ADAL" clId="{5C2CD6D4-C7A9-4CEF-AA9C-BC2977F70622}" dt="2024-02-20T12:53:05.022" v="20628"/>
            <ac:graphicFrameMkLst>
              <pc:docMk/>
              <pc:sldMasterMk cId="729942253" sldId="2147483648"/>
              <pc:sldLayoutMk cId="1067460176" sldId="2147483673"/>
              <ac:graphicFrameMk id="2" creationId="{BA5ECB8C-4919-C13D-3D31-E4C73062DDCF}"/>
            </ac:graphicFrameMkLst>
          </pc:graphicFrameChg>
        </pc:sldLayoutChg>
        <pc:sldLayoutChg chg="modSp mod">
          <pc:chgData name="Abdi, Adnan" userId="503e002c-9b3b-4180-87fb-acabeb2b158a" providerId="ADAL" clId="{5C2CD6D4-C7A9-4CEF-AA9C-BC2977F70622}" dt="2024-02-20T12:53:04.889" v="20593"/>
          <pc:sldLayoutMkLst>
            <pc:docMk/>
            <pc:sldMasterMk cId="729942253" sldId="2147483648"/>
            <pc:sldLayoutMk cId="3032161638" sldId="2147483674"/>
          </pc:sldLayoutMkLst>
          <pc:spChg chg="mod">
            <ac:chgData name="Abdi, Adnan" userId="503e002c-9b3b-4180-87fb-acabeb2b158a" providerId="ADAL" clId="{5C2CD6D4-C7A9-4CEF-AA9C-BC2977F70622}" dt="2024-02-20T12:52:58.582" v="17153" actId="790"/>
            <ac:spMkLst>
              <pc:docMk/>
              <pc:sldMasterMk cId="729942253" sldId="2147483648"/>
              <pc:sldLayoutMk cId="3032161638" sldId="2147483674"/>
              <ac:spMk id="8" creationId="{00000000-0000-0000-0000-000000000000}"/>
            </ac:spMkLst>
          </pc:spChg>
          <pc:spChg chg="mod">
            <ac:chgData name="Abdi, Adnan" userId="503e002c-9b3b-4180-87fb-acabeb2b158a" providerId="ADAL" clId="{5C2CD6D4-C7A9-4CEF-AA9C-BC2977F70622}" dt="2024-02-20T12:52:58.585" v="17154" actId="790"/>
            <ac:spMkLst>
              <pc:docMk/>
              <pc:sldMasterMk cId="729942253" sldId="2147483648"/>
              <pc:sldLayoutMk cId="3032161638" sldId="2147483674"/>
              <ac:spMk id="9" creationId="{00000000-0000-0000-0000-000000000000}"/>
            </ac:spMkLst>
          </pc:spChg>
          <pc:spChg chg="mod">
            <ac:chgData name="Abdi, Adnan" userId="503e002c-9b3b-4180-87fb-acabeb2b158a" providerId="ADAL" clId="{5C2CD6D4-C7A9-4CEF-AA9C-BC2977F70622}" dt="2024-02-20T12:52:58.588" v="17155" actId="790"/>
            <ac:spMkLst>
              <pc:docMk/>
              <pc:sldMasterMk cId="729942253" sldId="2147483648"/>
              <pc:sldLayoutMk cId="3032161638" sldId="2147483674"/>
              <ac:spMk id="10" creationId="{00000000-0000-0000-0000-000000000000}"/>
            </ac:spMkLst>
          </pc:spChg>
          <pc:spChg chg="mod">
            <ac:chgData name="Abdi, Adnan" userId="503e002c-9b3b-4180-87fb-acabeb2b158a" providerId="ADAL" clId="{5C2CD6D4-C7A9-4CEF-AA9C-BC2977F70622}" dt="2024-02-20T12:52:58.574" v="17150" actId="790"/>
            <ac:spMkLst>
              <pc:docMk/>
              <pc:sldMasterMk cId="729942253" sldId="2147483648"/>
              <pc:sldLayoutMk cId="3032161638" sldId="2147483674"/>
              <ac:spMk id="15" creationId="{00000000-0000-0000-0000-000000000000}"/>
            </ac:spMkLst>
          </pc:spChg>
          <pc:spChg chg="mod">
            <ac:chgData name="Abdi, Adnan" userId="503e002c-9b3b-4180-87fb-acabeb2b158a" providerId="ADAL" clId="{5C2CD6D4-C7A9-4CEF-AA9C-BC2977F70622}" dt="2024-02-20T12:52:58.576" v="17151" actId="790"/>
            <ac:spMkLst>
              <pc:docMk/>
              <pc:sldMasterMk cId="729942253" sldId="2147483648"/>
              <pc:sldLayoutMk cId="3032161638" sldId="2147483674"/>
              <ac:spMk id="17" creationId="{00000000-0000-0000-0000-000000000000}"/>
            </ac:spMkLst>
          </pc:spChg>
          <pc:spChg chg="mod">
            <ac:chgData name="Abdi, Adnan" userId="503e002c-9b3b-4180-87fb-acabeb2b158a" providerId="ADAL" clId="{5C2CD6D4-C7A9-4CEF-AA9C-BC2977F70622}" dt="2024-02-20T12:52:58.579" v="17152" actId="790"/>
            <ac:spMkLst>
              <pc:docMk/>
              <pc:sldMasterMk cId="729942253" sldId="2147483648"/>
              <pc:sldLayoutMk cId="3032161638" sldId="2147483674"/>
              <ac:spMk id="19" creationId="{00000000-0000-0000-0000-000000000000}"/>
            </ac:spMkLst>
          </pc:spChg>
          <pc:graphicFrameChg chg="mod ord modVis replST">
            <ac:chgData name="Abdi, Adnan" userId="503e002c-9b3b-4180-87fb-acabeb2b158a" providerId="ADAL" clId="{5C2CD6D4-C7A9-4CEF-AA9C-BC2977F70622}" dt="2024-02-20T12:53:04.889" v="20593"/>
            <ac:graphicFrameMkLst>
              <pc:docMk/>
              <pc:sldMasterMk cId="729942253" sldId="2147483648"/>
              <pc:sldLayoutMk cId="3032161638" sldId="2147483674"/>
              <ac:graphicFrameMk id="2" creationId="{7C60839A-1C0B-7635-1AB7-5AB80BAA54AF}"/>
            </ac:graphicFrameMkLst>
          </pc:graphicFrameChg>
        </pc:sldLayoutChg>
        <pc:sldLayoutChg chg="modSp mod">
          <pc:chgData name="Abdi, Adnan" userId="503e002c-9b3b-4180-87fb-acabeb2b158a" providerId="ADAL" clId="{5C2CD6D4-C7A9-4CEF-AA9C-BC2977F70622}" dt="2024-02-20T12:53:04.400" v="20467"/>
          <pc:sldLayoutMkLst>
            <pc:docMk/>
            <pc:sldMasterMk cId="729942253" sldId="2147483648"/>
            <pc:sldLayoutMk cId="2005528484" sldId="2147483679"/>
          </pc:sldLayoutMkLst>
          <pc:spChg chg="mod">
            <ac:chgData name="Abdi, Adnan" userId="503e002c-9b3b-4180-87fb-acabeb2b158a" providerId="ADAL" clId="{5C2CD6D4-C7A9-4CEF-AA9C-BC2977F70622}" dt="2024-02-20T12:52:58.289" v="17066" actId="790"/>
            <ac:spMkLst>
              <pc:docMk/>
              <pc:sldMasterMk cId="729942253" sldId="2147483648"/>
              <pc:sldLayoutMk cId="2005528484" sldId="2147483679"/>
              <ac:spMk id="7" creationId="{00000000-0000-0000-0000-000000000000}"/>
            </ac:spMkLst>
          </pc:spChg>
          <pc:spChg chg="mod">
            <ac:chgData name="Abdi, Adnan" userId="503e002c-9b3b-4180-87fb-acabeb2b158a" providerId="ADAL" clId="{5C2CD6D4-C7A9-4CEF-AA9C-BC2977F70622}" dt="2024-02-20T12:52:58.293" v="17067" actId="790"/>
            <ac:spMkLst>
              <pc:docMk/>
              <pc:sldMasterMk cId="729942253" sldId="2147483648"/>
              <pc:sldLayoutMk cId="2005528484" sldId="2147483679"/>
              <ac:spMk id="8" creationId="{00000000-0000-0000-0000-000000000000}"/>
            </ac:spMkLst>
          </pc:spChg>
          <pc:spChg chg="mod">
            <ac:chgData name="Abdi, Adnan" userId="503e002c-9b3b-4180-87fb-acabeb2b158a" providerId="ADAL" clId="{5C2CD6D4-C7A9-4CEF-AA9C-BC2977F70622}" dt="2024-02-20T12:52:58.283" v="17064" actId="790"/>
            <ac:spMkLst>
              <pc:docMk/>
              <pc:sldMasterMk cId="729942253" sldId="2147483648"/>
              <pc:sldLayoutMk cId="2005528484" sldId="2147483679"/>
              <ac:spMk id="9" creationId="{00000000-0000-0000-0000-000000000000}"/>
            </ac:spMkLst>
          </pc:spChg>
          <pc:spChg chg="mod">
            <ac:chgData name="Abdi, Adnan" userId="503e002c-9b3b-4180-87fb-acabeb2b158a" providerId="ADAL" clId="{5C2CD6D4-C7A9-4CEF-AA9C-BC2977F70622}" dt="2024-02-20T12:52:58.286" v="17065" actId="790"/>
            <ac:spMkLst>
              <pc:docMk/>
              <pc:sldMasterMk cId="729942253" sldId="2147483648"/>
              <pc:sldLayoutMk cId="2005528484" sldId="2147483679"/>
              <ac:spMk id="10" creationId="{00000000-0000-0000-0000-000000000000}"/>
            </ac:spMkLst>
          </pc:spChg>
          <pc:spChg chg="mod">
            <ac:chgData name="Abdi, Adnan" userId="503e002c-9b3b-4180-87fb-acabeb2b158a" providerId="ADAL" clId="{5C2CD6D4-C7A9-4CEF-AA9C-BC2977F70622}" dt="2024-02-20T12:52:58.280" v="17063" actId="790"/>
            <ac:spMkLst>
              <pc:docMk/>
              <pc:sldMasterMk cId="729942253" sldId="2147483648"/>
              <pc:sldLayoutMk cId="2005528484" sldId="2147483679"/>
              <ac:spMk id="14" creationId="{00000000-0000-0000-0000-000000000000}"/>
            </ac:spMkLst>
          </pc:spChg>
          <pc:graphicFrameChg chg="mod ord modVis replST">
            <ac:chgData name="Abdi, Adnan" userId="503e002c-9b3b-4180-87fb-acabeb2b158a" providerId="ADAL" clId="{5C2CD6D4-C7A9-4CEF-AA9C-BC2977F70622}" dt="2024-02-20T12:53:04.400" v="20467"/>
            <ac:graphicFrameMkLst>
              <pc:docMk/>
              <pc:sldMasterMk cId="729942253" sldId="2147483648"/>
              <pc:sldLayoutMk cId="2005528484" sldId="2147483679"/>
              <ac:graphicFrameMk id="2" creationId="{ED8632DD-5B2A-8723-F4EB-AC689A9D77EB}"/>
            </ac:graphicFrameMkLst>
          </pc:graphicFrameChg>
        </pc:sldLayoutChg>
        <pc:sldLayoutChg chg="modSp mod">
          <pc:chgData name="Abdi, Adnan" userId="503e002c-9b3b-4180-87fb-acabeb2b158a" providerId="ADAL" clId="{5C2CD6D4-C7A9-4CEF-AA9C-BC2977F70622}" dt="2024-02-20T12:53:04.830" v="20579"/>
          <pc:sldLayoutMkLst>
            <pc:docMk/>
            <pc:sldMasterMk cId="729942253" sldId="2147483648"/>
            <pc:sldLayoutMk cId="785668406" sldId="2147483680"/>
          </pc:sldLayoutMkLst>
          <pc:spChg chg="mod">
            <ac:chgData name="Abdi, Adnan" userId="503e002c-9b3b-4180-87fb-acabeb2b158a" providerId="ADAL" clId="{5C2CD6D4-C7A9-4CEF-AA9C-BC2977F70622}" dt="2024-02-20T12:52:58.532" v="17139" actId="790"/>
            <ac:spMkLst>
              <pc:docMk/>
              <pc:sldMasterMk cId="729942253" sldId="2147483648"/>
              <pc:sldLayoutMk cId="785668406" sldId="2147483680"/>
              <ac:spMk id="8" creationId="{00000000-0000-0000-0000-000000000000}"/>
            </ac:spMkLst>
          </pc:spChg>
          <pc:spChg chg="mod">
            <ac:chgData name="Abdi, Adnan" userId="503e002c-9b3b-4180-87fb-acabeb2b158a" providerId="ADAL" clId="{5C2CD6D4-C7A9-4CEF-AA9C-BC2977F70622}" dt="2024-02-20T12:52:58.532" v="17140" actId="790"/>
            <ac:spMkLst>
              <pc:docMk/>
              <pc:sldMasterMk cId="729942253" sldId="2147483648"/>
              <pc:sldLayoutMk cId="785668406" sldId="2147483680"/>
              <ac:spMk id="9" creationId="{00000000-0000-0000-0000-000000000000}"/>
            </ac:spMkLst>
          </pc:spChg>
          <pc:spChg chg="mod">
            <ac:chgData name="Abdi, Adnan" userId="503e002c-9b3b-4180-87fb-acabeb2b158a" providerId="ADAL" clId="{5C2CD6D4-C7A9-4CEF-AA9C-BC2977F70622}" dt="2024-02-20T12:52:58.532" v="17141" actId="790"/>
            <ac:spMkLst>
              <pc:docMk/>
              <pc:sldMasterMk cId="729942253" sldId="2147483648"/>
              <pc:sldLayoutMk cId="785668406" sldId="2147483680"/>
              <ac:spMk id="10" creationId="{00000000-0000-0000-0000-000000000000}"/>
            </ac:spMkLst>
          </pc:spChg>
          <pc:spChg chg="mod">
            <ac:chgData name="Abdi, Adnan" userId="503e002c-9b3b-4180-87fb-acabeb2b158a" providerId="ADAL" clId="{5C2CD6D4-C7A9-4CEF-AA9C-BC2977F70622}" dt="2024-02-20T12:52:58.532" v="17142" actId="790"/>
            <ac:spMkLst>
              <pc:docMk/>
              <pc:sldMasterMk cId="729942253" sldId="2147483648"/>
              <pc:sldLayoutMk cId="785668406" sldId="2147483680"/>
              <ac:spMk id="12" creationId="{00000000-0000-0000-0000-000000000000}"/>
            </ac:spMkLst>
          </pc:spChg>
          <pc:spChg chg="mod">
            <ac:chgData name="Abdi, Adnan" userId="503e002c-9b3b-4180-87fb-acabeb2b158a" providerId="ADAL" clId="{5C2CD6D4-C7A9-4CEF-AA9C-BC2977F70622}" dt="2024-02-20T12:52:58.530" v="17137" actId="790"/>
            <ac:spMkLst>
              <pc:docMk/>
              <pc:sldMasterMk cId="729942253" sldId="2147483648"/>
              <pc:sldLayoutMk cId="785668406" sldId="2147483680"/>
              <ac:spMk id="15" creationId="{00000000-0000-0000-0000-000000000000}"/>
            </ac:spMkLst>
          </pc:spChg>
          <pc:spChg chg="mod">
            <ac:chgData name="Abdi, Adnan" userId="503e002c-9b3b-4180-87fb-acabeb2b158a" providerId="ADAL" clId="{5C2CD6D4-C7A9-4CEF-AA9C-BC2977F70622}" dt="2024-02-20T12:52:58.532" v="17138" actId="790"/>
            <ac:spMkLst>
              <pc:docMk/>
              <pc:sldMasterMk cId="729942253" sldId="2147483648"/>
              <pc:sldLayoutMk cId="785668406" sldId="2147483680"/>
              <ac:spMk id="17" creationId="{00000000-0000-0000-0000-000000000000}"/>
            </ac:spMkLst>
          </pc:spChg>
          <pc:graphicFrameChg chg="mod ord modVis replST">
            <ac:chgData name="Abdi, Adnan" userId="503e002c-9b3b-4180-87fb-acabeb2b158a" providerId="ADAL" clId="{5C2CD6D4-C7A9-4CEF-AA9C-BC2977F70622}" dt="2024-02-20T12:53:04.830" v="20579"/>
            <ac:graphicFrameMkLst>
              <pc:docMk/>
              <pc:sldMasterMk cId="729942253" sldId="2147483648"/>
              <pc:sldLayoutMk cId="785668406" sldId="2147483680"/>
              <ac:graphicFrameMk id="2" creationId="{051CC539-96E6-6CE5-7085-29DE2122A147}"/>
            </ac:graphicFrameMkLst>
          </pc:graphicFrameChg>
        </pc:sldLayoutChg>
        <pc:sldLayoutChg chg="modSp mod">
          <pc:chgData name="Abdi, Adnan" userId="503e002c-9b3b-4180-87fb-acabeb2b158a" providerId="ADAL" clId="{5C2CD6D4-C7A9-4CEF-AA9C-BC2977F70622}" dt="2024-02-20T12:53:04.447" v="20481"/>
          <pc:sldLayoutMkLst>
            <pc:docMk/>
            <pc:sldMasterMk cId="729942253" sldId="2147483648"/>
            <pc:sldLayoutMk cId="2647428192" sldId="2147483681"/>
          </pc:sldLayoutMkLst>
          <pc:spChg chg="mod">
            <ac:chgData name="Abdi, Adnan" userId="503e002c-9b3b-4180-87fb-acabeb2b158a" providerId="ADAL" clId="{5C2CD6D4-C7A9-4CEF-AA9C-BC2977F70622}" dt="2024-02-20T12:52:58.314" v="17073" actId="790"/>
            <ac:spMkLst>
              <pc:docMk/>
              <pc:sldMasterMk cId="729942253" sldId="2147483648"/>
              <pc:sldLayoutMk cId="2647428192" sldId="2147483681"/>
              <ac:spMk id="9" creationId="{00000000-0000-0000-0000-000000000000}"/>
            </ac:spMkLst>
          </pc:spChg>
          <pc:spChg chg="mod">
            <ac:chgData name="Abdi, Adnan" userId="503e002c-9b3b-4180-87fb-acabeb2b158a" providerId="ADAL" clId="{5C2CD6D4-C7A9-4CEF-AA9C-BC2977F70622}" dt="2024-02-20T12:52:58.318" v="17074" actId="790"/>
            <ac:spMkLst>
              <pc:docMk/>
              <pc:sldMasterMk cId="729942253" sldId="2147483648"/>
              <pc:sldLayoutMk cId="2647428192" sldId="2147483681"/>
              <ac:spMk id="10" creationId="{00000000-0000-0000-0000-000000000000}"/>
            </ac:spMkLst>
          </pc:spChg>
          <pc:spChg chg="mod">
            <ac:chgData name="Abdi, Adnan" userId="503e002c-9b3b-4180-87fb-acabeb2b158a" providerId="ADAL" clId="{5C2CD6D4-C7A9-4CEF-AA9C-BC2977F70622}" dt="2024-02-20T12:52:58.321" v="17075" actId="790"/>
            <ac:spMkLst>
              <pc:docMk/>
              <pc:sldMasterMk cId="729942253" sldId="2147483648"/>
              <pc:sldLayoutMk cId="2647428192" sldId="2147483681"/>
              <ac:spMk id="11" creationId="{00000000-0000-0000-0000-000000000000}"/>
            </ac:spMkLst>
          </pc:spChg>
          <pc:spChg chg="mod">
            <ac:chgData name="Abdi, Adnan" userId="503e002c-9b3b-4180-87fb-acabeb2b158a" providerId="ADAL" clId="{5C2CD6D4-C7A9-4CEF-AA9C-BC2977F70622}" dt="2024-02-20T12:52:58.325" v="17076" actId="790"/>
            <ac:spMkLst>
              <pc:docMk/>
              <pc:sldMasterMk cId="729942253" sldId="2147483648"/>
              <pc:sldLayoutMk cId="2647428192" sldId="2147483681"/>
              <ac:spMk id="12" creationId="{00000000-0000-0000-0000-000000000000}"/>
            </ac:spMkLst>
          </pc:spChg>
          <pc:spChg chg="mod">
            <ac:chgData name="Abdi, Adnan" userId="503e002c-9b3b-4180-87fb-acabeb2b158a" providerId="ADAL" clId="{5C2CD6D4-C7A9-4CEF-AA9C-BC2977F70622}" dt="2024-02-20T12:52:58.311" v="17072" actId="790"/>
            <ac:spMkLst>
              <pc:docMk/>
              <pc:sldMasterMk cId="729942253" sldId="2147483648"/>
              <pc:sldLayoutMk cId="2647428192" sldId="2147483681"/>
              <ac:spMk id="14" creationId="{00000000-0000-0000-0000-000000000000}"/>
            </ac:spMkLst>
          </pc:spChg>
          <pc:graphicFrameChg chg="mod ord modVis replST">
            <ac:chgData name="Abdi, Adnan" userId="503e002c-9b3b-4180-87fb-acabeb2b158a" providerId="ADAL" clId="{5C2CD6D4-C7A9-4CEF-AA9C-BC2977F70622}" dt="2024-02-20T12:53:04.447" v="20481"/>
            <ac:graphicFrameMkLst>
              <pc:docMk/>
              <pc:sldMasterMk cId="729942253" sldId="2147483648"/>
              <pc:sldLayoutMk cId="2647428192" sldId="2147483681"/>
              <ac:graphicFrameMk id="2" creationId="{43C2D8C7-1278-EF52-F0B1-9F3EEF4DAB4E}"/>
            </ac:graphicFrameMkLst>
          </pc:graphicFrameChg>
        </pc:sldLayoutChg>
        <pc:sldLayoutChg chg="modSp mod">
          <pc:chgData name="Abdi, Adnan" userId="503e002c-9b3b-4180-87fb-acabeb2b158a" providerId="ADAL" clId="{5C2CD6D4-C7A9-4CEF-AA9C-BC2977F70622}" dt="2024-02-20T12:53:04.498" v="20495"/>
          <pc:sldLayoutMkLst>
            <pc:docMk/>
            <pc:sldMasterMk cId="729942253" sldId="2147483648"/>
            <pc:sldLayoutMk cId="2781393815" sldId="2147483682"/>
          </pc:sldLayoutMkLst>
          <pc:spChg chg="mod">
            <ac:chgData name="Abdi, Adnan" userId="503e002c-9b3b-4180-87fb-acabeb2b158a" providerId="ADAL" clId="{5C2CD6D4-C7A9-4CEF-AA9C-BC2977F70622}" dt="2024-02-20T12:52:58.348" v="17084" actId="790"/>
            <ac:spMkLst>
              <pc:docMk/>
              <pc:sldMasterMk cId="729942253" sldId="2147483648"/>
              <pc:sldLayoutMk cId="2781393815" sldId="2147483682"/>
              <ac:spMk id="7" creationId="{00000000-0000-0000-0000-000000000000}"/>
            </ac:spMkLst>
          </pc:spChg>
          <pc:spChg chg="mod">
            <ac:chgData name="Abdi, Adnan" userId="503e002c-9b3b-4180-87fb-acabeb2b158a" providerId="ADAL" clId="{5C2CD6D4-C7A9-4CEF-AA9C-BC2977F70622}" dt="2024-02-20T12:52:58.348" v="17085" actId="790"/>
            <ac:spMkLst>
              <pc:docMk/>
              <pc:sldMasterMk cId="729942253" sldId="2147483648"/>
              <pc:sldLayoutMk cId="2781393815" sldId="2147483682"/>
              <ac:spMk id="8" creationId="{00000000-0000-0000-0000-000000000000}"/>
            </ac:spMkLst>
          </pc:spChg>
          <pc:spChg chg="mod">
            <ac:chgData name="Abdi, Adnan" userId="503e002c-9b3b-4180-87fb-acabeb2b158a" providerId="ADAL" clId="{5C2CD6D4-C7A9-4CEF-AA9C-BC2977F70622}" dt="2024-02-20T12:52:58.333" v="17082" actId="790"/>
            <ac:spMkLst>
              <pc:docMk/>
              <pc:sldMasterMk cId="729942253" sldId="2147483648"/>
              <pc:sldLayoutMk cId="2781393815" sldId="2147483682"/>
              <ac:spMk id="9" creationId="{00000000-0000-0000-0000-000000000000}"/>
            </ac:spMkLst>
          </pc:spChg>
          <pc:spChg chg="mod">
            <ac:chgData name="Abdi, Adnan" userId="503e002c-9b3b-4180-87fb-acabeb2b158a" providerId="ADAL" clId="{5C2CD6D4-C7A9-4CEF-AA9C-BC2977F70622}" dt="2024-02-20T12:52:58.348" v="17083" actId="790"/>
            <ac:spMkLst>
              <pc:docMk/>
              <pc:sldMasterMk cId="729942253" sldId="2147483648"/>
              <pc:sldLayoutMk cId="2781393815" sldId="2147483682"/>
              <ac:spMk id="10" creationId="{00000000-0000-0000-0000-000000000000}"/>
            </ac:spMkLst>
          </pc:spChg>
          <pc:spChg chg="mod">
            <ac:chgData name="Abdi, Adnan" userId="503e002c-9b3b-4180-87fb-acabeb2b158a" providerId="ADAL" clId="{5C2CD6D4-C7A9-4CEF-AA9C-BC2977F70622}" dt="2024-02-20T12:52:58.333" v="17081" actId="790"/>
            <ac:spMkLst>
              <pc:docMk/>
              <pc:sldMasterMk cId="729942253" sldId="2147483648"/>
              <pc:sldLayoutMk cId="2781393815" sldId="2147483682"/>
              <ac:spMk id="14" creationId="{00000000-0000-0000-0000-000000000000}"/>
            </ac:spMkLst>
          </pc:spChg>
          <pc:graphicFrameChg chg="mod ord modVis replST">
            <ac:chgData name="Abdi, Adnan" userId="503e002c-9b3b-4180-87fb-acabeb2b158a" providerId="ADAL" clId="{5C2CD6D4-C7A9-4CEF-AA9C-BC2977F70622}" dt="2024-02-20T12:53:04.498" v="20495"/>
            <ac:graphicFrameMkLst>
              <pc:docMk/>
              <pc:sldMasterMk cId="729942253" sldId="2147483648"/>
              <pc:sldLayoutMk cId="2781393815" sldId="2147483682"/>
              <ac:graphicFrameMk id="2" creationId="{A3436807-C028-A902-7758-9406D9619BFC}"/>
            </ac:graphicFrameMkLst>
          </pc:graphicFrameChg>
        </pc:sldLayoutChg>
        <pc:sldLayoutChg chg="modSp mod">
          <pc:chgData name="Abdi, Adnan" userId="503e002c-9b3b-4180-87fb-acabeb2b158a" providerId="ADAL" clId="{5C2CD6D4-C7A9-4CEF-AA9C-BC2977F70622}" dt="2024-02-20T12:53:04.530" v="20502"/>
          <pc:sldLayoutMkLst>
            <pc:docMk/>
            <pc:sldMasterMk cId="729942253" sldId="2147483648"/>
            <pc:sldLayoutMk cId="3762622885" sldId="2147483683"/>
          </pc:sldLayoutMkLst>
          <pc:spChg chg="mod">
            <ac:chgData name="Abdi, Adnan" userId="503e002c-9b3b-4180-87fb-acabeb2b158a" providerId="ADAL" clId="{5C2CD6D4-C7A9-4CEF-AA9C-BC2977F70622}" dt="2024-02-20T12:52:58.363" v="17089" actId="790"/>
            <ac:spMkLst>
              <pc:docMk/>
              <pc:sldMasterMk cId="729942253" sldId="2147483648"/>
              <pc:sldLayoutMk cId="3762622885" sldId="2147483683"/>
              <ac:spMk id="7" creationId="{00000000-0000-0000-0000-000000000000}"/>
            </ac:spMkLst>
          </pc:spChg>
          <pc:spChg chg="mod">
            <ac:chgData name="Abdi, Adnan" userId="503e002c-9b3b-4180-87fb-acabeb2b158a" providerId="ADAL" clId="{5C2CD6D4-C7A9-4CEF-AA9C-BC2977F70622}" dt="2024-02-20T12:52:58.363" v="17090" actId="790"/>
            <ac:spMkLst>
              <pc:docMk/>
              <pc:sldMasterMk cId="729942253" sldId="2147483648"/>
              <pc:sldLayoutMk cId="3762622885" sldId="2147483683"/>
              <ac:spMk id="8" creationId="{00000000-0000-0000-0000-000000000000}"/>
            </ac:spMkLst>
          </pc:spChg>
          <pc:spChg chg="mod">
            <ac:chgData name="Abdi, Adnan" userId="503e002c-9b3b-4180-87fb-acabeb2b158a" providerId="ADAL" clId="{5C2CD6D4-C7A9-4CEF-AA9C-BC2977F70622}" dt="2024-02-20T12:52:58.363" v="17087" actId="790"/>
            <ac:spMkLst>
              <pc:docMk/>
              <pc:sldMasterMk cId="729942253" sldId="2147483648"/>
              <pc:sldLayoutMk cId="3762622885" sldId="2147483683"/>
              <ac:spMk id="9" creationId="{00000000-0000-0000-0000-000000000000}"/>
            </ac:spMkLst>
          </pc:spChg>
          <pc:spChg chg="mod">
            <ac:chgData name="Abdi, Adnan" userId="503e002c-9b3b-4180-87fb-acabeb2b158a" providerId="ADAL" clId="{5C2CD6D4-C7A9-4CEF-AA9C-BC2977F70622}" dt="2024-02-20T12:52:58.363" v="17088" actId="790"/>
            <ac:spMkLst>
              <pc:docMk/>
              <pc:sldMasterMk cId="729942253" sldId="2147483648"/>
              <pc:sldLayoutMk cId="3762622885" sldId="2147483683"/>
              <ac:spMk id="10" creationId="{00000000-0000-0000-0000-000000000000}"/>
            </ac:spMkLst>
          </pc:spChg>
          <pc:spChg chg="mod">
            <ac:chgData name="Abdi, Adnan" userId="503e002c-9b3b-4180-87fb-acabeb2b158a" providerId="ADAL" clId="{5C2CD6D4-C7A9-4CEF-AA9C-BC2977F70622}" dt="2024-02-20T12:52:58.363" v="17086" actId="790"/>
            <ac:spMkLst>
              <pc:docMk/>
              <pc:sldMasterMk cId="729942253" sldId="2147483648"/>
              <pc:sldLayoutMk cId="3762622885" sldId="2147483683"/>
              <ac:spMk id="14" creationId="{00000000-0000-0000-0000-000000000000}"/>
            </ac:spMkLst>
          </pc:spChg>
          <pc:graphicFrameChg chg="mod ord modVis replST">
            <ac:chgData name="Abdi, Adnan" userId="503e002c-9b3b-4180-87fb-acabeb2b158a" providerId="ADAL" clId="{5C2CD6D4-C7A9-4CEF-AA9C-BC2977F70622}" dt="2024-02-20T12:53:04.530" v="20502"/>
            <ac:graphicFrameMkLst>
              <pc:docMk/>
              <pc:sldMasterMk cId="729942253" sldId="2147483648"/>
              <pc:sldLayoutMk cId="3762622885" sldId="2147483683"/>
              <ac:graphicFrameMk id="2" creationId="{6455246A-9BAE-6936-6A93-6E559225714E}"/>
            </ac:graphicFrameMkLst>
          </pc:graphicFrameChg>
        </pc:sldLayoutChg>
        <pc:sldLayoutChg chg="modSp mod">
          <pc:chgData name="Abdi, Adnan" userId="503e002c-9b3b-4180-87fb-acabeb2b158a" providerId="ADAL" clId="{5C2CD6D4-C7A9-4CEF-AA9C-BC2977F70622}" dt="2024-02-20T12:53:04.615" v="20523"/>
          <pc:sldLayoutMkLst>
            <pc:docMk/>
            <pc:sldMasterMk cId="729942253" sldId="2147483648"/>
            <pc:sldLayoutMk cId="4150421713" sldId="2147483684"/>
          </pc:sldLayoutMkLst>
          <pc:spChg chg="mod">
            <ac:chgData name="Abdi, Adnan" userId="503e002c-9b3b-4180-87fb-acabeb2b158a" providerId="ADAL" clId="{5C2CD6D4-C7A9-4CEF-AA9C-BC2977F70622}" dt="2024-02-20T12:52:58.414" v="17102" actId="790"/>
            <ac:spMkLst>
              <pc:docMk/>
              <pc:sldMasterMk cId="729942253" sldId="2147483648"/>
              <pc:sldLayoutMk cId="4150421713" sldId="2147483684"/>
              <ac:spMk id="7" creationId="{00000000-0000-0000-0000-000000000000}"/>
            </ac:spMkLst>
          </pc:spChg>
          <pc:spChg chg="mod">
            <ac:chgData name="Abdi, Adnan" userId="503e002c-9b3b-4180-87fb-acabeb2b158a" providerId="ADAL" clId="{5C2CD6D4-C7A9-4CEF-AA9C-BC2977F70622}" dt="2024-02-20T12:52:58.414" v="17103" actId="790"/>
            <ac:spMkLst>
              <pc:docMk/>
              <pc:sldMasterMk cId="729942253" sldId="2147483648"/>
              <pc:sldLayoutMk cId="4150421713" sldId="2147483684"/>
              <ac:spMk id="8" creationId="{00000000-0000-0000-0000-000000000000}"/>
            </ac:spMkLst>
          </pc:spChg>
          <pc:spChg chg="mod">
            <ac:chgData name="Abdi, Adnan" userId="503e002c-9b3b-4180-87fb-acabeb2b158a" providerId="ADAL" clId="{5C2CD6D4-C7A9-4CEF-AA9C-BC2977F70622}" dt="2024-02-20T12:52:58.414" v="17100" actId="790"/>
            <ac:spMkLst>
              <pc:docMk/>
              <pc:sldMasterMk cId="729942253" sldId="2147483648"/>
              <pc:sldLayoutMk cId="4150421713" sldId="2147483684"/>
              <ac:spMk id="9" creationId="{00000000-0000-0000-0000-000000000000}"/>
            </ac:spMkLst>
          </pc:spChg>
          <pc:spChg chg="mod">
            <ac:chgData name="Abdi, Adnan" userId="503e002c-9b3b-4180-87fb-acabeb2b158a" providerId="ADAL" clId="{5C2CD6D4-C7A9-4CEF-AA9C-BC2977F70622}" dt="2024-02-20T12:52:58.414" v="17101" actId="790"/>
            <ac:spMkLst>
              <pc:docMk/>
              <pc:sldMasterMk cId="729942253" sldId="2147483648"/>
              <pc:sldLayoutMk cId="4150421713" sldId="2147483684"/>
              <ac:spMk id="10" creationId="{00000000-0000-0000-0000-000000000000}"/>
            </ac:spMkLst>
          </pc:spChg>
          <pc:spChg chg="mod">
            <ac:chgData name="Abdi, Adnan" userId="503e002c-9b3b-4180-87fb-acabeb2b158a" providerId="ADAL" clId="{5C2CD6D4-C7A9-4CEF-AA9C-BC2977F70622}" dt="2024-02-20T12:52:58.411" v="17099" actId="790"/>
            <ac:spMkLst>
              <pc:docMk/>
              <pc:sldMasterMk cId="729942253" sldId="2147483648"/>
              <pc:sldLayoutMk cId="4150421713" sldId="2147483684"/>
              <ac:spMk id="14" creationId="{00000000-0000-0000-0000-000000000000}"/>
            </ac:spMkLst>
          </pc:spChg>
          <pc:graphicFrameChg chg="mod ord modVis replST">
            <ac:chgData name="Abdi, Adnan" userId="503e002c-9b3b-4180-87fb-acabeb2b158a" providerId="ADAL" clId="{5C2CD6D4-C7A9-4CEF-AA9C-BC2977F70622}" dt="2024-02-20T12:53:04.615" v="20523"/>
            <ac:graphicFrameMkLst>
              <pc:docMk/>
              <pc:sldMasterMk cId="729942253" sldId="2147483648"/>
              <pc:sldLayoutMk cId="4150421713" sldId="2147483684"/>
              <ac:graphicFrameMk id="2" creationId="{04183CE2-F388-638F-E425-1DF09A739A0F}"/>
            </ac:graphicFrameMkLst>
          </pc:graphicFrameChg>
        </pc:sldLayoutChg>
        <pc:sldLayoutChg chg="modSp mod">
          <pc:chgData name="Abdi, Adnan" userId="503e002c-9b3b-4180-87fb-acabeb2b158a" providerId="ADAL" clId="{5C2CD6D4-C7A9-4CEF-AA9C-BC2977F70622}" dt="2024-02-20T12:53:04.670" v="20537"/>
          <pc:sldLayoutMkLst>
            <pc:docMk/>
            <pc:sldMasterMk cId="729942253" sldId="2147483648"/>
            <pc:sldLayoutMk cId="417453004" sldId="2147483685"/>
          </pc:sldLayoutMkLst>
          <pc:spChg chg="mod">
            <ac:chgData name="Abdi, Adnan" userId="503e002c-9b3b-4180-87fb-acabeb2b158a" providerId="ADAL" clId="{5C2CD6D4-C7A9-4CEF-AA9C-BC2977F70622}" dt="2024-02-20T12:52:58.445" v="17111" actId="790"/>
            <ac:spMkLst>
              <pc:docMk/>
              <pc:sldMasterMk cId="729942253" sldId="2147483648"/>
              <pc:sldLayoutMk cId="417453004" sldId="2147483685"/>
              <ac:spMk id="7" creationId="{00000000-0000-0000-0000-000000000000}"/>
            </ac:spMkLst>
          </pc:spChg>
          <pc:spChg chg="mod">
            <ac:chgData name="Abdi, Adnan" userId="503e002c-9b3b-4180-87fb-acabeb2b158a" providerId="ADAL" clId="{5C2CD6D4-C7A9-4CEF-AA9C-BC2977F70622}" dt="2024-02-20T12:52:58.445" v="17112" actId="790"/>
            <ac:spMkLst>
              <pc:docMk/>
              <pc:sldMasterMk cId="729942253" sldId="2147483648"/>
              <pc:sldLayoutMk cId="417453004" sldId="2147483685"/>
              <ac:spMk id="8" creationId="{00000000-0000-0000-0000-000000000000}"/>
            </ac:spMkLst>
          </pc:spChg>
          <pc:spChg chg="mod">
            <ac:chgData name="Abdi, Adnan" userId="503e002c-9b3b-4180-87fb-acabeb2b158a" providerId="ADAL" clId="{5C2CD6D4-C7A9-4CEF-AA9C-BC2977F70622}" dt="2024-02-20T12:52:58.429" v="17109" actId="790"/>
            <ac:spMkLst>
              <pc:docMk/>
              <pc:sldMasterMk cId="729942253" sldId="2147483648"/>
              <pc:sldLayoutMk cId="417453004" sldId="2147483685"/>
              <ac:spMk id="9" creationId="{00000000-0000-0000-0000-000000000000}"/>
            </ac:spMkLst>
          </pc:spChg>
          <pc:spChg chg="mod">
            <ac:chgData name="Abdi, Adnan" userId="503e002c-9b3b-4180-87fb-acabeb2b158a" providerId="ADAL" clId="{5C2CD6D4-C7A9-4CEF-AA9C-BC2977F70622}" dt="2024-02-20T12:52:58.429" v="17110" actId="790"/>
            <ac:spMkLst>
              <pc:docMk/>
              <pc:sldMasterMk cId="729942253" sldId="2147483648"/>
              <pc:sldLayoutMk cId="417453004" sldId="2147483685"/>
              <ac:spMk id="10" creationId="{00000000-0000-0000-0000-000000000000}"/>
            </ac:spMkLst>
          </pc:spChg>
          <pc:spChg chg="mod">
            <ac:chgData name="Abdi, Adnan" userId="503e002c-9b3b-4180-87fb-acabeb2b158a" providerId="ADAL" clId="{5C2CD6D4-C7A9-4CEF-AA9C-BC2977F70622}" dt="2024-02-20T12:52:58.429" v="17108" actId="790"/>
            <ac:spMkLst>
              <pc:docMk/>
              <pc:sldMasterMk cId="729942253" sldId="2147483648"/>
              <pc:sldLayoutMk cId="417453004" sldId="2147483685"/>
              <ac:spMk id="14" creationId="{00000000-0000-0000-0000-000000000000}"/>
            </ac:spMkLst>
          </pc:spChg>
          <pc:graphicFrameChg chg="mod ord modVis replST">
            <ac:chgData name="Abdi, Adnan" userId="503e002c-9b3b-4180-87fb-acabeb2b158a" providerId="ADAL" clId="{5C2CD6D4-C7A9-4CEF-AA9C-BC2977F70622}" dt="2024-02-20T12:53:04.670" v="20537"/>
            <ac:graphicFrameMkLst>
              <pc:docMk/>
              <pc:sldMasterMk cId="729942253" sldId="2147483648"/>
              <pc:sldLayoutMk cId="417453004" sldId="2147483685"/>
              <ac:graphicFrameMk id="2" creationId="{089F15BC-3C79-3F0A-BA79-F4BF686376C1}"/>
            </ac:graphicFrameMkLst>
          </pc:graphicFrameChg>
        </pc:sldLayoutChg>
        <pc:sldLayoutChg chg="modSp mod">
          <pc:chgData name="Abdi, Adnan" userId="503e002c-9b3b-4180-87fb-acabeb2b158a" providerId="ADAL" clId="{5C2CD6D4-C7A9-4CEF-AA9C-BC2977F70622}" dt="2024-02-20T12:53:04.716" v="20551"/>
          <pc:sldLayoutMkLst>
            <pc:docMk/>
            <pc:sldMasterMk cId="729942253" sldId="2147483648"/>
            <pc:sldLayoutMk cId="639826258" sldId="2147483686"/>
          </pc:sldLayoutMkLst>
          <pc:spChg chg="mod">
            <ac:chgData name="Abdi, Adnan" userId="503e002c-9b3b-4180-87fb-acabeb2b158a" providerId="ADAL" clId="{5C2CD6D4-C7A9-4CEF-AA9C-BC2977F70622}" dt="2024-02-20T12:52:58.463" v="17120" actId="790"/>
            <ac:spMkLst>
              <pc:docMk/>
              <pc:sldMasterMk cId="729942253" sldId="2147483648"/>
              <pc:sldLayoutMk cId="639826258" sldId="2147483686"/>
              <ac:spMk id="7" creationId="{00000000-0000-0000-0000-000000000000}"/>
            </ac:spMkLst>
          </pc:spChg>
          <pc:spChg chg="mod">
            <ac:chgData name="Abdi, Adnan" userId="503e002c-9b3b-4180-87fb-acabeb2b158a" providerId="ADAL" clId="{5C2CD6D4-C7A9-4CEF-AA9C-BC2977F70622}" dt="2024-02-20T12:52:58.463" v="17121" actId="790"/>
            <ac:spMkLst>
              <pc:docMk/>
              <pc:sldMasterMk cId="729942253" sldId="2147483648"/>
              <pc:sldLayoutMk cId="639826258" sldId="2147483686"/>
              <ac:spMk id="8" creationId="{00000000-0000-0000-0000-000000000000}"/>
            </ac:spMkLst>
          </pc:spChg>
          <pc:spChg chg="mod">
            <ac:chgData name="Abdi, Adnan" userId="503e002c-9b3b-4180-87fb-acabeb2b158a" providerId="ADAL" clId="{5C2CD6D4-C7A9-4CEF-AA9C-BC2977F70622}" dt="2024-02-20T12:52:58.463" v="17118" actId="790"/>
            <ac:spMkLst>
              <pc:docMk/>
              <pc:sldMasterMk cId="729942253" sldId="2147483648"/>
              <pc:sldLayoutMk cId="639826258" sldId="2147483686"/>
              <ac:spMk id="9" creationId="{00000000-0000-0000-0000-000000000000}"/>
            </ac:spMkLst>
          </pc:spChg>
          <pc:spChg chg="mod">
            <ac:chgData name="Abdi, Adnan" userId="503e002c-9b3b-4180-87fb-acabeb2b158a" providerId="ADAL" clId="{5C2CD6D4-C7A9-4CEF-AA9C-BC2977F70622}" dt="2024-02-20T12:52:58.463" v="17119" actId="790"/>
            <ac:spMkLst>
              <pc:docMk/>
              <pc:sldMasterMk cId="729942253" sldId="2147483648"/>
              <pc:sldLayoutMk cId="639826258" sldId="2147483686"/>
              <ac:spMk id="10" creationId="{00000000-0000-0000-0000-000000000000}"/>
            </ac:spMkLst>
          </pc:spChg>
          <pc:spChg chg="mod">
            <ac:chgData name="Abdi, Adnan" userId="503e002c-9b3b-4180-87fb-acabeb2b158a" providerId="ADAL" clId="{5C2CD6D4-C7A9-4CEF-AA9C-BC2977F70622}" dt="2024-02-20T12:52:58.463" v="17117" actId="790"/>
            <ac:spMkLst>
              <pc:docMk/>
              <pc:sldMasterMk cId="729942253" sldId="2147483648"/>
              <pc:sldLayoutMk cId="639826258" sldId="2147483686"/>
              <ac:spMk id="14" creationId="{00000000-0000-0000-0000-000000000000}"/>
            </ac:spMkLst>
          </pc:spChg>
          <pc:graphicFrameChg chg="mod ord modVis replST">
            <ac:chgData name="Abdi, Adnan" userId="503e002c-9b3b-4180-87fb-acabeb2b158a" providerId="ADAL" clId="{5C2CD6D4-C7A9-4CEF-AA9C-BC2977F70622}" dt="2024-02-20T12:53:04.716" v="20551"/>
            <ac:graphicFrameMkLst>
              <pc:docMk/>
              <pc:sldMasterMk cId="729942253" sldId="2147483648"/>
              <pc:sldLayoutMk cId="639826258" sldId="2147483686"/>
              <ac:graphicFrameMk id="2" creationId="{F880C527-4D1F-CC88-67CA-E4C88EA21D34}"/>
            </ac:graphicFrameMkLst>
          </pc:graphicFrameChg>
        </pc:sldLayoutChg>
        <pc:sldLayoutChg chg="modSp mod">
          <pc:chgData name="Abdi, Adnan" userId="503e002c-9b3b-4180-87fb-acabeb2b158a" providerId="ADAL" clId="{5C2CD6D4-C7A9-4CEF-AA9C-BC2977F70622}" dt="2024-02-20T12:53:04.747" v="20558"/>
          <pc:sldLayoutMkLst>
            <pc:docMk/>
            <pc:sldMasterMk cId="729942253" sldId="2147483648"/>
            <pc:sldLayoutMk cId="1897754279" sldId="2147483687"/>
          </pc:sldLayoutMkLst>
          <pc:spChg chg="mod">
            <ac:chgData name="Abdi, Adnan" userId="503e002c-9b3b-4180-87fb-acabeb2b158a" providerId="ADAL" clId="{5C2CD6D4-C7A9-4CEF-AA9C-BC2977F70622}" dt="2024-02-20T12:52:58.488" v="17125" actId="790"/>
            <ac:spMkLst>
              <pc:docMk/>
              <pc:sldMasterMk cId="729942253" sldId="2147483648"/>
              <pc:sldLayoutMk cId="1897754279" sldId="2147483687"/>
              <ac:spMk id="7" creationId="{00000000-0000-0000-0000-000000000000}"/>
            </ac:spMkLst>
          </pc:spChg>
          <pc:spChg chg="mod">
            <ac:chgData name="Abdi, Adnan" userId="503e002c-9b3b-4180-87fb-acabeb2b158a" providerId="ADAL" clId="{5C2CD6D4-C7A9-4CEF-AA9C-BC2977F70622}" dt="2024-02-20T12:52:58.491" v="17126" actId="790"/>
            <ac:spMkLst>
              <pc:docMk/>
              <pc:sldMasterMk cId="729942253" sldId="2147483648"/>
              <pc:sldLayoutMk cId="1897754279" sldId="2147483687"/>
              <ac:spMk id="8" creationId="{00000000-0000-0000-0000-000000000000}"/>
            </ac:spMkLst>
          </pc:spChg>
          <pc:spChg chg="mod">
            <ac:chgData name="Abdi, Adnan" userId="503e002c-9b3b-4180-87fb-acabeb2b158a" providerId="ADAL" clId="{5C2CD6D4-C7A9-4CEF-AA9C-BC2977F70622}" dt="2024-02-20T12:52:58.483" v="17123" actId="790"/>
            <ac:spMkLst>
              <pc:docMk/>
              <pc:sldMasterMk cId="729942253" sldId="2147483648"/>
              <pc:sldLayoutMk cId="1897754279" sldId="2147483687"/>
              <ac:spMk id="9" creationId="{00000000-0000-0000-0000-000000000000}"/>
            </ac:spMkLst>
          </pc:spChg>
          <pc:spChg chg="mod">
            <ac:chgData name="Abdi, Adnan" userId="503e002c-9b3b-4180-87fb-acabeb2b158a" providerId="ADAL" clId="{5C2CD6D4-C7A9-4CEF-AA9C-BC2977F70622}" dt="2024-02-20T12:52:58.485" v="17124" actId="790"/>
            <ac:spMkLst>
              <pc:docMk/>
              <pc:sldMasterMk cId="729942253" sldId="2147483648"/>
              <pc:sldLayoutMk cId="1897754279" sldId="2147483687"/>
              <ac:spMk id="10" creationId="{00000000-0000-0000-0000-000000000000}"/>
            </ac:spMkLst>
          </pc:spChg>
          <pc:spChg chg="mod">
            <ac:chgData name="Abdi, Adnan" userId="503e002c-9b3b-4180-87fb-acabeb2b158a" providerId="ADAL" clId="{5C2CD6D4-C7A9-4CEF-AA9C-BC2977F70622}" dt="2024-02-20T12:52:58.479" v="17122" actId="790"/>
            <ac:spMkLst>
              <pc:docMk/>
              <pc:sldMasterMk cId="729942253" sldId="2147483648"/>
              <pc:sldLayoutMk cId="1897754279" sldId="2147483687"/>
              <ac:spMk id="14" creationId="{00000000-0000-0000-0000-000000000000}"/>
            </ac:spMkLst>
          </pc:spChg>
          <pc:graphicFrameChg chg="mod ord modVis replST">
            <ac:chgData name="Abdi, Adnan" userId="503e002c-9b3b-4180-87fb-acabeb2b158a" providerId="ADAL" clId="{5C2CD6D4-C7A9-4CEF-AA9C-BC2977F70622}" dt="2024-02-20T12:53:04.747" v="20558"/>
            <ac:graphicFrameMkLst>
              <pc:docMk/>
              <pc:sldMasterMk cId="729942253" sldId="2147483648"/>
              <pc:sldLayoutMk cId="1897754279" sldId="2147483687"/>
              <ac:graphicFrameMk id="2" creationId="{151F8BB6-7968-E98F-BD0C-5E214B4FAB30}"/>
            </ac:graphicFrameMkLst>
          </pc:graphicFrameChg>
        </pc:sldLayoutChg>
        <pc:sldLayoutChg chg="modSp mod">
          <pc:chgData name="Abdi, Adnan" userId="503e002c-9b3b-4180-87fb-acabeb2b158a" providerId="ADAL" clId="{5C2CD6D4-C7A9-4CEF-AA9C-BC2977F70622}" dt="2024-02-20T12:53:04.944" v="20607"/>
          <pc:sldLayoutMkLst>
            <pc:docMk/>
            <pc:sldMasterMk cId="729942253" sldId="2147483648"/>
            <pc:sldLayoutMk cId="964117059" sldId="2147483691"/>
          </pc:sldLayoutMkLst>
          <pc:spChg chg="mod">
            <ac:chgData name="Abdi, Adnan" userId="503e002c-9b3b-4180-87fb-acabeb2b158a" providerId="ADAL" clId="{5C2CD6D4-C7A9-4CEF-AA9C-BC2977F70622}" dt="2024-02-20T12:52:58.612" v="17163" actId="790"/>
            <ac:spMkLst>
              <pc:docMk/>
              <pc:sldMasterMk cId="729942253" sldId="2147483648"/>
              <pc:sldLayoutMk cId="964117059" sldId="2147483691"/>
              <ac:spMk id="19" creationId="{00000000-0000-0000-0000-000000000000}"/>
            </ac:spMkLst>
          </pc:spChg>
          <pc:graphicFrameChg chg="mod ord modVis replST">
            <ac:chgData name="Abdi, Adnan" userId="503e002c-9b3b-4180-87fb-acabeb2b158a" providerId="ADAL" clId="{5C2CD6D4-C7A9-4CEF-AA9C-BC2977F70622}" dt="2024-02-20T12:53:04.944" v="20607"/>
            <ac:graphicFrameMkLst>
              <pc:docMk/>
              <pc:sldMasterMk cId="729942253" sldId="2147483648"/>
              <pc:sldLayoutMk cId="964117059" sldId="2147483691"/>
              <ac:graphicFrameMk id="2" creationId="{2F60E319-7CE9-601C-6AC6-D3FCB6D536E5}"/>
            </ac:graphicFrameMkLst>
          </pc:graphicFrameChg>
        </pc:sldLayoutChg>
        <pc:sldLayoutChg chg="modSp mod">
          <pc:chgData name="Abdi, Adnan" userId="503e002c-9b3b-4180-87fb-acabeb2b158a" providerId="ADAL" clId="{5C2CD6D4-C7A9-4CEF-AA9C-BC2977F70622}" dt="2024-02-20T12:53:04.972" v="20614"/>
          <pc:sldLayoutMkLst>
            <pc:docMk/>
            <pc:sldMasterMk cId="729942253" sldId="2147483648"/>
            <pc:sldLayoutMk cId="2687386369" sldId="2147483696"/>
          </pc:sldLayoutMkLst>
          <pc:spChg chg="mod">
            <ac:chgData name="Abdi, Adnan" userId="503e002c-9b3b-4180-87fb-acabeb2b158a" providerId="ADAL" clId="{5C2CD6D4-C7A9-4CEF-AA9C-BC2977F70622}" dt="2024-02-20T12:52:58.616" v="17168" actId="790"/>
            <ac:spMkLst>
              <pc:docMk/>
              <pc:sldMasterMk cId="729942253" sldId="2147483648"/>
              <pc:sldLayoutMk cId="2687386369" sldId="2147483696"/>
              <ac:spMk id="9" creationId="{00000000-0000-0000-0000-000000000000}"/>
            </ac:spMkLst>
          </pc:spChg>
          <pc:spChg chg="mod">
            <ac:chgData name="Abdi, Adnan" userId="503e002c-9b3b-4180-87fb-acabeb2b158a" providerId="ADAL" clId="{5C2CD6D4-C7A9-4CEF-AA9C-BC2977F70622}" dt="2024-02-20T12:52:58.616" v="17169" actId="790"/>
            <ac:spMkLst>
              <pc:docMk/>
              <pc:sldMasterMk cId="729942253" sldId="2147483648"/>
              <pc:sldLayoutMk cId="2687386369" sldId="2147483696"/>
              <ac:spMk id="11" creationId="{00000000-0000-0000-0000-000000000000}"/>
            </ac:spMkLst>
          </pc:spChg>
          <pc:spChg chg="mod">
            <ac:chgData name="Abdi, Adnan" userId="503e002c-9b3b-4180-87fb-acabeb2b158a" providerId="ADAL" clId="{5C2CD6D4-C7A9-4CEF-AA9C-BC2977F70622}" dt="2024-02-20T12:52:58.631" v="17171" actId="790"/>
            <ac:spMkLst>
              <pc:docMk/>
              <pc:sldMasterMk cId="729942253" sldId="2147483648"/>
              <pc:sldLayoutMk cId="2687386369" sldId="2147483696"/>
              <ac:spMk id="12" creationId="{00000000-0000-0000-0000-000000000000}"/>
            </ac:spMkLst>
          </pc:spChg>
          <pc:spChg chg="mod">
            <ac:chgData name="Abdi, Adnan" userId="503e002c-9b3b-4180-87fb-acabeb2b158a" providerId="ADAL" clId="{5C2CD6D4-C7A9-4CEF-AA9C-BC2977F70622}" dt="2024-02-20T12:52:58.616" v="17170" actId="790"/>
            <ac:spMkLst>
              <pc:docMk/>
              <pc:sldMasterMk cId="729942253" sldId="2147483648"/>
              <pc:sldLayoutMk cId="2687386369" sldId="2147483696"/>
              <ac:spMk id="13" creationId="{00000000-0000-0000-0000-000000000000}"/>
            </ac:spMkLst>
          </pc:spChg>
          <pc:spChg chg="mod">
            <ac:chgData name="Abdi, Adnan" userId="503e002c-9b3b-4180-87fb-acabeb2b158a" providerId="ADAL" clId="{5C2CD6D4-C7A9-4CEF-AA9C-BC2977F70622}" dt="2024-02-20T12:52:58.616" v="17167" actId="790"/>
            <ac:spMkLst>
              <pc:docMk/>
              <pc:sldMasterMk cId="729942253" sldId="2147483648"/>
              <pc:sldLayoutMk cId="2687386369" sldId="2147483696"/>
              <ac:spMk id="16" creationId="{00000000-0000-0000-0000-000000000000}"/>
            </ac:spMkLst>
          </pc:spChg>
          <pc:spChg chg="mod">
            <ac:chgData name="Abdi, Adnan" userId="503e002c-9b3b-4180-87fb-acabeb2b158a" providerId="ADAL" clId="{5C2CD6D4-C7A9-4CEF-AA9C-BC2977F70622}" dt="2024-02-20T12:52:58.616" v="17164" actId="790"/>
            <ac:spMkLst>
              <pc:docMk/>
              <pc:sldMasterMk cId="729942253" sldId="2147483648"/>
              <pc:sldLayoutMk cId="2687386369" sldId="2147483696"/>
              <ac:spMk id="17" creationId="{00000000-0000-0000-0000-000000000000}"/>
            </ac:spMkLst>
          </pc:spChg>
          <pc:spChg chg="mod">
            <ac:chgData name="Abdi, Adnan" userId="503e002c-9b3b-4180-87fb-acabeb2b158a" providerId="ADAL" clId="{5C2CD6D4-C7A9-4CEF-AA9C-BC2977F70622}" dt="2024-02-20T12:52:58.616" v="17165" actId="790"/>
            <ac:spMkLst>
              <pc:docMk/>
              <pc:sldMasterMk cId="729942253" sldId="2147483648"/>
              <pc:sldLayoutMk cId="2687386369" sldId="2147483696"/>
              <ac:spMk id="18" creationId="{00000000-0000-0000-0000-000000000000}"/>
            </ac:spMkLst>
          </pc:spChg>
          <pc:spChg chg="mod">
            <ac:chgData name="Abdi, Adnan" userId="503e002c-9b3b-4180-87fb-acabeb2b158a" providerId="ADAL" clId="{5C2CD6D4-C7A9-4CEF-AA9C-BC2977F70622}" dt="2024-02-20T12:52:58.616" v="17166" actId="790"/>
            <ac:spMkLst>
              <pc:docMk/>
              <pc:sldMasterMk cId="729942253" sldId="2147483648"/>
              <pc:sldLayoutMk cId="2687386369" sldId="2147483696"/>
              <ac:spMk id="19" creationId="{00000000-0000-0000-0000-000000000000}"/>
            </ac:spMkLst>
          </pc:spChg>
          <pc:graphicFrameChg chg="mod ord modVis replST">
            <ac:chgData name="Abdi, Adnan" userId="503e002c-9b3b-4180-87fb-acabeb2b158a" providerId="ADAL" clId="{5C2CD6D4-C7A9-4CEF-AA9C-BC2977F70622}" dt="2024-02-20T12:53:04.972" v="20614"/>
            <ac:graphicFrameMkLst>
              <pc:docMk/>
              <pc:sldMasterMk cId="729942253" sldId="2147483648"/>
              <pc:sldLayoutMk cId="2687386369" sldId="2147483696"/>
              <ac:graphicFrameMk id="2" creationId="{6037EFD0-1F1F-60A4-08C8-2485B5BB551A}"/>
            </ac:graphicFrameMkLst>
          </pc:graphicFrameChg>
        </pc:sldLayoutChg>
        <pc:sldLayoutChg chg="modSp mod">
          <pc:chgData name="Abdi, Adnan" userId="503e002c-9b3b-4180-87fb-acabeb2b158a" providerId="ADAL" clId="{5C2CD6D4-C7A9-4CEF-AA9C-BC2977F70622}" dt="2024-02-20T12:53:04.912" v="20600"/>
          <pc:sldLayoutMkLst>
            <pc:docMk/>
            <pc:sldMasterMk cId="729942253" sldId="2147483648"/>
            <pc:sldLayoutMk cId="875942832" sldId="2147483700"/>
          </pc:sldLayoutMkLst>
          <pc:spChg chg="mod">
            <ac:chgData name="Abdi, Adnan" userId="503e002c-9b3b-4180-87fb-acabeb2b158a" providerId="ADAL" clId="{5C2CD6D4-C7A9-4CEF-AA9C-BC2977F70622}" dt="2024-02-20T12:52:58.591" v="17156" actId="790"/>
            <ac:spMkLst>
              <pc:docMk/>
              <pc:sldMasterMk cId="729942253" sldId="2147483648"/>
              <pc:sldLayoutMk cId="875942832" sldId="2147483700"/>
              <ac:spMk id="9" creationId="{00000000-0000-0000-0000-000000000000}"/>
            </ac:spMkLst>
          </pc:spChg>
          <pc:spChg chg="mod">
            <ac:chgData name="Abdi, Adnan" userId="503e002c-9b3b-4180-87fb-acabeb2b158a" providerId="ADAL" clId="{5C2CD6D4-C7A9-4CEF-AA9C-BC2977F70622}" dt="2024-02-20T12:52:58.594" v="17157" actId="790"/>
            <ac:spMkLst>
              <pc:docMk/>
              <pc:sldMasterMk cId="729942253" sldId="2147483648"/>
              <pc:sldLayoutMk cId="875942832" sldId="2147483700"/>
              <ac:spMk id="11" creationId="{00000000-0000-0000-0000-000000000000}"/>
            </ac:spMkLst>
          </pc:spChg>
          <pc:spChg chg="mod">
            <ac:chgData name="Abdi, Adnan" userId="503e002c-9b3b-4180-87fb-acabeb2b158a" providerId="ADAL" clId="{5C2CD6D4-C7A9-4CEF-AA9C-BC2977F70622}" dt="2024-02-20T12:52:58.597" v="17158" actId="790"/>
            <ac:spMkLst>
              <pc:docMk/>
              <pc:sldMasterMk cId="729942253" sldId="2147483648"/>
              <pc:sldLayoutMk cId="875942832" sldId="2147483700"/>
              <ac:spMk id="19" creationId="{00000000-0000-0000-0000-000000000000}"/>
            </ac:spMkLst>
          </pc:spChg>
          <pc:spChg chg="mod">
            <ac:chgData name="Abdi, Adnan" userId="503e002c-9b3b-4180-87fb-acabeb2b158a" providerId="ADAL" clId="{5C2CD6D4-C7A9-4CEF-AA9C-BC2977F70622}" dt="2024-02-20T12:52:58.600" v="17159" actId="790"/>
            <ac:spMkLst>
              <pc:docMk/>
              <pc:sldMasterMk cId="729942253" sldId="2147483648"/>
              <pc:sldLayoutMk cId="875942832" sldId="2147483700"/>
              <ac:spMk id="20" creationId="{00000000-0000-0000-0000-000000000000}"/>
            </ac:spMkLst>
          </pc:spChg>
          <pc:spChg chg="mod">
            <ac:chgData name="Abdi, Adnan" userId="503e002c-9b3b-4180-87fb-acabeb2b158a" providerId="ADAL" clId="{5C2CD6D4-C7A9-4CEF-AA9C-BC2977F70622}" dt="2024-02-20T12:52:58.602" v="17160" actId="790"/>
            <ac:spMkLst>
              <pc:docMk/>
              <pc:sldMasterMk cId="729942253" sldId="2147483648"/>
              <pc:sldLayoutMk cId="875942832" sldId="2147483700"/>
              <ac:spMk id="24" creationId="{00000000-0000-0000-0000-000000000000}"/>
            </ac:spMkLst>
          </pc:spChg>
          <pc:spChg chg="mod">
            <ac:chgData name="Abdi, Adnan" userId="503e002c-9b3b-4180-87fb-acabeb2b158a" providerId="ADAL" clId="{5C2CD6D4-C7A9-4CEF-AA9C-BC2977F70622}" dt="2024-02-20T12:52:58.606" v="17161" actId="790"/>
            <ac:spMkLst>
              <pc:docMk/>
              <pc:sldMasterMk cId="729942253" sldId="2147483648"/>
              <pc:sldLayoutMk cId="875942832" sldId="2147483700"/>
              <ac:spMk id="25" creationId="{00000000-0000-0000-0000-000000000000}"/>
            </ac:spMkLst>
          </pc:spChg>
          <pc:spChg chg="mod">
            <ac:chgData name="Abdi, Adnan" userId="503e002c-9b3b-4180-87fb-acabeb2b158a" providerId="ADAL" clId="{5C2CD6D4-C7A9-4CEF-AA9C-BC2977F70622}" dt="2024-02-20T12:52:58.608" v="17162" actId="790"/>
            <ac:spMkLst>
              <pc:docMk/>
              <pc:sldMasterMk cId="729942253" sldId="2147483648"/>
              <pc:sldLayoutMk cId="875942832" sldId="2147483700"/>
              <ac:spMk id="26" creationId="{00000000-0000-0000-0000-000000000000}"/>
            </ac:spMkLst>
          </pc:spChg>
          <pc:graphicFrameChg chg="mod ord modVis replST">
            <ac:chgData name="Abdi, Adnan" userId="503e002c-9b3b-4180-87fb-acabeb2b158a" providerId="ADAL" clId="{5C2CD6D4-C7A9-4CEF-AA9C-BC2977F70622}" dt="2024-02-20T12:53:04.912" v="20600"/>
            <ac:graphicFrameMkLst>
              <pc:docMk/>
              <pc:sldMasterMk cId="729942253" sldId="2147483648"/>
              <pc:sldLayoutMk cId="875942832" sldId="2147483700"/>
              <ac:graphicFrameMk id="2" creationId="{84AEA5F7-6B7C-201B-F8F1-2139ED8D339E}"/>
            </ac:graphicFrameMkLst>
          </pc:graphicFrameChg>
        </pc:sldLayoutChg>
        <pc:sldLayoutChg chg="modSp mod">
          <pc:chgData name="Abdi, Adnan" userId="503e002c-9b3b-4180-87fb-acabeb2b158a" providerId="ADAL" clId="{5C2CD6D4-C7A9-4CEF-AA9C-BC2977F70622}" dt="2024-02-20T12:53:04.332" v="20453"/>
          <pc:sldLayoutMkLst>
            <pc:docMk/>
            <pc:sldMasterMk cId="729942253" sldId="2147483648"/>
            <pc:sldLayoutMk cId="1540390374" sldId="2147483701"/>
          </pc:sldLayoutMkLst>
          <pc:spChg chg="mod">
            <ac:chgData name="Abdi, Adnan" userId="503e002c-9b3b-4180-87fb-acabeb2b158a" providerId="ADAL" clId="{5C2CD6D4-C7A9-4CEF-AA9C-BC2977F70622}" dt="2024-02-20T12:52:58.245" v="17055" actId="790"/>
            <ac:spMkLst>
              <pc:docMk/>
              <pc:sldMasterMk cId="729942253" sldId="2147483648"/>
              <pc:sldLayoutMk cId="1540390374" sldId="2147483701"/>
              <ac:spMk id="9" creationId="{00000000-0000-0000-0000-000000000000}"/>
            </ac:spMkLst>
          </pc:spChg>
          <pc:spChg chg="mod">
            <ac:chgData name="Abdi, Adnan" userId="503e002c-9b3b-4180-87fb-acabeb2b158a" providerId="ADAL" clId="{5C2CD6D4-C7A9-4CEF-AA9C-BC2977F70622}" dt="2024-02-20T12:52:58.260" v="17056" actId="790"/>
            <ac:spMkLst>
              <pc:docMk/>
              <pc:sldMasterMk cId="729942253" sldId="2147483648"/>
              <pc:sldLayoutMk cId="1540390374" sldId="2147483701"/>
              <ac:spMk id="10" creationId="{00000000-0000-0000-0000-000000000000}"/>
            </ac:spMkLst>
          </pc:spChg>
          <pc:spChg chg="mod">
            <ac:chgData name="Abdi, Adnan" userId="503e002c-9b3b-4180-87fb-acabeb2b158a" providerId="ADAL" clId="{5C2CD6D4-C7A9-4CEF-AA9C-BC2977F70622}" dt="2024-02-20T12:52:58.263" v="17057" actId="790"/>
            <ac:spMkLst>
              <pc:docMk/>
              <pc:sldMasterMk cId="729942253" sldId="2147483648"/>
              <pc:sldLayoutMk cId="1540390374" sldId="2147483701"/>
              <ac:spMk id="12" creationId="{00000000-0000-0000-0000-000000000000}"/>
            </ac:spMkLst>
          </pc:spChg>
          <pc:spChg chg="mod">
            <ac:chgData name="Abdi, Adnan" userId="503e002c-9b3b-4180-87fb-acabeb2b158a" providerId="ADAL" clId="{5C2CD6D4-C7A9-4CEF-AA9C-BC2977F70622}" dt="2024-02-20T12:52:58.263" v="17058" actId="790"/>
            <ac:spMkLst>
              <pc:docMk/>
              <pc:sldMasterMk cId="729942253" sldId="2147483648"/>
              <pc:sldLayoutMk cId="1540390374" sldId="2147483701"/>
              <ac:spMk id="14" creationId="{00000000-0000-0000-0000-000000000000}"/>
            </ac:spMkLst>
          </pc:spChg>
          <pc:graphicFrameChg chg="mod ord modVis replST">
            <ac:chgData name="Abdi, Adnan" userId="503e002c-9b3b-4180-87fb-acabeb2b158a" providerId="ADAL" clId="{5C2CD6D4-C7A9-4CEF-AA9C-BC2977F70622}" dt="2024-02-20T12:53:04.332" v="20453"/>
            <ac:graphicFrameMkLst>
              <pc:docMk/>
              <pc:sldMasterMk cId="729942253" sldId="2147483648"/>
              <pc:sldLayoutMk cId="1540390374" sldId="2147483701"/>
              <ac:graphicFrameMk id="2" creationId="{FDE9F2E5-6269-9BCF-02A9-02A137A3DB9B}"/>
            </ac:graphicFrameMkLst>
          </pc:graphicFrameChg>
        </pc:sldLayoutChg>
        <pc:sldLayoutChg chg="modSp mod">
          <pc:chgData name="Abdi, Adnan" userId="503e002c-9b3b-4180-87fb-acabeb2b158a" providerId="ADAL" clId="{5C2CD6D4-C7A9-4CEF-AA9C-BC2977F70622}" dt="2024-02-20T12:53:04.798" v="20572"/>
          <pc:sldLayoutMkLst>
            <pc:docMk/>
            <pc:sldMasterMk cId="729942253" sldId="2147483648"/>
            <pc:sldLayoutMk cId="63290165" sldId="2147483702"/>
          </pc:sldLayoutMkLst>
          <pc:spChg chg="mod">
            <ac:chgData name="Abdi, Adnan" userId="503e002c-9b3b-4180-87fb-acabeb2b158a" providerId="ADAL" clId="{5C2CD6D4-C7A9-4CEF-AA9C-BC2977F70622}" dt="2024-02-20T12:52:58.518" v="17134" actId="790"/>
            <ac:spMkLst>
              <pc:docMk/>
              <pc:sldMasterMk cId="729942253" sldId="2147483648"/>
              <pc:sldLayoutMk cId="63290165" sldId="2147483702"/>
              <ac:spMk id="9" creationId="{00000000-0000-0000-0000-000000000000}"/>
            </ac:spMkLst>
          </pc:spChg>
          <pc:spChg chg="mod">
            <ac:chgData name="Abdi, Adnan" userId="503e002c-9b3b-4180-87fb-acabeb2b158a" providerId="ADAL" clId="{5C2CD6D4-C7A9-4CEF-AA9C-BC2977F70622}" dt="2024-02-20T12:52:58.508" v="17131" actId="790"/>
            <ac:spMkLst>
              <pc:docMk/>
              <pc:sldMasterMk cId="729942253" sldId="2147483648"/>
              <pc:sldLayoutMk cId="63290165" sldId="2147483702"/>
              <ac:spMk id="14" creationId="{00000000-0000-0000-0000-000000000000}"/>
            </ac:spMkLst>
          </pc:spChg>
          <pc:spChg chg="mod">
            <ac:chgData name="Abdi, Adnan" userId="503e002c-9b3b-4180-87fb-acabeb2b158a" providerId="ADAL" clId="{5C2CD6D4-C7A9-4CEF-AA9C-BC2977F70622}" dt="2024-02-20T12:52:58.512" v="17132" actId="790"/>
            <ac:spMkLst>
              <pc:docMk/>
              <pc:sldMasterMk cId="729942253" sldId="2147483648"/>
              <pc:sldLayoutMk cId="63290165" sldId="2147483702"/>
              <ac:spMk id="15" creationId="{00000000-0000-0000-0000-000000000000}"/>
            </ac:spMkLst>
          </pc:spChg>
          <pc:spChg chg="mod">
            <ac:chgData name="Abdi, Adnan" userId="503e002c-9b3b-4180-87fb-acabeb2b158a" providerId="ADAL" clId="{5C2CD6D4-C7A9-4CEF-AA9C-BC2977F70622}" dt="2024-02-20T12:52:58.515" v="17133" actId="790"/>
            <ac:spMkLst>
              <pc:docMk/>
              <pc:sldMasterMk cId="729942253" sldId="2147483648"/>
              <pc:sldLayoutMk cId="63290165" sldId="2147483702"/>
              <ac:spMk id="17" creationId="{00000000-0000-0000-0000-000000000000}"/>
            </ac:spMkLst>
          </pc:spChg>
          <pc:spChg chg="mod">
            <ac:chgData name="Abdi, Adnan" userId="503e002c-9b3b-4180-87fb-acabeb2b158a" providerId="ADAL" clId="{5C2CD6D4-C7A9-4CEF-AA9C-BC2977F70622}" dt="2024-02-20T12:52:58.522" v="17135" actId="790"/>
            <ac:spMkLst>
              <pc:docMk/>
              <pc:sldMasterMk cId="729942253" sldId="2147483648"/>
              <pc:sldLayoutMk cId="63290165" sldId="2147483702"/>
              <ac:spMk id="21" creationId="{00000000-0000-0000-0000-000000000000}"/>
            </ac:spMkLst>
          </pc:spChg>
          <pc:spChg chg="mod">
            <ac:chgData name="Abdi, Adnan" userId="503e002c-9b3b-4180-87fb-acabeb2b158a" providerId="ADAL" clId="{5C2CD6D4-C7A9-4CEF-AA9C-BC2977F70622}" dt="2024-02-20T12:52:58.526" v="17136" actId="790"/>
            <ac:spMkLst>
              <pc:docMk/>
              <pc:sldMasterMk cId="729942253" sldId="2147483648"/>
              <pc:sldLayoutMk cId="63290165" sldId="2147483702"/>
              <ac:spMk id="22" creationId="{00000000-0000-0000-0000-000000000000}"/>
            </ac:spMkLst>
          </pc:spChg>
          <pc:graphicFrameChg chg="mod ord modVis replST">
            <ac:chgData name="Abdi, Adnan" userId="503e002c-9b3b-4180-87fb-acabeb2b158a" providerId="ADAL" clId="{5C2CD6D4-C7A9-4CEF-AA9C-BC2977F70622}" dt="2024-02-20T12:53:04.798" v="20572"/>
            <ac:graphicFrameMkLst>
              <pc:docMk/>
              <pc:sldMasterMk cId="729942253" sldId="2147483648"/>
              <pc:sldLayoutMk cId="63290165" sldId="2147483702"/>
              <ac:graphicFrameMk id="2" creationId="{21EAB0D7-2325-8D6D-F528-BB4993806116}"/>
            </ac:graphicFrameMkLst>
          </pc:graphicFrameChg>
        </pc:sldLayoutChg>
        <pc:sldLayoutChg chg="modSp mod">
          <pc:chgData name="Abdi, Adnan" userId="503e002c-9b3b-4180-87fb-acabeb2b158a" providerId="ADAL" clId="{5C2CD6D4-C7A9-4CEF-AA9C-BC2977F70622}" dt="2024-02-20T12:53:04.998" v="20621"/>
          <pc:sldLayoutMkLst>
            <pc:docMk/>
            <pc:sldMasterMk cId="729942253" sldId="2147483648"/>
            <pc:sldLayoutMk cId="3583285883" sldId="2147483703"/>
          </pc:sldLayoutMkLst>
          <pc:spChg chg="mod">
            <ac:chgData name="Abdi, Adnan" userId="503e002c-9b3b-4180-87fb-acabeb2b158a" providerId="ADAL" clId="{5C2CD6D4-C7A9-4CEF-AA9C-BC2977F70622}" dt="2024-02-20T12:52:58.631" v="17172" actId="790"/>
            <ac:spMkLst>
              <pc:docMk/>
              <pc:sldMasterMk cId="729942253" sldId="2147483648"/>
              <pc:sldLayoutMk cId="3583285883" sldId="2147483703"/>
              <ac:spMk id="3" creationId="{00000000-0000-0000-0000-000000000000}"/>
            </ac:spMkLst>
          </pc:spChg>
          <pc:spChg chg="mod">
            <ac:chgData name="Abdi, Adnan" userId="503e002c-9b3b-4180-87fb-acabeb2b158a" providerId="ADAL" clId="{5C2CD6D4-C7A9-4CEF-AA9C-BC2977F70622}" dt="2024-02-20T12:52:58.631" v="17173" actId="790"/>
            <ac:spMkLst>
              <pc:docMk/>
              <pc:sldMasterMk cId="729942253" sldId="2147483648"/>
              <pc:sldLayoutMk cId="3583285883" sldId="2147483703"/>
              <ac:spMk id="4" creationId="{00000000-0000-0000-0000-000000000000}"/>
            </ac:spMkLst>
          </pc:spChg>
          <pc:spChg chg="mod">
            <ac:chgData name="Abdi, Adnan" userId="503e002c-9b3b-4180-87fb-acabeb2b158a" providerId="ADAL" clId="{5C2CD6D4-C7A9-4CEF-AA9C-BC2977F70622}" dt="2024-02-20T12:52:58.631" v="17174" actId="790"/>
            <ac:spMkLst>
              <pc:docMk/>
              <pc:sldMasterMk cId="729942253" sldId="2147483648"/>
              <pc:sldLayoutMk cId="3583285883" sldId="2147483703"/>
              <ac:spMk id="5" creationId="{00000000-0000-0000-0000-000000000000}"/>
            </ac:spMkLst>
          </pc:spChg>
          <pc:graphicFrameChg chg="mod ord modVis replST">
            <ac:chgData name="Abdi, Adnan" userId="503e002c-9b3b-4180-87fb-acabeb2b158a" providerId="ADAL" clId="{5C2CD6D4-C7A9-4CEF-AA9C-BC2977F70622}" dt="2024-02-20T12:53:04.998" v="20621"/>
            <ac:graphicFrameMkLst>
              <pc:docMk/>
              <pc:sldMasterMk cId="729942253" sldId="2147483648"/>
              <pc:sldLayoutMk cId="3583285883" sldId="2147483703"/>
              <ac:graphicFrameMk id="6" creationId="{6496CC16-0E53-30A2-FC58-7E18A17F482A}"/>
            </ac:graphicFrameMkLst>
          </pc:graphicFrameChg>
        </pc:sldLayoutChg>
        <pc:sldLayoutChg chg="modSp mod">
          <pc:chgData name="Abdi, Adnan" userId="503e002c-9b3b-4180-87fb-acabeb2b158a" providerId="ADAL" clId="{5C2CD6D4-C7A9-4CEF-AA9C-BC2977F70622}" dt="2024-02-20T12:53:04.861" v="20586"/>
          <pc:sldLayoutMkLst>
            <pc:docMk/>
            <pc:sldMasterMk cId="729942253" sldId="2147483648"/>
            <pc:sldLayoutMk cId="2535803264" sldId="2147483704"/>
          </pc:sldLayoutMkLst>
          <pc:spChg chg="mod">
            <ac:chgData name="Abdi, Adnan" userId="503e002c-9b3b-4180-87fb-acabeb2b158a" providerId="ADAL" clId="{5C2CD6D4-C7A9-4CEF-AA9C-BC2977F70622}" dt="2024-02-20T12:52:58.558" v="17146" actId="790"/>
            <ac:spMkLst>
              <pc:docMk/>
              <pc:sldMasterMk cId="729942253" sldId="2147483648"/>
              <pc:sldLayoutMk cId="2535803264" sldId="2147483704"/>
              <ac:spMk id="9" creationId="{00000000-0000-0000-0000-000000000000}"/>
            </ac:spMkLst>
          </pc:spChg>
          <pc:spChg chg="mod">
            <ac:chgData name="Abdi, Adnan" userId="503e002c-9b3b-4180-87fb-acabeb2b158a" providerId="ADAL" clId="{5C2CD6D4-C7A9-4CEF-AA9C-BC2977F70622}" dt="2024-02-20T12:52:58.561" v="17147" actId="790"/>
            <ac:spMkLst>
              <pc:docMk/>
              <pc:sldMasterMk cId="729942253" sldId="2147483648"/>
              <pc:sldLayoutMk cId="2535803264" sldId="2147483704"/>
              <ac:spMk id="12" creationId="{00000000-0000-0000-0000-000000000000}"/>
            </ac:spMkLst>
          </pc:spChg>
          <pc:spChg chg="mod">
            <ac:chgData name="Abdi, Adnan" userId="503e002c-9b3b-4180-87fb-acabeb2b158a" providerId="ADAL" clId="{5C2CD6D4-C7A9-4CEF-AA9C-BC2977F70622}" dt="2024-02-20T12:52:58.551" v="17143" actId="790"/>
            <ac:spMkLst>
              <pc:docMk/>
              <pc:sldMasterMk cId="729942253" sldId="2147483648"/>
              <pc:sldLayoutMk cId="2535803264" sldId="2147483704"/>
              <ac:spMk id="14" creationId="{00000000-0000-0000-0000-000000000000}"/>
            </ac:spMkLst>
          </pc:spChg>
          <pc:spChg chg="mod">
            <ac:chgData name="Abdi, Adnan" userId="503e002c-9b3b-4180-87fb-acabeb2b158a" providerId="ADAL" clId="{5C2CD6D4-C7A9-4CEF-AA9C-BC2977F70622}" dt="2024-02-20T12:52:58.554" v="17144" actId="790"/>
            <ac:spMkLst>
              <pc:docMk/>
              <pc:sldMasterMk cId="729942253" sldId="2147483648"/>
              <pc:sldLayoutMk cId="2535803264" sldId="2147483704"/>
              <ac:spMk id="15" creationId="{00000000-0000-0000-0000-000000000000}"/>
            </ac:spMkLst>
          </pc:spChg>
          <pc:spChg chg="mod">
            <ac:chgData name="Abdi, Adnan" userId="503e002c-9b3b-4180-87fb-acabeb2b158a" providerId="ADAL" clId="{5C2CD6D4-C7A9-4CEF-AA9C-BC2977F70622}" dt="2024-02-20T12:52:58.556" v="17145" actId="790"/>
            <ac:spMkLst>
              <pc:docMk/>
              <pc:sldMasterMk cId="729942253" sldId="2147483648"/>
              <pc:sldLayoutMk cId="2535803264" sldId="2147483704"/>
              <ac:spMk id="17" creationId="{00000000-0000-0000-0000-000000000000}"/>
            </ac:spMkLst>
          </pc:spChg>
          <pc:spChg chg="mod">
            <ac:chgData name="Abdi, Adnan" userId="503e002c-9b3b-4180-87fb-acabeb2b158a" providerId="ADAL" clId="{5C2CD6D4-C7A9-4CEF-AA9C-BC2977F70622}" dt="2024-02-20T12:52:58.569" v="17149" actId="790"/>
            <ac:spMkLst>
              <pc:docMk/>
              <pc:sldMasterMk cId="729942253" sldId="2147483648"/>
              <pc:sldLayoutMk cId="2535803264" sldId="2147483704"/>
              <ac:spMk id="19" creationId="{78D94F0C-35FF-3B43-88BA-1DD2020DBB57}"/>
            </ac:spMkLst>
          </pc:spChg>
          <pc:spChg chg="mod">
            <ac:chgData name="Abdi, Adnan" userId="503e002c-9b3b-4180-87fb-acabeb2b158a" providerId="ADAL" clId="{5C2CD6D4-C7A9-4CEF-AA9C-BC2977F70622}" dt="2024-02-20T12:52:58.565" v="17148" actId="790"/>
            <ac:spMkLst>
              <pc:docMk/>
              <pc:sldMasterMk cId="729942253" sldId="2147483648"/>
              <pc:sldLayoutMk cId="2535803264" sldId="2147483704"/>
              <ac:spMk id="28" creationId="{00000000-0000-0000-0000-000000000000}"/>
            </ac:spMkLst>
          </pc:spChg>
          <pc:graphicFrameChg chg="mod ord modVis replST">
            <ac:chgData name="Abdi, Adnan" userId="503e002c-9b3b-4180-87fb-acabeb2b158a" providerId="ADAL" clId="{5C2CD6D4-C7A9-4CEF-AA9C-BC2977F70622}" dt="2024-02-20T12:53:04.861" v="20586"/>
            <ac:graphicFrameMkLst>
              <pc:docMk/>
              <pc:sldMasterMk cId="729942253" sldId="2147483648"/>
              <pc:sldLayoutMk cId="2535803264" sldId="2147483704"/>
              <ac:graphicFrameMk id="2" creationId="{6F6F90F5-1509-D09E-0702-BD9611172438}"/>
            </ac:graphicFrameMkLst>
          </pc:graphicFrameChg>
        </pc:sldLayoutChg>
        <pc:sldLayoutChg chg="modSp mod">
          <pc:chgData name="Abdi, Adnan" userId="503e002c-9b3b-4180-87fb-acabeb2b158a" providerId="ADAL" clId="{5C2CD6D4-C7A9-4CEF-AA9C-BC2977F70622}" dt="2024-02-20T12:53:05.081" v="20643"/>
          <pc:sldLayoutMkLst>
            <pc:docMk/>
            <pc:sldMasterMk cId="729942253" sldId="2147483648"/>
            <pc:sldLayoutMk cId="2207341520" sldId="2147483707"/>
          </pc:sldLayoutMkLst>
          <pc:spChg chg="mod">
            <ac:chgData name="Abdi, Adnan" userId="503e002c-9b3b-4180-87fb-acabeb2b158a" providerId="ADAL" clId="{5C2CD6D4-C7A9-4CEF-AA9C-BC2977F70622}" dt="2024-02-20T12:52:58.681" v="17188" actId="790"/>
            <ac:spMkLst>
              <pc:docMk/>
              <pc:sldMasterMk cId="729942253" sldId="2147483648"/>
              <pc:sldLayoutMk cId="2207341520" sldId="2147483707"/>
              <ac:spMk id="11" creationId="{00000000-0000-0000-0000-000000000000}"/>
            </ac:spMkLst>
          </pc:spChg>
          <pc:spChg chg="mod">
            <ac:chgData name="Abdi, Adnan" userId="503e002c-9b3b-4180-87fb-acabeb2b158a" providerId="ADAL" clId="{5C2CD6D4-C7A9-4CEF-AA9C-BC2977F70622}" dt="2024-02-20T12:52:58.673" v="17185" actId="790"/>
            <ac:spMkLst>
              <pc:docMk/>
              <pc:sldMasterMk cId="729942253" sldId="2147483648"/>
              <pc:sldLayoutMk cId="2207341520" sldId="2147483707"/>
              <ac:spMk id="14" creationId="{00000000-0000-0000-0000-000000000000}"/>
            </ac:spMkLst>
          </pc:spChg>
          <pc:spChg chg="mod">
            <ac:chgData name="Abdi, Adnan" userId="503e002c-9b3b-4180-87fb-acabeb2b158a" providerId="ADAL" clId="{5C2CD6D4-C7A9-4CEF-AA9C-BC2977F70622}" dt="2024-02-20T12:52:58.675" v="17186" actId="790"/>
            <ac:spMkLst>
              <pc:docMk/>
              <pc:sldMasterMk cId="729942253" sldId="2147483648"/>
              <pc:sldLayoutMk cId="2207341520" sldId="2147483707"/>
              <ac:spMk id="15" creationId="{00000000-0000-0000-0000-000000000000}"/>
            </ac:spMkLst>
          </pc:spChg>
          <pc:spChg chg="mod">
            <ac:chgData name="Abdi, Adnan" userId="503e002c-9b3b-4180-87fb-acabeb2b158a" providerId="ADAL" clId="{5C2CD6D4-C7A9-4CEF-AA9C-BC2977F70622}" dt="2024-02-20T12:52:58.678" v="17187" actId="790"/>
            <ac:spMkLst>
              <pc:docMk/>
              <pc:sldMasterMk cId="729942253" sldId="2147483648"/>
              <pc:sldLayoutMk cId="2207341520" sldId="2147483707"/>
              <ac:spMk id="17" creationId="{00000000-0000-0000-0000-000000000000}"/>
            </ac:spMkLst>
          </pc:spChg>
          <pc:graphicFrameChg chg="mod ord modVis replST">
            <ac:chgData name="Abdi, Adnan" userId="503e002c-9b3b-4180-87fb-acabeb2b158a" providerId="ADAL" clId="{5C2CD6D4-C7A9-4CEF-AA9C-BC2977F70622}" dt="2024-02-20T12:53:05.081" v="20643"/>
            <ac:graphicFrameMkLst>
              <pc:docMk/>
              <pc:sldMasterMk cId="729942253" sldId="2147483648"/>
              <pc:sldLayoutMk cId="2207341520" sldId="2147483707"/>
              <ac:graphicFrameMk id="2" creationId="{2EC3026F-8D8B-0622-606C-FA3B1E6B9FAB}"/>
            </ac:graphicFrameMkLst>
          </pc:graphicFrameChg>
        </pc:sldLayoutChg>
        <pc:sldLayoutChg chg="modSp mod">
          <pc:chgData name="Abdi, Adnan" userId="503e002c-9b3b-4180-87fb-acabeb2b158a" providerId="ADAL" clId="{5C2CD6D4-C7A9-4CEF-AA9C-BC2977F70622}" dt="2024-02-20T12:53:05.100" v="20650"/>
          <pc:sldLayoutMkLst>
            <pc:docMk/>
            <pc:sldMasterMk cId="729942253" sldId="2147483648"/>
            <pc:sldLayoutMk cId="1021886745" sldId="2147483708"/>
          </pc:sldLayoutMkLst>
          <pc:spChg chg="mod">
            <ac:chgData name="Abdi, Adnan" userId="503e002c-9b3b-4180-87fb-acabeb2b158a" providerId="ADAL" clId="{5C2CD6D4-C7A9-4CEF-AA9C-BC2977F70622}" dt="2024-02-20T12:52:58.695" v="17192" actId="790"/>
            <ac:spMkLst>
              <pc:docMk/>
              <pc:sldMasterMk cId="729942253" sldId="2147483648"/>
              <pc:sldLayoutMk cId="1021886745" sldId="2147483708"/>
              <ac:spMk id="7" creationId="{00000000-0000-0000-0000-000000000000}"/>
            </ac:spMkLst>
          </pc:spChg>
          <pc:spChg chg="mod">
            <ac:chgData name="Abdi, Adnan" userId="503e002c-9b3b-4180-87fb-acabeb2b158a" providerId="ADAL" clId="{5C2CD6D4-C7A9-4CEF-AA9C-BC2977F70622}" dt="2024-02-20T12:52:58.697" v="17193" actId="790"/>
            <ac:spMkLst>
              <pc:docMk/>
              <pc:sldMasterMk cId="729942253" sldId="2147483648"/>
              <pc:sldLayoutMk cId="1021886745" sldId="2147483708"/>
              <ac:spMk id="8" creationId="{00000000-0000-0000-0000-000000000000}"/>
            </ac:spMkLst>
          </pc:spChg>
          <pc:spChg chg="mod">
            <ac:chgData name="Abdi, Adnan" userId="503e002c-9b3b-4180-87fb-acabeb2b158a" providerId="ADAL" clId="{5C2CD6D4-C7A9-4CEF-AA9C-BC2977F70622}" dt="2024-02-20T12:52:58.689" v="17190" actId="790"/>
            <ac:spMkLst>
              <pc:docMk/>
              <pc:sldMasterMk cId="729942253" sldId="2147483648"/>
              <pc:sldLayoutMk cId="1021886745" sldId="2147483708"/>
              <ac:spMk id="9" creationId="{00000000-0000-0000-0000-000000000000}"/>
            </ac:spMkLst>
          </pc:spChg>
          <pc:spChg chg="mod">
            <ac:chgData name="Abdi, Adnan" userId="503e002c-9b3b-4180-87fb-acabeb2b158a" providerId="ADAL" clId="{5C2CD6D4-C7A9-4CEF-AA9C-BC2977F70622}" dt="2024-02-20T12:52:58.692" v="17191" actId="790"/>
            <ac:spMkLst>
              <pc:docMk/>
              <pc:sldMasterMk cId="729942253" sldId="2147483648"/>
              <pc:sldLayoutMk cId="1021886745" sldId="2147483708"/>
              <ac:spMk id="10" creationId="{00000000-0000-0000-0000-000000000000}"/>
            </ac:spMkLst>
          </pc:spChg>
          <pc:spChg chg="mod">
            <ac:chgData name="Abdi, Adnan" userId="503e002c-9b3b-4180-87fb-acabeb2b158a" providerId="ADAL" clId="{5C2CD6D4-C7A9-4CEF-AA9C-BC2977F70622}" dt="2024-02-20T12:52:58.686" v="17189" actId="790"/>
            <ac:spMkLst>
              <pc:docMk/>
              <pc:sldMasterMk cId="729942253" sldId="2147483648"/>
              <pc:sldLayoutMk cId="1021886745" sldId="2147483708"/>
              <ac:spMk id="14" creationId="{00000000-0000-0000-0000-000000000000}"/>
            </ac:spMkLst>
          </pc:spChg>
          <pc:graphicFrameChg chg="mod ord modVis replST">
            <ac:chgData name="Abdi, Adnan" userId="503e002c-9b3b-4180-87fb-acabeb2b158a" providerId="ADAL" clId="{5C2CD6D4-C7A9-4CEF-AA9C-BC2977F70622}" dt="2024-02-20T12:53:05.100" v="20650"/>
            <ac:graphicFrameMkLst>
              <pc:docMk/>
              <pc:sldMasterMk cId="729942253" sldId="2147483648"/>
              <pc:sldLayoutMk cId="1021886745" sldId="2147483708"/>
              <ac:graphicFrameMk id="2" creationId="{7A52914D-D207-595C-B324-A95498F4E53A}"/>
            </ac:graphicFrameMkLst>
          </pc:graphicFrameChg>
        </pc:sldLayoutChg>
        <pc:sldLayoutChg chg="delSp modSp mod">
          <pc:chgData name="Abdi, Adnan" userId="503e002c-9b3b-4180-87fb-acabeb2b158a" providerId="ADAL" clId="{5C2CD6D4-C7A9-4CEF-AA9C-BC2977F70622}" dt="2024-02-20T12:53:05.049" v="20636"/>
          <pc:sldLayoutMkLst>
            <pc:docMk/>
            <pc:sldMasterMk cId="729942253" sldId="2147483648"/>
            <pc:sldLayoutMk cId="1982198922" sldId="2147483778"/>
          </pc:sldLayoutMkLst>
          <pc:spChg chg="del mod modVis">
            <ac:chgData name="Abdi, Adnan" userId="503e002c-9b3b-4180-87fb-acabeb2b158a" providerId="ADAL" clId="{5C2CD6D4-C7A9-4CEF-AA9C-BC2977F70622}" dt="2024-02-20T12:53:05.023" v="20629" actId="478"/>
            <ac:spMkLst>
              <pc:docMk/>
              <pc:sldMasterMk cId="729942253" sldId="2147483648"/>
              <pc:sldLayoutMk cId="1982198922" sldId="2147483778"/>
              <ac:spMk id="2" creationId="{6B3E457A-024B-83D1-2CBF-35CE37BD36B2}"/>
            </ac:spMkLst>
          </pc:spChg>
          <pc:spChg chg="mod">
            <ac:chgData name="Abdi, Adnan" userId="503e002c-9b3b-4180-87fb-acabeb2b158a" providerId="ADAL" clId="{5C2CD6D4-C7A9-4CEF-AA9C-BC2977F70622}" dt="2024-02-20T12:52:58.668" v="17183" actId="947"/>
            <ac:spMkLst>
              <pc:docMk/>
              <pc:sldMasterMk cId="729942253" sldId="2147483648"/>
              <pc:sldLayoutMk cId="1982198922" sldId="2147483778"/>
              <ac:spMk id="7" creationId="{00000000-0000-0000-0000-000000000000}"/>
            </ac:spMkLst>
          </pc:spChg>
          <pc:spChg chg="mod">
            <ac:chgData name="Abdi, Adnan" userId="503e002c-9b3b-4180-87fb-acabeb2b158a" providerId="ADAL" clId="{5C2CD6D4-C7A9-4CEF-AA9C-BC2977F70622}" dt="2024-02-20T12:53:02.351" v="19294" actId="948"/>
            <ac:spMkLst>
              <pc:docMk/>
              <pc:sldMasterMk cId="729942253" sldId="2147483648"/>
              <pc:sldLayoutMk cId="1982198922" sldId="2147483778"/>
              <ac:spMk id="8" creationId="{00000000-0000-0000-0000-000000000000}"/>
            </ac:spMkLst>
          </pc:spChg>
          <pc:spChg chg="mod">
            <ac:chgData name="Abdi, Adnan" userId="503e002c-9b3b-4180-87fb-acabeb2b158a" providerId="ADAL" clId="{5C2CD6D4-C7A9-4CEF-AA9C-BC2977F70622}" dt="2024-02-20T12:52:58.664" v="17181" actId="790"/>
            <ac:spMkLst>
              <pc:docMk/>
              <pc:sldMasterMk cId="729942253" sldId="2147483648"/>
              <pc:sldLayoutMk cId="1982198922" sldId="2147483778"/>
              <ac:spMk id="57" creationId="{00000000-0000-0000-0000-000000000000}"/>
            </ac:spMkLst>
          </pc:spChg>
          <pc:graphicFrameChg chg="mod ord modVis replST">
            <ac:chgData name="Abdi, Adnan" userId="503e002c-9b3b-4180-87fb-acabeb2b158a" providerId="ADAL" clId="{5C2CD6D4-C7A9-4CEF-AA9C-BC2977F70622}" dt="2024-02-20T12:53:05.049" v="20636"/>
            <ac:graphicFrameMkLst>
              <pc:docMk/>
              <pc:sldMasterMk cId="729942253" sldId="2147483648"/>
              <pc:sldLayoutMk cId="1982198922" sldId="2147483778"/>
              <ac:graphicFrameMk id="3" creationId="{7AA5FF1E-2256-B1AF-2C28-053FEE5F195D}"/>
            </ac:graphicFrameMkLst>
          </pc:graphicFrameChg>
        </pc:sldLayoutChg>
      </pc:sldMasterChg>
      <pc:sldMasterChg chg="delSp modSp mod modSldLayout">
        <pc:chgData name="Abdi, Adnan" userId="503e002c-9b3b-4180-87fb-acabeb2b158a" providerId="ADAL" clId="{5C2CD6D4-C7A9-4CEF-AA9C-BC2977F70622}" dt="2024-02-20T12:53:06.877" v="21127"/>
        <pc:sldMasterMkLst>
          <pc:docMk/>
          <pc:sldMasterMk cId="1321919033" sldId="2147483709"/>
        </pc:sldMasterMkLst>
        <pc:spChg chg="del mod modVis">
          <ac:chgData name="Abdi, Adnan" userId="503e002c-9b3b-4180-87fb-acabeb2b158a" providerId="ADAL" clId="{5C2CD6D4-C7A9-4CEF-AA9C-BC2977F70622}" dt="2024-02-20T12:53:05.100" v="20651" actId="478"/>
          <ac:spMkLst>
            <pc:docMk/>
            <pc:sldMasterMk cId="1321919033" sldId="2147483709"/>
            <ac:spMk id="3" creationId="{4022787A-57C5-A108-29DF-F0343FEBDB59}"/>
          </ac:spMkLst>
        </pc:spChg>
        <pc:spChg chg="mod">
          <ac:chgData name="Abdi, Adnan" userId="503e002c-9b3b-4180-87fb-acabeb2b158a" providerId="ADAL" clId="{5C2CD6D4-C7A9-4CEF-AA9C-BC2977F70622}" dt="2024-02-20T12:52:58.714" v="17198" actId="790"/>
          <ac:spMkLst>
            <pc:docMk/>
            <pc:sldMasterMk cId="1321919033" sldId="2147483709"/>
            <ac:spMk id="4" creationId="{00000000-0000-0000-0000-000000000000}"/>
          </ac:spMkLst>
        </pc:spChg>
        <pc:spChg chg="mod">
          <ac:chgData name="Abdi, Adnan" userId="503e002c-9b3b-4180-87fb-acabeb2b158a" providerId="ADAL" clId="{5C2CD6D4-C7A9-4CEF-AA9C-BC2977F70622}" dt="2024-02-20T12:53:02.384" v="19314" actId="948"/>
          <ac:spMkLst>
            <pc:docMk/>
            <pc:sldMasterMk cId="1321919033" sldId="2147483709"/>
            <ac:spMk id="9" creationId="{00000000-0000-0000-0000-000000000000}"/>
          </ac:spMkLst>
        </pc:spChg>
        <pc:spChg chg="mod">
          <ac:chgData name="Abdi, Adnan" userId="503e002c-9b3b-4180-87fb-acabeb2b158a" providerId="ADAL" clId="{5C2CD6D4-C7A9-4CEF-AA9C-BC2977F70622}" dt="2024-02-20T12:52:58.699" v="17194" actId="790"/>
          <ac:spMkLst>
            <pc:docMk/>
            <pc:sldMasterMk cId="1321919033" sldId="2147483709"/>
            <ac:spMk id="11" creationId="{00000000-0000-0000-0000-000000000000}"/>
          </ac:spMkLst>
        </pc:spChg>
        <pc:spChg chg="mod">
          <ac:chgData name="Abdi, Adnan" userId="503e002c-9b3b-4180-87fb-acabeb2b158a" providerId="ADAL" clId="{5C2CD6D4-C7A9-4CEF-AA9C-BC2977F70622}" dt="2024-02-20T12:52:58.714" v="17196" actId="947"/>
          <ac:spMkLst>
            <pc:docMk/>
            <pc:sldMasterMk cId="1321919033" sldId="2147483709"/>
            <ac:spMk id="12" creationId="{00000000-0000-0000-0000-000000000000}"/>
          </ac:spMkLst>
        </pc:spChg>
        <pc:graphicFrameChg chg="mod">
          <ac:chgData name="Abdi, Adnan" userId="503e002c-9b3b-4180-87fb-acabeb2b158a" providerId="ADAL" clId="{5C2CD6D4-C7A9-4CEF-AA9C-BC2977F70622}" dt="2024-02-20T12:53:05.100" v="20652" actId="1076"/>
          <ac:graphicFrameMkLst>
            <pc:docMk/>
            <pc:sldMasterMk cId="1321919033" sldId="2147483709"/>
            <ac:graphicFrameMk id="2" creationId="{00000000-0000-0000-0000-000000000000}"/>
          </ac:graphicFrameMkLst>
        </pc:graphicFrameChg>
        <pc:sldLayoutChg chg="delSp modSp mod">
          <pc:chgData name="Abdi, Adnan" userId="503e002c-9b3b-4180-87fb-acabeb2b158a" providerId="ADAL" clId="{5C2CD6D4-C7A9-4CEF-AA9C-BC2977F70622}" dt="2024-02-20T12:53:05.116" v="20654" actId="1076"/>
          <pc:sldLayoutMkLst>
            <pc:docMk/>
            <pc:sldMasterMk cId="1321919033" sldId="2147483709"/>
            <pc:sldLayoutMk cId="4101619815" sldId="2147483710"/>
          </pc:sldLayoutMkLst>
          <pc:spChg chg="del mod modVis">
            <ac:chgData name="Abdi, Adnan" userId="503e002c-9b3b-4180-87fb-acabeb2b158a" providerId="ADAL" clId="{5C2CD6D4-C7A9-4CEF-AA9C-BC2977F70622}" dt="2024-02-20T12:53:05.100" v="20653" actId="478"/>
            <ac:spMkLst>
              <pc:docMk/>
              <pc:sldMasterMk cId="1321919033" sldId="2147483709"/>
              <pc:sldLayoutMk cId="4101619815" sldId="2147483710"/>
              <ac:spMk id="2" creationId="{DBCB1751-080A-B326-8724-0FC5AD34677D}"/>
            </ac:spMkLst>
          </pc:spChg>
          <pc:spChg chg="mod">
            <ac:chgData name="Abdi, Adnan" userId="503e002c-9b3b-4180-87fb-acabeb2b158a" providerId="ADAL" clId="{5C2CD6D4-C7A9-4CEF-AA9C-BC2977F70622}" dt="2024-02-20T12:52:58.730" v="17200" actId="947"/>
            <ac:spMkLst>
              <pc:docMk/>
              <pc:sldMasterMk cId="1321919033" sldId="2147483709"/>
              <pc:sldLayoutMk cId="4101619815" sldId="2147483710"/>
              <ac:spMk id="3" creationId="{00000000-0000-0000-0000-000000000000}"/>
            </ac:spMkLst>
          </pc:spChg>
          <pc:spChg chg="mod">
            <ac:chgData name="Abdi, Adnan" userId="503e002c-9b3b-4180-87fb-acabeb2b158a" providerId="ADAL" clId="{5C2CD6D4-C7A9-4CEF-AA9C-BC2977F70622}" dt="2024-02-20T12:52:58.730" v="17202" actId="947"/>
            <ac:spMkLst>
              <pc:docMk/>
              <pc:sldMasterMk cId="1321919033" sldId="2147483709"/>
              <pc:sldLayoutMk cId="4101619815" sldId="2147483710"/>
              <ac:spMk id="14" creationId="{00000000-0000-0000-0000-000000000000}"/>
            </ac:spMkLst>
          </pc:spChg>
          <pc:spChg chg="mod">
            <ac:chgData name="Abdi, Adnan" userId="503e002c-9b3b-4180-87fb-acabeb2b158a" providerId="ADAL" clId="{5C2CD6D4-C7A9-4CEF-AA9C-BC2977F70622}" dt="2024-02-20T12:52:58.730" v="17203" actId="790"/>
            <ac:spMkLst>
              <pc:docMk/>
              <pc:sldMasterMk cId="1321919033" sldId="2147483709"/>
              <pc:sldLayoutMk cId="4101619815" sldId="2147483710"/>
              <ac:spMk id="20" creationId="{00000000-0000-0000-0000-000000000000}"/>
            </ac:spMkLst>
          </pc:spChg>
          <pc:spChg chg="mod">
            <ac:chgData name="Abdi, Adnan" userId="503e002c-9b3b-4180-87fb-acabeb2b158a" providerId="ADAL" clId="{5C2CD6D4-C7A9-4CEF-AA9C-BC2977F70622}" dt="2024-02-20T12:52:58.730" v="17205" actId="947"/>
            <ac:spMkLst>
              <pc:docMk/>
              <pc:sldMasterMk cId="1321919033" sldId="2147483709"/>
              <pc:sldLayoutMk cId="4101619815" sldId="2147483710"/>
              <ac:spMk id="21" creationId="{00000000-0000-0000-0000-000000000000}"/>
            </ac:spMkLst>
          </pc:spChg>
          <pc:spChg chg="mod">
            <ac:chgData name="Abdi, Adnan" userId="503e002c-9b3b-4180-87fb-acabeb2b158a" providerId="ADAL" clId="{5C2CD6D4-C7A9-4CEF-AA9C-BC2977F70622}" dt="2024-02-20T12:52:58.730" v="17206" actId="790"/>
            <ac:spMkLst>
              <pc:docMk/>
              <pc:sldMasterMk cId="1321919033" sldId="2147483709"/>
              <pc:sldLayoutMk cId="4101619815" sldId="2147483710"/>
              <ac:spMk id="22" creationId="{00000000-0000-0000-0000-000000000000}"/>
            </ac:spMkLst>
          </pc:spChg>
          <pc:spChg chg="mod">
            <ac:chgData name="Abdi, Adnan" userId="503e002c-9b3b-4180-87fb-acabeb2b158a" providerId="ADAL" clId="{5C2CD6D4-C7A9-4CEF-AA9C-BC2977F70622}" dt="2024-02-20T12:52:58.730" v="17207" actId="790"/>
            <ac:spMkLst>
              <pc:docMk/>
              <pc:sldMasterMk cId="1321919033" sldId="2147483709"/>
              <pc:sldLayoutMk cId="4101619815" sldId="2147483710"/>
              <ac:spMk id="26" creationId="{00000000-0000-0000-0000-000000000000}"/>
            </ac:spMkLst>
          </pc:spChg>
          <pc:spChg chg="mod">
            <ac:chgData name="Abdi, Adnan" userId="503e002c-9b3b-4180-87fb-acabeb2b158a" providerId="ADAL" clId="{5C2CD6D4-C7A9-4CEF-AA9C-BC2977F70622}" dt="2024-02-20T12:53:02.402" v="19332" actId="948"/>
            <ac:spMkLst>
              <pc:docMk/>
              <pc:sldMasterMk cId="1321919033" sldId="2147483709"/>
              <pc:sldLayoutMk cId="4101619815" sldId="2147483710"/>
              <ac:spMk id="27" creationId="{00000000-0000-0000-0000-000000000000}"/>
            </ac:spMkLst>
          </pc:spChg>
          <pc:graphicFrameChg chg="mod">
            <ac:chgData name="Abdi, Adnan" userId="503e002c-9b3b-4180-87fb-acabeb2b158a" providerId="ADAL" clId="{5C2CD6D4-C7A9-4CEF-AA9C-BC2977F70622}" dt="2024-02-20T12:53:05.116" v="20654" actId="1076"/>
            <ac:graphicFrameMkLst>
              <pc:docMk/>
              <pc:sldMasterMk cId="1321919033" sldId="2147483709"/>
              <pc:sldLayoutMk cId="4101619815" sldId="2147483710"/>
              <ac:graphicFrameMk id="4" creationId="{00000000-0000-0000-0000-000000000000}"/>
            </ac:graphicFrameMkLst>
          </pc:graphicFrameChg>
        </pc:sldLayoutChg>
        <pc:sldLayoutChg chg="delSp modSp mod">
          <pc:chgData name="Abdi, Adnan" userId="503e002c-9b3b-4180-87fb-acabeb2b158a" providerId="ADAL" clId="{5C2CD6D4-C7A9-4CEF-AA9C-BC2977F70622}" dt="2024-02-20T12:53:04.248" v="20428"/>
          <pc:sldLayoutMkLst>
            <pc:docMk/>
            <pc:sldMasterMk cId="1321919033" sldId="2147483709"/>
            <pc:sldLayoutMk cId="892444416" sldId="2147483711"/>
          </pc:sldLayoutMkLst>
          <pc:spChg chg="del mod modVis">
            <ac:chgData name="Abdi, Adnan" userId="503e002c-9b3b-4180-87fb-acabeb2b158a" providerId="ADAL" clId="{5C2CD6D4-C7A9-4CEF-AA9C-BC2977F70622}" dt="2024-02-20T12:53:04.217" v="20421" actId="478"/>
            <ac:spMkLst>
              <pc:docMk/>
              <pc:sldMasterMk cId="1321919033" sldId="2147483709"/>
              <pc:sldLayoutMk cId="892444416" sldId="2147483711"/>
              <ac:spMk id="2" creationId="{0E647441-412A-FFB0-5B3F-534630BA2371}"/>
            </ac:spMkLst>
          </pc:spChg>
          <pc:spChg chg="mod">
            <ac:chgData name="Abdi, Adnan" userId="503e002c-9b3b-4180-87fb-acabeb2b158a" providerId="ADAL" clId="{5C2CD6D4-C7A9-4CEF-AA9C-BC2977F70622}" dt="2024-02-20T12:52:58.186" v="17036" actId="790"/>
            <ac:spMkLst>
              <pc:docMk/>
              <pc:sldMasterMk cId="1321919033" sldId="2147483709"/>
              <pc:sldLayoutMk cId="892444416" sldId="2147483711"/>
              <ac:spMk id="3" creationId="{00000000-0000-0000-0000-000000000000}"/>
            </ac:spMkLst>
          </pc:spChg>
          <pc:spChg chg="mod">
            <ac:chgData name="Abdi, Adnan" userId="503e002c-9b3b-4180-87fb-acabeb2b158a" providerId="ADAL" clId="{5C2CD6D4-C7A9-4CEF-AA9C-BC2977F70622}" dt="2024-02-20T12:53:02.220" v="19220" actId="948"/>
            <ac:spMkLst>
              <pc:docMk/>
              <pc:sldMasterMk cId="1321919033" sldId="2147483709"/>
              <pc:sldLayoutMk cId="892444416" sldId="2147483711"/>
              <ac:spMk id="5" creationId="{00000000-0000-0000-0000-000000000000}"/>
            </ac:spMkLst>
          </pc:spChg>
          <pc:spChg chg="mod">
            <ac:chgData name="Abdi, Adnan" userId="503e002c-9b3b-4180-87fb-acabeb2b158a" providerId="ADAL" clId="{5C2CD6D4-C7A9-4CEF-AA9C-BC2977F70622}" dt="2024-02-20T12:52:58.189" v="17038" actId="947"/>
            <ac:spMkLst>
              <pc:docMk/>
              <pc:sldMasterMk cId="1321919033" sldId="2147483709"/>
              <pc:sldLayoutMk cId="892444416" sldId="2147483711"/>
              <ac:spMk id="7" creationId="{00000000-0000-0000-0000-000000000000}"/>
            </ac:spMkLst>
          </pc:spChg>
          <pc:graphicFrameChg chg="mod ord modVis replST">
            <ac:chgData name="Abdi, Adnan" userId="503e002c-9b3b-4180-87fb-acabeb2b158a" providerId="ADAL" clId="{5C2CD6D4-C7A9-4CEF-AA9C-BC2977F70622}" dt="2024-02-20T12:53:04.248" v="20428"/>
            <ac:graphicFrameMkLst>
              <pc:docMk/>
              <pc:sldMasterMk cId="1321919033" sldId="2147483709"/>
              <pc:sldLayoutMk cId="892444416" sldId="2147483711"/>
              <ac:graphicFrameMk id="4" creationId="{B990F055-3713-A291-FB57-97D45121E446}"/>
            </ac:graphicFrameMkLst>
          </pc:graphicFrameChg>
        </pc:sldLayoutChg>
        <pc:sldLayoutChg chg="delSp modSp mod">
          <pc:chgData name="Abdi, Adnan" userId="503e002c-9b3b-4180-87fb-acabeb2b158a" providerId="ADAL" clId="{5C2CD6D4-C7A9-4CEF-AA9C-BC2977F70622}" dt="2024-02-20T12:53:04.300" v="20444"/>
          <pc:sldLayoutMkLst>
            <pc:docMk/>
            <pc:sldMasterMk cId="1321919033" sldId="2147483709"/>
            <pc:sldLayoutMk cId="233603261" sldId="2147483712"/>
          </pc:sldLayoutMkLst>
          <pc:spChg chg="mod">
            <ac:chgData name="Abdi, Adnan" userId="503e002c-9b3b-4180-87fb-acabeb2b158a" providerId="ADAL" clId="{5C2CD6D4-C7A9-4CEF-AA9C-BC2977F70622}" dt="2024-02-20T12:53:02.282" v="19256" actId="948"/>
            <ac:spMkLst>
              <pc:docMk/>
              <pc:sldMasterMk cId="1321919033" sldId="2147483709"/>
              <pc:sldLayoutMk cId="233603261" sldId="2147483712"/>
              <ac:spMk id="2" creationId="{9FCE4FFF-81B3-4CDA-B0A1-3363FFB22A6A}"/>
            </ac:spMkLst>
          </pc:spChg>
          <pc:spChg chg="del mod modVis">
            <ac:chgData name="Abdi, Adnan" userId="503e002c-9b3b-4180-87fb-acabeb2b158a" providerId="ADAL" clId="{5C2CD6D4-C7A9-4CEF-AA9C-BC2977F70622}" dt="2024-02-20T12:53:04.288" v="20437" actId="478"/>
            <ac:spMkLst>
              <pc:docMk/>
              <pc:sldMasterMk cId="1321919033" sldId="2147483709"/>
              <pc:sldLayoutMk cId="233603261" sldId="2147483712"/>
              <ac:spMk id="3" creationId="{2E89876C-5627-F4A3-78C5-6D68CA98DBC8}"/>
            </ac:spMkLst>
          </pc:spChg>
          <pc:spChg chg="mod">
            <ac:chgData name="Abdi, Adnan" userId="503e002c-9b3b-4180-87fb-acabeb2b158a" providerId="ADAL" clId="{5C2CD6D4-C7A9-4CEF-AA9C-BC2977F70622}" dt="2024-02-20T12:52:58.211" v="17049" actId="947"/>
            <ac:spMkLst>
              <pc:docMk/>
              <pc:sldMasterMk cId="1321919033" sldId="2147483709"/>
              <pc:sldLayoutMk cId="233603261" sldId="2147483712"/>
              <ac:spMk id="5" creationId="{00000000-0000-0000-0000-000000000000}"/>
            </ac:spMkLst>
          </pc:spChg>
          <pc:spChg chg="mod">
            <ac:chgData name="Abdi, Adnan" userId="503e002c-9b3b-4180-87fb-acabeb2b158a" providerId="ADAL" clId="{5C2CD6D4-C7A9-4CEF-AA9C-BC2977F70622}" dt="2024-02-20T12:52:58.207" v="17047" actId="790"/>
            <ac:spMkLst>
              <pc:docMk/>
              <pc:sldMasterMk cId="1321919033" sldId="2147483709"/>
              <pc:sldLayoutMk cId="233603261" sldId="2147483712"/>
              <ac:spMk id="8" creationId="{1F54B2F8-C51F-4566-BAC0-8A0C8E575488}"/>
            </ac:spMkLst>
          </pc:spChg>
          <pc:graphicFrameChg chg="mod ord modVis replST">
            <ac:chgData name="Abdi, Adnan" userId="503e002c-9b3b-4180-87fb-acabeb2b158a" providerId="ADAL" clId="{5C2CD6D4-C7A9-4CEF-AA9C-BC2977F70622}" dt="2024-02-20T12:53:04.300" v="20444"/>
            <ac:graphicFrameMkLst>
              <pc:docMk/>
              <pc:sldMasterMk cId="1321919033" sldId="2147483709"/>
              <pc:sldLayoutMk cId="233603261" sldId="2147483712"/>
              <ac:graphicFrameMk id="4" creationId="{A13D013B-60D5-1E23-0B60-F595884F3C5D}"/>
            </ac:graphicFrameMkLst>
          </pc:graphicFrameChg>
        </pc:sldLayoutChg>
        <pc:sldLayoutChg chg="delSp modSp mod">
          <pc:chgData name="Abdi, Adnan" userId="503e002c-9b3b-4180-87fb-acabeb2b158a" providerId="ADAL" clId="{5C2CD6D4-C7A9-4CEF-AA9C-BC2977F70622}" dt="2024-02-20T12:53:04.287" v="20436"/>
          <pc:sldLayoutMkLst>
            <pc:docMk/>
            <pc:sldMasterMk cId="1321919033" sldId="2147483709"/>
            <pc:sldLayoutMk cId="1752881721" sldId="2147483713"/>
          </pc:sldLayoutMkLst>
          <pc:spChg chg="del mod modVis">
            <ac:chgData name="Abdi, Adnan" userId="503e002c-9b3b-4180-87fb-acabeb2b158a" providerId="ADAL" clId="{5C2CD6D4-C7A9-4CEF-AA9C-BC2977F70622}" dt="2024-02-20T12:53:04.248" v="20429" actId="478"/>
            <ac:spMkLst>
              <pc:docMk/>
              <pc:sldMasterMk cId="1321919033" sldId="2147483709"/>
              <pc:sldLayoutMk cId="1752881721" sldId="2147483713"/>
              <ac:spMk id="2" creationId="{B16C7D0B-2699-EEBA-35EF-05BD73DC772B}"/>
            </ac:spMkLst>
          </pc:spChg>
          <pc:spChg chg="mod">
            <ac:chgData name="Abdi, Adnan" userId="503e002c-9b3b-4180-87fb-acabeb2b158a" providerId="ADAL" clId="{5C2CD6D4-C7A9-4CEF-AA9C-BC2977F70622}" dt="2024-02-20T12:52:58.196" v="17042" actId="790"/>
            <ac:spMkLst>
              <pc:docMk/>
              <pc:sldMasterMk cId="1321919033" sldId="2147483709"/>
              <pc:sldLayoutMk cId="1752881721" sldId="2147483713"/>
              <ac:spMk id="3" creationId="{00000000-0000-0000-0000-000000000000}"/>
            </ac:spMkLst>
          </pc:spChg>
          <pc:spChg chg="mod">
            <ac:chgData name="Abdi, Adnan" userId="503e002c-9b3b-4180-87fb-acabeb2b158a" providerId="ADAL" clId="{5C2CD6D4-C7A9-4CEF-AA9C-BC2977F70622}" dt="2024-02-20T12:52:58.195" v="17041" actId="947"/>
            <ac:spMkLst>
              <pc:docMk/>
              <pc:sldMasterMk cId="1321919033" sldId="2147483709"/>
              <pc:sldLayoutMk cId="1752881721" sldId="2147483713"/>
              <ac:spMk id="8" creationId="{00000000-0000-0000-0000-000000000000}"/>
            </ac:spMkLst>
          </pc:spChg>
          <pc:spChg chg="mod">
            <ac:chgData name="Abdi, Adnan" userId="503e002c-9b3b-4180-87fb-acabeb2b158a" providerId="ADAL" clId="{5C2CD6D4-C7A9-4CEF-AA9C-BC2977F70622}" dt="2024-02-20T12:53:02.252" v="19238" actId="948"/>
            <ac:spMkLst>
              <pc:docMk/>
              <pc:sldMasterMk cId="1321919033" sldId="2147483709"/>
              <pc:sldLayoutMk cId="1752881721" sldId="2147483713"/>
              <ac:spMk id="9" creationId="{00000000-0000-0000-0000-000000000000}"/>
            </ac:spMkLst>
          </pc:spChg>
          <pc:spChg chg="mod">
            <ac:chgData name="Abdi, Adnan" userId="503e002c-9b3b-4180-87fb-acabeb2b158a" providerId="ADAL" clId="{5C2CD6D4-C7A9-4CEF-AA9C-BC2977F70622}" dt="2024-02-20T12:52:58.202" v="17045" actId="947"/>
            <ac:spMkLst>
              <pc:docMk/>
              <pc:sldMasterMk cId="1321919033" sldId="2147483709"/>
              <pc:sldLayoutMk cId="1752881721" sldId="2147483713"/>
              <ac:spMk id="11" creationId="{00000000-0000-0000-0000-000000000000}"/>
            </ac:spMkLst>
          </pc:spChg>
          <pc:graphicFrameChg chg="mod ord modVis replST">
            <ac:chgData name="Abdi, Adnan" userId="503e002c-9b3b-4180-87fb-acabeb2b158a" providerId="ADAL" clId="{5C2CD6D4-C7A9-4CEF-AA9C-BC2977F70622}" dt="2024-02-20T12:53:04.287" v="20436"/>
            <ac:graphicFrameMkLst>
              <pc:docMk/>
              <pc:sldMasterMk cId="1321919033" sldId="2147483709"/>
              <pc:sldLayoutMk cId="1752881721" sldId="2147483713"/>
              <ac:graphicFrameMk id="4" creationId="{FB05E4BB-7DD4-1BE6-3663-B3144D180D83}"/>
            </ac:graphicFrameMkLst>
          </pc:graphicFrameChg>
        </pc:sldLayoutChg>
        <pc:sldLayoutChg chg="delSp modSp mod">
          <pc:chgData name="Abdi, Adnan" userId="503e002c-9b3b-4180-87fb-acabeb2b158a" providerId="ADAL" clId="{5C2CD6D4-C7A9-4CEF-AA9C-BC2977F70622}" dt="2024-02-20T12:53:04.201" v="20412"/>
          <pc:sldLayoutMkLst>
            <pc:docMk/>
            <pc:sldMasterMk cId="1321919033" sldId="2147483709"/>
            <pc:sldLayoutMk cId="4195760478" sldId="2147483714"/>
          </pc:sldLayoutMkLst>
          <pc:spChg chg="mod">
            <ac:chgData name="Abdi, Adnan" userId="503e002c-9b3b-4180-87fb-acabeb2b158a" providerId="ADAL" clId="{5C2CD6D4-C7A9-4CEF-AA9C-BC2977F70622}" dt="2024-02-20T12:53:02.172" v="19184" actId="948"/>
            <ac:spMkLst>
              <pc:docMk/>
              <pc:sldMasterMk cId="1321919033" sldId="2147483709"/>
              <pc:sldLayoutMk cId="4195760478" sldId="2147483714"/>
              <ac:spMk id="2" creationId="{00000000-0000-0000-0000-000000000000}"/>
            </ac:spMkLst>
          </pc:spChg>
          <pc:spChg chg="mod">
            <ac:chgData name="Abdi, Adnan" userId="503e002c-9b3b-4180-87fb-acabeb2b158a" providerId="ADAL" clId="{5C2CD6D4-C7A9-4CEF-AA9C-BC2977F70622}" dt="2024-02-20T12:52:58.163" v="17027" actId="790"/>
            <ac:spMkLst>
              <pc:docMk/>
              <pc:sldMasterMk cId="1321919033" sldId="2147483709"/>
              <pc:sldLayoutMk cId="4195760478" sldId="2147483714"/>
              <ac:spMk id="3" creationId="{00000000-0000-0000-0000-000000000000}"/>
            </ac:spMkLst>
          </pc:spChg>
          <pc:spChg chg="mod">
            <ac:chgData name="Abdi, Adnan" userId="503e002c-9b3b-4180-87fb-acabeb2b158a" providerId="ADAL" clId="{5C2CD6D4-C7A9-4CEF-AA9C-BC2977F70622}" dt="2024-02-20T12:52:58.150" v="17026" actId="947"/>
            <ac:spMkLst>
              <pc:docMk/>
              <pc:sldMasterMk cId="1321919033" sldId="2147483709"/>
              <pc:sldLayoutMk cId="4195760478" sldId="2147483714"/>
              <ac:spMk id="4" creationId="{00000000-0000-0000-0000-000000000000}"/>
            </ac:spMkLst>
          </pc:spChg>
          <pc:spChg chg="del mod modVis">
            <ac:chgData name="Abdi, Adnan" userId="503e002c-9b3b-4180-87fb-acabeb2b158a" providerId="ADAL" clId="{5C2CD6D4-C7A9-4CEF-AA9C-BC2977F70622}" dt="2024-02-20T12:53:04.170" v="20405" actId="478"/>
            <ac:spMkLst>
              <pc:docMk/>
              <pc:sldMasterMk cId="1321919033" sldId="2147483709"/>
              <pc:sldLayoutMk cId="4195760478" sldId="2147483714"/>
              <ac:spMk id="5" creationId="{F8E7E54C-82A1-12D4-8106-2128679C99AD}"/>
            </ac:spMkLst>
          </pc:spChg>
          <pc:spChg chg="mod">
            <ac:chgData name="Abdi, Adnan" userId="503e002c-9b3b-4180-87fb-acabeb2b158a" providerId="ADAL" clId="{5C2CD6D4-C7A9-4CEF-AA9C-BC2977F70622}" dt="2024-02-20T12:52:58.163" v="17029" actId="947"/>
            <ac:spMkLst>
              <pc:docMk/>
              <pc:sldMasterMk cId="1321919033" sldId="2147483709"/>
              <pc:sldLayoutMk cId="4195760478" sldId="2147483714"/>
              <ac:spMk id="12" creationId="{00000000-0000-0000-0000-000000000000}"/>
            </ac:spMkLst>
          </pc:spChg>
          <pc:spChg chg="mod">
            <ac:chgData name="Abdi, Adnan" userId="503e002c-9b3b-4180-87fb-acabeb2b158a" providerId="ADAL" clId="{5C2CD6D4-C7A9-4CEF-AA9C-BC2977F70622}" dt="2024-02-20T12:52:58.163" v="17031" actId="947"/>
            <ac:spMkLst>
              <pc:docMk/>
              <pc:sldMasterMk cId="1321919033" sldId="2147483709"/>
              <pc:sldLayoutMk cId="4195760478" sldId="2147483714"/>
              <ac:spMk id="59" creationId="{00000000-0000-0000-0000-000000000000}"/>
            </ac:spMkLst>
          </pc:spChg>
          <pc:graphicFrameChg chg="mod ord modVis replST">
            <ac:chgData name="Abdi, Adnan" userId="503e002c-9b3b-4180-87fb-acabeb2b158a" providerId="ADAL" clId="{5C2CD6D4-C7A9-4CEF-AA9C-BC2977F70622}" dt="2024-02-20T12:53:04.201" v="20412"/>
            <ac:graphicFrameMkLst>
              <pc:docMk/>
              <pc:sldMasterMk cId="1321919033" sldId="2147483709"/>
              <pc:sldLayoutMk cId="4195760478" sldId="2147483714"/>
              <ac:graphicFrameMk id="6" creationId="{721B1584-9D73-C852-0562-DBFE3DC11747}"/>
            </ac:graphicFrameMkLst>
          </pc:graphicFrameChg>
        </pc:sldLayoutChg>
        <pc:sldLayoutChg chg="delSp modSp mod">
          <pc:chgData name="Abdi, Adnan" userId="503e002c-9b3b-4180-87fb-acabeb2b158a" providerId="ADAL" clId="{5C2CD6D4-C7A9-4CEF-AA9C-BC2977F70622}" dt="2024-02-20T12:53:04.217" v="20420"/>
          <pc:sldLayoutMkLst>
            <pc:docMk/>
            <pc:sldMasterMk cId="1321919033" sldId="2147483709"/>
            <pc:sldLayoutMk cId="3661446458" sldId="2147483715"/>
          </pc:sldLayoutMkLst>
          <pc:spChg chg="del mod modVis">
            <ac:chgData name="Abdi, Adnan" userId="503e002c-9b3b-4180-87fb-acabeb2b158a" providerId="ADAL" clId="{5C2CD6D4-C7A9-4CEF-AA9C-BC2977F70622}" dt="2024-02-20T12:53:04.201" v="20413" actId="478"/>
            <ac:spMkLst>
              <pc:docMk/>
              <pc:sldMasterMk cId="1321919033" sldId="2147483709"/>
              <pc:sldLayoutMk cId="3661446458" sldId="2147483715"/>
              <ac:spMk id="2" creationId="{2C03D81C-EDFB-74D4-5C9B-DFCB4103C89A}"/>
            </ac:spMkLst>
          </pc:spChg>
          <pc:spChg chg="mod">
            <ac:chgData name="Abdi, Adnan" userId="503e002c-9b3b-4180-87fb-acabeb2b158a" providerId="ADAL" clId="{5C2CD6D4-C7A9-4CEF-AA9C-BC2977F70622}" dt="2024-02-20T12:52:58.179" v="17034" actId="790"/>
            <ac:spMkLst>
              <pc:docMk/>
              <pc:sldMasterMk cId="1321919033" sldId="2147483709"/>
              <pc:sldLayoutMk cId="3661446458" sldId="2147483715"/>
              <ac:spMk id="4" creationId="{00000000-0000-0000-0000-000000000000}"/>
            </ac:spMkLst>
          </pc:spChg>
          <pc:spChg chg="mod">
            <ac:chgData name="Abdi, Adnan" userId="503e002c-9b3b-4180-87fb-acabeb2b158a" providerId="ADAL" clId="{5C2CD6D4-C7A9-4CEF-AA9C-BC2977F70622}" dt="2024-02-20T12:52:58.163" v="17033" actId="947"/>
            <ac:spMkLst>
              <pc:docMk/>
              <pc:sldMasterMk cId="1321919033" sldId="2147483709"/>
              <pc:sldLayoutMk cId="3661446458" sldId="2147483715"/>
              <ac:spMk id="5" creationId="{00000000-0000-0000-0000-000000000000}"/>
            </ac:spMkLst>
          </pc:spChg>
          <pc:spChg chg="mod">
            <ac:chgData name="Abdi, Adnan" userId="503e002c-9b3b-4180-87fb-acabeb2b158a" providerId="ADAL" clId="{5C2CD6D4-C7A9-4CEF-AA9C-BC2977F70622}" dt="2024-02-20T12:53:02.205" v="19202" actId="948"/>
            <ac:spMkLst>
              <pc:docMk/>
              <pc:sldMasterMk cId="1321919033" sldId="2147483709"/>
              <pc:sldLayoutMk cId="3661446458" sldId="2147483715"/>
              <ac:spMk id="147" creationId="{00000000-0000-0000-0000-000000000000}"/>
            </ac:spMkLst>
          </pc:spChg>
          <pc:graphicFrameChg chg="mod ord modVis replST">
            <ac:chgData name="Abdi, Adnan" userId="503e002c-9b3b-4180-87fb-acabeb2b158a" providerId="ADAL" clId="{5C2CD6D4-C7A9-4CEF-AA9C-BC2977F70622}" dt="2024-02-20T12:53:04.217" v="20420"/>
            <ac:graphicFrameMkLst>
              <pc:docMk/>
              <pc:sldMasterMk cId="1321919033" sldId="2147483709"/>
              <pc:sldLayoutMk cId="3661446458" sldId="2147483715"/>
              <ac:graphicFrameMk id="3" creationId="{1FF794A8-45E4-9D2F-9C6F-5BAF6566F77E}"/>
            </ac:graphicFrameMkLst>
          </pc:graphicFrameChg>
        </pc:sldLayoutChg>
        <pc:sldLayoutChg chg="delSp modSp mod">
          <pc:chgData name="Abdi, Adnan" userId="503e002c-9b3b-4180-87fb-acabeb2b158a" providerId="ADAL" clId="{5C2CD6D4-C7A9-4CEF-AA9C-BC2977F70622}" dt="2024-02-20T12:53:05.131" v="20662"/>
          <pc:sldLayoutMkLst>
            <pc:docMk/>
            <pc:sldMasterMk cId="1321919033" sldId="2147483709"/>
            <pc:sldLayoutMk cId="1010534390" sldId="2147483716"/>
          </pc:sldLayoutMkLst>
          <pc:spChg chg="del mod modVis">
            <ac:chgData name="Abdi, Adnan" userId="503e002c-9b3b-4180-87fb-acabeb2b158a" providerId="ADAL" clId="{5C2CD6D4-C7A9-4CEF-AA9C-BC2977F70622}" dt="2024-02-20T12:53:05.116" v="20655" actId="478"/>
            <ac:spMkLst>
              <pc:docMk/>
              <pc:sldMasterMk cId="1321919033" sldId="2147483709"/>
              <pc:sldLayoutMk cId="1010534390" sldId="2147483716"/>
              <ac:spMk id="2" creationId="{3B36032F-4058-A17E-A37D-88399931A3B3}"/>
            </ac:spMkLst>
          </pc:spChg>
          <pc:spChg chg="mod">
            <ac:chgData name="Abdi, Adnan" userId="503e002c-9b3b-4180-87fb-acabeb2b158a" providerId="ADAL" clId="{5C2CD6D4-C7A9-4CEF-AA9C-BC2977F70622}" dt="2024-02-20T12:52:58.746" v="17209" actId="790"/>
            <ac:spMkLst>
              <pc:docMk/>
              <pc:sldMasterMk cId="1321919033" sldId="2147483709"/>
              <pc:sldLayoutMk cId="1010534390" sldId="2147483716"/>
              <ac:spMk id="17" creationId="{00000000-0000-0000-0000-000000000000}"/>
            </ac:spMkLst>
          </pc:spChg>
          <pc:spChg chg="mod">
            <ac:chgData name="Abdi, Adnan" userId="503e002c-9b3b-4180-87fb-acabeb2b158a" providerId="ADAL" clId="{5C2CD6D4-C7A9-4CEF-AA9C-BC2977F70622}" dt="2024-02-20T12:52:58.746" v="17213" actId="947"/>
            <ac:spMkLst>
              <pc:docMk/>
              <pc:sldMasterMk cId="1321919033" sldId="2147483709"/>
              <pc:sldLayoutMk cId="1010534390" sldId="2147483716"/>
              <ac:spMk id="20" creationId="{00000000-0000-0000-0000-000000000000}"/>
            </ac:spMkLst>
          </pc:spChg>
          <pc:spChg chg="mod">
            <ac:chgData name="Abdi, Adnan" userId="503e002c-9b3b-4180-87fb-acabeb2b158a" providerId="ADAL" clId="{5C2CD6D4-C7A9-4CEF-AA9C-BC2977F70622}" dt="2024-02-20T12:52:58.746" v="17211" actId="947"/>
            <ac:spMkLst>
              <pc:docMk/>
              <pc:sldMasterMk cId="1321919033" sldId="2147483709"/>
              <pc:sldLayoutMk cId="1010534390" sldId="2147483716"/>
              <ac:spMk id="25" creationId="{00000000-0000-0000-0000-000000000000}"/>
            </ac:spMkLst>
          </pc:spChg>
          <pc:spChg chg="mod">
            <ac:chgData name="Abdi, Adnan" userId="503e002c-9b3b-4180-87fb-acabeb2b158a" providerId="ADAL" clId="{5C2CD6D4-C7A9-4CEF-AA9C-BC2977F70622}" dt="2024-02-20T12:52:58.746" v="17215" actId="947"/>
            <ac:spMkLst>
              <pc:docMk/>
              <pc:sldMasterMk cId="1321919033" sldId="2147483709"/>
              <pc:sldLayoutMk cId="1010534390" sldId="2147483716"/>
              <ac:spMk id="26" creationId="{00000000-0000-0000-0000-000000000000}"/>
            </ac:spMkLst>
          </pc:spChg>
          <pc:spChg chg="mod">
            <ac:chgData name="Abdi, Adnan" userId="503e002c-9b3b-4180-87fb-acabeb2b158a" providerId="ADAL" clId="{5C2CD6D4-C7A9-4CEF-AA9C-BC2977F70622}" dt="2024-02-20T12:53:02.418" v="19350" actId="948"/>
            <ac:spMkLst>
              <pc:docMk/>
              <pc:sldMasterMk cId="1321919033" sldId="2147483709"/>
              <pc:sldLayoutMk cId="1010534390" sldId="2147483716"/>
              <ac:spMk id="27" creationId="{00000000-0000-0000-0000-000000000000}"/>
            </ac:spMkLst>
          </pc:spChg>
          <pc:graphicFrameChg chg="mod ord modVis replST">
            <ac:chgData name="Abdi, Adnan" userId="503e002c-9b3b-4180-87fb-acabeb2b158a" providerId="ADAL" clId="{5C2CD6D4-C7A9-4CEF-AA9C-BC2977F70622}" dt="2024-02-20T12:53:05.131" v="20662"/>
            <ac:graphicFrameMkLst>
              <pc:docMk/>
              <pc:sldMasterMk cId="1321919033" sldId="2147483709"/>
              <pc:sldLayoutMk cId="1010534390" sldId="2147483716"/>
              <ac:graphicFrameMk id="3" creationId="{A64592BE-5D24-C6E3-22F2-963FE4F8CB6D}"/>
            </ac:graphicFrameMkLst>
          </pc:graphicFrameChg>
        </pc:sldLayoutChg>
        <pc:sldLayoutChg chg="delSp modSp mod">
          <pc:chgData name="Abdi, Adnan" userId="503e002c-9b3b-4180-87fb-acabeb2b158a" providerId="ADAL" clId="{5C2CD6D4-C7A9-4CEF-AA9C-BC2977F70622}" dt="2024-02-20T12:53:06.800" v="21111"/>
          <pc:sldLayoutMkLst>
            <pc:docMk/>
            <pc:sldMasterMk cId="1321919033" sldId="2147483709"/>
            <pc:sldLayoutMk cId="1547584256" sldId="2147483717"/>
          </pc:sldLayoutMkLst>
          <pc:spChg chg="del mod modVis">
            <ac:chgData name="Abdi, Adnan" userId="503e002c-9b3b-4180-87fb-acabeb2b158a" providerId="ADAL" clId="{5C2CD6D4-C7A9-4CEF-AA9C-BC2977F70622}" dt="2024-02-20T12:53:06.789" v="21104" actId="478"/>
            <ac:spMkLst>
              <pc:docMk/>
              <pc:sldMasterMk cId="1321919033" sldId="2147483709"/>
              <pc:sldLayoutMk cId="1547584256" sldId="2147483717"/>
              <ac:spMk id="2" creationId="{844CD95E-CCAD-C031-C0C5-CBF1873E8373}"/>
            </ac:spMkLst>
          </pc:spChg>
          <pc:spChg chg="mod">
            <ac:chgData name="Abdi, Adnan" userId="503e002c-9b3b-4180-87fb-acabeb2b158a" providerId="ADAL" clId="{5C2CD6D4-C7A9-4CEF-AA9C-BC2977F70622}" dt="2024-02-20T12:53:01.286" v="18835" actId="947"/>
            <ac:spMkLst>
              <pc:docMk/>
              <pc:sldMasterMk cId="1321919033" sldId="2147483709"/>
              <pc:sldLayoutMk cId="1547584256" sldId="2147483717"/>
              <ac:spMk id="13" creationId="{00000000-0000-0000-0000-000000000000}"/>
            </ac:spMkLst>
          </pc:spChg>
          <pc:spChg chg="mod">
            <ac:chgData name="Abdi, Adnan" userId="503e002c-9b3b-4180-87fb-acabeb2b158a" providerId="ADAL" clId="{5C2CD6D4-C7A9-4CEF-AA9C-BC2977F70622}" dt="2024-02-20T12:53:01.288" v="18836" actId="790"/>
            <ac:spMkLst>
              <pc:docMk/>
              <pc:sldMasterMk cId="1321919033" sldId="2147483709"/>
              <pc:sldLayoutMk cId="1547584256" sldId="2147483717"/>
              <ac:spMk id="16" creationId="{00000000-0000-0000-0000-000000000000}"/>
            </ac:spMkLst>
          </pc:spChg>
          <pc:spChg chg="mod">
            <ac:chgData name="Abdi, Adnan" userId="503e002c-9b3b-4180-87fb-acabeb2b158a" providerId="ADAL" clId="{5C2CD6D4-C7A9-4CEF-AA9C-BC2977F70622}" dt="2024-02-20T12:53:01.296" v="18840" actId="947"/>
            <ac:spMkLst>
              <pc:docMk/>
              <pc:sldMasterMk cId="1321919033" sldId="2147483709"/>
              <pc:sldLayoutMk cId="1547584256" sldId="2147483717"/>
              <ac:spMk id="17" creationId="{00000000-0000-0000-0000-000000000000}"/>
            </ac:spMkLst>
          </pc:spChg>
          <pc:spChg chg="mod">
            <ac:chgData name="Abdi, Adnan" userId="503e002c-9b3b-4180-87fb-acabeb2b158a" providerId="ADAL" clId="{5C2CD6D4-C7A9-4CEF-AA9C-BC2977F70622}" dt="2024-02-20T12:53:01.294" v="18838" actId="947"/>
            <ac:spMkLst>
              <pc:docMk/>
              <pc:sldMasterMk cId="1321919033" sldId="2147483709"/>
              <pc:sldLayoutMk cId="1547584256" sldId="2147483717"/>
              <ac:spMk id="20" creationId="{00000000-0000-0000-0000-000000000000}"/>
            </ac:spMkLst>
          </pc:spChg>
          <pc:spChg chg="mod">
            <ac:chgData name="Abdi, Adnan" userId="503e002c-9b3b-4180-87fb-acabeb2b158a" providerId="ADAL" clId="{5C2CD6D4-C7A9-4CEF-AA9C-BC2977F70622}" dt="2024-02-20T12:53:03.308" v="20017" actId="948"/>
            <ac:spMkLst>
              <pc:docMk/>
              <pc:sldMasterMk cId="1321919033" sldId="2147483709"/>
              <pc:sldLayoutMk cId="1547584256" sldId="2147483717"/>
              <ac:spMk id="23" creationId="{00000000-0000-0000-0000-000000000000}"/>
            </ac:spMkLst>
          </pc:spChg>
          <pc:graphicFrameChg chg="mod ord modVis replST">
            <ac:chgData name="Abdi, Adnan" userId="503e002c-9b3b-4180-87fb-acabeb2b158a" providerId="ADAL" clId="{5C2CD6D4-C7A9-4CEF-AA9C-BC2977F70622}" dt="2024-02-20T12:53:06.800" v="21111"/>
            <ac:graphicFrameMkLst>
              <pc:docMk/>
              <pc:sldMasterMk cId="1321919033" sldId="2147483709"/>
              <pc:sldLayoutMk cId="1547584256" sldId="2147483717"/>
              <ac:graphicFrameMk id="3" creationId="{66A1C22A-E1F8-7D50-C642-09DB3F713A5D}"/>
            </ac:graphicFrameMkLst>
          </pc:graphicFrameChg>
        </pc:sldLayoutChg>
        <pc:sldLayoutChg chg="delSp modSp mod">
          <pc:chgData name="Abdi, Adnan" userId="503e002c-9b3b-4180-87fb-acabeb2b158a" providerId="ADAL" clId="{5C2CD6D4-C7A9-4CEF-AA9C-BC2977F70622}" dt="2024-02-20T12:53:06.877" v="21127"/>
          <pc:sldLayoutMkLst>
            <pc:docMk/>
            <pc:sldMasterMk cId="1321919033" sldId="2147483709"/>
            <pc:sldLayoutMk cId="3829309937" sldId="2147483718"/>
          </pc:sldLayoutMkLst>
          <pc:spChg chg="del mod modVis">
            <ac:chgData name="Abdi, Adnan" userId="503e002c-9b3b-4180-87fb-acabeb2b158a" providerId="ADAL" clId="{5C2CD6D4-C7A9-4CEF-AA9C-BC2977F70622}" dt="2024-02-20T12:53:06.847" v="21120" actId="478"/>
            <ac:spMkLst>
              <pc:docMk/>
              <pc:sldMasterMk cId="1321919033" sldId="2147483709"/>
              <pc:sldLayoutMk cId="3829309937" sldId="2147483718"/>
              <ac:spMk id="2" creationId="{CDB9E2F2-AF5B-F327-C9AF-478C19C5520C}"/>
            </ac:spMkLst>
          </pc:spChg>
          <pc:spChg chg="mod">
            <ac:chgData name="Abdi, Adnan" userId="503e002c-9b3b-4180-87fb-acabeb2b158a" providerId="ADAL" clId="{5C2CD6D4-C7A9-4CEF-AA9C-BC2977F70622}" dt="2024-02-20T12:53:03.355" v="20053" actId="948"/>
            <ac:spMkLst>
              <pc:docMk/>
              <pc:sldMasterMk cId="1321919033" sldId="2147483709"/>
              <pc:sldLayoutMk cId="3829309937" sldId="2147483718"/>
              <ac:spMk id="11" creationId="{00000000-0000-0000-0000-000000000000}"/>
            </ac:spMkLst>
          </pc:spChg>
          <pc:spChg chg="mod">
            <ac:chgData name="Abdi, Adnan" userId="503e002c-9b3b-4180-87fb-acabeb2b158a" providerId="ADAL" clId="{5C2CD6D4-C7A9-4CEF-AA9C-BC2977F70622}" dt="2024-02-20T12:53:01.336" v="18856" actId="790"/>
            <ac:spMkLst>
              <pc:docMk/>
              <pc:sldMasterMk cId="1321919033" sldId="2147483709"/>
              <pc:sldLayoutMk cId="3829309937" sldId="2147483718"/>
              <ac:spMk id="12" creationId="{00000000-0000-0000-0000-000000000000}"/>
            </ac:spMkLst>
          </pc:spChg>
          <pc:spChg chg="mod">
            <ac:chgData name="Abdi, Adnan" userId="503e002c-9b3b-4180-87fb-acabeb2b158a" providerId="ADAL" clId="{5C2CD6D4-C7A9-4CEF-AA9C-BC2977F70622}" dt="2024-02-20T12:53:01.320" v="18853" actId="947"/>
            <ac:spMkLst>
              <pc:docMk/>
              <pc:sldMasterMk cId="1321919033" sldId="2147483709"/>
              <pc:sldLayoutMk cId="3829309937" sldId="2147483718"/>
              <ac:spMk id="13" creationId="{00000000-0000-0000-0000-000000000000}"/>
            </ac:spMkLst>
          </pc:spChg>
          <pc:spChg chg="mod">
            <ac:chgData name="Abdi, Adnan" userId="503e002c-9b3b-4180-87fb-acabeb2b158a" providerId="ADAL" clId="{5C2CD6D4-C7A9-4CEF-AA9C-BC2977F70622}" dt="2024-02-20T12:53:01.336" v="18858" actId="947"/>
            <ac:spMkLst>
              <pc:docMk/>
              <pc:sldMasterMk cId="1321919033" sldId="2147483709"/>
              <pc:sldLayoutMk cId="3829309937" sldId="2147483718"/>
              <ac:spMk id="15" creationId="{00000000-0000-0000-0000-000000000000}"/>
            </ac:spMkLst>
          </pc:spChg>
          <pc:spChg chg="mod">
            <ac:chgData name="Abdi, Adnan" userId="503e002c-9b3b-4180-87fb-acabeb2b158a" providerId="ADAL" clId="{5C2CD6D4-C7A9-4CEF-AA9C-BC2977F70622}" dt="2024-02-20T12:53:01.336" v="18855" actId="947"/>
            <ac:spMkLst>
              <pc:docMk/>
              <pc:sldMasterMk cId="1321919033" sldId="2147483709"/>
              <pc:sldLayoutMk cId="3829309937" sldId="2147483718"/>
              <ac:spMk id="16" creationId="{00000000-0000-0000-0000-000000000000}"/>
            </ac:spMkLst>
          </pc:spChg>
          <pc:graphicFrameChg chg="mod ord modVis replST">
            <ac:chgData name="Abdi, Adnan" userId="503e002c-9b3b-4180-87fb-acabeb2b158a" providerId="ADAL" clId="{5C2CD6D4-C7A9-4CEF-AA9C-BC2977F70622}" dt="2024-02-20T12:53:06.877" v="21127"/>
            <ac:graphicFrameMkLst>
              <pc:docMk/>
              <pc:sldMasterMk cId="1321919033" sldId="2147483709"/>
              <pc:sldLayoutMk cId="3829309937" sldId="2147483718"/>
              <ac:graphicFrameMk id="3" creationId="{0E6D64AE-D1C1-08B4-8736-B527EDB22B0E}"/>
            </ac:graphicFrameMkLst>
          </pc:graphicFrameChg>
        </pc:sldLayoutChg>
        <pc:sldLayoutChg chg="delSp modSp mod">
          <pc:chgData name="Abdi, Adnan" userId="503e002c-9b3b-4180-87fb-acabeb2b158a" providerId="ADAL" clId="{5C2CD6D4-C7A9-4CEF-AA9C-BC2977F70622}" dt="2024-02-20T12:53:06.847" v="21119"/>
          <pc:sldLayoutMkLst>
            <pc:docMk/>
            <pc:sldMasterMk cId="1321919033" sldId="2147483709"/>
            <pc:sldLayoutMk cId="3389794634" sldId="2147483719"/>
          </pc:sldLayoutMkLst>
          <pc:spChg chg="del mod modVis">
            <ac:chgData name="Abdi, Adnan" userId="503e002c-9b3b-4180-87fb-acabeb2b158a" providerId="ADAL" clId="{5C2CD6D4-C7A9-4CEF-AA9C-BC2977F70622}" dt="2024-02-20T12:53:06.800" v="21112" actId="478"/>
            <ac:spMkLst>
              <pc:docMk/>
              <pc:sldMasterMk cId="1321919033" sldId="2147483709"/>
              <pc:sldLayoutMk cId="3389794634" sldId="2147483719"/>
              <ac:spMk id="2" creationId="{62BA3DF1-B366-3371-B663-7E6EE6244827}"/>
            </ac:spMkLst>
          </pc:spChg>
          <pc:spChg chg="mod">
            <ac:chgData name="Abdi, Adnan" userId="503e002c-9b3b-4180-87fb-acabeb2b158a" providerId="ADAL" clId="{5C2CD6D4-C7A9-4CEF-AA9C-BC2977F70622}" dt="2024-02-20T12:53:01.304" v="18843" actId="947"/>
            <ac:spMkLst>
              <pc:docMk/>
              <pc:sldMasterMk cId="1321919033" sldId="2147483709"/>
              <pc:sldLayoutMk cId="3389794634" sldId="2147483719"/>
              <ac:spMk id="12" creationId="{00000000-0000-0000-0000-000000000000}"/>
            </ac:spMkLst>
          </pc:spChg>
          <pc:spChg chg="mod">
            <ac:chgData name="Abdi, Adnan" userId="503e002c-9b3b-4180-87fb-acabeb2b158a" providerId="ADAL" clId="{5C2CD6D4-C7A9-4CEF-AA9C-BC2977F70622}" dt="2024-02-20T12:53:01.304" v="18844" actId="790"/>
            <ac:spMkLst>
              <pc:docMk/>
              <pc:sldMasterMk cId="1321919033" sldId="2147483709"/>
              <pc:sldLayoutMk cId="3389794634" sldId="2147483719"/>
              <ac:spMk id="13" creationId="{00000000-0000-0000-0000-000000000000}"/>
            </ac:spMkLst>
          </pc:spChg>
          <pc:spChg chg="mod">
            <ac:chgData name="Abdi, Adnan" userId="503e002c-9b3b-4180-87fb-acabeb2b158a" providerId="ADAL" clId="{5C2CD6D4-C7A9-4CEF-AA9C-BC2977F70622}" dt="2024-02-20T12:53:03.340" v="20035" actId="948"/>
            <ac:spMkLst>
              <pc:docMk/>
              <pc:sldMasterMk cId="1321919033" sldId="2147483709"/>
              <pc:sldLayoutMk cId="3389794634" sldId="2147483719"/>
              <ac:spMk id="14" creationId="{00000000-0000-0000-0000-000000000000}"/>
            </ac:spMkLst>
          </pc:spChg>
          <pc:spChg chg="mod">
            <ac:chgData name="Abdi, Adnan" userId="503e002c-9b3b-4180-87fb-acabeb2b158a" providerId="ADAL" clId="{5C2CD6D4-C7A9-4CEF-AA9C-BC2977F70622}" dt="2024-02-20T12:53:01.304" v="18847" actId="947"/>
            <ac:spMkLst>
              <pc:docMk/>
              <pc:sldMasterMk cId="1321919033" sldId="2147483709"/>
              <pc:sldLayoutMk cId="3389794634" sldId="2147483719"/>
              <ac:spMk id="15" creationId="{00000000-0000-0000-0000-000000000000}"/>
            </ac:spMkLst>
          </pc:spChg>
          <pc:spChg chg="mod">
            <ac:chgData name="Abdi, Adnan" userId="503e002c-9b3b-4180-87fb-acabeb2b158a" providerId="ADAL" clId="{5C2CD6D4-C7A9-4CEF-AA9C-BC2977F70622}" dt="2024-02-20T12:53:01.304" v="18848" actId="790"/>
            <ac:spMkLst>
              <pc:docMk/>
              <pc:sldMasterMk cId="1321919033" sldId="2147483709"/>
              <pc:sldLayoutMk cId="3389794634" sldId="2147483719"/>
              <ac:spMk id="16" creationId="{00000000-0000-0000-0000-000000000000}"/>
            </ac:spMkLst>
          </pc:spChg>
          <pc:spChg chg="mod">
            <ac:chgData name="Abdi, Adnan" userId="503e002c-9b3b-4180-87fb-acabeb2b158a" providerId="ADAL" clId="{5C2CD6D4-C7A9-4CEF-AA9C-BC2977F70622}" dt="2024-02-20T12:53:01.320" v="18850" actId="947"/>
            <ac:spMkLst>
              <pc:docMk/>
              <pc:sldMasterMk cId="1321919033" sldId="2147483709"/>
              <pc:sldLayoutMk cId="3389794634" sldId="2147483719"/>
              <ac:spMk id="21" creationId="{00000000-0000-0000-0000-000000000000}"/>
            </ac:spMkLst>
          </pc:spChg>
          <pc:graphicFrameChg chg="mod ord modVis replST">
            <ac:chgData name="Abdi, Adnan" userId="503e002c-9b3b-4180-87fb-acabeb2b158a" providerId="ADAL" clId="{5C2CD6D4-C7A9-4CEF-AA9C-BC2977F70622}" dt="2024-02-20T12:53:06.847" v="21119"/>
            <ac:graphicFrameMkLst>
              <pc:docMk/>
              <pc:sldMasterMk cId="1321919033" sldId="2147483709"/>
              <pc:sldLayoutMk cId="3389794634" sldId="2147483719"/>
              <ac:graphicFrameMk id="3" creationId="{3EA54409-9CAF-C6FC-E2BE-131167307960}"/>
            </ac:graphicFrameMkLst>
          </pc:graphicFrameChg>
        </pc:sldLayoutChg>
        <pc:sldLayoutChg chg="delSp modSp mod">
          <pc:chgData name="Abdi, Adnan" userId="503e002c-9b3b-4180-87fb-acabeb2b158a" providerId="ADAL" clId="{5C2CD6D4-C7A9-4CEF-AA9C-BC2977F70622}" dt="2024-02-20T12:53:06.733" v="21092"/>
          <pc:sldLayoutMkLst>
            <pc:docMk/>
            <pc:sldMasterMk cId="1321919033" sldId="2147483709"/>
            <pc:sldLayoutMk cId="1834019716" sldId="2147483720"/>
          </pc:sldLayoutMkLst>
          <pc:spChg chg="del mod modVis">
            <ac:chgData name="Abdi, Adnan" userId="503e002c-9b3b-4180-87fb-acabeb2b158a" providerId="ADAL" clId="{5C2CD6D4-C7A9-4CEF-AA9C-BC2977F70622}" dt="2024-02-20T12:53:06.702" v="21085" actId="478"/>
            <ac:spMkLst>
              <pc:docMk/>
              <pc:sldMasterMk cId="1321919033" sldId="2147483709"/>
              <pc:sldLayoutMk cId="1834019716" sldId="2147483720"/>
              <ac:spMk id="2" creationId="{723FF0D9-196E-DCAD-9B29-0A96946DDB35}"/>
            </ac:spMkLst>
          </pc:spChg>
          <pc:spChg chg="mod">
            <ac:chgData name="Abdi, Adnan" userId="503e002c-9b3b-4180-87fb-acabeb2b158a" providerId="ADAL" clId="{5C2CD6D4-C7A9-4CEF-AA9C-BC2977F70622}" dt="2024-02-20T12:53:00.821" v="18555" actId="947"/>
            <ac:spMkLst>
              <pc:docMk/>
              <pc:sldMasterMk cId="1321919033" sldId="2147483709"/>
              <pc:sldLayoutMk cId="1834019716" sldId="2147483720"/>
              <ac:spMk id="10" creationId="{00000000-0000-0000-0000-000000000000}"/>
            </ac:spMkLst>
          </pc:spChg>
          <pc:spChg chg="mod">
            <ac:chgData name="Abdi, Adnan" userId="503e002c-9b3b-4180-87fb-acabeb2b158a" providerId="ADAL" clId="{5C2CD6D4-C7A9-4CEF-AA9C-BC2977F70622}" dt="2024-02-20T12:53:00.821" v="18556" actId="790"/>
            <ac:spMkLst>
              <pc:docMk/>
              <pc:sldMasterMk cId="1321919033" sldId="2147483709"/>
              <pc:sldLayoutMk cId="1834019716" sldId="2147483720"/>
              <ac:spMk id="11" creationId="{00000000-0000-0000-0000-000000000000}"/>
            </ac:spMkLst>
          </pc:spChg>
          <pc:spChg chg="mod">
            <ac:chgData name="Abdi, Adnan" userId="503e002c-9b3b-4180-87fb-acabeb2b158a" providerId="ADAL" clId="{5C2CD6D4-C7A9-4CEF-AA9C-BC2977F70622}" dt="2024-02-20T12:53:00.821" v="18557" actId="790"/>
            <ac:spMkLst>
              <pc:docMk/>
              <pc:sldMasterMk cId="1321919033" sldId="2147483709"/>
              <pc:sldLayoutMk cId="1834019716" sldId="2147483720"/>
              <ac:spMk id="12" creationId="{00000000-0000-0000-0000-000000000000}"/>
            </ac:spMkLst>
          </pc:spChg>
          <pc:spChg chg="mod">
            <ac:chgData name="Abdi, Adnan" userId="503e002c-9b3b-4180-87fb-acabeb2b158a" providerId="ADAL" clId="{5C2CD6D4-C7A9-4CEF-AA9C-BC2977F70622}" dt="2024-02-20T12:53:00.836" v="18562" actId="947"/>
            <ac:spMkLst>
              <pc:docMk/>
              <pc:sldMasterMk cId="1321919033" sldId="2147483709"/>
              <pc:sldLayoutMk cId="1834019716" sldId="2147483720"/>
              <ac:spMk id="13" creationId="{00000000-0000-0000-0000-000000000000}"/>
            </ac:spMkLst>
          </pc:spChg>
          <pc:spChg chg="mod">
            <ac:chgData name="Abdi, Adnan" userId="503e002c-9b3b-4180-87fb-acabeb2b158a" providerId="ADAL" clId="{5C2CD6D4-C7A9-4CEF-AA9C-BC2977F70622}" dt="2024-02-20T12:53:03.289" v="19999" actId="948"/>
            <ac:spMkLst>
              <pc:docMk/>
              <pc:sldMasterMk cId="1321919033" sldId="2147483709"/>
              <pc:sldLayoutMk cId="1834019716" sldId="2147483720"/>
              <ac:spMk id="14" creationId="{00000000-0000-0000-0000-000000000000}"/>
            </ac:spMkLst>
          </pc:spChg>
          <pc:spChg chg="mod">
            <ac:chgData name="Abdi, Adnan" userId="503e002c-9b3b-4180-87fb-acabeb2b158a" providerId="ADAL" clId="{5C2CD6D4-C7A9-4CEF-AA9C-BC2977F70622}" dt="2024-02-20T12:53:00.836" v="18559" actId="947"/>
            <ac:spMkLst>
              <pc:docMk/>
              <pc:sldMasterMk cId="1321919033" sldId="2147483709"/>
              <pc:sldLayoutMk cId="1834019716" sldId="2147483720"/>
              <ac:spMk id="15" creationId="{00000000-0000-0000-0000-000000000000}"/>
            </ac:spMkLst>
          </pc:spChg>
          <pc:graphicFrameChg chg="mod ord modVis replST">
            <ac:chgData name="Abdi, Adnan" userId="503e002c-9b3b-4180-87fb-acabeb2b158a" providerId="ADAL" clId="{5C2CD6D4-C7A9-4CEF-AA9C-BC2977F70622}" dt="2024-02-20T12:53:06.733" v="21092"/>
            <ac:graphicFrameMkLst>
              <pc:docMk/>
              <pc:sldMasterMk cId="1321919033" sldId="2147483709"/>
              <pc:sldLayoutMk cId="1834019716" sldId="2147483720"/>
              <ac:graphicFrameMk id="3" creationId="{24A07C1B-F4E4-B49A-E189-ED86B92A725B}"/>
            </ac:graphicFrameMkLst>
          </pc:graphicFrameChg>
        </pc:sldLayoutChg>
        <pc:sldLayoutChg chg="delSp modSp mod">
          <pc:chgData name="Abdi, Adnan" userId="503e002c-9b3b-4180-87fb-acabeb2b158a" providerId="ADAL" clId="{5C2CD6D4-C7A9-4CEF-AA9C-BC2977F70622}" dt="2024-02-20T12:53:05.182" v="20672"/>
          <pc:sldLayoutMkLst>
            <pc:docMk/>
            <pc:sldMasterMk cId="1321919033" sldId="2147483709"/>
            <pc:sldLayoutMk cId="2308232516" sldId="2147483721"/>
          </pc:sldLayoutMkLst>
          <pc:spChg chg="del mod modVis">
            <ac:chgData name="Abdi, Adnan" userId="503e002c-9b3b-4180-87fb-acabeb2b158a" providerId="ADAL" clId="{5C2CD6D4-C7A9-4CEF-AA9C-BC2977F70622}" dt="2024-02-20T12:53:05.147" v="20665" actId="478"/>
            <ac:spMkLst>
              <pc:docMk/>
              <pc:sldMasterMk cId="1321919033" sldId="2147483709"/>
              <pc:sldLayoutMk cId="2308232516" sldId="2147483721"/>
              <ac:spMk id="2" creationId="{95E58C11-E7D3-C7BE-B7C0-0C8DD0B59F1D}"/>
            </ac:spMkLst>
          </pc:spChg>
          <pc:spChg chg="mod">
            <ac:chgData name="Abdi, Adnan" userId="503e002c-9b3b-4180-87fb-acabeb2b158a" providerId="ADAL" clId="{5C2CD6D4-C7A9-4CEF-AA9C-BC2977F70622}" dt="2024-02-20T12:52:58.789" v="17227" actId="790"/>
            <ac:spMkLst>
              <pc:docMk/>
              <pc:sldMasterMk cId="1321919033" sldId="2147483709"/>
              <pc:sldLayoutMk cId="2308232516" sldId="2147483721"/>
              <ac:spMk id="5" creationId="{00000000-0000-0000-0000-000000000000}"/>
            </ac:spMkLst>
          </pc:spChg>
          <pc:spChg chg="mod">
            <ac:chgData name="Abdi, Adnan" userId="503e002c-9b3b-4180-87fb-acabeb2b158a" providerId="ADAL" clId="{5C2CD6D4-C7A9-4CEF-AA9C-BC2977F70622}" dt="2024-02-20T12:52:58.795" v="17231" actId="947"/>
            <ac:spMkLst>
              <pc:docMk/>
              <pc:sldMasterMk cId="1321919033" sldId="2147483709"/>
              <pc:sldLayoutMk cId="2308232516" sldId="2147483721"/>
              <ac:spMk id="12" creationId="{00000000-0000-0000-0000-000000000000}"/>
            </ac:spMkLst>
          </pc:spChg>
          <pc:spChg chg="mod">
            <ac:chgData name="Abdi, Adnan" userId="503e002c-9b3b-4180-87fb-acabeb2b158a" providerId="ADAL" clId="{5C2CD6D4-C7A9-4CEF-AA9C-BC2977F70622}" dt="2024-02-20T12:52:58.788" v="17226" actId="947"/>
            <ac:spMkLst>
              <pc:docMk/>
              <pc:sldMasterMk cId="1321919033" sldId="2147483709"/>
              <pc:sldLayoutMk cId="2308232516" sldId="2147483721"/>
              <ac:spMk id="16" creationId="{00000000-0000-0000-0000-000000000000}"/>
            </ac:spMkLst>
          </pc:spChg>
          <pc:spChg chg="mod">
            <ac:chgData name="Abdi, Adnan" userId="503e002c-9b3b-4180-87fb-acabeb2b158a" providerId="ADAL" clId="{5C2CD6D4-C7A9-4CEF-AA9C-BC2977F70622}" dt="2024-02-20T12:53:02.476" v="19386" actId="948"/>
            <ac:spMkLst>
              <pc:docMk/>
              <pc:sldMasterMk cId="1321919033" sldId="2147483709"/>
              <pc:sldLayoutMk cId="2308232516" sldId="2147483721"/>
              <ac:spMk id="17" creationId="{00000000-0000-0000-0000-000000000000}"/>
            </ac:spMkLst>
          </pc:spChg>
          <pc:spChg chg="mod">
            <ac:chgData name="Abdi, Adnan" userId="503e002c-9b3b-4180-87fb-acabeb2b158a" providerId="ADAL" clId="{5C2CD6D4-C7A9-4CEF-AA9C-BC2977F70622}" dt="2024-02-20T12:52:58.792" v="17229" actId="947"/>
            <ac:spMkLst>
              <pc:docMk/>
              <pc:sldMasterMk cId="1321919033" sldId="2147483709"/>
              <pc:sldLayoutMk cId="2308232516" sldId="2147483721"/>
              <ac:spMk id="19" creationId="{00000000-0000-0000-0000-000000000000}"/>
            </ac:spMkLst>
          </pc:spChg>
          <pc:graphicFrameChg chg="mod ord modVis replST">
            <ac:chgData name="Abdi, Adnan" userId="503e002c-9b3b-4180-87fb-acabeb2b158a" providerId="ADAL" clId="{5C2CD6D4-C7A9-4CEF-AA9C-BC2977F70622}" dt="2024-02-20T12:53:05.182" v="20672"/>
            <ac:graphicFrameMkLst>
              <pc:docMk/>
              <pc:sldMasterMk cId="1321919033" sldId="2147483709"/>
              <pc:sldLayoutMk cId="2308232516" sldId="2147483721"/>
              <ac:graphicFrameMk id="3" creationId="{2A47152F-EC45-12CF-2113-E735AE8DB5CF}"/>
            </ac:graphicFrameMkLst>
          </pc:graphicFrameChg>
        </pc:sldLayoutChg>
        <pc:sldLayoutChg chg="delSp modSp mod">
          <pc:chgData name="Abdi, Adnan" userId="503e002c-9b3b-4180-87fb-acabeb2b158a" providerId="ADAL" clId="{5C2CD6D4-C7A9-4CEF-AA9C-BC2977F70622}" dt="2024-02-20T12:53:05.199" v="20680"/>
          <pc:sldLayoutMkLst>
            <pc:docMk/>
            <pc:sldMasterMk cId="1321919033" sldId="2147483709"/>
            <pc:sldLayoutMk cId="2564749296" sldId="2147483722"/>
          </pc:sldLayoutMkLst>
          <pc:spChg chg="del mod modVis">
            <ac:chgData name="Abdi, Adnan" userId="503e002c-9b3b-4180-87fb-acabeb2b158a" providerId="ADAL" clId="{5C2CD6D4-C7A9-4CEF-AA9C-BC2977F70622}" dt="2024-02-20T12:53:05.183" v="20673" actId="478"/>
            <ac:spMkLst>
              <pc:docMk/>
              <pc:sldMasterMk cId="1321919033" sldId="2147483709"/>
              <pc:sldLayoutMk cId="2564749296" sldId="2147483722"/>
              <ac:spMk id="2" creationId="{3788BA94-FD7B-A694-CF69-1CC1B464EEF0}"/>
            </ac:spMkLst>
          </pc:spChg>
          <pc:spChg chg="mod">
            <ac:chgData name="Abdi, Adnan" userId="503e002c-9b3b-4180-87fb-acabeb2b158a" providerId="ADAL" clId="{5C2CD6D4-C7A9-4CEF-AA9C-BC2977F70622}" dt="2024-02-20T12:53:02.498" v="19404" actId="948"/>
            <ac:spMkLst>
              <pc:docMk/>
              <pc:sldMasterMk cId="1321919033" sldId="2147483709"/>
              <pc:sldLayoutMk cId="2564749296" sldId="2147483722"/>
              <ac:spMk id="3" creationId="{00000000-0000-0000-0000-000000000000}"/>
            </ac:spMkLst>
          </pc:spChg>
          <pc:spChg chg="mod">
            <ac:chgData name="Abdi, Adnan" userId="503e002c-9b3b-4180-87fb-acabeb2b158a" providerId="ADAL" clId="{5C2CD6D4-C7A9-4CEF-AA9C-BC2977F70622}" dt="2024-02-20T12:52:58.798" v="17236" actId="790"/>
            <ac:spMkLst>
              <pc:docMk/>
              <pc:sldMasterMk cId="1321919033" sldId="2147483709"/>
              <pc:sldLayoutMk cId="2564749296" sldId="2147483722"/>
              <ac:spMk id="13" creationId="{00000000-0000-0000-0000-000000000000}"/>
            </ac:spMkLst>
          </pc:spChg>
          <pc:spChg chg="mod">
            <ac:chgData name="Abdi, Adnan" userId="503e002c-9b3b-4180-87fb-acabeb2b158a" providerId="ADAL" clId="{5C2CD6D4-C7A9-4CEF-AA9C-BC2977F70622}" dt="2024-02-20T12:52:58.798" v="17238" actId="947"/>
            <ac:spMkLst>
              <pc:docMk/>
              <pc:sldMasterMk cId="1321919033" sldId="2147483709"/>
              <pc:sldLayoutMk cId="2564749296" sldId="2147483722"/>
              <ac:spMk id="14" creationId="{00000000-0000-0000-0000-000000000000}"/>
            </ac:spMkLst>
          </pc:spChg>
          <pc:spChg chg="mod">
            <ac:chgData name="Abdi, Adnan" userId="503e002c-9b3b-4180-87fb-acabeb2b158a" providerId="ADAL" clId="{5C2CD6D4-C7A9-4CEF-AA9C-BC2977F70622}" dt="2024-02-20T12:52:58.798" v="17240" actId="947"/>
            <ac:spMkLst>
              <pc:docMk/>
              <pc:sldMasterMk cId="1321919033" sldId="2147483709"/>
              <pc:sldLayoutMk cId="2564749296" sldId="2147483722"/>
              <ac:spMk id="15" creationId="{00000000-0000-0000-0000-000000000000}"/>
            </ac:spMkLst>
          </pc:spChg>
          <pc:spChg chg="mod">
            <ac:chgData name="Abdi, Adnan" userId="503e002c-9b3b-4180-87fb-acabeb2b158a" providerId="ADAL" clId="{5C2CD6D4-C7A9-4CEF-AA9C-BC2977F70622}" dt="2024-02-20T12:52:58.798" v="17234" actId="947"/>
            <ac:spMkLst>
              <pc:docMk/>
              <pc:sldMasterMk cId="1321919033" sldId="2147483709"/>
              <pc:sldLayoutMk cId="2564749296" sldId="2147483722"/>
              <ac:spMk id="16" creationId="{00000000-0000-0000-0000-000000000000}"/>
            </ac:spMkLst>
          </pc:spChg>
          <pc:graphicFrameChg chg="mod ord modVis replST">
            <ac:chgData name="Abdi, Adnan" userId="503e002c-9b3b-4180-87fb-acabeb2b158a" providerId="ADAL" clId="{5C2CD6D4-C7A9-4CEF-AA9C-BC2977F70622}" dt="2024-02-20T12:53:05.199" v="20680"/>
            <ac:graphicFrameMkLst>
              <pc:docMk/>
              <pc:sldMasterMk cId="1321919033" sldId="2147483709"/>
              <pc:sldLayoutMk cId="2564749296" sldId="2147483722"/>
              <ac:graphicFrameMk id="4" creationId="{A26726BC-13E2-6812-122B-A9873B324BED}"/>
            </ac:graphicFrameMkLst>
          </pc:graphicFrameChg>
        </pc:sldLayoutChg>
        <pc:sldLayoutChg chg="delSp modSp mod">
          <pc:chgData name="Abdi, Adnan" userId="503e002c-9b3b-4180-87fb-acabeb2b158a" providerId="ADAL" clId="{5C2CD6D4-C7A9-4CEF-AA9C-BC2977F70622}" dt="2024-02-20T12:53:05.147" v="20664" actId="1076"/>
          <pc:sldLayoutMkLst>
            <pc:docMk/>
            <pc:sldMasterMk cId="1321919033" sldId="2147483709"/>
            <pc:sldLayoutMk cId="1297554010" sldId="2147483723"/>
          </pc:sldLayoutMkLst>
          <pc:spChg chg="del mod modVis">
            <ac:chgData name="Abdi, Adnan" userId="503e002c-9b3b-4180-87fb-acabeb2b158a" providerId="ADAL" clId="{5C2CD6D4-C7A9-4CEF-AA9C-BC2977F70622}" dt="2024-02-20T12:53:05.131" v="20663" actId="478"/>
            <ac:spMkLst>
              <pc:docMk/>
              <pc:sldMasterMk cId="1321919033" sldId="2147483709"/>
              <pc:sldLayoutMk cId="1297554010" sldId="2147483723"/>
              <ac:spMk id="2" creationId="{6B1EB75E-1EF6-12C5-E042-DB9710DCDE12}"/>
            </ac:spMkLst>
          </pc:spChg>
          <pc:spChg chg="mod">
            <ac:chgData name="Abdi, Adnan" userId="503e002c-9b3b-4180-87fb-acabeb2b158a" providerId="ADAL" clId="{5C2CD6D4-C7A9-4CEF-AA9C-BC2977F70622}" dt="2024-02-20T12:52:58.773" v="17218" actId="947"/>
            <ac:spMkLst>
              <pc:docMk/>
              <pc:sldMasterMk cId="1321919033" sldId="2147483709"/>
              <pc:sldLayoutMk cId="1297554010" sldId="2147483723"/>
              <ac:spMk id="5" creationId="{00000000-0000-0000-0000-000000000000}"/>
            </ac:spMkLst>
          </pc:spChg>
          <pc:spChg chg="mod">
            <ac:chgData name="Abdi, Adnan" userId="503e002c-9b3b-4180-87fb-acabeb2b158a" providerId="ADAL" clId="{5C2CD6D4-C7A9-4CEF-AA9C-BC2977F70622}" dt="2024-02-20T12:52:58.775" v="17219" actId="790"/>
            <ac:spMkLst>
              <pc:docMk/>
              <pc:sldMasterMk cId="1321919033" sldId="2147483709"/>
              <pc:sldLayoutMk cId="1297554010" sldId="2147483723"/>
              <ac:spMk id="8" creationId="{00000000-0000-0000-0000-000000000000}"/>
            </ac:spMkLst>
          </pc:spChg>
          <pc:spChg chg="mod">
            <ac:chgData name="Abdi, Adnan" userId="503e002c-9b3b-4180-87fb-acabeb2b158a" providerId="ADAL" clId="{5C2CD6D4-C7A9-4CEF-AA9C-BC2977F70622}" dt="2024-02-20T12:52:58.779" v="17221" actId="947"/>
            <ac:spMkLst>
              <pc:docMk/>
              <pc:sldMasterMk cId="1321919033" sldId="2147483709"/>
              <pc:sldLayoutMk cId="1297554010" sldId="2147483723"/>
              <ac:spMk id="12" creationId="{00000000-0000-0000-0000-000000000000}"/>
            </ac:spMkLst>
          </pc:spChg>
          <pc:spChg chg="mod">
            <ac:chgData name="Abdi, Adnan" userId="503e002c-9b3b-4180-87fb-acabeb2b158a" providerId="ADAL" clId="{5C2CD6D4-C7A9-4CEF-AA9C-BC2977F70622}" dt="2024-02-20T12:52:58.782" v="17223" actId="947"/>
            <ac:spMkLst>
              <pc:docMk/>
              <pc:sldMasterMk cId="1321919033" sldId="2147483709"/>
              <pc:sldLayoutMk cId="1297554010" sldId="2147483723"/>
              <ac:spMk id="13" creationId="{00000000-0000-0000-0000-000000000000}"/>
            </ac:spMkLst>
          </pc:spChg>
          <pc:spChg chg="mod">
            <ac:chgData name="Abdi, Adnan" userId="503e002c-9b3b-4180-87fb-acabeb2b158a" providerId="ADAL" clId="{5C2CD6D4-C7A9-4CEF-AA9C-BC2977F70622}" dt="2024-02-20T12:53:02.449" v="19368" actId="948"/>
            <ac:spMkLst>
              <pc:docMk/>
              <pc:sldMasterMk cId="1321919033" sldId="2147483709"/>
              <pc:sldLayoutMk cId="1297554010" sldId="2147483723"/>
              <ac:spMk id="14" creationId="{00000000-0000-0000-0000-000000000000}"/>
            </ac:spMkLst>
          </pc:spChg>
          <pc:graphicFrameChg chg="mod">
            <ac:chgData name="Abdi, Adnan" userId="503e002c-9b3b-4180-87fb-acabeb2b158a" providerId="ADAL" clId="{5C2CD6D4-C7A9-4CEF-AA9C-BC2977F70622}" dt="2024-02-20T12:53:05.147" v="20664" actId="1076"/>
            <ac:graphicFrameMkLst>
              <pc:docMk/>
              <pc:sldMasterMk cId="1321919033" sldId="2147483709"/>
              <pc:sldLayoutMk cId="1297554010" sldId="2147483723"/>
              <ac:graphicFrameMk id="3" creationId="{00000000-0000-0000-0000-000000000000}"/>
            </ac:graphicFrameMkLst>
          </pc:graphicFrameChg>
        </pc:sldLayoutChg>
        <pc:sldLayoutChg chg="delSp modSp mod">
          <pc:chgData name="Abdi, Adnan" userId="503e002c-9b3b-4180-87fb-acabeb2b158a" providerId="ADAL" clId="{5C2CD6D4-C7A9-4CEF-AA9C-BC2977F70622}" dt="2024-02-20T12:53:05.345" v="20721"/>
          <pc:sldLayoutMkLst>
            <pc:docMk/>
            <pc:sldMasterMk cId="1321919033" sldId="2147483709"/>
            <pc:sldLayoutMk cId="3493635385" sldId="2147483724"/>
          </pc:sldLayoutMkLst>
          <pc:spChg chg="del mod modVis">
            <ac:chgData name="Abdi, Adnan" userId="503e002c-9b3b-4180-87fb-acabeb2b158a" providerId="ADAL" clId="{5C2CD6D4-C7A9-4CEF-AA9C-BC2977F70622}" dt="2024-02-20T12:53:05.313" v="20714" actId="478"/>
            <ac:spMkLst>
              <pc:docMk/>
              <pc:sldMasterMk cId="1321919033" sldId="2147483709"/>
              <pc:sldLayoutMk cId="3493635385" sldId="2147483724"/>
              <ac:spMk id="2" creationId="{D3907583-E558-C1DE-ABA3-3312A56501F0}"/>
            </ac:spMkLst>
          </pc:spChg>
          <pc:spChg chg="mod">
            <ac:chgData name="Abdi, Adnan" userId="503e002c-9b3b-4180-87fb-acabeb2b158a" providerId="ADAL" clId="{5C2CD6D4-C7A9-4CEF-AA9C-BC2977F70622}" dt="2024-02-20T12:52:58.886" v="17276" actId="790"/>
            <ac:spMkLst>
              <pc:docMk/>
              <pc:sldMasterMk cId="1321919033" sldId="2147483709"/>
              <pc:sldLayoutMk cId="3493635385" sldId="2147483724"/>
              <ac:spMk id="11" creationId="{00000000-0000-0000-0000-000000000000}"/>
            </ac:spMkLst>
          </pc:spChg>
          <pc:spChg chg="mod">
            <ac:chgData name="Abdi, Adnan" userId="503e002c-9b3b-4180-87fb-acabeb2b158a" providerId="ADAL" clId="{5C2CD6D4-C7A9-4CEF-AA9C-BC2977F70622}" dt="2024-02-20T12:52:58.882" v="17274" actId="947"/>
            <ac:spMkLst>
              <pc:docMk/>
              <pc:sldMasterMk cId="1321919033" sldId="2147483709"/>
              <pc:sldLayoutMk cId="3493635385" sldId="2147483724"/>
              <ac:spMk id="13" creationId="{00000000-0000-0000-0000-000000000000}"/>
            </ac:spMkLst>
          </pc:spChg>
          <pc:spChg chg="mod">
            <ac:chgData name="Abdi, Adnan" userId="503e002c-9b3b-4180-87fb-acabeb2b158a" providerId="ADAL" clId="{5C2CD6D4-C7A9-4CEF-AA9C-BC2977F70622}" dt="2024-02-20T12:53:02.598" v="19494" actId="948"/>
            <ac:spMkLst>
              <pc:docMk/>
              <pc:sldMasterMk cId="1321919033" sldId="2147483709"/>
              <pc:sldLayoutMk cId="3493635385" sldId="2147483724"/>
              <ac:spMk id="14" creationId="{00000000-0000-0000-0000-000000000000}"/>
            </ac:spMkLst>
          </pc:spChg>
          <pc:spChg chg="mod">
            <ac:chgData name="Abdi, Adnan" userId="503e002c-9b3b-4180-87fb-acabeb2b158a" providerId="ADAL" clId="{5C2CD6D4-C7A9-4CEF-AA9C-BC2977F70622}" dt="2024-02-20T12:52:58.890" v="17278" actId="947"/>
            <ac:spMkLst>
              <pc:docMk/>
              <pc:sldMasterMk cId="1321919033" sldId="2147483709"/>
              <pc:sldLayoutMk cId="3493635385" sldId="2147483724"/>
              <ac:spMk id="16" creationId="{00000000-0000-0000-0000-000000000000}"/>
            </ac:spMkLst>
          </pc:spChg>
          <pc:spChg chg="mod">
            <ac:chgData name="Abdi, Adnan" userId="503e002c-9b3b-4180-87fb-acabeb2b158a" providerId="ADAL" clId="{5C2CD6D4-C7A9-4CEF-AA9C-BC2977F70622}" dt="2024-02-20T12:52:58.892" v="17280" actId="947"/>
            <ac:spMkLst>
              <pc:docMk/>
              <pc:sldMasterMk cId="1321919033" sldId="2147483709"/>
              <pc:sldLayoutMk cId="3493635385" sldId="2147483724"/>
              <ac:spMk id="17" creationId="{00000000-0000-0000-0000-000000000000}"/>
            </ac:spMkLst>
          </pc:spChg>
          <pc:graphicFrameChg chg="mod ord modVis replST">
            <ac:chgData name="Abdi, Adnan" userId="503e002c-9b3b-4180-87fb-acabeb2b158a" providerId="ADAL" clId="{5C2CD6D4-C7A9-4CEF-AA9C-BC2977F70622}" dt="2024-02-20T12:53:05.345" v="20721"/>
            <ac:graphicFrameMkLst>
              <pc:docMk/>
              <pc:sldMasterMk cId="1321919033" sldId="2147483709"/>
              <pc:sldLayoutMk cId="3493635385" sldId="2147483724"/>
              <ac:graphicFrameMk id="3" creationId="{72E59ECF-6ED7-0130-34C4-A199877F8C1E}"/>
            </ac:graphicFrameMkLst>
          </pc:graphicFrameChg>
        </pc:sldLayoutChg>
        <pc:sldLayoutChg chg="delSp modSp mod">
          <pc:chgData name="Abdi, Adnan" userId="503e002c-9b3b-4180-87fb-acabeb2b158a" providerId="ADAL" clId="{5C2CD6D4-C7A9-4CEF-AA9C-BC2977F70622}" dt="2024-02-20T12:53:05.313" v="20713"/>
          <pc:sldLayoutMkLst>
            <pc:docMk/>
            <pc:sldMasterMk cId="1321919033" sldId="2147483709"/>
            <pc:sldLayoutMk cId="3478453705" sldId="2147483725"/>
          </pc:sldLayoutMkLst>
          <pc:spChg chg="del mod modVis">
            <ac:chgData name="Abdi, Adnan" userId="503e002c-9b3b-4180-87fb-acabeb2b158a" providerId="ADAL" clId="{5C2CD6D4-C7A9-4CEF-AA9C-BC2977F70622}" dt="2024-02-20T12:53:05.298" v="20706" actId="478"/>
            <ac:spMkLst>
              <pc:docMk/>
              <pc:sldMasterMk cId="1321919033" sldId="2147483709"/>
              <pc:sldLayoutMk cId="3478453705" sldId="2147483725"/>
              <ac:spMk id="2" creationId="{767C6002-4103-2A25-1DBB-E3E2B9E611B1}"/>
            </ac:spMkLst>
          </pc:spChg>
          <pc:spChg chg="mod">
            <ac:chgData name="Abdi, Adnan" userId="503e002c-9b3b-4180-87fb-acabeb2b158a" providerId="ADAL" clId="{5C2CD6D4-C7A9-4CEF-AA9C-BC2977F70622}" dt="2024-02-20T12:52:58.865" v="17265" actId="790"/>
            <ac:spMkLst>
              <pc:docMk/>
              <pc:sldMasterMk cId="1321919033" sldId="2147483709"/>
              <pc:sldLayoutMk cId="3478453705" sldId="2147483725"/>
              <ac:spMk id="8" creationId="{00000000-0000-0000-0000-000000000000}"/>
            </ac:spMkLst>
          </pc:spChg>
          <pc:spChg chg="mod">
            <ac:chgData name="Abdi, Adnan" userId="503e002c-9b3b-4180-87fb-acabeb2b158a" providerId="ADAL" clId="{5C2CD6D4-C7A9-4CEF-AA9C-BC2977F70622}" dt="2024-02-20T12:52:58.865" v="17271" actId="947"/>
            <ac:spMkLst>
              <pc:docMk/>
              <pc:sldMasterMk cId="1321919033" sldId="2147483709"/>
              <pc:sldLayoutMk cId="3478453705" sldId="2147483725"/>
              <ac:spMk id="14" creationId="{00000000-0000-0000-0000-000000000000}"/>
            </ac:spMkLst>
          </pc:spChg>
          <pc:spChg chg="mod">
            <ac:chgData name="Abdi, Adnan" userId="503e002c-9b3b-4180-87fb-acabeb2b158a" providerId="ADAL" clId="{5C2CD6D4-C7A9-4CEF-AA9C-BC2977F70622}" dt="2024-02-20T12:52:58.865" v="17269" actId="947"/>
            <ac:spMkLst>
              <pc:docMk/>
              <pc:sldMasterMk cId="1321919033" sldId="2147483709"/>
              <pc:sldLayoutMk cId="3478453705" sldId="2147483725"/>
              <ac:spMk id="15" creationId="{00000000-0000-0000-0000-000000000000}"/>
            </ac:spMkLst>
          </pc:spChg>
          <pc:spChg chg="mod">
            <ac:chgData name="Abdi, Adnan" userId="503e002c-9b3b-4180-87fb-acabeb2b158a" providerId="ADAL" clId="{5C2CD6D4-C7A9-4CEF-AA9C-BC2977F70622}" dt="2024-02-20T12:53:02.584" v="19476" actId="948"/>
            <ac:spMkLst>
              <pc:docMk/>
              <pc:sldMasterMk cId="1321919033" sldId="2147483709"/>
              <pc:sldLayoutMk cId="3478453705" sldId="2147483725"/>
              <ac:spMk id="16" creationId="{00000000-0000-0000-0000-000000000000}"/>
            </ac:spMkLst>
          </pc:spChg>
          <pc:spChg chg="mod">
            <ac:chgData name="Abdi, Adnan" userId="503e002c-9b3b-4180-87fb-acabeb2b158a" providerId="ADAL" clId="{5C2CD6D4-C7A9-4CEF-AA9C-BC2977F70622}" dt="2024-02-20T12:52:58.865" v="17267" actId="947"/>
            <ac:spMkLst>
              <pc:docMk/>
              <pc:sldMasterMk cId="1321919033" sldId="2147483709"/>
              <pc:sldLayoutMk cId="3478453705" sldId="2147483725"/>
              <ac:spMk id="18" creationId="{00000000-0000-0000-0000-000000000000}"/>
            </ac:spMkLst>
          </pc:spChg>
          <pc:graphicFrameChg chg="mod ord modVis replST">
            <ac:chgData name="Abdi, Adnan" userId="503e002c-9b3b-4180-87fb-acabeb2b158a" providerId="ADAL" clId="{5C2CD6D4-C7A9-4CEF-AA9C-BC2977F70622}" dt="2024-02-20T12:53:05.313" v="20713"/>
            <ac:graphicFrameMkLst>
              <pc:docMk/>
              <pc:sldMasterMk cId="1321919033" sldId="2147483709"/>
              <pc:sldLayoutMk cId="3478453705" sldId="2147483725"/>
              <ac:graphicFrameMk id="3" creationId="{91AA657D-C342-760B-7686-07CE8FD1A5C1}"/>
            </ac:graphicFrameMkLst>
          </pc:graphicFrameChg>
        </pc:sldLayoutChg>
        <pc:sldLayoutChg chg="delSp modSp mod">
          <pc:chgData name="Abdi, Adnan" userId="503e002c-9b3b-4180-87fb-acabeb2b158a" providerId="ADAL" clId="{5C2CD6D4-C7A9-4CEF-AA9C-BC2977F70622}" dt="2024-02-20T12:53:05.384" v="20729"/>
          <pc:sldLayoutMkLst>
            <pc:docMk/>
            <pc:sldMasterMk cId="1321919033" sldId="2147483709"/>
            <pc:sldLayoutMk cId="2131471768" sldId="2147483726"/>
          </pc:sldLayoutMkLst>
          <pc:spChg chg="del mod modVis">
            <ac:chgData name="Abdi, Adnan" userId="503e002c-9b3b-4180-87fb-acabeb2b158a" providerId="ADAL" clId="{5C2CD6D4-C7A9-4CEF-AA9C-BC2977F70622}" dt="2024-02-20T12:53:05.345" v="20722" actId="478"/>
            <ac:spMkLst>
              <pc:docMk/>
              <pc:sldMasterMk cId="1321919033" sldId="2147483709"/>
              <pc:sldLayoutMk cId="2131471768" sldId="2147483726"/>
              <ac:spMk id="2" creationId="{824DD86B-AEAF-F1E8-9BF3-0EB19D665595}"/>
            </ac:spMkLst>
          </pc:spChg>
          <pc:spChg chg="mod">
            <ac:chgData name="Abdi, Adnan" userId="503e002c-9b3b-4180-87fb-acabeb2b158a" providerId="ADAL" clId="{5C2CD6D4-C7A9-4CEF-AA9C-BC2977F70622}" dt="2024-02-20T12:52:58.900" v="17284" actId="790"/>
            <ac:spMkLst>
              <pc:docMk/>
              <pc:sldMasterMk cId="1321919033" sldId="2147483709"/>
              <pc:sldLayoutMk cId="2131471768" sldId="2147483726"/>
              <ac:spMk id="12" creationId="{00000000-0000-0000-0000-000000000000}"/>
            </ac:spMkLst>
          </pc:spChg>
          <pc:spChg chg="mod">
            <ac:chgData name="Abdi, Adnan" userId="503e002c-9b3b-4180-87fb-acabeb2b158a" providerId="ADAL" clId="{5C2CD6D4-C7A9-4CEF-AA9C-BC2977F70622}" dt="2024-02-20T12:52:58.904" v="17286" actId="947"/>
            <ac:spMkLst>
              <pc:docMk/>
              <pc:sldMasterMk cId="1321919033" sldId="2147483709"/>
              <pc:sldLayoutMk cId="2131471768" sldId="2147483726"/>
              <ac:spMk id="13" creationId="{00000000-0000-0000-0000-000000000000}"/>
            </ac:spMkLst>
          </pc:spChg>
          <pc:spChg chg="mod">
            <ac:chgData name="Abdi, Adnan" userId="503e002c-9b3b-4180-87fb-acabeb2b158a" providerId="ADAL" clId="{5C2CD6D4-C7A9-4CEF-AA9C-BC2977F70622}" dt="2024-02-20T12:52:58.896" v="17282" actId="947"/>
            <ac:spMkLst>
              <pc:docMk/>
              <pc:sldMasterMk cId="1321919033" sldId="2147483709"/>
              <pc:sldLayoutMk cId="2131471768" sldId="2147483726"/>
              <ac:spMk id="14" creationId="{00000000-0000-0000-0000-000000000000}"/>
            </ac:spMkLst>
          </pc:spChg>
          <pc:spChg chg="mod">
            <ac:chgData name="Abdi, Adnan" userId="503e002c-9b3b-4180-87fb-acabeb2b158a" providerId="ADAL" clId="{5C2CD6D4-C7A9-4CEF-AA9C-BC2977F70622}" dt="2024-02-20T12:53:02.614" v="19512" actId="948"/>
            <ac:spMkLst>
              <pc:docMk/>
              <pc:sldMasterMk cId="1321919033" sldId="2147483709"/>
              <pc:sldLayoutMk cId="2131471768" sldId="2147483726"/>
              <ac:spMk id="16" creationId="{00000000-0000-0000-0000-000000000000}"/>
            </ac:spMkLst>
          </pc:spChg>
          <pc:spChg chg="mod">
            <ac:chgData name="Abdi, Adnan" userId="503e002c-9b3b-4180-87fb-acabeb2b158a" providerId="ADAL" clId="{5C2CD6D4-C7A9-4CEF-AA9C-BC2977F70622}" dt="2024-02-20T12:52:58.907" v="17288" actId="947"/>
            <ac:spMkLst>
              <pc:docMk/>
              <pc:sldMasterMk cId="1321919033" sldId="2147483709"/>
              <pc:sldLayoutMk cId="2131471768" sldId="2147483726"/>
              <ac:spMk id="19" creationId="{00000000-0000-0000-0000-000000000000}"/>
            </ac:spMkLst>
          </pc:spChg>
          <pc:graphicFrameChg chg="mod ord modVis replST">
            <ac:chgData name="Abdi, Adnan" userId="503e002c-9b3b-4180-87fb-acabeb2b158a" providerId="ADAL" clId="{5C2CD6D4-C7A9-4CEF-AA9C-BC2977F70622}" dt="2024-02-20T12:53:05.384" v="20729"/>
            <ac:graphicFrameMkLst>
              <pc:docMk/>
              <pc:sldMasterMk cId="1321919033" sldId="2147483709"/>
              <pc:sldLayoutMk cId="2131471768" sldId="2147483726"/>
              <ac:graphicFrameMk id="3" creationId="{78C41FE9-07BC-1570-C55D-5B5B5BF47384}"/>
            </ac:graphicFrameMkLst>
          </pc:graphicFrameChg>
        </pc:sldLayoutChg>
        <pc:sldLayoutChg chg="delSp modSp mod">
          <pc:chgData name="Abdi, Adnan" userId="503e002c-9b3b-4180-87fb-acabeb2b158a" providerId="ADAL" clId="{5C2CD6D4-C7A9-4CEF-AA9C-BC2977F70622}" dt="2024-02-20T12:53:05.410" v="20737"/>
          <pc:sldLayoutMkLst>
            <pc:docMk/>
            <pc:sldMasterMk cId="1321919033" sldId="2147483709"/>
            <pc:sldLayoutMk cId="1513786711" sldId="2147483727"/>
          </pc:sldLayoutMkLst>
          <pc:spChg chg="del mod modVis">
            <ac:chgData name="Abdi, Adnan" userId="503e002c-9b3b-4180-87fb-acabeb2b158a" providerId="ADAL" clId="{5C2CD6D4-C7A9-4CEF-AA9C-BC2977F70622}" dt="2024-02-20T12:53:05.385" v="20730" actId="478"/>
            <ac:spMkLst>
              <pc:docMk/>
              <pc:sldMasterMk cId="1321919033" sldId="2147483709"/>
              <pc:sldLayoutMk cId="1513786711" sldId="2147483727"/>
              <ac:spMk id="2" creationId="{C83BCA90-F9BE-8DEB-295F-F8DB9EC5F35E}"/>
            </ac:spMkLst>
          </pc:spChg>
          <pc:spChg chg="mod">
            <ac:chgData name="Abdi, Adnan" userId="503e002c-9b3b-4180-87fb-acabeb2b158a" providerId="ADAL" clId="{5C2CD6D4-C7A9-4CEF-AA9C-BC2977F70622}" dt="2024-02-20T12:52:58.915" v="17293" actId="947"/>
            <ac:spMkLst>
              <pc:docMk/>
              <pc:sldMasterMk cId="1321919033" sldId="2147483709"/>
              <pc:sldLayoutMk cId="1513786711" sldId="2147483727"/>
              <ac:spMk id="9" creationId="{00000000-0000-0000-0000-000000000000}"/>
            </ac:spMkLst>
          </pc:spChg>
          <pc:spChg chg="mod">
            <ac:chgData name="Abdi, Adnan" userId="503e002c-9b3b-4180-87fb-acabeb2b158a" providerId="ADAL" clId="{5C2CD6D4-C7A9-4CEF-AA9C-BC2977F70622}" dt="2024-02-20T12:53:02.645" v="19530" actId="948"/>
            <ac:spMkLst>
              <pc:docMk/>
              <pc:sldMasterMk cId="1321919033" sldId="2147483709"/>
              <pc:sldLayoutMk cId="1513786711" sldId="2147483727"/>
              <ac:spMk id="11" creationId="{00000000-0000-0000-0000-000000000000}"/>
            </ac:spMkLst>
          </pc:spChg>
          <pc:spChg chg="mod">
            <ac:chgData name="Abdi, Adnan" userId="503e002c-9b3b-4180-87fb-acabeb2b158a" providerId="ADAL" clId="{5C2CD6D4-C7A9-4CEF-AA9C-BC2977F70622}" dt="2024-02-20T12:52:58.910" v="17290" actId="947"/>
            <ac:spMkLst>
              <pc:docMk/>
              <pc:sldMasterMk cId="1321919033" sldId="2147483709"/>
              <pc:sldLayoutMk cId="1513786711" sldId="2147483727"/>
              <ac:spMk id="12" creationId="{00000000-0000-0000-0000-000000000000}"/>
            </ac:spMkLst>
          </pc:spChg>
          <pc:spChg chg="mod">
            <ac:chgData name="Abdi, Adnan" userId="503e002c-9b3b-4180-87fb-acabeb2b158a" providerId="ADAL" clId="{5C2CD6D4-C7A9-4CEF-AA9C-BC2977F70622}" dt="2024-02-20T12:52:58.912" v="17291" actId="790"/>
            <ac:spMkLst>
              <pc:docMk/>
              <pc:sldMasterMk cId="1321919033" sldId="2147483709"/>
              <pc:sldLayoutMk cId="1513786711" sldId="2147483727"/>
              <ac:spMk id="13" creationId="{00000000-0000-0000-0000-000000000000}"/>
            </ac:spMkLst>
          </pc:spChg>
          <pc:spChg chg="mod">
            <ac:chgData name="Abdi, Adnan" userId="503e002c-9b3b-4180-87fb-acabeb2b158a" providerId="ADAL" clId="{5C2CD6D4-C7A9-4CEF-AA9C-BC2977F70622}" dt="2024-02-20T12:52:58.917" v="17295" actId="947"/>
            <ac:spMkLst>
              <pc:docMk/>
              <pc:sldMasterMk cId="1321919033" sldId="2147483709"/>
              <pc:sldLayoutMk cId="1513786711" sldId="2147483727"/>
              <ac:spMk id="15" creationId="{00000000-0000-0000-0000-000000000000}"/>
            </ac:spMkLst>
          </pc:spChg>
          <pc:graphicFrameChg chg="mod ord modVis replST">
            <ac:chgData name="Abdi, Adnan" userId="503e002c-9b3b-4180-87fb-acabeb2b158a" providerId="ADAL" clId="{5C2CD6D4-C7A9-4CEF-AA9C-BC2977F70622}" dt="2024-02-20T12:53:05.410" v="20737"/>
            <ac:graphicFrameMkLst>
              <pc:docMk/>
              <pc:sldMasterMk cId="1321919033" sldId="2147483709"/>
              <pc:sldLayoutMk cId="1513786711" sldId="2147483727"/>
              <ac:graphicFrameMk id="3" creationId="{8509C5B2-5893-A24C-6139-A016CF291433}"/>
            </ac:graphicFrameMkLst>
          </pc:graphicFrameChg>
        </pc:sldLayoutChg>
        <pc:sldLayoutChg chg="delSp modSp mod">
          <pc:chgData name="Abdi, Adnan" userId="503e002c-9b3b-4180-87fb-acabeb2b158a" providerId="ADAL" clId="{5C2CD6D4-C7A9-4CEF-AA9C-BC2977F70622}" dt="2024-02-20T12:53:05.298" v="20705"/>
          <pc:sldLayoutMkLst>
            <pc:docMk/>
            <pc:sldMasterMk cId="1321919033" sldId="2147483709"/>
            <pc:sldLayoutMk cId="449839719" sldId="2147483728"/>
          </pc:sldLayoutMkLst>
          <pc:spChg chg="del mod modVis">
            <ac:chgData name="Abdi, Adnan" userId="503e002c-9b3b-4180-87fb-acabeb2b158a" providerId="ADAL" clId="{5C2CD6D4-C7A9-4CEF-AA9C-BC2977F70622}" dt="2024-02-20T12:53:05.274" v="20698" actId="478"/>
            <ac:spMkLst>
              <pc:docMk/>
              <pc:sldMasterMk cId="1321919033" sldId="2147483709"/>
              <pc:sldLayoutMk cId="449839719" sldId="2147483728"/>
              <ac:spMk id="2" creationId="{76BF6844-515B-2A5A-40B6-799E1A9A30BD}"/>
            </ac:spMkLst>
          </pc:spChg>
          <pc:spChg chg="mod">
            <ac:chgData name="Abdi, Adnan" userId="503e002c-9b3b-4180-87fb-acabeb2b158a" providerId="ADAL" clId="{5C2CD6D4-C7A9-4CEF-AA9C-BC2977F70622}" dt="2024-02-20T12:53:02.546" v="19458" actId="948"/>
            <ac:spMkLst>
              <pc:docMk/>
              <pc:sldMasterMk cId="1321919033" sldId="2147483709"/>
              <pc:sldLayoutMk cId="449839719" sldId="2147483728"/>
              <ac:spMk id="11" creationId="{00000000-0000-0000-0000-000000000000}"/>
            </ac:spMkLst>
          </pc:spChg>
          <pc:spChg chg="mod">
            <ac:chgData name="Abdi, Adnan" userId="503e002c-9b3b-4180-87fb-acabeb2b158a" providerId="ADAL" clId="{5C2CD6D4-C7A9-4CEF-AA9C-BC2977F70622}" dt="2024-02-20T12:52:58.838" v="17258" actId="947"/>
            <ac:spMkLst>
              <pc:docMk/>
              <pc:sldMasterMk cId="1321919033" sldId="2147483709"/>
              <pc:sldLayoutMk cId="449839719" sldId="2147483728"/>
              <ac:spMk id="12" creationId="{00000000-0000-0000-0000-000000000000}"/>
            </ac:spMkLst>
          </pc:spChg>
          <pc:spChg chg="mod">
            <ac:chgData name="Abdi, Adnan" userId="503e002c-9b3b-4180-87fb-acabeb2b158a" providerId="ADAL" clId="{5C2CD6D4-C7A9-4CEF-AA9C-BC2977F70622}" dt="2024-02-20T12:52:58.853" v="17260" actId="790"/>
            <ac:spMkLst>
              <pc:docMk/>
              <pc:sldMasterMk cId="1321919033" sldId="2147483709"/>
              <pc:sldLayoutMk cId="449839719" sldId="2147483728"/>
              <ac:spMk id="17" creationId="{00000000-0000-0000-0000-000000000000}"/>
            </ac:spMkLst>
          </pc:spChg>
          <pc:spChg chg="mod">
            <ac:chgData name="Abdi, Adnan" userId="503e002c-9b3b-4180-87fb-acabeb2b158a" providerId="ADAL" clId="{5C2CD6D4-C7A9-4CEF-AA9C-BC2977F70622}" dt="2024-02-20T12:52:58.853" v="17262" actId="947"/>
            <ac:spMkLst>
              <pc:docMk/>
              <pc:sldMasterMk cId="1321919033" sldId="2147483709"/>
              <pc:sldLayoutMk cId="449839719" sldId="2147483728"/>
              <ac:spMk id="18" creationId="{00000000-0000-0000-0000-000000000000}"/>
            </ac:spMkLst>
          </pc:spChg>
          <pc:spChg chg="mod">
            <ac:chgData name="Abdi, Adnan" userId="503e002c-9b3b-4180-87fb-acabeb2b158a" providerId="ADAL" clId="{5C2CD6D4-C7A9-4CEF-AA9C-BC2977F70622}" dt="2024-02-20T12:52:58.853" v="17264" actId="947"/>
            <ac:spMkLst>
              <pc:docMk/>
              <pc:sldMasterMk cId="1321919033" sldId="2147483709"/>
              <pc:sldLayoutMk cId="449839719" sldId="2147483728"/>
              <ac:spMk id="19" creationId="{00000000-0000-0000-0000-000000000000}"/>
            </ac:spMkLst>
          </pc:spChg>
          <pc:graphicFrameChg chg="mod ord modVis replST">
            <ac:chgData name="Abdi, Adnan" userId="503e002c-9b3b-4180-87fb-acabeb2b158a" providerId="ADAL" clId="{5C2CD6D4-C7A9-4CEF-AA9C-BC2977F70622}" dt="2024-02-20T12:53:05.298" v="20705"/>
            <ac:graphicFrameMkLst>
              <pc:docMk/>
              <pc:sldMasterMk cId="1321919033" sldId="2147483709"/>
              <pc:sldLayoutMk cId="449839719" sldId="2147483728"/>
              <ac:graphicFrameMk id="3" creationId="{48737546-A3A1-1FAF-67F9-316551B857A2}"/>
            </ac:graphicFrameMkLst>
          </pc:graphicFrameChg>
        </pc:sldLayoutChg>
        <pc:sldLayoutChg chg="delSp modSp mod">
          <pc:chgData name="Abdi, Adnan" userId="503e002c-9b3b-4180-87fb-acabeb2b158a" providerId="ADAL" clId="{5C2CD6D4-C7A9-4CEF-AA9C-BC2977F70622}" dt="2024-02-20T12:53:05.231" v="20688"/>
          <pc:sldLayoutMkLst>
            <pc:docMk/>
            <pc:sldMasterMk cId="1321919033" sldId="2147483709"/>
            <pc:sldLayoutMk cId="149056339" sldId="2147483729"/>
          </pc:sldLayoutMkLst>
          <pc:spChg chg="del mod modVis">
            <ac:chgData name="Abdi, Adnan" userId="503e002c-9b3b-4180-87fb-acabeb2b158a" providerId="ADAL" clId="{5C2CD6D4-C7A9-4CEF-AA9C-BC2977F70622}" dt="2024-02-20T12:53:05.199" v="20681" actId="478"/>
            <ac:spMkLst>
              <pc:docMk/>
              <pc:sldMasterMk cId="1321919033" sldId="2147483709"/>
              <pc:sldLayoutMk cId="149056339" sldId="2147483729"/>
              <ac:spMk id="2" creationId="{403BBB43-46FB-213B-DC0F-86C1ED64F2B5}"/>
            </ac:spMkLst>
          </pc:spChg>
          <pc:spChg chg="mod">
            <ac:chgData name="Abdi, Adnan" userId="503e002c-9b3b-4180-87fb-acabeb2b158a" providerId="ADAL" clId="{5C2CD6D4-C7A9-4CEF-AA9C-BC2977F70622}" dt="2024-02-20T12:52:58.816" v="17242" actId="947"/>
            <ac:spMkLst>
              <pc:docMk/>
              <pc:sldMasterMk cId="1321919033" sldId="2147483709"/>
              <pc:sldLayoutMk cId="149056339" sldId="2147483729"/>
              <ac:spMk id="3" creationId="{00000000-0000-0000-0000-000000000000}"/>
            </ac:spMkLst>
          </pc:spChg>
          <pc:spChg chg="mod">
            <ac:chgData name="Abdi, Adnan" userId="503e002c-9b3b-4180-87fb-acabeb2b158a" providerId="ADAL" clId="{5C2CD6D4-C7A9-4CEF-AA9C-BC2977F70622}" dt="2024-02-20T12:52:58.817" v="17243" actId="790"/>
            <ac:spMkLst>
              <pc:docMk/>
              <pc:sldMasterMk cId="1321919033" sldId="2147483709"/>
              <pc:sldLayoutMk cId="149056339" sldId="2147483729"/>
              <ac:spMk id="4" creationId="{00000000-0000-0000-0000-000000000000}"/>
            </ac:spMkLst>
          </pc:spChg>
          <pc:spChg chg="mod">
            <ac:chgData name="Abdi, Adnan" userId="503e002c-9b3b-4180-87fb-acabeb2b158a" providerId="ADAL" clId="{5C2CD6D4-C7A9-4CEF-AA9C-BC2977F70622}" dt="2024-02-20T12:53:02.515" v="19422" actId="948"/>
            <ac:spMkLst>
              <pc:docMk/>
              <pc:sldMasterMk cId="1321919033" sldId="2147483709"/>
              <pc:sldLayoutMk cId="149056339" sldId="2147483729"/>
              <ac:spMk id="8" creationId="{00000000-0000-0000-0000-000000000000}"/>
            </ac:spMkLst>
          </pc:spChg>
          <pc:spChg chg="mod">
            <ac:chgData name="Abdi, Adnan" userId="503e002c-9b3b-4180-87fb-acabeb2b158a" providerId="ADAL" clId="{5C2CD6D4-C7A9-4CEF-AA9C-BC2977F70622}" dt="2024-02-20T12:52:58.822" v="17245" actId="947"/>
            <ac:spMkLst>
              <pc:docMk/>
              <pc:sldMasterMk cId="1321919033" sldId="2147483709"/>
              <pc:sldLayoutMk cId="149056339" sldId="2147483729"/>
              <ac:spMk id="9" creationId="{00000000-0000-0000-0000-000000000000}"/>
            </ac:spMkLst>
          </pc:spChg>
          <pc:graphicFrameChg chg="mod ord modVis replST">
            <ac:chgData name="Abdi, Adnan" userId="503e002c-9b3b-4180-87fb-acabeb2b158a" providerId="ADAL" clId="{5C2CD6D4-C7A9-4CEF-AA9C-BC2977F70622}" dt="2024-02-20T12:53:05.231" v="20688"/>
            <ac:graphicFrameMkLst>
              <pc:docMk/>
              <pc:sldMasterMk cId="1321919033" sldId="2147483709"/>
              <pc:sldLayoutMk cId="149056339" sldId="2147483729"/>
              <ac:graphicFrameMk id="5" creationId="{214B468A-94B5-16E4-3C11-A5DFA5B57548}"/>
            </ac:graphicFrameMkLst>
          </pc:graphicFrameChg>
        </pc:sldLayoutChg>
        <pc:sldLayoutChg chg="delSp modSp mod">
          <pc:chgData name="Abdi, Adnan" userId="503e002c-9b3b-4180-87fb-acabeb2b158a" providerId="ADAL" clId="{5C2CD6D4-C7A9-4CEF-AA9C-BC2977F70622}" dt="2024-02-20T12:53:05.269" v="20696"/>
          <pc:sldLayoutMkLst>
            <pc:docMk/>
            <pc:sldMasterMk cId="1321919033" sldId="2147483709"/>
            <pc:sldLayoutMk cId="1024167323" sldId="2147483730"/>
          </pc:sldLayoutMkLst>
          <pc:spChg chg="del mod modVis">
            <ac:chgData name="Abdi, Adnan" userId="503e002c-9b3b-4180-87fb-acabeb2b158a" providerId="ADAL" clId="{5C2CD6D4-C7A9-4CEF-AA9C-BC2977F70622}" dt="2024-02-20T12:53:05.231" v="20689" actId="478"/>
            <ac:spMkLst>
              <pc:docMk/>
              <pc:sldMasterMk cId="1321919033" sldId="2147483709"/>
              <pc:sldLayoutMk cId="1024167323" sldId="2147483730"/>
              <ac:spMk id="2" creationId="{28A7203C-3933-8724-8F23-5476EBC0BD9B}"/>
            </ac:spMkLst>
          </pc:spChg>
          <pc:spChg chg="mod">
            <ac:chgData name="Abdi, Adnan" userId="503e002c-9b3b-4180-87fb-acabeb2b158a" providerId="ADAL" clId="{5C2CD6D4-C7A9-4CEF-AA9C-BC2977F70622}" dt="2024-02-20T12:52:58.822" v="17247" actId="790"/>
            <ac:spMkLst>
              <pc:docMk/>
              <pc:sldMasterMk cId="1321919033" sldId="2147483709"/>
              <pc:sldLayoutMk cId="1024167323" sldId="2147483730"/>
              <ac:spMk id="3" creationId="{00000000-0000-0000-0000-000000000000}"/>
            </ac:spMkLst>
          </pc:spChg>
          <pc:spChg chg="mod">
            <ac:chgData name="Abdi, Adnan" userId="503e002c-9b3b-4180-87fb-acabeb2b158a" providerId="ADAL" clId="{5C2CD6D4-C7A9-4CEF-AA9C-BC2977F70622}" dt="2024-02-20T12:52:58.822" v="17251" actId="947"/>
            <ac:spMkLst>
              <pc:docMk/>
              <pc:sldMasterMk cId="1321919033" sldId="2147483709"/>
              <pc:sldLayoutMk cId="1024167323" sldId="2147483730"/>
              <ac:spMk id="6" creationId="{00000000-0000-0000-0000-000000000000}"/>
            </ac:spMkLst>
          </pc:spChg>
          <pc:spChg chg="mod">
            <ac:chgData name="Abdi, Adnan" userId="503e002c-9b3b-4180-87fb-acabeb2b158a" providerId="ADAL" clId="{5C2CD6D4-C7A9-4CEF-AA9C-BC2977F70622}" dt="2024-02-20T12:53:02.531" v="19440" actId="948"/>
            <ac:spMkLst>
              <pc:docMk/>
              <pc:sldMasterMk cId="1321919033" sldId="2147483709"/>
              <pc:sldLayoutMk cId="1024167323" sldId="2147483730"/>
              <ac:spMk id="7" creationId="{00000000-0000-0000-0000-000000000000}"/>
            </ac:spMkLst>
          </pc:spChg>
          <pc:spChg chg="mod">
            <ac:chgData name="Abdi, Adnan" userId="503e002c-9b3b-4180-87fb-acabeb2b158a" providerId="ADAL" clId="{5C2CD6D4-C7A9-4CEF-AA9C-BC2977F70622}" dt="2024-02-20T12:52:58.822" v="17249" actId="947"/>
            <ac:spMkLst>
              <pc:docMk/>
              <pc:sldMasterMk cId="1321919033" sldId="2147483709"/>
              <pc:sldLayoutMk cId="1024167323" sldId="2147483730"/>
              <ac:spMk id="9" creationId="{00000000-0000-0000-0000-000000000000}"/>
            </ac:spMkLst>
          </pc:spChg>
          <pc:graphicFrameChg chg="mod ord modVis replST">
            <ac:chgData name="Abdi, Adnan" userId="503e002c-9b3b-4180-87fb-acabeb2b158a" providerId="ADAL" clId="{5C2CD6D4-C7A9-4CEF-AA9C-BC2977F70622}" dt="2024-02-20T12:53:05.269" v="20696"/>
            <ac:graphicFrameMkLst>
              <pc:docMk/>
              <pc:sldMasterMk cId="1321919033" sldId="2147483709"/>
              <pc:sldLayoutMk cId="1024167323" sldId="2147483730"/>
              <ac:graphicFrameMk id="4" creationId="{383BF857-4D92-5473-764D-46317FCC3217}"/>
            </ac:graphicFrameMkLst>
          </pc:graphicFrameChg>
        </pc:sldLayoutChg>
        <pc:sldLayoutChg chg="modSp mod">
          <pc:chgData name="Abdi, Adnan" userId="503e002c-9b3b-4180-87fb-acabeb2b158a" providerId="ADAL" clId="{5C2CD6D4-C7A9-4CEF-AA9C-BC2977F70622}" dt="2024-02-20T12:53:05.273" v="20697" actId="1076"/>
          <pc:sldLayoutMkLst>
            <pc:docMk/>
            <pc:sldMasterMk cId="1321919033" sldId="2147483709"/>
            <pc:sldLayoutMk cId="1989599382" sldId="2147483731"/>
          </pc:sldLayoutMkLst>
          <pc:spChg chg="mod">
            <ac:chgData name="Abdi, Adnan" userId="503e002c-9b3b-4180-87fb-acabeb2b158a" providerId="ADAL" clId="{5C2CD6D4-C7A9-4CEF-AA9C-BC2977F70622}" dt="2024-02-20T12:52:58.838" v="17254" actId="947"/>
            <ac:spMkLst>
              <pc:docMk/>
              <pc:sldMasterMk cId="1321919033" sldId="2147483709"/>
              <pc:sldLayoutMk cId="1989599382" sldId="2147483731"/>
              <ac:spMk id="6" creationId="{00000000-0000-0000-0000-000000000000}"/>
            </ac:spMkLst>
          </pc:spChg>
          <pc:spChg chg="mod">
            <ac:chgData name="Abdi, Adnan" userId="503e002c-9b3b-4180-87fb-acabeb2b158a" providerId="ADAL" clId="{5C2CD6D4-C7A9-4CEF-AA9C-BC2977F70622}" dt="2024-02-20T12:52:58.838" v="17256" actId="947"/>
            <ac:spMkLst>
              <pc:docMk/>
              <pc:sldMasterMk cId="1321919033" sldId="2147483709"/>
              <pc:sldLayoutMk cId="1989599382" sldId="2147483731"/>
              <ac:spMk id="59" creationId="{00000000-0000-0000-0000-000000000000}"/>
            </ac:spMkLst>
          </pc:spChg>
          <pc:graphicFrameChg chg="mod">
            <ac:chgData name="Abdi, Adnan" userId="503e002c-9b3b-4180-87fb-acabeb2b158a" providerId="ADAL" clId="{5C2CD6D4-C7A9-4CEF-AA9C-BC2977F70622}" dt="2024-02-20T12:53:05.273" v="20697" actId="1076"/>
            <ac:graphicFrameMkLst>
              <pc:docMk/>
              <pc:sldMasterMk cId="1321919033" sldId="2147483709"/>
              <pc:sldLayoutMk cId="1989599382" sldId="2147483731"/>
              <ac:graphicFrameMk id="2" creationId="{00000000-0000-0000-0000-000000000000}"/>
            </ac:graphicFrameMkLst>
          </pc:graphicFrameChg>
        </pc:sldLayoutChg>
        <pc:sldLayoutChg chg="delSp modSp mod">
          <pc:chgData name="Abdi, Adnan" userId="503e002c-9b3b-4180-87fb-acabeb2b158a" providerId="ADAL" clId="{5C2CD6D4-C7A9-4CEF-AA9C-BC2977F70622}" dt="2024-02-20T12:53:05.429" v="20745"/>
          <pc:sldLayoutMkLst>
            <pc:docMk/>
            <pc:sldMasterMk cId="1321919033" sldId="2147483709"/>
            <pc:sldLayoutMk cId="2547287002" sldId="2147483732"/>
          </pc:sldLayoutMkLst>
          <pc:spChg chg="mod">
            <ac:chgData name="Abdi, Adnan" userId="503e002c-9b3b-4180-87fb-acabeb2b158a" providerId="ADAL" clId="{5C2CD6D4-C7A9-4CEF-AA9C-BC2977F70622}" dt="2024-02-20T12:52:58.924" v="17299" actId="790"/>
            <ac:spMkLst>
              <pc:docMk/>
              <pc:sldMasterMk cId="1321919033" sldId="2147483709"/>
              <pc:sldLayoutMk cId="2547287002" sldId="2147483732"/>
              <ac:spMk id="2" creationId="{00000000-0000-0000-0000-000000000000}"/>
            </ac:spMkLst>
          </pc:spChg>
          <pc:spChg chg="del mod modVis">
            <ac:chgData name="Abdi, Adnan" userId="503e002c-9b3b-4180-87fb-acabeb2b158a" providerId="ADAL" clId="{5C2CD6D4-C7A9-4CEF-AA9C-BC2977F70622}" dt="2024-02-20T12:53:05.411" v="20738" actId="478"/>
            <ac:spMkLst>
              <pc:docMk/>
              <pc:sldMasterMk cId="1321919033" sldId="2147483709"/>
              <pc:sldLayoutMk cId="2547287002" sldId="2147483732"/>
              <ac:spMk id="3" creationId="{186FC366-20A2-3331-228A-B96EAFC94057}"/>
            </ac:spMkLst>
          </pc:spChg>
          <pc:spChg chg="mod">
            <ac:chgData name="Abdi, Adnan" userId="503e002c-9b3b-4180-87fb-acabeb2b158a" providerId="ADAL" clId="{5C2CD6D4-C7A9-4CEF-AA9C-BC2977F70622}" dt="2024-02-20T12:53:02.661" v="19548" actId="948"/>
            <ac:spMkLst>
              <pc:docMk/>
              <pc:sldMasterMk cId="1321919033" sldId="2147483709"/>
              <pc:sldLayoutMk cId="2547287002" sldId="2147483732"/>
              <ac:spMk id="4" creationId="{00000000-0000-0000-0000-000000000000}"/>
            </ac:spMkLst>
          </pc:spChg>
          <pc:spChg chg="mod">
            <ac:chgData name="Abdi, Adnan" userId="503e002c-9b3b-4180-87fb-acabeb2b158a" providerId="ADAL" clId="{5C2CD6D4-C7A9-4CEF-AA9C-BC2977F70622}" dt="2024-02-20T12:52:58.923" v="17298" actId="947"/>
            <ac:spMkLst>
              <pc:docMk/>
              <pc:sldMasterMk cId="1321919033" sldId="2147483709"/>
              <pc:sldLayoutMk cId="2547287002" sldId="2147483732"/>
              <ac:spMk id="5" creationId="{00000000-0000-0000-0000-000000000000}"/>
            </ac:spMkLst>
          </pc:spChg>
          <pc:spChg chg="mod">
            <ac:chgData name="Abdi, Adnan" userId="503e002c-9b3b-4180-87fb-acabeb2b158a" providerId="ADAL" clId="{5C2CD6D4-C7A9-4CEF-AA9C-BC2977F70622}" dt="2024-02-20T12:52:58.928" v="17301" actId="947"/>
            <ac:spMkLst>
              <pc:docMk/>
              <pc:sldMasterMk cId="1321919033" sldId="2147483709"/>
              <pc:sldLayoutMk cId="2547287002" sldId="2147483732"/>
              <ac:spMk id="11" creationId="{00000000-0000-0000-0000-000000000000}"/>
            </ac:spMkLst>
          </pc:spChg>
          <pc:graphicFrameChg chg="mod ord modVis replST">
            <ac:chgData name="Abdi, Adnan" userId="503e002c-9b3b-4180-87fb-acabeb2b158a" providerId="ADAL" clId="{5C2CD6D4-C7A9-4CEF-AA9C-BC2977F70622}" dt="2024-02-20T12:53:05.429" v="20745"/>
            <ac:graphicFrameMkLst>
              <pc:docMk/>
              <pc:sldMasterMk cId="1321919033" sldId="2147483709"/>
              <pc:sldLayoutMk cId="2547287002" sldId="2147483732"/>
              <ac:graphicFrameMk id="6" creationId="{BE9E52CA-5024-E23C-629C-33EFAE1A0F23}"/>
            </ac:graphicFrameMkLst>
          </pc:graphicFrameChg>
        </pc:sldLayoutChg>
        <pc:sldLayoutChg chg="modSp mod">
          <pc:chgData name="Abdi, Adnan" userId="503e002c-9b3b-4180-87fb-acabeb2b158a" providerId="ADAL" clId="{5C2CD6D4-C7A9-4CEF-AA9C-BC2977F70622}" dt="2024-02-20T12:53:05.445" v="20752"/>
          <pc:sldLayoutMkLst>
            <pc:docMk/>
            <pc:sldMasterMk cId="1321919033" sldId="2147483709"/>
            <pc:sldLayoutMk cId="3739821454" sldId="2147483733"/>
          </pc:sldLayoutMkLst>
          <pc:spChg chg="mod">
            <ac:chgData name="Abdi, Adnan" userId="503e002c-9b3b-4180-87fb-acabeb2b158a" providerId="ADAL" clId="{5C2CD6D4-C7A9-4CEF-AA9C-BC2977F70622}" dt="2024-02-20T12:52:58.932" v="17303" actId="790"/>
            <ac:spMkLst>
              <pc:docMk/>
              <pc:sldMasterMk cId="1321919033" sldId="2147483709"/>
              <pc:sldLayoutMk cId="3739821454" sldId="2147483733"/>
              <ac:spMk id="5" creationId="{00000000-0000-0000-0000-000000000000}"/>
            </ac:spMkLst>
          </pc:spChg>
          <pc:spChg chg="mod">
            <ac:chgData name="Abdi, Adnan" userId="503e002c-9b3b-4180-87fb-acabeb2b158a" providerId="ADAL" clId="{5C2CD6D4-C7A9-4CEF-AA9C-BC2977F70622}" dt="2024-02-20T12:52:58.933" v="17305" actId="947"/>
            <ac:spMkLst>
              <pc:docMk/>
              <pc:sldMasterMk cId="1321919033" sldId="2147483709"/>
              <pc:sldLayoutMk cId="3739821454" sldId="2147483733"/>
              <ac:spMk id="7" creationId="{00000000-0000-0000-0000-000000000000}"/>
            </ac:spMkLst>
          </pc:spChg>
          <pc:graphicFrameChg chg="mod ord modVis replST">
            <ac:chgData name="Abdi, Adnan" userId="503e002c-9b3b-4180-87fb-acabeb2b158a" providerId="ADAL" clId="{5C2CD6D4-C7A9-4CEF-AA9C-BC2977F70622}" dt="2024-02-20T12:53:05.445" v="20752"/>
            <ac:graphicFrameMkLst>
              <pc:docMk/>
              <pc:sldMasterMk cId="1321919033" sldId="2147483709"/>
              <pc:sldLayoutMk cId="3739821454" sldId="2147483733"/>
              <ac:graphicFrameMk id="2" creationId="{41F71722-B373-D900-0E12-6F214589C262}"/>
            </ac:graphicFrameMkLst>
          </pc:graphicFrameChg>
        </pc:sldLayoutChg>
        <pc:sldLayoutChg chg="modSp mod">
          <pc:chgData name="Abdi, Adnan" userId="503e002c-9b3b-4180-87fb-acabeb2b158a" providerId="ADAL" clId="{5C2CD6D4-C7A9-4CEF-AA9C-BC2977F70622}" dt="2024-02-20T12:53:05.493" v="20759"/>
          <pc:sldLayoutMkLst>
            <pc:docMk/>
            <pc:sldMasterMk cId="1321919033" sldId="2147483709"/>
            <pc:sldLayoutMk cId="2792859724" sldId="2147483734"/>
          </pc:sldLayoutMkLst>
          <pc:spChg chg="mod">
            <ac:chgData name="Abdi, Adnan" userId="503e002c-9b3b-4180-87fb-acabeb2b158a" providerId="ADAL" clId="{5C2CD6D4-C7A9-4CEF-AA9C-BC2977F70622}" dt="2024-02-20T12:52:58.933" v="17308" actId="790"/>
            <ac:spMkLst>
              <pc:docMk/>
              <pc:sldMasterMk cId="1321919033" sldId="2147483709"/>
              <pc:sldLayoutMk cId="2792859724" sldId="2147483734"/>
              <ac:spMk id="2" creationId="{00000000-0000-0000-0000-000000000000}"/>
            </ac:spMkLst>
          </pc:spChg>
          <pc:spChg chg="mod">
            <ac:chgData name="Abdi, Adnan" userId="503e002c-9b3b-4180-87fb-acabeb2b158a" providerId="ADAL" clId="{5C2CD6D4-C7A9-4CEF-AA9C-BC2977F70622}" dt="2024-02-20T12:52:58.933" v="17307" actId="947"/>
            <ac:spMkLst>
              <pc:docMk/>
              <pc:sldMasterMk cId="1321919033" sldId="2147483709"/>
              <pc:sldLayoutMk cId="2792859724" sldId="2147483734"/>
              <ac:spMk id="7" creationId="{00000000-0000-0000-0000-000000000000}"/>
            </ac:spMkLst>
          </pc:spChg>
          <pc:spChg chg="mod">
            <ac:chgData name="Abdi, Adnan" userId="503e002c-9b3b-4180-87fb-acabeb2b158a" providerId="ADAL" clId="{5C2CD6D4-C7A9-4CEF-AA9C-BC2977F70622}" dt="2024-02-20T12:52:58.933" v="17310" actId="947"/>
            <ac:spMkLst>
              <pc:docMk/>
              <pc:sldMasterMk cId="1321919033" sldId="2147483709"/>
              <pc:sldLayoutMk cId="2792859724" sldId="2147483734"/>
              <ac:spMk id="9" creationId="{00000000-0000-0000-0000-000000000000}"/>
            </ac:spMkLst>
          </pc:spChg>
          <pc:graphicFrameChg chg="mod ord modVis replST">
            <ac:chgData name="Abdi, Adnan" userId="503e002c-9b3b-4180-87fb-acabeb2b158a" providerId="ADAL" clId="{5C2CD6D4-C7A9-4CEF-AA9C-BC2977F70622}" dt="2024-02-20T12:53:05.493" v="20759"/>
            <ac:graphicFrameMkLst>
              <pc:docMk/>
              <pc:sldMasterMk cId="1321919033" sldId="2147483709"/>
              <pc:sldLayoutMk cId="2792859724" sldId="2147483734"/>
              <ac:graphicFrameMk id="3" creationId="{2E869B56-65DE-BA23-38F1-5C7BFCA5A447}"/>
            </ac:graphicFrameMkLst>
          </pc:graphicFrameChg>
        </pc:sldLayoutChg>
        <pc:sldLayoutChg chg="modSp mod">
          <pc:chgData name="Abdi, Adnan" userId="503e002c-9b3b-4180-87fb-acabeb2b158a" providerId="ADAL" clId="{5C2CD6D4-C7A9-4CEF-AA9C-BC2977F70622}" dt="2024-02-20T12:53:05.513" v="20767"/>
          <pc:sldLayoutMkLst>
            <pc:docMk/>
            <pc:sldMasterMk cId="1321919033" sldId="2147483709"/>
            <pc:sldLayoutMk cId="3141703680" sldId="2147483735"/>
          </pc:sldLayoutMkLst>
          <pc:spChg chg="mod">
            <ac:chgData name="Abdi, Adnan" userId="503e002c-9b3b-4180-87fb-acabeb2b158a" providerId="ADAL" clId="{5C2CD6D4-C7A9-4CEF-AA9C-BC2977F70622}" dt="2024-02-20T12:52:58.974" v="17319" actId="790"/>
            <ac:spMkLst>
              <pc:docMk/>
              <pc:sldMasterMk cId="1321919033" sldId="2147483709"/>
              <pc:sldLayoutMk cId="3141703680" sldId="2147483735"/>
              <ac:spMk id="2" creationId="{00000000-0000-0000-0000-000000000000}"/>
            </ac:spMkLst>
          </pc:spChg>
          <pc:spChg chg="mod">
            <ac:chgData name="Abdi, Adnan" userId="503e002c-9b3b-4180-87fb-acabeb2b158a" providerId="ADAL" clId="{5C2CD6D4-C7A9-4CEF-AA9C-BC2977F70622}" dt="2024-02-20T12:52:58.970" v="17316" actId="947"/>
            <ac:spMkLst>
              <pc:docMk/>
              <pc:sldMasterMk cId="1321919033" sldId="2147483709"/>
              <pc:sldLayoutMk cId="3141703680" sldId="2147483735"/>
              <ac:spMk id="6" creationId="{00000000-0000-0000-0000-000000000000}"/>
            </ac:spMkLst>
          </pc:spChg>
          <pc:spChg chg="mod">
            <ac:chgData name="Abdi, Adnan" userId="503e002c-9b3b-4180-87fb-acabeb2b158a" providerId="ADAL" clId="{5C2CD6D4-C7A9-4CEF-AA9C-BC2977F70622}" dt="2024-02-20T12:52:58.973" v="17318" actId="947"/>
            <ac:spMkLst>
              <pc:docMk/>
              <pc:sldMasterMk cId="1321919033" sldId="2147483709"/>
              <pc:sldLayoutMk cId="3141703680" sldId="2147483735"/>
              <ac:spMk id="7" creationId="{00000000-0000-0000-0000-000000000000}"/>
            </ac:spMkLst>
          </pc:spChg>
          <pc:spChg chg="mod">
            <ac:chgData name="Abdi, Adnan" userId="503e002c-9b3b-4180-87fb-acabeb2b158a" providerId="ADAL" clId="{5C2CD6D4-C7A9-4CEF-AA9C-BC2977F70622}" dt="2024-02-20T12:52:58.978" v="17321" actId="947"/>
            <ac:spMkLst>
              <pc:docMk/>
              <pc:sldMasterMk cId="1321919033" sldId="2147483709"/>
              <pc:sldLayoutMk cId="3141703680" sldId="2147483735"/>
              <ac:spMk id="10" creationId="{00000000-0000-0000-0000-000000000000}"/>
            </ac:spMkLst>
          </pc:spChg>
          <pc:graphicFrameChg chg="mod ord modVis replST">
            <ac:chgData name="Abdi, Adnan" userId="503e002c-9b3b-4180-87fb-acabeb2b158a" providerId="ADAL" clId="{5C2CD6D4-C7A9-4CEF-AA9C-BC2977F70622}" dt="2024-02-20T12:53:05.513" v="20767"/>
            <ac:graphicFrameMkLst>
              <pc:docMk/>
              <pc:sldMasterMk cId="1321919033" sldId="2147483709"/>
              <pc:sldLayoutMk cId="3141703680" sldId="2147483735"/>
              <ac:graphicFrameMk id="3" creationId="{39AC79DE-34E3-5AC8-1DD6-7C0BCD5F9BB0}"/>
            </ac:graphicFrameMkLst>
          </pc:graphicFrameChg>
        </pc:sldLayoutChg>
        <pc:sldLayoutChg chg="modSp mod">
          <pc:chgData name="Abdi, Adnan" userId="503e002c-9b3b-4180-87fb-acabeb2b158a" providerId="ADAL" clId="{5C2CD6D4-C7A9-4CEF-AA9C-BC2977F70622}" dt="2024-02-20T12:53:05.498" v="20760" actId="1076"/>
          <pc:sldLayoutMkLst>
            <pc:docMk/>
            <pc:sldMasterMk cId="1321919033" sldId="2147483709"/>
            <pc:sldLayoutMk cId="3578195882" sldId="2147483736"/>
          </pc:sldLayoutMkLst>
          <pc:spChg chg="mod">
            <ac:chgData name="Abdi, Adnan" userId="503e002c-9b3b-4180-87fb-acabeb2b158a" providerId="ADAL" clId="{5C2CD6D4-C7A9-4CEF-AA9C-BC2977F70622}" dt="2024-02-20T12:52:58.957" v="17312" actId="947"/>
            <ac:spMkLst>
              <pc:docMk/>
              <pc:sldMasterMk cId="1321919033" sldId="2147483709"/>
              <pc:sldLayoutMk cId="3578195882" sldId="2147483736"/>
              <ac:spMk id="8" creationId="{00000000-0000-0000-0000-000000000000}"/>
            </ac:spMkLst>
          </pc:spChg>
          <pc:spChg chg="mod">
            <ac:chgData name="Abdi, Adnan" userId="503e002c-9b3b-4180-87fb-acabeb2b158a" providerId="ADAL" clId="{5C2CD6D4-C7A9-4CEF-AA9C-BC2977F70622}" dt="2024-02-20T12:52:58.959" v="17314" actId="947"/>
            <ac:spMkLst>
              <pc:docMk/>
              <pc:sldMasterMk cId="1321919033" sldId="2147483709"/>
              <pc:sldLayoutMk cId="3578195882" sldId="2147483736"/>
              <ac:spMk id="15" creationId="{00000000-0000-0000-0000-000000000000}"/>
            </ac:spMkLst>
          </pc:spChg>
          <pc:graphicFrameChg chg="mod">
            <ac:chgData name="Abdi, Adnan" userId="503e002c-9b3b-4180-87fb-acabeb2b158a" providerId="ADAL" clId="{5C2CD6D4-C7A9-4CEF-AA9C-BC2977F70622}" dt="2024-02-20T12:53:05.498" v="20760" actId="1076"/>
            <ac:graphicFrameMkLst>
              <pc:docMk/>
              <pc:sldMasterMk cId="1321919033" sldId="2147483709"/>
              <pc:sldLayoutMk cId="3578195882" sldId="2147483736"/>
              <ac:graphicFrameMk id="2" creationId="{00000000-0000-0000-0000-000000000000}"/>
            </ac:graphicFrameMkLst>
          </pc:graphicFrameChg>
        </pc:sldLayoutChg>
        <pc:sldLayoutChg chg="modSp mod">
          <pc:chgData name="Abdi, Adnan" userId="503e002c-9b3b-4180-87fb-acabeb2b158a" providerId="ADAL" clId="{5C2CD6D4-C7A9-4CEF-AA9C-BC2977F70622}" dt="2024-02-20T12:53:05.544" v="20774"/>
          <pc:sldLayoutMkLst>
            <pc:docMk/>
            <pc:sldMasterMk cId="1321919033" sldId="2147483709"/>
            <pc:sldLayoutMk cId="1781009023" sldId="2147483737"/>
          </pc:sldLayoutMkLst>
          <pc:spChg chg="mod">
            <ac:chgData name="Abdi, Adnan" userId="503e002c-9b3b-4180-87fb-acabeb2b158a" providerId="ADAL" clId="{5C2CD6D4-C7A9-4CEF-AA9C-BC2977F70622}" dt="2024-02-20T12:52:59.013" v="17328" actId="790"/>
            <ac:spMkLst>
              <pc:docMk/>
              <pc:sldMasterMk cId="1321919033" sldId="2147483709"/>
              <pc:sldLayoutMk cId="1781009023" sldId="2147483737"/>
              <ac:spMk id="2" creationId="{00000000-0000-0000-0000-000000000000}"/>
            </ac:spMkLst>
          </pc:spChg>
          <pc:spChg chg="mod">
            <ac:chgData name="Abdi, Adnan" userId="503e002c-9b3b-4180-87fb-acabeb2b158a" providerId="ADAL" clId="{5C2CD6D4-C7A9-4CEF-AA9C-BC2977F70622}" dt="2024-02-20T12:52:59.001" v="17327" actId="947"/>
            <ac:spMkLst>
              <pc:docMk/>
              <pc:sldMasterMk cId="1321919033" sldId="2147483709"/>
              <pc:sldLayoutMk cId="1781009023" sldId="2147483737"/>
              <ac:spMk id="53" creationId="{00000000-0000-0000-0000-000000000000}"/>
            </ac:spMkLst>
          </pc:spChg>
          <pc:spChg chg="mod">
            <ac:chgData name="Abdi, Adnan" userId="503e002c-9b3b-4180-87fb-acabeb2b158a" providerId="ADAL" clId="{5C2CD6D4-C7A9-4CEF-AA9C-BC2977F70622}" dt="2024-02-20T12:52:59.016" v="17330" actId="947"/>
            <ac:spMkLst>
              <pc:docMk/>
              <pc:sldMasterMk cId="1321919033" sldId="2147483709"/>
              <pc:sldLayoutMk cId="1781009023" sldId="2147483737"/>
              <ac:spMk id="56" creationId="{00000000-0000-0000-0000-000000000000}"/>
            </ac:spMkLst>
          </pc:spChg>
          <pc:spChg chg="mod">
            <ac:chgData name="Abdi, Adnan" userId="503e002c-9b3b-4180-87fb-acabeb2b158a" providerId="ADAL" clId="{5C2CD6D4-C7A9-4CEF-AA9C-BC2977F70622}" dt="2024-02-20T12:52:58.993" v="17325" actId="947"/>
            <ac:spMkLst>
              <pc:docMk/>
              <pc:sldMasterMk cId="1321919033" sldId="2147483709"/>
              <pc:sldLayoutMk cId="1781009023" sldId="2147483737"/>
              <ac:spMk id="59" creationId="{00000000-0000-0000-0000-000000000000}"/>
            </ac:spMkLst>
          </pc:spChg>
          <pc:spChg chg="mod">
            <ac:chgData name="Abdi, Adnan" userId="503e002c-9b3b-4180-87fb-acabeb2b158a" providerId="ADAL" clId="{5C2CD6D4-C7A9-4CEF-AA9C-BC2977F70622}" dt="2024-02-20T12:52:58.988" v="17323" actId="947"/>
            <ac:spMkLst>
              <pc:docMk/>
              <pc:sldMasterMk cId="1321919033" sldId="2147483709"/>
              <pc:sldLayoutMk cId="1781009023" sldId="2147483737"/>
              <ac:spMk id="60" creationId="{00000000-0000-0000-0000-000000000000}"/>
            </ac:spMkLst>
          </pc:spChg>
          <pc:graphicFrameChg chg="mod ord modVis replST">
            <ac:chgData name="Abdi, Adnan" userId="503e002c-9b3b-4180-87fb-acabeb2b158a" providerId="ADAL" clId="{5C2CD6D4-C7A9-4CEF-AA9C-BC2977F70622}" dt="2024-02-20T12:53:05.544" v="20774"/>
            <ac:graphicFrameMkLst>
              <pc:docMk/>
              <pc:sldMasterMk cId="1321919033" sldId="2147483709"/>
              <pc:sldLayoutMk cId="1781009023" sldId="2147483737"/>
              <ac:graphicFrameMk id="3" creationId="{1512B989-3418-8472-8D06-9C1273160FBD}"/>
            </ac:graphicFrameMkLst>
          </pc:graphicFrameChg>
        </pc:sldLayoutChg>
        <pc:sldLayoutChg chg="delSp modSp mod">
          <pc:chgData name="Abdi, Adnan" userId="503e002c-9b3b-4180-87fb-acabeb2b158a" providerId="ADAL" clId="{5C2CD6D4-C7A9-4CEF-AA9C-BC2977F70622}" dt="2024-02-20T12:53:05.544" v="20776" actId="1076"/>
          <pc:sldLayoutMkLst>
            <pc:docMk/>
            <pc:sldMasterMk cId="1321919033" sldId="2147483709"/>
            <pc:sldLayoutMk cId="1967841805" sldId="2147483738"/>
          </pc:sldLayoutMkLst>
          <pc:spChg chg="mod">
            <ac:chgData name="Abdi, Adnan" userId="503e002c-9b3b-4180-87fb-acabeb2b158a" providerId="ADAL" clId="{5C2CD6D4-C7A9-4CEF-AA9C-BC2977F70622}" dt="2024-02-20T12:52:59.026" v="17332" actId="947"/>
            <ac:spMkLst>
              <pc:docMk/>
              <pc:sldMasterMk cId="1321919033" sldId="2147483709"/>
              <pc:sldLayoutMk cId="1967841805" sldId="2147483738"/>
              <ac:spMk id="2" creationId="{00000000-0000-0000-0000-000000000000}"/>
            </ac:spMkLst>
          </pc:spChg>
          <pc:spChg chg="del mod modVis">
            <ac:chgData name="Abdi, Adnan" userId="503e002c-9b3b-4180-87fb-acabeb2b158a" providerId="ADAL" clId="{5C2CD6D4-C7A9-4CEF-AA9C-BC2977F70622}" dt="2024-02-20T12:53:05.544" v="20775" actId="478"/>
            <ac:spMkLst>
              <pc:docMk/>
              <pc:sldMasterMk cId="1321919033" sldId="2147483709"/>
              <pc:sldLayoutMk cId="1967841805" sldId="2147483738"/>
              <ac:spMk id="4" creationId="{E59C011C-1AC7-9A9F-2D4B-26ABEA1C9AC6}"/>
            </ac:spMkLst>
          </pc:spChg>
          <pc:spChg chg="mod">
            <ac:chgData name="Abdi, Adnan" userId="503e002c-9b3b-4180-87fb-acabeb2b158a" providerId="ADAL" clId="{5C2CD6D4-C7A9-4CEF-AA9C-BC2977F70622}" dt="2024-02-20T12:52:59.028" v="17334" actId="947"/>
            <ac:spMkLst>
              <pc:docMk/>
              <pc:sldMasterMk cId="1321919033" sldId="2147483709"/>
              <pc:sldLayoutMk cId="1967841805" sldId="2147483738"/>
              <ac:spMk id="14" creationId="{00000000-0000-0000-0000-000000000000}"/>
            </ac:spMkLst>
          </pc:spChg>
          <pc:spChg chg="mod">
            <ac:chgData name="Abdi, Adnan" userId="503e002c-9b3b-4180-87fb-acabeb2b158a" providerId="ADAL" clId="{5C2CD6D4-C7A9-4CEF-AA9C-BC2977F70622}" dt="2024-02-20T12:52:59.030" v="17335" actId="790"/>
            <ac:spMkLst>
              <pc:docMk/>
              <pc:sldMasterMk cId="1321919033" sldId="2147483709"/>
              <pc:sldLayoutMk cId="1967841805" sldId="2147483738"/>
              <ac:spMk id="20" creationId="{00000000-0000-0000-0000-000000000000}"/>
            </ac:spMkLst>
          </pc:spChg>
          <pc:spChg chg="mod">
            <ac:chgData name="Abdi, Adnan" userId="503e002c-9b3b-4180-87fb-acabeb2b158a" providerId="ADAL" clId="{5C2CD6D4-C7A9-4CEF-AA9C-BC2977F70622}" dt="2024-02-20T12:52:59.034" v="17337" actId="947"/>
            <ac:spMkLst>
              <pc:docMk/>
              <pc:sldMasterMk cId="1321919033" sldId="2147483709"/>
              <pc:sldLayoutMk cId="1967841805" sldId="2147483738"/>
              <ac:spMk id="21" creationId="{00000000-0000-0000-0000-000000000000}"/>
            </ac:spMkLst>
          </pc:spChg>
          <pc:spChg chg="mod">
            <ac:chgData name="Abdi, Adnan" userId="503e002c-9b3b-4180-87fb-acabeb2b158a" providerId="ADAL" clId="{5C2CD6D4-C7A9-4CEF-AA9C-BC2977F70622}" dt="2024-02-20T12:52:59.035" v="17338" actId="790"/>
            <ac:spMkLst>
              <pc:docMk/>
              <pc:sldMasterMk cId="1321919033" sldId="2147483709"/>
              <pc:sldLayoutMk cId="1967841805" sldId="2147483738"/>
              <ac:spMk id="22" creationId="{00000000-0000-0000-0000-000000000000}"/>
            </ac:spMkLst>
          </pc:spChg>
          <pc:spChg chg="mod">
            <ac:chgData name="Abdi, Adnan" userId="503e002c-9b3b-4180-87fb-acabeb2b158a" providerId="ADAL" clId="{5C2CD6D4-C7A9-4CEF-AA9C-BC2977F70622}" dt="2024-02-20T12:52:59.038" v="17339" actId="790"/>
            <ac:spMkLst>
              <pc:docMk/>
              <pc:sldMasterMk cId="1321919033" sldId="2147483709"/>
              <pc:sldLayoutMk cId="1967841805" sldId="2147483738"/>
              <ac:spMk id="26" creationId="{00000000-0000-0000-0000-000000000000}"/>
            </ac:spMkLst>
          </pc:spChg>
          <pc:spChg chg="mod">
            <ac:chgData name="Abdi, Adnan" userId="503e002c-9b3b-4180-87fb-acabeb2b158a" providerId="ADAL" clId="{5C2CD6D4-C7A9-4CEF-AA9C-BC2977F70622}" dt="2024-02-20T12:53:02.699" v="19566" actId="948"/>
            <ac:spMkLst>
              <pc:docMk/>
              <pc:sldMasterMk cId="1321919033" sldId="2147483709"/>
              <pc:sldLayoutMk cId="1967841805" sldId="2147483738"/>
              <ac:spMk id="27" creationId="{00000000-0000-0000-0000-000000000000}"/>
            </ac:spMkLst>
          </pc:spChg>
          <pc:graphicFrameChg chg="mod">
            <ac:chgData name="Abdi, Adnan" userId="503e002c-9b3b-4180-87fb-acabeb2b158a" providerId="ADAL" clId="{5C2CD6D4-C7A9-4CEF-AA9C-BC2977F70622}" dt="2024-02-20T12:53:05.544" v="20776" actId="1076"/>
            <ac:graphicFrameMkLst>
              <pc:docMk/>
              <pc:sldMasterMk cId="1321919033" sldId="2147483709"/>
              <pc:sldLayoutMk cId="1967841805" sldId="2147483738"/>
              <ac:graphicFrameMk id="3" creationId="{00000000-0000-0000-0000-000000000000}"/>
            </ac:graphicFrameMkLst>
          </pc:graphicFrameChg>
        </pc:sldLayoutChg>
        <pc:sldLayoutChg chg="delSp modSp mod">
          <pc:chgData name="Abdi, Adnan" userId="503e002c-9b3b-4180-87fb-acabeb2b158a" providerId="ADAL" clId="{5C2CD6D4-C7A9-4CEF-AA9C-BC2977F70622}" dt="2024-02-20T12:53:05.560" v="20784"/>
          <pc:sldLayoutMkLst>
            <pc:docMk/>
            <pc:sldMasterMk cId="1321919033" sldId="2147483709"/>
            <pc:sldLayoutMk cId="586640877" sldId="2147483739"/>
          </pc:sldLayoutMkLst>
          <pc:spChg chg="del mod modVis">
            <ac:chgData name="Abdi, Adnan" userId="503e002c-9b3b-4180-87fb-acabeb2b158a" providerId="ADAL" clId="{5C2CD6D4-C7A9-4CEF-AA9C-BC2977F70622}" dt="2024-02-20T12:53:05.544" v="20777" actId="478"/>
            <ac:spMkLst>
              <pc:docMk/>
              <pc:sldMasterMk cId="1321919033" sldId="2147483709"/>
              <pc:sldLayoutMk cId="586640877" sldId="2147483739"/>
              <ac:spMk id="2" creationId="{D5BC81A7-8BC4-79D0-248B-7E21638E76DE}"/>
            </ac:spMkLst>
          </pc:spChg>
          <pc:spChg chg="mod">
            <ac:chgData name="Abdi, Adnan" userId="503e002c-9b3b-4180-87fb-acabeb2b158a" providerId="ADAL" clId="{5C2CD6D4-C7A9-4CEF-AA9C-BC2977F70622}" dt="2024-02-20T12:52:59.039" v="17343" actId="947"/>
            <ac:spMkLst>
              <pc:docMk/>
              <pc:sldMasterMk cId="1321919033" sldId="2147483709"/>
              <pc:sldLayoutMk cId="586640877" sldId="2147483739"/>
              <ac:spMk id="7" creationId="{00000000-0000-0000-0000-000000000000}"/>
            </ac:spMkLst>
          </pc:spChg>
          <pc:spChg chg="mod">
            <ac:chgData name="Abdi, Adnan" userId="503e002c-9b3b-4180-87fb-acabeb2b158a" providerId="ADAL" clId="{5C2CD6D4-C7A9-4CEF-AA9C-BC2977F70622}" dt="2024-02-20T12:53:02.722" v="19584" actId="948"/>
            <ac:spMkLst>
              <pc:docMk/>
              <pc:sldMasterMk cId="1321919033" sldId="2147483709"/>
              <pc:sldLayoutMk cId="586640877" sldId="2147483739"/>
              <ac:spMk id="8" creationId="{00000000-0000-0000-0000-000000000000}"/>
            </ac:spMkLst>
          </pc:spChg>
          <pc:spChg chg="mod">
            <ac:chgData name="Abdi, Adnan" userId="503e002c-9b3b-4180-87fb-acabeb2b158a" providerId="ADAL" clId="{5C2CD6D4-C7A9-4CEF-AA9C-BC2977F70622}" dt="2024-02-20T12:52:59.039" v="17341" actId="790"/>
            <ac:spMkLst>
              <pc:docMk/>
              <pc:sldMasterMk cId="1321919033" sldId="2147483709"/>
              <pc:sldLayoutMk cId="586640877" sldId="2147483739"/>
              <ac:spMk id="57" creationId="{00000000-0000-0000-0000-000000000000}"/>
            </ac:spMkLst>
          </pc:spChg>
          <pc:graphicFrameChg chg="mod ord modVis replST">
            <ac:chgData name="Abdi, Adnan" userId="503e002c-9b3b-4180-87fb-acabeb2b158a" providerId="ADAL" clId="{5C2CD6D4-C7A9-4CEF-AA9C-BC2977F70622}" dt="2024-02-20T12:53:05.560" v="20784"/>
            <ac:graphicFrameMkLst>
              <pc:docMk/>
              <pc:sldMasterMk cId="1321919033" sldId="2147483709"/>
              <pc:sldLayoutMk cId="586640877" sldId="2147483739"/>
              <ac:graphicFrameMk id="3" creationId="{6D178114-77F6-23C2-6585-467E73ACBEC2}"/>
            </ac:graphicFrameMkLst>
          </pc:graphicFrameChg>
        </pc:sldLayoutChg>
        <pc:sldLayoutChg chg="delSp modSp mod">
          <pc:chgData name="Abdi, Adnan" userId="503e002c-9b3b-4180-87fb-acabeb2b158a" providerId="ADAL" clId="{5C2CD6D4-C7A9-4CEF-AA9C-BC2977F70622}" dt="2024-02-20T12:53:05.605" v="20792"/>
          <pc:sldLayoutMkLst>
            <pc:docMk/>
            <pc:sldMasterMk cId="1321919033" sldId="2147483709"/>
            <pc:sldLayoutMk cId="224607254" sldId="2147483740"/>
          </pc:sldLayoutMkLst>
          <pc:spChg chg="mod">
            <ac:chgData name="Abdi, Adnan" userId="503e002c-9b3b-4180-87fb-acabeb2b158a" providerId="ADAL" clId="{5C2CD6D4-C7A9-4CEF-AA9C-BC2977F70622}" dt="2024-02-20T12:53:02.742" v="19602" actId="948"/>
            <ac:spMkLst>
              <pc:docMk/>
              <pc:sldMasterMk cId="1321919033" sldId="2147483709"/>
              <pc:sldLayoutMk cId="224607254" sldId="2147483740"/>
              <ac:spMk id="2" creationId="{AB083126-25E7-42D8-B799-608CFD4DF6C3}"/>
            </ac:spMkLst>
          </pc:spChg>
          <pc:spChg chg="del mod modVis">
            <ac:chgData name="Abdi, Adnan" userId="503e002c-9b3b-4180-87fb-acabeb2b158a" providerId="ADAL" clId="{5C2CD6D4-C7A9-4CEF-AA9C-BC2977F70622}" dt="2024-02-20T12:53:05.560" v="20785" actId="478"/>
            <ac:spMkLst>
              <pc:docMk/>
              <pc:sldMasterMk cId="1321919033" sldId="2147483709"/>
              <pc:sldLayoutMk cId="224607254" sldId="2147483740"/>
              <ac:spMk id="3" creationId="{C40F49B0-BD04-12B4-FB89-A8F3367EA28F}"/>
            </ac:spMkLst>
          </pc:spChg>
          <pc:spChg chg="mod">
            <ac:chgData name="Abdi, Adnan" userId="503e002c-9b3b-4180-87fb-acabeb2b158a" providerId="ADAL" clId="{5C2CD6D4-C7A9-4CEF-AA9C-BC2977F70622}" dt="2024-02-20T12:52:59.066" v="17348" actId="947"/>
            <ac:spMkLst>
              <pc:docMk/>
              <pc:sldMasterMk cId="1321919033" sldId="2147483709"/>
              <pc:sldLayoutMk cId="224607254" sldId="2147483740"/>
              <ac:spMk id="4" creationId="{00000000-0000-0000-0000-000000000000}"/>
            </ac:spMkLst>
          </pc:spChg>
          <pc:spChg chg="mod">
            <ac:chgData name="Abdi, Adnan" userId="503e002c-9b3b-4180-87fb-acabeb2b158a" providerId="ADAL" clId="{5C2CD6D4-C7A9-4CEF-AA9C-BC2977F70622}" dt="2024-02-20T12:52:59.055" v="17346" actId="790"/>
            <ac:spMkLst>
              <pc:docMk/>
              <pc:sldMasterMk cId="1321919033" sldId="2147483709"/>
              <pc:sldLayoutMk cId="224607254" sldId="2147483740"/>
              <ac:spMk id="6" creationId="{FAD1DA01-0E73-44DE-A132-B4FF1E70A315}"/>
            </ac:spMkLst>
          </pc:spChg>
          <pc:graphicFrameChg chg="mod ord modVis replST">
            <ac:chgData name="Abdi, Adnan" userId="503e002c-9b3b-4180-87fb-acabeb2b158a" providerId="ADAL" clId="{5C2CD6D4-C7A9-4CEF-AA9C-BC2977F70622}" dt="2024-02-20T12:53:05.605" v="20792"/>
            <ac:graphicFrameMkLst>
              <pc:docMk/>
              <pc:sldMasterMk cId="1321919033" sldId="2147483709"/>
              <pc:sldLayoutMk cId="224607254" sldId="2147483740"/>
              <ac:graphicFrameMk id="5" creationId="{4FE78C55-6DA3-7D31-C6D1-735A650E2480}"/>
            </ac:graphicFrameMkLst>
          </pc:graphicFrameChg>
        </pc:sldLayoutChg>
        <pc:sldLayoutChg chg="delSp modSp mod">
          <pc:chgData name="Abdi, Adnan" userId="503e002c-9b3b-4180-87fb-acabeb2b158a" providerId="ADAL" clId="{5C2CD6D4-C7A9-4CEF-AA9C-BC2977F70622}" dt="2024-02-20T12:53:05.683" v="20816"/>
          <pc:sldLayoutMkLst>
            <pc:docMk/>
            <pc:sldMasterMk cId="1321919033" sldId="2147483709"/>
            <pc:sldLayoutMk cId="4219730401" sldId="2147483741"/>
          </pc:sldLayoutMkLst>
          <pc:spChg chg="del mod modVis">
            <ac:chgData name="Abdi, Adnan" userId="503e002c-9b3b-4180-87fb-acabeb2b158a" providerId="ADAL" clId="{5C2CD6D4-C7A9-4CEF-AA9C-BC2977F70622}" dt="2024-02-20T12:53:05.644" v="20809" actId="478"/>
            <ac:spMkLst>
              <pc:docMk/>
              <pc:sldMasterMk cId="1321919033" sldId="2147483709"/>
              <pc:sldLayoutMk cId="4219730401" sldId="2147483741"/>
              <ac:spMk id="2" creationId="{7A475914-7B51-4C06-20A2-F1DEC6D582EF}"/>
            </ac:spMkLst>
          </pc:spChg>
          <pc:spChg chg="mod">
            <ac:chgData name="Abdi, Adnan" userId="503e002c-9b3b-4180-87fb-acabeb2b158a" providerId="ADAL" clId="{5C2CD6D4-C7A9-4CEF-AA9C-BC2977F70622}" dt="2024-02-20T12:52:59.093" v="17362" actId="790"/>
            <ac:spMkLst>
              <pc:docMk/>
              <pc:sldMasterMk cId="1321919033" sldId="2147483709"/>
              <pc:sldLayoutMk cId="4219730401" sldId="2147483741"/>
              <ac:spMk id="4" creationId="{00000000-0000-0000-0000-000000000000}"/>
            </ac:spMkLst>
          </pc:spChg>
          <pc:spChg chg="mod">
            <ac:chgData name="Abdi, Adnan" userId="503e002c-9b3b-4180-87fb-acabeb2b158a" providerId="ADAL" clId="{5C2CD6D4-C7A9-4CEF-AA9C-BC2977F70622}" dt="2024-02-20T12:52:59.099" v="17366" actId="947"/>
            <ac:spMkLst>
              <pc:docMk/>
              <pc:sldMasterMk cId="1321919033" sldId="2147483709"/>
              <pc:sldLayoutMk cId="4219730401" sldId="2147483741"/>
              <ac:spMk id="7" creationId="{00000000-0000-0000-0000-000000000000}"/>
            </ac:spMkLst>
          </pc:spChg>
          <pc:spChg chg="mod">
            <ac:chgData name="Abdi, Adnan" userId="503e002c-9b3b-4180-87fb-acabeb2b158a" providerId="ADAL" clId="{5C2CD6D4-C7A9-4CEF-AA9C-BC2977F70622}" dt="2024-02-20T12:52:59.101" v="17367" actId="790"/>
            <ac:spMkLst>
              <pc:docMk/>
              <pc:sldMasterMk cId="1321919033" sldId="2147483709"/>
              <pc:sldLayoutMk cId="4219730401" sldId="2147483741"/>
              <ac:spMk id="8" creationId="{00000000-0000-0000-0000-000000000000}"/>
            </ac:spMkLst>
          </pc:spChg>
          <pc:spChg chg="mod">
            <ac:chgData name="Abdi, Adnan" userId="503e002c-9b3b-4180-87fb-acabeb2b158a" providerId="ADAL" clId="{5C2CD6D4-C7A9-4CEF-AA9C-BC2977F70622}" dt="2024-02-20T12:53:02.808" v="19655" actId="948"/>
            <ac:spMkLst>
              <pc:docMk/>
              <pc:sldMasterMk cId="1321919033" sldId="2147483709"/>
              <pc:sldLayoutMk cId="4219730401" sldId="2147483741"/>
              <ac:spMk id="9" creationId="{00000000-0000-0000-0000-000000000000}"/>
            </ac:spMkLst>
          </pc:spChg>
          <pc:spChg chg="mod">
            <ac:chgData name="Abdi, Adnan" userId="503e002c-9b3b-4180-87fb-acabeb2b158a" providerId="ADAL" clId="{5C2CD6D4-C7A9-4CEF-AA9C-BC2977F70622}" dt="2024-02-20T12:52:59.097" v="17364" actId="947"/>
            <ac:spMkLst>
              <pc:docMk/>
              <pc:sldMasterMk cId="1321919033" sldId="2147483709"/>
              <pc:sldLayoutMk cId="4219730401" sldId="2147483741"/>
              <ac:spMk id="11" creationId="{00000000-0000-0000-0000-000000000000}"/>
            </ac:spMkLst>
          </pc:spChg>
          <pc:graphicFrameChg chg="mod ord modVis replST">
            <ac:chgData name="Abdi, Adnan" userId="503e002c-9b3b-4180-87fb-acabeb2b158a" providerId="ADAL" clId="{5C2CD6D4-C7A9-4CEF-AA9C-BC2977F70622}" dt="2024-02-20T12:53:05.683" v="20816"/>
            <ac:graphicFrameMkLst>
              <pc:docMk/>
              <pc:sldMasterMk cId="1321919033" sldId="2147483709"/>
              <pc:sldLayoutMk cId="4219730401" sldId="2147483741"/>
              <ac:graphicFrameMk id="3" creationId="{246D23B6-9CF5-CC4E-F733-941E8F6569E5}"/>
            </ac:graphicFrameMkLst>
          </pc:graphicFrameChg>
        </pc:sldLayoutChg>
        <pc:sldLayoutChg chg="delSp modSp mod">
          <pc:chgData name="Abdi, Adnan" userId="503e002c-9b3b-4180-87fb-acabeb2b158a" providerId="ADAL" clId="{5C2CD6D4-C7A9-4CEF-AA9C-BC2977F70622}" dt="2024-02-20T12:53:05.629" v="20800"/>
          <pc:sldLayoutMkLst>
            <pc:docMk/>
            <pc:sldMasterMk cId="1321919033" sldId="2147483709"/>
            <pc:sldLayoutMk cId="2754501887" sldId="2147483742"/>
          </pc:sldLayoutMkLst>
          <pc:spChg chg="del mod modVis">
            <ac:chgData name="Abdi, Adnan" userId="503e002c-9b3b-4180-87fb-acabeb2b158a" providerId="ADAL" clId="{5C2CD6D4-C7A9-4CEF-AA9C-BC2977F70622}" dt="2024-02-20T12:53:05.606" v="20793" actId="478"/>
            <ac:spMkLst>
              <pc:docMk/>
              <pc:sldMasterMk cId="1321919033" sldId="2147483709"/>
              <pc:sldLayoutMk cId="2754501887" sldId="2147483742"/>
              <ac:spMk id="2" creationId="{18EF48B9-87B9-F5FC-F1E5-4A47B2627099}"/>
            </ac:spMkLst>
          </pc:spChg>
          <pc:spChg chg="mod">
            <ac:chgData name="Abdi, Adnan" userId="503e002c-9b3b-4180-87fb-acabeb2b158a" providerId="ADAL" clId="{5C2CD6D4-C7A9-4CEF-AA9C-BC2977F70622}" dt="2024-02-20T12:52:59.066" v="17349" actId="790"/>
            <ac:spMkLst>
              <pc:docMk/>
              <pc:sldMasterMk cId="1321919033" sldId="2147483709"/>
              <pc:sldLayoutMk cId="2754501887" sldId="2147483742"/>
              <ac:spMk id="9" creationId="{00000000-0000-0000-0000-000000000000}"/>
            </ac:spMkLst>
          </pc:spChg>
          <pc:spChg chg="mod">
            <ac:chgData name="Abdi, Adnan" userId="503e002c-9b3b-4180-87fb-acabeb2b158a" providerId="ADAL" clId="{5C2CD6D4-C7A9-4CEF-AA9C-BC2977F70622}" dt="2024-02-20T12:52:59.066" v="17353" actId="947"/>
            <ac:spMkLst>
              <pc:docMk/>
              <pc:sldMasterMk cId="1321919033" sldId="2147483709"/>
              <pc:sldLayoutMk cId="2754501887" sldId="2147483742"/>
              <ac:spMk id="11" creationId="{00000000-0000-0000-0000-000000000000}"/>
            </ac:spMkLst>
          </pc:spChg>
          <pc:spChg chg="mod">
            <ac:chgData name="Abdi, Adnan" userId="503e002c-9b3b-4180-87fb-acabeb2b158a" providerId="ADAL" clId="{5C2CD6D4-C7A9-4CEF-AA9C-BC2977F70622}" dt="2024-02-20T12:52:59.066" v="17351" actId="947"/>
            <ac:spMkLst>
              <pc:docMk/>
              <pc:sldMasterMk cId="1321919033" sldId="2147483709"/>
              <pc:sldLayoutMk cId="2754501887" sldId="2147483742"/>
              <ac:spMk id="12" creationId="{00000000-0000-0000-0000-000000000000}"/>
            </ac:spMkLst>
          </pc:spChg>
          <pc:graphicFrameChg chg="mod ord modVis replST">
            <ac:chgData name="Abdi, Adnan" userId="503e002c-9b3b-4180-87fb-acabeb2b158a" providerId="ADAL" clId="{5C2CD6D4-C7A9-4CEF-AA9C-BC2977F70622}" dt="2024-02-20T12:53:05.629" v="20800"/>
            <ac:graphicFrameMkLst>
              <pc:docMk/>
              <pc:sldMasterMk cId="1321919033" sldId="2147483709"/>
              <pc:sldLayoutMk cId="2754501887" sldId="2147483742"/>
              <ac:graphicFrameMk id="3" creationId="{D1FB0DDC-E96F-43A8-8915-DA2FECEAB8FA}"/>
            </ac:graphicFrameMkLst>
          </pc:graphicFrameChg>
        </pc:sldLayoutChg>
        <pc:sldLayoutChg chg="delSp modSp mod">
          <pc:chgData name="Abdi, Adnan" userId="503e002c-9b3b-4180-87fb-acabeb2b158a" providerId="ADAL" clId="{5C2CD6D4-C7A9-4CEF-AA9C-BC2977F70622}" dt="2024-02-20T12:53:05.712" v="20824"/>
          <pc:sldLayoutMkLst>
            <pc:docMk/>
            <pc:sldMasterMk cId="1321919033" sldId="2147483709"/>
            <pc:sldLayoutMk cId="4162004829" sldId="2147483743"/>
          </pc:sldLayoutMkLst>
          <pc:spChg chg="del mod modVis">
            <ac:chgData name="Abdi, Adnan" userId="503e002c-9b3b-4180-87fb-acabeb2b158a" providerId="ADAL" clId="{5C2CD6D4-C7A9-4CEF-AA9C-BC2977F70622}" dt="2024-02-20T12:53:05.684" v="20817" actId="478"/>
            <ac:spMkLst>
              <pc:docMk/>
              <pc:sldMasterMk cId="1321919033" sldId="2147483709"/>
              <pc:sldLayoutMk cId="4162004829" sldId="2147483743"/>
              <ac:spMk id="2" creationId="{04481FFD-ADB7-6E36-1708-08D5D2598C60}"/>
            </ac:spMkLst>
          </pc:spChg>
          <pc:spChg chg="mod">
            <ac:chgData name="Abdi, Adnan" userId="503e002c-9b3b-4180-87fb-acabeb2b158a" providerId="ADAL" clId="{5C2CD6D4-C7A9-4CEF-AA9C-BC2977F70622}" dt="2024-02-20T12:53:02.824" v="19673" actId="948"/>
            <ac:spMkLst>
              <pc:docMk/>
              <pc:sldMasterMk cId="1321919033" sldId="2147483709"/>
              <pc:sldLayoutMk cId="4162004829" sldId="2147483743"/>
              <ac:spMk id="7" creationId="{00000000-0000-0000-0000-000000000000}"/>
            </ac:spMkLst>
          </pc:spChg>
          <pc:spChg chg="mod">
            <ac:chgData name="Abdi, Adnan" userId="503e002c-9b3b-4180-87fb-acabeb2b158a" providerId="ADAL" clId="{5C2CD6D4-C7A9-4CEF-AA9C-BC2977F70622}" dt="2024-02-20T12:52:59.107" v="17369" actId="790"/>
            <ac:spMkLst>
              <pc:docMk/>
              <pc:sldMasterMk cId="1321919033" sldId="2147483709"/>
              <pc:sldLayoutMk cId="4162004829" sldId="2147483743"/>
              <ac:spMk id="9" creationId="{00000000-0000-0000-0000-000000000000}"/>
            </ac:spMkLst>
          </pc:spChg>
          <pc:graphicFrameChg chg="mod ord modVis replST">
            <ac:chgData name="Abdi, Adnan" userId="503e002c-9b3b-4180-87fb-acabeb2b158a" providerId="ADAL" clId="{5C2CD6D4-C7A9-4CEF-AA9C-BC2977F70622}" dt="2024-02-20T12:53:05.712" v="20824"/>
            <ac:graphicFrameMkLst>
              <pc:docMk/>
              <pc:sldMasterMk cId="1321919033" sldId="2147483709"/>
              <pc:sldLayoutMk cId="4162004829" sldId="2147483743"/>
              <ac:graphicFrameMk id="3" creationId="{579A8499-32A8-B1D9-AE27-462208505BE7}"/>
            </ac:graphicFrameMkLst>
          </pc:graphicFrameChg>
        </pc:sldLayoutChg>
        <pc:sldLayoutChg chg="delSp modSp mod">
          <pc:chgData name="Abdi, Adnan" userId="503e002c-9b3b-4180-87fb-acabeb2b158a" providerId="ADAL" clId="{5C2CD6D4-C7A9-4CEF-AA9C-BC2977F70622}" dt="2024-02-20T12:53:05.644" v="20808"/>
          <pc:sldLayoutMkLst>
            <pc:docMk/>
            <pc:sldMasterMk cId="1321919033" sldId="2147483709"/>
            <pc:sldLayoutMk cId="1913671714" sldId="2147483744"/>
          </pc:sldLayoutMkLst>
          <pc:spChg chg="del mod modVis">
            <ac:chgData name="Abdi, Adnan" userId="503e002c-9b3b-4180-87fb-acabeb2b158a" providerId="ADAL" clId="{5C2CD6D4-C7A9-4CEF-AA9C-BC2977F70622}" dt="2024-02-20T12:53:05.629" v="20801" actId="478"/>
            <ac:spMkLst>
              <pc:docMk/>
              <pc:sldMasterMk cId="1321919033" sldId="2147483709"/>
              <pc:sldLayoutMk cId="1913671714" sldId="2147483744"/>
              <ac:spMk id="2" creationId="{0CE962CB-A49F-1153-5653-957695921CE9}"/>
            </ac:spMkLst>
          </pc:spChg>
          <pc:spChg chg="mod">
            <ac:chgData name="Abdi, Adnan" userId="503e002c-9b3b-4180-87fb-acabeb2b158a" providerId="ADAL" clId="{5C2CD6D4-C7A9-4CEF-AA9C-BC2977F70622}" dt="2024-02-20T12:52:59.066" v="17354" actId="790"/>
            <ac:spMkLst>
              <pc:docMk/>
              <pc:sldMasterMk cId="1321919033" sldId="2147483709"/>
              <pc:sldLayoutMk cId="1913671714" sldId="2147483744"/>
              <ac:spMk id="18" creationId="{00000000-0000-0000-0000-000000000000}"/>
            </ac:spMkLst>
          </pc:spChg>
          <pc:spChg chg="mod">
            <ac:chgData name="Abdi, Adnan" userId="503e002c-9b3b-4180-87fb-acabeb2b158a" providerId="ADAL" clId="{5C2CD6D4-C7A9-4CEF-AA9C-BC2977F70622}" dt="2024-02-20T12:52:59.083" v="17356" actId="947"/>
            <ac:spMkLst>
              <pc:docMk/>
              <pc:sldMasterMk cId="1321919033" sldId="2147483709"/>
              <pc:sldLayoutMk cId="1913671714" sldId="2147483744"/>
              <ac:spMk id="20" creationId="{00000000-0000-0000-0000-000000000000}"/>
            </ac:spMkLst>
          </pc:spChg>
          <pc:spChg chg="mod">
            <ac:chgData name="Abdi, Adnan" userId="503e002c-9b3b-4180-87fb-acabeb2b158a" providerId="ADAL" clId="{5C2CD6D4-C7A9-4CEF-AA9C-BC2977F70622}" dt="2024-02-20T12:52:59.086" v="17358" actId="947"/>
            <ac:spMkLst>
              <pc:docMk/>
              <pc:sldMasterMk cId="1321919033" sldId="2147483709"/>
              <pc:sldLayoutMk cId="1913671714" sldId="2147483744"/>
              <ac:spMk id="22" creationId="{00000000-0000-0000-0000-000000000000}"/>
            </ac:spMkLst>
          </pc:spChg>
          <pc:spChg chg="mod">
            <ac:chgData name="Abdi, Adnan" userId="503e002c-9b3b-4180-87fb-acabeb2b158a" providerId="ADAL" clId="{5C2CD6D4-C7A9-4CEF-AA9C-BC2977F70622}" dt="2024-02-20T12:52:59.088" v="17360" actId="947"/>
            <ac:spMkLst>
              <pc:docMk/>
              <pc:sldMasterMk cId="1321919033" sldId="2147483709"/>
              <pc:sldLayoutMk cId="1913671714" sldId="2147483744"/>
              <ac:spMk id="24" creationId="{00000000-0000-0000-0000-000000000000}"/>
            </ac:spMkLst>
          </pc:spChg>
          <pc:spChg chg="mod">
            <ac:chgData name="Abdi, Adnan" userId="503e002c-9b3b-4180-87fb-acabeb2b158a" providerId="ADAL" clId="{5C2CD6D4-C7A9-4CEF-AA9C-BC2977F70622}" dt="2024-02-20T12:53:02.789" v="19637" actId="948"/>
            <ac:spMkLst>
              <pc:docMk/>
              <pc:sldMasterMk cId="1321919033" sldId="2147483709"/>
              <pc:sldLayoutMk cId="1913671714" sldId="2147483744"/>
              <ac:spMk id="25" creationId="{00000000-0000-0000-0000-000000000000}"/>
            </ac:spMkLst>
          </pc:spChg>
          <pc:graphicFrameChg chg="mod ord modVis replST">
            <ac:chgData name="Abdi, Adnan" userId="503e002c-9b3b-4180-87fb-acabeb2b158a" providerId="ADAL" clId="{5C2CD6D4-C7A9-4CEF-AA9C-BC2977F70622}" dt="2024-02-20T12:53:05.644" v="20808"/>
            <ac:graphicFrameMkLst>
              <pc:docMk/>
              <pc:sldMasterMk cId="1321919033" sldId="2147483709"/>
              <pc:sldLayoutMk cId="1913671714" sldId="2147483744"/>
              <ac:graphicFrameMk id="3" creationId="{B6DE7F47-8201-A0D2-3B07-8A7715435A02}"/>
            </ac:graphicFrameMkLst>
          </pc:graphicFrameChg>
        </pc:sldLayoutChg>
        <pc:sldLayoutChg chg="delSp modSp mod">
          <pc:chgData name="Abdi, Adnan" userId="503e002c-9b3b-4180-87fb-acabeb2b158a" providerId="ADAL" clId="{5C2CD6D4-C7A9-4CEF-AA9C-BC2977F70622}" dt="2024-02-20T12:53:05.743" v="20832"/>
          <pc:sldLayoutMkLst>
            <pc:docMk/>
            <pc:sldMasterMk cId="1321919033" sldId="2147483709"/>
            <pc:sldLayoutMk cId="699858913" sldId="2147483745"/>
          </pc:sldLayoutMkLst>
          <pc:spChg chg="mod">
            <ac:chgData name="Abdi, Adnan" userId="503e002c-9b3b-4180-87fb-acabeb2b158a" providerId="ADAL" clId="{5C2CD6D4-C7A9-4CEF-AA9C-BC2977F70622}" dt="2024-02-20T12:53:02.840" v="19691" actId="948"/>
            <ac:spMkLst>
              <pc:docMk/>
              <pc:sldMasterMk cId="1321919033" sldId="2147483709"/>
              <pc:sldLayoutMk cId="699858913" sldId="2147483745"/>
              <ac:spMk id="2" creationId="{00000000-0000-0000-0000-000000000000}"/>
            </ac:spMkLst>
          </pc:spChg>
          <pc:spChg chg="del mod modVis">
            <ac:chgData name="Abdi, Adnan" userId="503e002c-9b3b-4180-87fb-acabeb2b158a" providerId="ADAL" clId="{5C2CD6D4-C7A9-4CEF-AA9C-BC2977F70622}" dt="2024-02-20T12:53:05.712" v="20825" actId="478"/>
            <ac:spMkLst>
              <pc:docMk/>
              <pc:sldMasterMk cId="1321919033" sldId="2147483709"/>
              <pc:sldLayoutMk cId="699858913" sldId="2147483745"/>
              <ac:spMk id="3" creationId="{87D6C7C0-76F6-C302-F1BE-1FE7D158B9DE}"/>
            </ac:spMkLst>
          </pc:spChg>
          <pc:spChg chg="mod">
            <ac:chgData name="Abdi, Adnan" userId="503e002c-9b3b-4180-87fb-acabeb2b158a" providerId="ADAL" clId="{5C2CD6D4-C7A9-4CEF-AA9C-BC2977F70622}" dt="2024-02-20T12:52:59.115" v="17372" actId="947"/>
            <ac:spMkLst>
              <pc:docMk/>
              <pc:sldMasterMk cId="1321919033" sldId="2147483709"/>
              <pc:sldLayoutMk cId="699858913" sldId="2147483745"/>
              <ac:spMk id="14" creationId="{00000000-0000-0000-0000-000000000000}"/>
            </ac:spMkLst>
          </pc:spChg>
          <pc:spChg chg="mod">
            <ac:chgData name="Abdi, Adnan" userId="503e002c-9b3b-4180-87fb-acabeb2b158a" providerId="ADAL" clId="{5C2CD6D4-C7A9-4CEF-AA9C-BC2977F70622}" dt="2024-02-20T12:52:59.116" v="17373" actId="790"/>
            <ac:spMkLst>
              <pc:docMk/>
              <pc:sldMasterMk cId="1321919033" sldId="2147483709"/>
              <pc:sldLayoutMk cId="699858913" sldId="2147483745"/>
              <ac:spMk id="18" creationId="{00000000-0000-0000-0000-000000000000}"/>
            </ac:spMkLst>
          </pc:spChg>
          <pc:spChg chg="mod">
            <ac:chgData name="Abdi, Adnan" userId="503e002c-9b3b-4180-87fb-acabeb2b158a" providerId="ADAL" clId="{5C2CD6D4-C7A9-4CEF-AA9C-BC2977F70622}" dt="2024-02-20T12:52:59.116" v="17375" actId="947"/>
            <ac:spMkLst>
              <pc:docMk/>
              <pc:sldMasterMk cId="1321919033" sldId="2147483709"/>
              <pc:sldLayoutMk cId="699858913" sldId="2147483745"/>
              <ac:spMk id="19" creationId="{00000000-0000-0000-0000-000000000000}"/>
            </ac:spMkLst>
          </pc:spChg>
          <pc:spChg chg="mod">
            <ac:chgData name="Abdi, Adnan" userId="503e002c-9b3b-4180-87fb-acabeb2b158a" providerId="ADAL" clId="{5C2CD6D4-C7A9-4CEF-AA9C-BC2977F70622}" dt="2024-02-20T12:52:59.116" v="17377" actId="947"/>
            <ac:spMkLst>
              <pc:docMk/>
              <pc:sldMasterMk cId="1321919033" sldId="2147483709"/>
              <pc:sldLayoutMk cId="699858913" sldId="2147483745"/>
              <ac:spMk id="21" creationId="{00000000-0000-0000-0000-000000000000}"/>
            </ac:spMkLst>
          </pc:spChg>
          <pc:graphicFrameChg chg="mod ord modVis replST">
            <ac:chgData name="Abdi, Adnan" userId="503e002c-9b3b-4180-87fb-acabeb2b158a" providerId="ADAL" clId="{5C2CD6D4-C7A9-4CEF-AA9C-BC2977F70622}" dt="2024-02-20T12:53:05.743" v="20832"/>
            <ac:graphicFrameMkLst>
              <pc:docMk/>
              <pc:sldMasterMk cId="1321919033" sldId="2147483709"/>
              <pc:sldLayoutMk cId="699858913" sldId="2147483745"/>
              <ac:graphicFrameMk id="4" creationId="{683697F1-2022-F773-9972-9292666C1C4D}"/>
            </ac:graphicFrameMkLst>
          </pc:graphicFrameChg>
        </pc:sldLayoutChg>
        <pc:sldLayoutChg chg="delSp modSp mod">
          <pc:chgData name="Abdi, Adnan" userId="503e002c-9b3b-4180-87fb-acabeb2b158a" providerId="ADAL" clId="{5C2CD6D4-C7A9-4CEF-AA9C-BC2977F70622}" dt="2024-02-20T12:53:05.759" v="20840"/>
          <pc:sldLayoutMkLst>
            <pc:docMk/>
            <pc:sldMasterMk cId="1321919033" sldId="2147483709"/>
            <pc:sldLayoutMk cId="1645836740" sldId="2147483746"/>
          </pc:sldLayoutMkLst>
          <pc:spChg chg="mod">
            <ac:chgData name="Abdi, Adnan" userId="503e002c-9b3b-4180-87fb-acabeb2b158a" providerId="ADAL" clId="{5C2CD6D4-C7A9-4CEF-AA9C-BC2977F70622}" dt="2024-02-20T12:53:02.878" v="19709" actId="948"/>
            <ac:spMkLst>
              <pc:docMk/>
              <pc:sldMasterMk cId="1321919033" sldId="2147483709"/>
              <pc:sldLayoutMk cId="1645836740" sldId="2147483746"/>
              <ac:spMk id="2" creationId="{00000000-0000-0000-0000-000000000000}"/>
            </ac:spMkLst>
          </pc:spChg>
          <pc:spChg chg="del mod modVis">
            <ac:chgData name="Abdi, Adnan" userId="503e002c-9b3b-4180-87fb-acabeb2b158a" providerId="ADAL" clId="{5C2CD6D4-C7A9-4CEF-AA9C-BC2977F70622}" dt="2024-02-20T12:53:05.743" v="20833" actId="478"/>
            <ac:spMkLst>
              <pc:docMk/>
              <pc:sldMasterMk cId="1321919033" sldId="2147483709"/>
              <pc:sldLayoutMk cId="1645836740" sldId="2147483746"/>
              <ac:spMk id="3" creationId="{D3DB1338-C039-9E9E-ED39-3BB73D0FFB74}"/>
            </ac:spMkLst>
          </pc:spChg>
          <pc:spChg chg="mod">
            <ac:chgData name="Abdi, Adnan" userId="503e002c-9b3b-4180-87fb-acabeb2b158a" providerId="ADAL" clId="{5C2CD6D4-C7A9-4CEF-AA9C-BC2977F70622}" dt="2024-02-20T12:52:59.116" v="17380" actId="947"/>
            <ac:spMkLst>
              <pc:docMk/>
              <pc:sldMasterMk cId="1321919033" sldId="2147483709"/>
              <pc:sldLayoutMk cId="1645836740" sldId="2147483746"/>
              <ac:spMk id="10" creationId="{00000000-0000-0000-0000-000000000000}"/>
            </ac:spMkLst>
          </pc:spChg>
          <pc:spChg chg="mod">
            <ac:chgData name="Abdi, Adnan" userId="503e002c-9b3b-4180-87fb-acabeb2b158a" providerId="ADAL" clId="{5C2CD6D4-C7A9-4CEF-AA9C-BC2977F70622}" dt="2024-02-20T12:52:59.116" v="17381" actId="790"/>
            <ac:spMkLst>
              <pc:docMk/>
              <pc:sldMasterMk cId="1321919033" sldId="2147483709"/>
              <pc:sldLayoutMk cId="1645836740" sldId="2147483746"/>
              <ac:spMk id="13" creationId="{00000000-0000-0000-0000-000000000000}"/>
            </ac:spMkLst>
          </pc:spChg>
          <pc:spChg chg="mod">
            <ac:chgData name="Abdi, Adnan" userId="503e002c-9b3b-4180-87fb-acabeb2b158a" providerId="ADAL" clId="{5C2CD6D4-C7A9-4CEF-AA9C-BC2977F70622}" dt="2024-02-20T12:52:59.132" v="17385" actId="947"/>
            <ac:spMkLst>
              <pc:docMk/>
              <pc:sldMasterMk cId="1321919033" sldId="2147483709"/>
              <pc:sldLayoutMk cId="1645836740" sldId="2147483746"/>
              <ac:spMk id="15" creationId="{00000000-0000-0000-0000-000000000000}"/>
            </ac:spMkLst>
          </pc:spChg>
          <pc:spChg chg="mod">
            <ac:chgData name="Abdi, Adnan" userId="503e002c-9b3b-4180-87fb-acabeb2b158a" providerId="ADAL" clId="{5C2CD6D4-C7A9-4CEF-AA9C-BC2977F70622}" dt="2024-02-20T12:52:59.132" v="17383" actId="947"/>
            <ac:spMkLst>
              <pc:docMk/>
              <pc:sldMasterMk cId="1321919033" sldId="2147483709"/>
              <pc:sldLayoutMk cId="1645836740" sldId="2147483746"/>
              <ac:spMk id="22" creationId="{00000000-0000-0000-0000-000000000000}"/>
            </ac:spMkLst>
          </pc:spChg>
          <pc:graphicFrameChg chg="mod ord modVis replST">
            <ac:chgData name="Abdi, Adnan" userId="503e002c-9b3b-4180-87fb-acabeb2b158a" providerId="ADAL" clId="{5C2CD6D4-C7A9-4CEF-AA9C-BC2977F70622}" dt="2024-02-20T12:53:05.759" v="20840"/>
            <ac:graphicFrameMkLst>
              <pc:docMk/>
              <pc:sldMasterMk cId="1321919033" sldId="2147483709"/>
              <pc:sldLayoutMk cId="1645836740" sldId="2147483746"/>
              <ac:graphicFrameMk id="4" creationId="{0E2264A3-841C-3E1C-5793-A50838CE36D1}"/>
            </ac:graphicFrameMkLst>
          </pc:graphicFrameChg>
        </pc:sldLayoutChg>
        <pc:sldLayoutChg chg="delSp modSp mod">
          <pc:chgData name="Abdi, Adnan" userId="503e002c-9b3b-4180-87fb-acabeb2b158a" providerId="ADAL" clId="{5C2CD6D4-C7A9-4CEF-AA9C-BC2977F70622}" dt="2024-02-20T12:53:05.826" v="20856"/>
          <pc:sldLayoutMkLst>
            <pc:docMk/>
            <pc:sldMasterMk cId="1321919033" sldId="2147483709"/>
            <pc:sldLayoutMk cId="4119940246" sldId="2147483747"/>
          </pc:sldLayoutMkLst>
          <pc:spChg chg="del mod modVis">
            <ac:chgData name="Abdi, Adnan" userId="503e002c-9b3b-4180-87fb-acabeb2b158a" providerId="ADAL" clId="{5C2CD6D4-C7A9-4CEF-AA9C-BC2977F70622}" dt="2024-02-20T12:53:05.808" v="20849" actId="478"/>
            <ac:spMkLst>
              <pc:docMk/>
              <pc:sldMasterMk cId="1321919033" sldId="2147483709"/>
              <pc:sldLayoutMk cId="4119940246" sldId="2147483747"/>
              <ac:spMk id="2" creationId="{F6D877FB-3AE4-E41E-C3B5-6EBEA777026C}"/>
            </ac:spMkLst>
          </pc:spChg>
          <pc:spChg chg="mod">
            <ac:chgData name="Abdi, Adnan" userId="503e002c-9b3b-4180-87fb-acabeb2b158a" providerId="ADAL" clId="{5C2CD6D4-C7A9-4CEF-AA9C-BC2977F70622}" dt="2024-02-20T12:53:02.921" v="19745" actId="948"/>
            <ac:spMkLst>
              <pc:docMk/>
              <pc:sldMasterMk cId="1321919033" sldId="2147483709"/>
              <pc:sldLayoutMk cId="4119940246" sldId="2147483747"/>
              <ac:spMk id="24" creationId="{00000000-0000-0000-0000-000000000000}"/>
            </ac:spMkLst>
          </pc:spChg>
          <pc:spChg chg="mod">
            <ac:chgData name="Abdi, Adnan" userId="503e002c-9b3b-4180-87fb-acabeb2b158a" providerId="ADAL" clId="{5C2CD6D4-C7A9-4CEF-AA9C-BC2977F70622}" dt="2024-02-20T12:52:59.148" v="17399" actId="790"/>
            <ac:spMkLst>
              <pc:docMk/>
              <pc:sldMasterMk cId="1321919033" sldId="2147483709"/>
              <pc:sldLayoutMk cId="4119940246" sldId="2147483747"/>
              <ac:spMk id="25" creationId="{00000000-0000-0000-0000-000000000000}"/>
            </ac:spMkLst>
          </pc:spChg>
          <pc:spChg chg="mod">
            <ac:chgData name="Abdi, Adnan" userId="503e002c-9b3b-4180-87fb-acabeb2b158a" providerId="ADAL" clId="{5C2CD6D4-C7A9-4CEF-AA9C-BC2977F70622}" dt="2024-02-20T12:52:59.148" v="17398" actId="947"/>
            <ac:spMkLst>
              <pc:docMk/>
              <pc:sldMasterMk cId="1321919033" sldId="2147483709"/>
              <pc:sldLayoutMk cId="4119940246" sldId="2147483747"/>
              <ac:spMk id="26" creationId="{00000000-0000-0000-0000-000000000000}"/>
            </ac:spMkLst>
          </pc:spChg>
          <pc:spChg chg="mod">
            <ac:chgData name="Abdi, Adnan" userId="503e002c-9b3b-4180-87fb-acabeb2b158a" providerId="ADAL" clId="{5C2CD6D4-C7A9-4CEF-AA9C-BC2977F70622}" dt="2024-02-20T12:52:59.170" v="17403" actId="947"/>
            <ac:spMkLst>
              <pc:docMk/>
              <pc:sldMasterMk cId="1321919033" sldId="2147483709"/>
              <pc:sldLayoutMk cId="4119940246" sldId="2147483747"/>
              <ac:spMk id="28" creationId="{00000000-0000-0000-0000-000000000000}"/>
            </ac:spMkLst>
          </pc:spChg>
          <pc:spChg chg="mod">
            <ac:chgData name="Abdi, Adnan" userId="503e002c-9b3b-4180-87fb-acabeb2b158a" providerId="ADAL" clId="{5C2CD6D4-C7A9-4CEF-AA9C-BC2977F70622}" dt="2024-02-20T12:52:59.168" v="17401" actId="947"/>
            <ac:spMkLst>
              <pc:docMk/>
              <pc:sldMasterMk cId="1321919033" sldId="2147483709"/>
              <pc:sldLayoutMk cId="4119940246" sldId="2147483747"/>
              <ac:spMk id="29" creationId="{00000000-0000-0000-0000-000000000000}"/>
            </ac:spMkLst>
          </pc:spChg>
          <pc:graphicFrameChg chg="mod ord modVis replST">
            <ac:chgData name="Abdi, Adnan" userId="503e002c-9b3b-4180-87fb-acabeb2b158a" providerId="ADAL" clId="{5C2CD6D4-C7A9-4CEF-AA9C-BC2977F70622}" dt="2024-02-20T12:53:05.826" v="20856"/>
            <ac:graphicFrameMkLst>
              <pc:docMk/>
              <pc:sldMasterMk cId="1321919033" sldId="2147483709"/>
              <pc:sldLayoutMk cId="4119940246" sldId="2147483747"/>
              <ac:graphicFrameMk id="3" creationId="{6000F738-DBC0-BB11-64E4-733EB159CE1A}"/>
            </ac:graphicFrameMkLst>
          </pc:graphicFrameChg>
        </pc:sldLayoutChg>
        <pc:sldLayoutChg chg="delSp modSp mod">
          <pc:chgData name="Abdi, Adnan" userId="503e002c-9b3b-4180-87fb-acabeb2b158a" providerId="ADAL" clId="{5C2CD6D4-C7A9-4CEF-AA9C-BC2977F70622}" dt="2024-02-20T12:53:05.805" v="20848"/>
          <pc:sldLayoutMkLst>
            <pc:docMk/>
            <pc:sldMasterMk cId="1321919033" sldId="2147483709"/>
            <pc:sldLayoutMk cId="1514315304" sldId="2147483748"/>
          </pc:sldLayoutMkLst>
          <pc:spChg chg="del mod modVis">
            <ac:chgData name="Abdi, Adnan" userId="503e002c-9b3b-4180-87fb-acabeb2b158a" providerId="ADAL" clId="{5C2CD6D4-C7A9-4CEF-AA9C-BC2977F70622}" dt="2024-02-20T12:53:05.759" v="20841" actId="478"/>
            <ac:spMkLst>
              <pc:docMk/>
              <pc:sldMasterMk cId="1321919033" sldId="2147483709"/>
              <pc:sldLayoutMk cId="1514315304" sldId="2147483748"/>
              <ac:spMk id="2" creationId="{1796910A-2183-835A-B4EF-9C062098FE34}"/>
            </ac:spMkLst>
          </pc:spChg>
          <pc:spChg chg="mod">
            <ac:chgData name="Abdi, Adnan" userId="503e002c-9b3b-4180-87fb-acabeb2b158a" providerId="ADAL" clId="{5C2CD6D4-C7A9-4CEF-AA9C-BC2977F70622}" dt="2024-02-20T12:52:59.132" v="17388" actId="947"/>
            <ac:spMkLst>
              <pc:docMk/>
              <pc:sldMasterMk cId="1321919033" sldId="2147483709"/>
              <pc:sldLayoutMk cId="1514315304" sldId="2147483748"/>
              <ac:spMk id="11" creationId="{00000000-0000-0000-0000-000000000000}"/>
            </ac:spMkLst>
          </pc:spChg>
          <pc:spChg chg="mod">
            <ac:chgData name="Abdi, Adnan" userId="503e002c-9b3b-4180-87fb-acabeb2b158a" providerId="ADAL" clId="{5C2CD6D4-C7A9-4CEF-AA9C-BC2977F70622}" dt="2024-02-20T12:52:59.132" v="17389" actId="790"/>
            <ac:spMkLst>
              <pc:docMk/>
              <pc:sldMasterMk cId="1321919033" sldId="2147483709"/>
              <pc:sldLayoutMk cId="1514315304" sldId="2147483748"/>
              <ac:spMk id="12" creationId="{00000000-0000-0000-0000-000000000000}"/>
            </ac:spMkLst>
          </pc:spChg>
          <pc:spChg chg="mod">
            <ac:chgData name="Abdi, Adnan" userId="503e002c-9b3b-4180-87fb-acabeb2b158a" providerId="ADAL" clId="{5C2CD6D4-C7A9-4CEF-AA9C-BC2977F70622}" dt="2024-02-20T12:53:02.901" v="19727" actId="948"/>
            <ac:spMkLst>
              <pc:docMk/>
              <pc:sldMasterMk cId="1321919033" sldId="2147483709"/>
              <pc:sldLayoutMk cId="1514315304" sldId="2147483748"/>
              <ac:spMk id="13" creationId="{00000000-0000-0000-0000-000000000000}"/>
            </ac:spMkLst>
          </pc:spChg>
          <pc:spChg chg="mod">
            <ac:chgData name="Abdi, Adnan" userId="503e002c-9b3b-4180-87fb-acabeb2b158a" providerId="ADAL" clId="{5C2CD6D4-C7A9-4CEF-AA9C-BC2977F70622}" dt="2024-02-20T12:52:59.148" v="17392" actId="947"/>
            <ac:spMkLst>
              <pc:docMk/>
              <pc:sldMasterMk cId="1321919033" sldId="2147483709"/>
              <pc:sldLayoutMk cId="1514315304" sldId="2147483748"/>
              <ac:spMk id="14" creationId="{00000000-0000-0000-0000-000000000000}"/>
            </ac:spMkLst>
          </pc:spChg>
          <pc:spChg chg="mod">
            <ac:chgData name="Abdi, Adnan" userId="503e002c-9b3b-4180-87fb-acabeb2b158a" providerId="ADAL" clId="{5C2CD6D4-C7A9-4CEF-AA9C-BC2977F70622}" dt="2024-02-20T12:52:59.148" v="17393" actId="790"/>
            <ac:spMkLst>
              <pc:docMk/>
              <pc:sldMasterMk cId="1321919033" sldId="2147483709"/>
              <pc:sldLayoutMk cId="1514315304" sldId="2147483748"/>
              <ac:spMk id="15" creationId="{00000000-0000-0000-0000-000000000000}"/>
            </ac:spMkLst>
          </pc:spChg>
          <pc:spChg chg="mod">
            <ac:chgData name="Abdi, Adnan" userId="503e002c-9b3b-4180-87fb-acabeb2b158a" providerId="ADAL" clId="{5C2CD6D4-C7A9-4CEF-AA9C-BC2977F70622}" dt="2024-02-20T12:52:59.148" v="17395" actId="947"/>
            <ac:spMkLst>
              <pc:docMk/>
              <pc:sldMasterMk cId="1321919033" sldId="2147483709"/>
              <pc:sldLayoutMk cId="1514315304" sldId="2147483748"/>
              <ac:spMk id="17" creationId="{00000000-0000-0000-0000-000000000000}"/>
            </ac:spMkLst>
          </pc:spChg>
          <pc:graphicFrameChg chg="mod ord modVis replST">
            <ac:chgData name="Abdi, Adnan" userId="503e002c-9b3b-4180-87fb-acabeb2b158a" providerId="ADAL" clId="{5C2CD6D4-C7A9-4CEF-AA9C-BC2977F70622}" dt="2024-02-20T12:53:05.805" v="20848"/>
            <ac:graphicFrameMkLst>
              <pc:docMk/>
              <pc:sldMasterMk cId="1321919033" sldId="2147483709"/>
              <pc:sldLayoutMk cId="1514315304" sldId="2147483748"/>
              <ac:graphicFrameMk id="3" creationId="{9D3CC2CC-1AC7-C221-495F-8BBA0E3E9258}"/>
            </ac:graphicFrameMkLst>
          </pc:graphicFrameChg>
        </pc:sldLayoutChg>
        <pc:sldLayoutChg chg="delSp modSp mod">
          <pc:chgData name="Abdi, Adnan" userId="503e002c-9b3b-4180-87fb-acabeb2b158a" providerId="ADAL" clId="{5C2CD6D4-C7A9-4CEF-AA9C-BC2977F70622}" dt="2024-02-20T12:53:05.896" v="20866"/>
          <pc:sldLayoutMkLst>
            <pc:docMk/>
            <pc:sldMasterMk cId="1321919033" sldId="2147483709"/>
            <pc:sldLayoutMk cId="4097420213" sldId="2147483749"/>
          </pc:sldLayoutMkLst>
          <pc:spChg chg="del mod modVis">
            <ac:chgData name="Abdi, Adnan" userId="503e002c-9b3b-4180-87fb-acabeb2b158a" providerId="ADAL" clId="{5C2CD6D4-C7A9-4CEF-AA9C-BC2977F70622}" dt="2024-02-20T12:53:05.841" v="20859" actId="478"/>
            <ac:spMkLst>
              <pc:docMk/>
              <pc:sldMasterMk cId="1321919033" sldId="2147483709"/>
              <pc:sldLayoutMk cId="4097420213" sldId="2147483749"/>
              <ac:spMk id="2" creationId="{FFE2880D-E5D0-CEBE-38E3-BAB1AD961179}"/>
            </ac:spMkLst>
          </pc:spChg>
          <pc:spChg chg="mod">
            <ac:chgData name="Abdi, Adnan" userId="503e002c-9b3b-4180-87fb-acabeb2b158a" providerId="ADAL" clId="{5C2CD6D4-C7A9-4CEF-AA9C-BC2977F70622}" dt="2024-02-20T12:52:59.201" v="17417" actId="947"/>
            <ac:spMkLst>
              <pc:docMk/>
              <pc:sldMasterMk cId="1321919033" sldId="2147483709"/>
              <pc:sldLayoutMk cId="4097420213" sldId="2147483749"/>
              <ac:spMk id="9" creationId="{00000000-0000-0000-0000-000000000000}"/>
            </ac:spMkLst>
          </pc:spChg>
          <pc:spChg chg="mod">
            <ac:chgData name="Abdi, Adnan" userId="503e002c-9b3b-4180-87fb-acabeb2b158a" providerId="ADAL" clId="{5C2CD6D4-C7A9-4CEF-AA9C-BC2977F70622}" dt="2024-02-20T12:52:59.194" v="17413" actId="947"/>
            <ac:spMkLst>
              <pc:docMk/>
              <pc:sldMasterMk cId="1321919033" sldId="2147483709"/>
              <pc:sldLayoutMk cId="4097420213" sldId="2147483749"/>
              <ac:spMk id="11" creationId="{00000000-0000-0000-0000-000000000000}"/>
            </ac:spMkLst>
          </pc:spChg>
          <pc:spChg chg="mod">
            <ac:chgData name="Abdi, Adnan" userId="503e002c-9b3b-4180-87fb-acabeb2b158a" providerId="ADAL" clId="{5C2CD6D4-C7A9-4CEF-AA9C-BC2977F70622}" dt="2024-02-20T12:52:59.196" v="17414" actId="790"/>
            <ac:spMkLst>
              <pc:docMk/>
              <pc:sldMasterMk cId="1321919033" sldId="2147483709"/>
              <pc:sldLayoutMk cId="4097420213" sldId="2147483749"/>
              <ac:spMk id="12" creationId="{00000000-0000-0000-0000-000000000000}"/>
            </ac:spMkLst>
          </pc:spChg>
          <pc:spChg chg="mod">
            <ac:chgData name="Abdi, Adnan" userId="503e002c-9b3b-4180-87fb-acabeb2b158a" providerId="ADAL" clId="{5C2CD6D4-C7A9-4CEF-AA9C-BC2977F70622}" dt="2024-02-20T12:52:59.199" v="17415" actId="790"/>
            <ac:spMkLst>
              <pc:docMk/>
              <pc:sldMasterMk cId="1321919033" sldId="2147483709"/>
              <pc:sldLayoutMk cId="4097420213" sldId="2147483749"/>
              <ac:spMk id="13" creationId="{00000000-0000-0000-0000-000000000000}"/>
            </ac:spMkLst>
          </pc:spChg>
          <pc:spChg chg="mod">
            <ac:chgData name="Abdi, Adnan" userId="503e002c-9b3b-4180-87fb-acabeb2b158a" providerId="ADAL" clId="{5C2CD6D4-C7A9-4CEF-AA9C-BC2977F70622}" dt="2024-02-20T12:52:59.201" v="17420" actId="947"/>
            <ac:spMkLst>
              <pc:docMk/>
              <pc:sldMasterMk cId="1321919033" sldId="2147483709"/>
              <pc:sldLayoutMk cId="4097420213" sldId="2147483749"/>
              <ac:spMk id="14" creationId="{00000000-0000-0000-0000-000000000000}"/>
            </ac:spMkLst>
          </pc:spChg>
          <pc:spChg chg="mod">
            <ac:chgData name="Abdi, Adnan" userId="503e002c-9b3b-4180-87fb-acabeb2b158a" providerId="ADAL" clId="{5C2CD6D4-C7A9-4CEF-AA9C-BC2977F70622}" dt="2024-02-20T12:53:02.974" v="19781" actId="948"/>
            <ac:spMkLst>
              <pc:docMk/>
              <pc:sldMasterMk cId="1321919033" sldId="2147483709"/>
              <pc:sldLayoutMk cId="4097420213" sldId="2147483749"/>
              <ac:spMk id="15" creationId="{00000000-0000-0000-0000-000000000000}"/>
            </ac:spMkLst>
          </pc:spChg>
          <pc:graphicFrameChg chg="mod ord modVis replST">
            <ac:chgData name="Abdi, Adnan" userId="503e002c-9b3b-4180-87fb-acabeb2b158a" providerId="ADAL" clId="{5C2CD6D4-C7A9-4CEF-AA9C-BC2977F70622}" dt="2024-02-20T12:53:05.896" v="20866"/>
            <ac:graphicFrameMkLst>
              <pc:docMk/>
              <pc:sldMasterMk cId="1321919033" sldId="2147483709"/>
              <pc:sldLayoutMk cId="4097420213" sldId="2147483749"/>
              <ac:graphicFrameMk id="3" creationId="{D5B9B1D4-F26D-6308-0527-F90ADDE2E5C7}"/>
            </ac:graphicFrameMkLst>
          </pc:graphicFrameChg>
        </pc:sldLayoutChg>
        <pc:sldLayoutChg chg="delSp modSp mod">
          <pc:chgData name="Abdi, Adnan" userId="503e002c-9b3b-4180-87fb-acabeb2b158a" providerId="ADAL" clId="{5C2CD6D4-C7A9-4CEF-AA9C-BC2977F70622}" dt="2024-02-20T12:53:05.841" v="20858" actId="1076"/>
          <pc:sldLayoutMkLst>
            <pc:docMk/>
            <pc:sldMasterMk cId="1321919033" sldId="2147483709"/>
            <pc:sldLayoutMk cId="2764074375" sldId="2147483750"/>
          </pc:sldLayoutMkLst>
          <pc:spChg chg="del mod modVis">
            <ac:chgData name="Abdi, Adnan" userId="503e002c-9b3b-4180-87fb-acabeb2b158a" providerId="ADAL" clId="{5C2CD6D4-C7A9-4CEF-AA9C-BC2977F70622}" dt="2024-02-20T12:53:05.826" v="20857" actId="478"/>
            <ac:spMkLst>
              <pc:docMk/>
              <pc:sldMasterMk cId="1321919033" sldId="2147483709"/>
              <pc:sldLayoutMk cId="2764074375" sldId="2147483750"/>
              <ac:spMk id="2" creationId="{3E00D4B4-A39C-0C40-B24E-D34EB14F8493}"/>
            </ac:spMkLst>
          </pc:spChg>
          <pc:spChg chg="mod">
            <ac:chgData name="Abdi, Adnan" userId="503e002c-9b3b-4180-87fb-acabeb2b158a" providerId="ADAL" clId="{5C2CD6D4-C7A9-4CEF-AA9C-BC2977F70622}" dt="2024-02-20T12:52:59.179" v="17405" actId="947"/>
            <ac:spMkLst>
              <pc:docMk/>
              <pc:sldMasterMk cId="1321919033" sldId="2147483709"/>
              <pc:sldLayoutMk cId="2764074375" sldId="2147483750"/>
              <ac:spMk id="10" creationId="{00000000-0000-0000-0000-000000000000}"/>
            </ac:spMkLst>
          </pc:spChg>
          <pc:spChg chg="mod">
            <ac:chgData name="Abdi, Adnan" userId="503e002c-9b3b-4180-87fb-acabeb2b158a" providerId="ADAL" clId="{5C2CD6D4-C7A9-4CEF-AA9C-BC2977F70622}" dt="2024-02-20T12:52:59.185" v="17408" actId="947"/>
            <ac:spMkLst>
              <pc:docMk/>
              <pc:sldMasterMk cId="1321919033" sldId="2147483709"/>
              <pc:sldLayoutMk cId="2764074375" sldId="2147483750"/>
              <ac:spMk id="11" creationId="{00000000-0000-0000-0000-000000000000}"/>
            </ac:spMkLst>
          </pc:spChg>
          <pc:spChg chg="mod">
            <ac:chgData name="Abdi, Adnan" userId="503e002c-9b3b-4180-87fb-acabeb2b158a" providerId="ADAL" clId="{5C2CD6D4-C7A9-4CEF-AA9C-BC2977F70622}" dt="2024-02-20T12:52:59.181" v="17406" actId="790"/>
            <ac:spMkLst>
              <pc:docMk/>
              <pc:sldMasterMk cId="1321919033" sldId="2147483709"/>
              <pc:sldLayoutMk cId="2764074375" sldId="2147483750"/>
              <ac:spMk id="13" creationId="{00000000-0000-0000-0000-000000000000}"/>
            </ac:spMkLst>
          </pc:spChg>
          <pc:spChg chg="mod">
            <ac:chgData name="Abdi, Adnan" userId="503e002c-9b3b-4180-87fb-acabeb2b158a" providerId="ADAL" clId="{5C2CD6D4-C7A9-4CEF-AA9C-BC2977F70622}" dt="2024-02-20T12:52:59.187" v="17410" actId="947"/>
            <ac:spMkLst>
              <pc:docMk/>
              <pc:sldMasterMk cId="1321919033" sldId="2147483709"/>
              <pc:sldLayoutMk cId="2764074375" sldId="2147483750"/>
              <ac:spMk id="18" creationId="{00000000-0000-0000-0000-000000000000}"/>
            </ac:spMkLst>
          </pc:spChg>
          <pc:spChg chg="mod">
            <ac:chgData name="Abdi, Adnan" userId="503e002c-9b3b-4180-87fb-acabeb2b158a" providerId="ADAL" clId="{5C2CD6D4-C7A9-4CEF-AA9C-BC2977F70622}" dt="2024-02-20T12:53:02.937" v="19763" actId="948"/>
            <ac:spMkLst>
              <pc:docMk/>
              <pc:sldMasterMk cId="1321919033" sldId="2147483709"/>
              <pc:sldLayoutMk cId="2764074375" sldId="2147483750"/>
              <ac:spMk id="20" creationId="{00000000-0000-0000-0000-000000000000}"/>
            </ac:spMkLst>
          </pc:spChg>
          <pc:graphicFrameChg chg="mod">
            <ac:chgData name="Abdi, Adnan" userId="503e002c-9b3b-4180-87fb-acabeb2b158a" providerId="ADAL" clId="{5C2CD6D4-C7A9-4CEF-AA9C-BC2977F70622}" dt="2024-02-20T12:53:05.841" v="20858" actId="1076"/>
            <ac:graphicFrameMkLst>
              <pc:docMk/>
              <pc:sldMasterMk cId="1321919033" sldId="2147483709"/>
              <pc:sldLayoutMk cId="2764074375" sldId="2147483750"/>
              <ac:graphicFrameMk id="3" creationId="{00000000-0000-0000-0000-000000000000}"/>
            </ac:graphicFrameMkLst>
          </pc:graphicFrameChg>
        </pc:sldLayoutChg>
        <pc:sldLayoutChg chg="delSp modSp mod">
          <pc:chgData name="Abdi, Adnan" userId="503e002c-9b3b-4180-87fb-acabeb2b158a" providerId="ADAL" clId="{5C2CD6D4-C7A9-4CEF-AA9C-BC2977F70622}" dt="2024-02-20T12:53:05.927" v="20874"/>
          <pc:sldLayoutMkLst>
            <pc:docMk/>
            <pc:sldMasterMk cId="1321919033" sldId="2147483709"/>
            <pc:sldLayoutMk cId="359139316" sldId="2147483751"/>
          </pc:sldLayoutMkLst>
          <pc:spChg chg="del mod modVis">
            <ac:chgData name="Abdi, Adnan" userId="503e002c-9b3b-4180-87fb-acabeb2b158a" providerId="ADAL" clId="{5C2CD6D4-C7A9-4CEF-AA9C-BC2977F70622}" dt="2024-02-20T12:53:05.897" v="20867" actId="478"/>
            <ac:spMkLst>
              <pc:docMk/>
              <pc:sldMasterMk cId="1321919033" sldId="2147483709"/>
              <pc:sldLayoutMk cId="359139316" sldId="2147483751"/>
              <ac:spMk id="2" creationId="{E45B26E6-AED9-B33C-BB89-82D9320E98E7}"/>
            </ac:spMkLst>
          </pc:spChg>
          <pc:spChg chg="mod">
            <ac:chgData name="Abdi, Adnan" userId="503e002c-9b3b-4180-87fb-acabeb2b158a" providerId="ADAL" clId="{5C2CD6D4-C7A9-4CEF-AA9C-BC2977F70622}" dt="2024-02-20T12:53:02.996" v="19799" actId="948"/>
            <ac:spMkLst>
              <pc:docMk/>
              <pc:sldMasterMk cId="1321919033" sldId="2147483709"/>
              <pc:sldLayoutMk cId="359139316" sldId="2147483751"/>
              <ac:spMk id="5" creationId="{00000000-0000-0000-0000-000000000000}"/>
            </ac:spMkLst>
          </pc:spChg>
          <pc:spChg chg="mod">
            <ac:chgData name="Abdi, Adnan" userId="503e002c-9b3b-4180-87fb-acabeb2b158a" providerId="ADAL" clId="{5C2CD6D4-C7A9-4CEF-AA9C-BC2977F70622}" dt="2024-02-20T12:52:59.201" v="17422" actId="947"/>
            <ac:spMkLst>
              <pc:docMk/>
              <pc:sldMasterMk cId="1321919033" sldId="2147483709"/>
              <pc:sldLayoutMk cId="359139316" sldId="2147483751"/>
              <ac:spMk id="10" creationId="{00000000-0000-0000-0000-000000000000}"/>
            </ac:spMkLst>
          </pc:spChg>
          <pc:spChg chg="mod">
            <ac:chgData name="Abdi, Adnan" userId="503e002c-9b3b-4180-87fb-acabeb2b158a" providerId="ADAL" clId="{5C2CD6D4-C7A9-4CEF-AA9C-BC2977F70622}" dt="2024-02-20T12:52:59.201" v="17424" actId="790"/>
            <ac:spMkLst>
              <pc:docMk/>
              <pc:sldMasterMk cId="1321919033" sldId="2147483709"/>
              <pc:sldLayoutMk cId="359139316" sldId="2147483751"/>
              <ac:spMk id="15" creationId="{00000000-0000-0000-0000-000000000000}"/>
            </ac:spMkLst>
          </pc:spChg>
          <pc:spChg chg="mod">
            <ac:chgData name="Abdi, Adnan" userId="503e002c-9b3b-4180-87fb-acabeb2b158a" providerId="ADAL" clId="{5C2CD6D4-C7A9-4CEF-AA9C-BC2977F70622}" dt="2024-02-20T12:52:59.216" v="17426" actId="947"/>
            <ac:spMkLst>
              <pc:docMk/>
              <pc:sldMasterMk cId="1321919033" sldId="2147483709"/>
              <pc:sldLayoutMk cId="359139316" sldId="2147483751"/>
              <ac:spMk id="16" creationId="{00000000-0000-0000-0000-000000000000}"/>
            </ac:spMkLst>
          </pc:spChg>
          <pc:spChg chg="mod">
            <ac:chgData name="Abdi, Adnan" userId="503e002c-9b3b-4180-87fb-acabeb2b158a" providerId="ADAL" clId="{5C2CD6D4-C7A9-4CEF-AA9C-BC2977F70622}" dt="2024-02-20T12:52:59.216" v="17428" actId="947"/>
            <ac:spMkLst>
              <pc:docMk/>
              <pc:sldMasterMk cId="1321919033" sldId="2147483709"/>
              <pc:sldLayoutMk cId="359139316" sldId="2147483751"/>
              <ac:spMk id="17" creationId="{00000000-0000-0000-0000-000000000000}"/>
            </ac:spMkLst>
          </pc:spChg>
          <pc:graphicFrameChg chg="mod ord modVis replST">
            <ac:chgData name="Abdi, Adnan" userId="503e002c-9b3b-4180-87fb-acabeb2b158a" providerId="ADAL" clId="{5C2CD6D4-C7A9-4CEF-AA9C-BC2977F70622}" dt="2024-02-20T12:53:05.927" v="20874"/>
            <ac:graphicFrameMkLst>
              <pc:docMk/>
              <pc:sldMasterMk cId="1321919033" sldId="2147483709"/>
              <pc:sldLayoutMk cId="359139316" sldId="2147483751"/>
              <ac:graphicFrameMk id="3" creationId="{0E6D589E-CABA-D936-CF27-80A64141053F}"/>
            </ac:graphicFrameMkLst>
          </pc:graphicFrameChg>
        </pc:sldLayoutChg>
        <pc:sldLayoutChg chg="delSp modSp mod">
          <pc:chgData name="Abdi, Adnan" userId="503e002c-9b3b-4180-87fb-acabeb2b158a" providerId="ADAL" clId="{5C2CD6D4-C7A9-4CEF-AA9C-BC2977F70622}" dt="2024-02-20T12:53:05.958" v="20882"/>
          <pc:sldLayoutMkLst>
            <pc:docMk/>
            <pc:sldMasterMk cId="1321919033" sldId="2147483709"/>
            <pc:sldLayoutMk cId="2410456978" sldId="2147483752"/>
          </pc:sldLayoutMkLst>
          <pc:spChg chg="del mod modVis">
            <ac:chgData name="Abdi, Adnan" userId="503e002c-9b3b-4180-87fb-acabeb2b158a" providerId="ADAL" clId="{5C2CD6D4-C7A9-4CEF-AA9C-BC2977F70622}" dt="2024-02-20T12:53:05.927" v="20875" actId="478"/>
            <ac:spMkLst>
              <pc:docMk/>
              <pc:sldMasterMk cId="1321919033" sldId="2147483709"/>
              <pc:sldLayoutMk cId="2410456978" sldId="2147483752"/>
              <ac:spMk id="2" creationId="{ABF6E4F3-E7BE-DEE9-C7B9-AF2BB2EDD322}"/>
            </ac:spMkLst>
          </pc:spChg>
          <pc:spChg chg="mod">
            <ac:chgData name="Abdi, Adnan" userId="503e002c-9b3b-4180-87fb-acabeb2b158a" providerId="ADAL" clId="{5C2CD6D4-C7A9-4CEF-AA9C-BC2977F70622}" dt="2024-02-20T12:52:59.216" v="17430" actId="947"/>
            <ac:spMkLst>
              <pc:docMk/>
              <pc:sldMasterMk cId="1321919033" sldId="2147483709"/>
              <pc:sldLayoutMk cId="2410456978" sldId="2147483752"/>
              <ac:spMk id="9" creationId="{00000000-0000-0000-0000-000000000000}"/>
            </ac:spMkLst>
          </pc:spChg>
          <pc:spChg chg="mod">
            <ac:chgData name="Abdi, Adnan" userId="503e002c-9b3b-4180-87fb-acabeb2b158a" providerId="ADAL" clId="{5C2CD6D4-C7A9-4CEF-AA9C-BC2977F70622}" dt="2024-02-20T12:52:59.216" v="17431" actId="790"/>
            <ac:spMkLst>
              <pc:docMk/>
              <pc:sldMasterMk cId="1321919033" sldId="2147483709"/>
              <pc:sldLayoutMk cId="2410456978" sldId="2147483752"/>
              <ac:spMk id="10" creationId="{00000000-0000-0000-0000-000000000000}"/>
            </ac:spMkLst>
          </pc:spChg>
          <pc:spChg chg="mod">
            <ac:chgData name="Abdi, Adnan" userId="503e002c-9b3b-4180-87fb-acabeb2b158a" providerId="ADAL" clId="{5C2CD6D4-C7A9-4CEF-AA9C-BC2977F70622}" dt="2024-02-20T12:52:59.216" v="17433" actId="947"/>
            <ac:spMkLst>
              <pc:docMk/>
              <pc:sldMasterMk cId="1321919033" sldId="2147483709"/>
              <pc:sldLayoutMk cId="2410456978" sldId="2147483752"/>
              <ac:spMk id="17" creationId="{00000000-0000-0000-0000-000000000000}"/>
            </ac:spMkLst>
          </pc:spChg>
          <pc:spChg chg="mod">
            <ac:chgData name="Abdi, Adnan" userId="503e002c-9b3b-4180-87fb-acabeb2b158a" providerId="ADAL" clId="{5C2CD6D4-C7A9-4CEF-AA9C-BC2977F70622}" dt="2024-02-20T12:52:59.216" v="17435" actId="947"/>
            <ac:spMkLst>
              <pc:docMk/>
              <pc:sldMasterMk cId="1321919033" sldId="2147483709"/>
              <pc:sldLayoutMk cId="2410456978" sldId="2147483752"/>
              <ac:spMk id="19" creationId="{00000000-0000-0000-0000-000000000000}"/>
            </ac:spMkLst>
          </pc:spChg>
          <pc:spChg chg="mod">
            <ac:chgData name="Abdi, Adnan" userId="503e002c-9b3b-4180-87fb-acabeb2b158a" providerId="ADAL" clId="{5C2CD6D4-C7A9-4CEF-AA9C-BC2977F70622}" dt="2024-02-20T12:53:03.019" v="19817" actId="948"/>
            <ac:spMkLst>
              <pc:docMk/>
              <pc:sldMasterMk cId="1321919033" sldId="2147483709"/>
              <pc:sldLayoutMk cId="2410456978" sldId="2147483752"/>
              <ac:spMk id="20" creationId="{00000000-0000-0000-0000-000000000000}"/>
            </ac:spMkLst>
          </pc:spChg>
          <pc:graphicFrameChg chg="mod ord modVis replST">
            <ac:chgData name="Abdi, Adnan" userId="503e002c-9b3b-4180-87fb-acabeb2b158a" providerId="ADAL" clId="{5C2CD6D4-C7A9-4CEF-AA9C-BC2977F70622}" dt="2024-02-20T12:53:05.958" v="20882"/>
            <ac:graphicFrameMkLst>
              <pc:docMk/>
              <pc:sldMasterMk cId="1321919033" sldId="2147483709"/>
              <pc:sldLayoutMk cId="2410456978" sldId="2147483752"/>
              <ac:graphicFrameMk id="3" creationId="{AC20096C-B599-589F-986C-5F9E8B5DDFD4}"/>
            </ac:graphicFrameMkLst>
          </pc:graphicFrameChg>
        </pc:sldLayoutChg>
        <pc:sldLayoutChg chg="delSp modSp mod">
          <pc:chgData name="Abdi, Adnan" userId="503e002c-9b3b-4180-87fb-acabeb2b158a" providerId="ADAL" clId="{5C2CD6D4-C7A9-4CEF-AA9C-BC2977F70622}" dt="2024-02-20T12:53:06.010" v="20898"/>
          <pc:sldLayoutMkLst>
            <pc:docMk/>
            <pc:sldMasterMk cId="1321919033" sldId="2147483709"/>
            <pc:sldLayoutMk cId="3409168702" sldId="2147483753"/>
          </pc:sldLayoutMkLst>
          <pc:spChg chg="del mod modVis">
            <ac:chgData name="Abdi, Adnan" userId="503e002c-9b3b-4180-87fb-acabeb2b158a" providerId="ADAL" clId="{5C2CD6D4-C7A9-4CEF-AA9C-BC2977F70622}" dt="2024-02-20T12:53:05.985" v="20891" actId="478"/>
            <ac:spMkLst>
              <pc:docMk/>
              <pc:sldMasterMk cId="1321919033" sldId="2147483709"/>
              <pc:sldLayoutMk cId="3409168702" sldId="2147483753"/>
              <ac:spMk id="2" creationId="{F8C593B9-DBA1-7B44-B3EA-6A6BBA0414A8}"/>
            </ac:spMkLst>
          </pc:spChg>
          <pc:spChg chg="mod">
            <ac:chgData name="Abdi, Adnan" userId="503e002c-9b3b-4180-87fb-acabeb2b158a" providerId="ADAL" clId="{5C2CD6D4-C7A9-4CEF-AA9C-BC2977F70622}" dt="2024-02-20T12:52:59.248" v="17448" actId="790"/>
            <ac:spMkLst>
              <pc:docMk/>
              <pc:sldMasterMk cId="1321919033" sldId="2147483709"/>
              <pc:sldLayoutMk cId="3409168702" sldId="2147483753"/>
              <ac:spMk id="13" creationId="{00000000-0000-0000-0000-000000000000}"/>
            </ac:spMkLst>
          </pc:spChg>
          <pc:spChg chg="mod">
            <ac:chgData name="Abdi, Adnan" userId="503e002c-9b3b-4180-87fb-acabeb2b158a" providerId="ADAL" clId="{5C2CD6D4-C7A9-4CEF-AA9C-BC2977F70622}" dt="2024-02-20T12:52:59.248" v="17450" actId="947"/>
            <ac:spMkLst>
              <pc:docMk/>
              <pc:sldMasterMk cId="1321919033" sldId="2147483709"/>
              <pc:sldLayoutMk cId="3409168702" sldId="2147483753"/>
              <ac:spMk id="14" creationId="{00000000-0000-0000-0000-000000000000}"/>
            </ac:spMkLst>
          </pc:spChg>
          <pc:spChg chg="mod">
            <ac:chgData name="Abdi, Adnan" userId="503e002c-9b3b-4180-87fb-acabeb2b158a" providerId="ADAL" clId="{5C2CD6D4-C7A9-4CEF-AA9C-BC2977F70622}" dt="2024-02-20T12:52:59.248" v="17452" actId="947"/>
            <ac:spMkLst>
              <pc:docMk/>
              <pc:sldMasterMk cId="1321919033" sldId="2147483709"/>
              <pc:sldLayoutMk cId="3409168702" sldId="2147483753"/>
              <ac:spMk id="15" creationId="{00000000-0000-0000-0000-000000000000}"/>
            </ac:spMkLst>
          </pc:spChg>
          <pc:spChg chg="mod">
            <ac:chgData name="Abdi, Adnan" userId="503e002c-9b3b-4180-87fb-acabeb2b158a" providerId="ADAL" clId="{5C2CD6D4-C7A9-4CEF-AA9C-BC2977F70622}" dt="2024-02-20T12:52:59.248" v="17446" actId="947"/>
            <ac:spMkLst>
              <pc:docMk/>
              <pc:sldMasterMk cId="1321919033" sldId="2147483709"/>
              <pc:sldLayoutMk cId="3409168702" sldId="2147483753"/>
              <ac:spMk id="19" creationId="{00000000-0000-0000-0000-000000000000}"/>
            </ac:spMkLst>
          </pc:spChg>
          <pc:spChg chg="mod">
            <ac:chgData name="Abdi, Adnan" userId="503e002c-9b3b-4180-87fb-acabeb2b158a" providerId="ADAL" clId="{5C2CD6D4-C7A9-4CEF-AA9C-BC2977F70622}" dt="2024-02-20T12:53:03.059" v="19853" actId="948"/>
            <ac:spMkLst>
              <pc:docMk/>
              <pc:sldMasterMk cId="1321919033" sldId="2147483709"/>
              <pc:sldLayoutMk cId="3409168702" sldId="2147483753"/>
              <ac:spMk id="20" creationId="{00000000-0000-0000-0000-000000000000}"/>
            </ac:spMkLst>
          </pc:spChg>
          <pc:graphicFrameChg chg="mod ord modVis replST">
            <ac:chgData name="Abdi, Adnan" userId="503e002c-9b3b-4180-87fb-acabeb2b158a" providerId="ADAL" clId="{5C2CD6D4-C7A9-4CEF-AA9C-BC2977F70622}" dt="2024-02-20T12:53:06.010" v="20898"/>
            <ac:graphicFrameMkLst>
              <pc:docMk/>
              <pc:sldMasterMk cId="1321919033" sldId="2147483709"/>
              <pc:sldLayoutMk cId="3409168702" sldId="2147483753"/>
              <ac:graphicFrameMk id="3" creationId="{24B5ACF8-FA9D-F8FE-D4A5-6275D83E9F3E}"/>
            </ac:graphicFrameMkLst>
          </pc:graphicFrameChg>
        </pc:sldLayoutChg>
        <pc:sldLayoutChg chg="delSp modSp mod">
          <pc:chgData name="Abdi, Adnan" userId="503e002c-9b3b-4180-87fb-acabeb2b158a" providerId="ADAL" clId="{5C2CD6D4-C7A9-4CEF-AA9C-BC2977F70622}" dt="2024-02-20T12:53:06.041" v="20906"/>
          <pc:sldLayoutMkLst>
            <pc:docMk/>
            <pc:sldMasterMk cId="1321919033" sldId="2147483709"/>
            <pc:sldLayoutMk cId="3744281120" sldId="2147483754"/>
          </pc:sldLayoutMkLst>
          <pc:spChg chg="del mod modVis">
            <ac:chgData name="Abdi, Adnan" userId="503e002c-9b3b-4180-87fb-acabeb2b158a" providerId="ADAL" clId="{5C2CD6D4-C7A9-4CEF-AA9C-BC2977F70622}" dt="2024-02-20T12:53:06.010" v="20899" actId="478"/>
            <ac:spMkLst>
              <pc:docMk/>
              <pc:sldMasterMk cId="1321919033" sldId="2147483709"/>
              <pc:sldLayoutMk cId="3744281120" sldId="2147483754"/>
              <ac:spMk id="2" creationId="{9C044C99-1AF9-EE80-6006-76DDA75980CA}"/>
            </ac:spMkLst>
          </pc:spChg>
          <pc:spChg chg="mod">
            <ac:chgData name="Abdi, Adnan" userId="503e002c-9b3b-4180-87fb-acabeb2b158a" providerId="ADAL" clId="{5C2CD6D4-C7A9-4CEF-AA9C-BC2977F70622}" dt="2024-02-20T12:53:03.090" v="19871" actId="948"/>
            <ac:spMkLst>
              <pc:docMk/>
              <pc:sldMasterMk cId="1321919033" sldId="2147483709"/>
              <pc:sldLayoutMk cId="3744281120" sldId="2147483754"/>
              <ac:spMk id="3" creationId="{00000000-0000-0000-0000-000000000000}"/>
            </ac:spMkLst>
          </pc:spChg>
          <pc:spChg chg="mod">
            <ac:chgData name="Abdi, Adnan" userId="503e002c-9b3b-4180-87fb-acabeb2b158a" providerId="ADAL" clId="{5C2CD6D4-C7A9-4CEF-AA9C-BC2977F70622}" dt="2024-02-20T12:52:59.269" v="17454" actId="947"/>
            <ac:spMkLst>
              <pc:docMk/>
              <pc:sldMasterMk cId="1321919033" sldId="2147483709"/>
              <pc:sldLayoutMk cId="3744281120" sldId="2147483754"/>
              <ac:spMk id="9" creationId="{00000000-0000-0000-0000-000000000000}"/>
            </ac:spMkLst>
          </pc:spChg>
          <pc:spChg chg="mod">
            <ac:chgData name="Abdi, Adnan" userId="503e002c-9b3b-4180-87fb-acabeb2b158a" providerId="ADAL" clId="{5C2CD6D4-C7A9-4CEF-AA9C-BC2977F70622}" dt="2024-02-20T12:52:59.272" v="17456" actId="790"/>
            <ac:spMkLst>
              <pc:docMk/>
              <pc:sldMasterMk cId="1321919033" sldId="2147483709"/>
              <pc:sldLayoutMk cId="3744281120" sldId="2147483754"/>
              <ac:spMk id="13" creationId="{00000000-0000-0000-0000-000000000000}"/>
            </ac:spMkLst>
          </pc:spChg>
          <pc:spChg chg="mod">
            <ac:chgData name="Abdi, Adnan" userId="503e002c-9b3b-4180-87fb-acabeb2b158a" providerId="ADAL" clId="{5C2CD6D4-C7A9-4CEF-AA9C-BC2977F70622}" dt="2024-02-20T12:52:59.278" v="17460" actId="947"/>
            <ac:spMkLst>
              <pc:docMk/>
              <pc:sldMasterMk cId="1321919033" sldId="2147483709"/>
              <pc:sldLayoutMk cId="3744281120" sldId="2147483754"/>
              <ac:spMk id="16" creationId="{00000000-0000-0000-0000-000000000000}"/>
            </ac:spMkLst>
          </pc:spChg>
          <pc:spChg chg="mod">
            <ac:chgData name="Abdi, Adnan" userId="503e002c-9b3b-4180-87fb-acabeb2b158a" providerId="ADAL" clId="{5C2CD6D4-C7A9-4CEF-AA9C-BC2977F70622}" dt="2024-02-20T12:52:59.276" v="17458" actId="947"/>
            <ac:spMkLst>
              <pc:docMk/>
              <pc:sldMasterMk cId="1321919033" sldId="2147483709"/>
              <pc:sldLayoutMk cId="3744281120" sldId="2147483754"/>
              <ac:spMk id="18" creationId="{00000000-0000-0000-0000-000000000000}"/>
            </ac:spMkLst>
          </pc:spChg>
          <pc:graphicFrameChg chg="mod ord modVis replST">
            <ac:chgData name="Abdi, Adnan" userId="503e002c-9b3b-4180-87fb-acabeb2b158a" providerId="ADAL" clId="{5C2CD6D4-C7A9-4CEF-AA9C-BC2977F70622}" dt="2024-02-20T12:53:06.041" v="20906"/>
            <ac:graphicFrameMkLst>
              <pc:docMk/>
              <pc:sldMasterMk cId="1321919033" sldId="2147483709"/>
              <pc:sldLayoutMk cId="3744281120" sldId="2147483754"/>
              <ac:graphicFrameMk id="4" creationId="{FF7ECF22-104F-4888-950D-D1A8213FFC36}"/>
            </ac:graphicFrameMkLst>
          </pc:graphicFrameChg>
        </pc:sldLayoutChg>
        <pc:sldLayoutChg chg="delSp modSp mod">
          <pc:chgData name="Abdi, Adnan" userId="503e002c-9b3b-4180-87fb-acabeb2b158a" providerId="ADAL" clId="{5C2CD6D4-C7A9-4CEF-AA9C-BC2977F70622}" dt="2024-02-20T12:53:05.984" v="20890"/>
          <pc:sldLayoutMkLst>
            <pc:docMk/>
            <pc:sldMasterMk cId="1321919033" sldId="2147483709"/>
            <pc:sldLayoutMk cId="2640744768" sldId="2147483755"/>
          </pc:sldLayoutMkLst>
          <pc:spChg chg="del mod modVis">
            <ac:chgData name="Abdi, Adnan" userId="503e002c-9b3b-4180-87fb-acabeb2b158a" providerId="ADAL" clId="{5C2CD6D4-C7A9-4CEF-AA9C-BC2977F70622}" dt="2024-02-20T12:53:05.958" v="20883" actId="478"/>
            <ac:spMkLst>
              <pc:docMk/>
              <pc:sldMasterMk cId="1321919033" sldId="2147483709"/>
              <pc:sldLayoutMk cId="2640744768" sldId="2147483755"/>
              <ac:spMk id="2" creationId="{2A2E3A7F-301C-88B2-5E11-C59F11A99C66}"/>
            </ac:spMkLst>
          </pc:spChg>
          <pc:spChg chg="mod">
            <ac:chgData name="Abdi, Adnan" userId="503e002c-9b3b-4180-87fb-acabeb2b158a" providerId="ADAL" clId="{5C2CD6D4-C7A9-4CEF-AA9C-BC2977F70622}" dt="2024-02-20T12:53:03.043" v="19835" actId="948"/>
            <ac:spMkLst>
              <pc:docMk/>
              <pc:sldMasterMk cId="1321919033" sldId="2147483709"/>
              <pc:sldLayoutMk cId="2640744768" sldId="2147483755"/>
              <ac:spMk id="3" creationId="{00000000-0000-0000-0000-000000000000}"/>
            </ac:spMkLst>
          </pc:spChg>
          <pc:spChg chg="mod">
            <ac:chgData name="Abdi, Adnan" userId="503e002c-9b3b-4180-87fb-acabeb2b158a" providerId="ADAL" clId="{5C2CD6D4-C7A9-4CEF-AA9C-BC2977F70622}" dt="2024-02-20T12:52:59.232" v="17438" actId="947"/>
            <ac:spMkLst>
              <pc:docMk/>
              <pc:sldMasterMk cId="1321919033" sldId="2147483709"/>
              <pc:sldLayoutMk cId="2640744768" sldId="2147483755"/>
              <ac:spMk id="9" creationId="{00000000-0000-0000-0000-000000000000}"/>
            </ac:spMkLst>
          </pc:spChg>
          <pc:spChg chg="mod">
            <ac:chgData name="Abdi, Adnan" userId="503e002c-9b3b-4180-87fb-acabeb2b158a" providerId="ADAL" clId="{5C2CD6D4-C7A9-4CEF-AA9C-BC2977F70622}" dt="2024-02-20T12:52:59.232" v="17440" actId="790"/>
            <ac:spMkLst>
              <pc:docMk/>
              <pc:sldMasterMk cId="1321919033" sldId="2147483709"/>
              <pc:sldLayoutMk cId="2640744768" sldId="2147483755"/>
              <ac:spMk id="11" creationId="{00000000-0000-0000-0000-000000000000}"/>
            </ac:spMkLst>
          </pc:spChg>
          <pc:spChg chg="mod">
            <ac:chgData name="Abdi, Adnan" userId="503e002c-9b3b-4180-87fb-acabeb2b158a" providerId="ADAL" clId="{5C2CD6D4-C7A9-4CEF-AA9C-BC2977F70622}" dt="2024-02-20T12:52:59.232" v="17442" actId="947"/>
            <ac:spMkLst>
              <pc:docMk/>
              <pc:sldMasterMk cId="1321919033" sldId="2147483709"/>
              <pc:sldLayoutMk cId="2640744768" sldId="2147483755"/>
              <ac:spMk id="14" creationId="{00000000-0000-0000-0000-000000000000}"/>
            </ac:spMkLst>
          </pc:spChg>
          <pc:spChg chg="mod">
            <ac:chgData name="Abdi, Adnan" userId="503e002c-9b3b-4180-87fb-acabeb2b158a" providerId="ADAL" clId="{5C2CD6D4-C7A9-4CEF-AA9C-BC2977F70622}" dt="2024-02-20T12:52:59.248" v="17444" actId="947"/>
            <ac:spMkLst>
              <pc:docMk/>
              <pc:sldMasterMk cId="1321919033" sldId="2147483709"/>
              <pc:sldLayoutMk cId="2640744768" sldId="2147483755"/>
              <ac:spMk id="15" creationId="{00000000-0000-0000-0000-000000000000}"/>
            </ac:spMkLst>
          </pc:spChg>
          <pc:graphicFrameChg chg="mod ord modVis replST">
            <ac:chgData name="Abdi, Adnan" userId="503e002c-9b3b-4180-87fb-acabeb2b158a" providerId="ADAL" clId="{5C2CD6D4-C7A9-4CEF-AA9C-BC2977F70622}" dt="2024-02-20T12:53:05.984" v="20890"/>
            <ac:graphicFrameMkLst>
              <pc:docMk/>
              <pc:sldMasterMk cId="1321919033" sldId="2147483709"/>
              <pc:sldLayoutMk cId="2640744768" sldId="2147483755"/>
              <ac:graphicFrameMk id="4" creationId="{20E31576-003A-3B57-759B-9B432586CADF}"/>
            </ac:graphicFrameMkLst>
          </pc:graphicFrameChg>
        </pc:sldLayoutChg>
        <pc:sldLayoutChg chg="delSp modSp mod">
          <pc:chgData name="Abdi, Adnan" userId="503e002c-9b3b-4180-87fb-acabeb2b158a" providerId="ADAL" clId="{5C2CD6D4-C7A9-4CEF-AA9C-BC2977F70622}" dt="2024-02-20T12:53:06.056" v="20914"/>
          <pc:sldLayoutMkLst>
            <pc:docMk/>
            <pc:sldMasterMk cId="1321919033" sldId="2147483709"/>
            <pc:sldLayoutMk cId="3145618423" sldId="2147483756"/>
          </pc:sldLayoutMkLst>
          <pc:spChg chg="mod">
            <ac:chgData name="Abdi, Adnan" userId="503e002c-9b3b-4180-87fb-acabeb2b158a" providerId="ADAL" clId="{5C2CD6D4-C7A9-4CEF-AA9C-BC2977F70622}" dt="2024-02-20T12:53:03.113" v="19889" actId="948"/>
            <ac:spMkLst>
              <pc:docMk/>
              <pc:sldMasterMk cId="1321919033" sldId="2147483709"/>
              <pc:sldLayoutMk cId="3145618423" sldId="2147483756"/>
              <ac:spMk id="2" creationId="{00000000-0000-0000-0000-000000000000}"/>
            </ac:spMkLst>
          </pc:spChg>
          <pc:spChg chg="del mod modVis">
            <ac:chgData name="Abdi, Adnan" userId="503e002c-9b3b-4180-87fb-acabeb2b158a" providerId="ADAL" clId="{5C2CD6D4-C7A9-4CEF-AA9C-BC2977F70622}" dt="2024-02-20T12:53:06.041" v="20907" actId="478"/>
            <ac:spMkLst>
              <pc:docMk/>
              <pc:sldMasterMk cId="1321919033" sldId="2147483709"/>
              <pc:sldLayoutMk cId="3145618423" sldId="2147483756"/>
              <ac:spMk id="3" creationId="{46652141-9D81-98DB-B990-B58A0DC34E49}"/>
            </ac:spMkLst>
          </pc:spChg>
          <pc:spChg chg="mod">
            <ac:chgData name="Abdi, Adnan" userId="503e002c-9b3b-4180-87fb-acabeb2b158a" providerId="ADAL" clId="{5C2CD6D4-C7A9-4CEF-AA9C-BC2977F70622}" dt="2024-02-20T12:52:59.291" v="17465" actId="947"/>
            <ac:spMkLst>
              <pc:docMk/>
              <pc:sldMasterMk cId="1321919033" sldId="2147483709"/>
              <pc:sldLayoutMk cId="3145618423" sldId="2147483756"/>
              <ac:spMk id="9" creationId="{00000000-0000-0000-0000-000000000000}"/>
            </ac:spMkLst>
          </pc:spChg>
          <pc:spChg chg="mod">
            <ac:chgData name="Abdi, Adnan" userId="503e002c-9b3b-4180-87fb-acabeb2b158a" providerId="ADAL" clId="{5C2CD6D4-C7A9-4CEF-AA9C-BC2977F70622}" dt="2024-02-20T12:52:59.286" v="17462" actId="947"/>
            <ac:spMkLst>
              <pc:docMk/>
              <pc:sldMasterMk cId="1321919033" sldId="2147483709"/>
              <pc:sldLayoutMk cId="3145618423" sldId="2147483756"/>
              <ac:spMk id="12" creationId="{00000000-0000-0000-0000-000000000000}"/>
            </ac:spMkLst>
          </pc:spChg>
          <pc:spChg chg="mod">
            <ac:chgData name="Abdi, Adnan" userId="503e002c-9b3b-4180-87fb-acabeb2b158a" providerId="ADAL" clId="{5C2CD6D4-C7A9-4CEF-AA9C-BC2977F70622}" dt="2024-02-20T12:52:59.287" v="17463" actId="790"/>
            <ac:spMkLst>
              <pc:docMk/>
              <pc:sldMasterMk cId="1321919033" sldId="2147483709"/>
              <pc:sldLayoutMk cId="3145618423" sldId="2147483756"/>
              <ac:spMk id="13" creationId="{00000000-0000-0000-0000-000000000000}"/>
            </ac:spMkLst>
          </pc:spChg>
          <pc:spChg chg="mod">
            <ac:chgData name="Abdi, Adnan" userId="503e002c-9b3b-4180-87fb-acabeb2b158a" providerId="ADAL" clId="{5C2CD6D4-C7A9-4CEF-AA9C-BC2977F70622}" dt="2024-02-20T12:52:59.293" v="17467" actId="947"/>
            <ac:spMkLst>
              <pc:docMk/>
              <pc:sldMasterMk cId="1321919033" sldId="2147483709"/>
              <pc:sldLayoutMk cId="3145618423" sldId="2147483756"/>
              <ac:spMk id="15" creationId="{00000000-0000-0000-0000-000000000000}"/>
            </ac:spMkLst>
          </pc:spChg>
          <pc:graphicFrameChg chg="mod ord modVis replST">
            <ac:chgData name="Abdi, Adnan" userId="503e002c-9b3b-4180-87fb-acabeb2b158a" providerId="ADAL" clId="{5C2CD6D4-C7A9-4CEF-AA9C-BC2977F70622}" dt="2024-02-20T12:53:06.056" v="20914"/>
            <ac:graphicFrameMkLst>
              <pc:docMk/>
              <pc:sldMasterMk cId="1321919033" sldId="2147483709"/>
              <pc:sldLayoutMk cId="3145618423" sldId="2147483756"/>
              <ac:graphicFrameMk id="4" creationId="{1F9D46A4-C7A8-3DC0-062D-061B94FB74DE}"/>
            </ac:graphicFrameMkLst>
          </pc:graphicFrameChg>
        </pc:sldLayoutChg>
        <pc:sldLayoutChg chg="delSp modSp mod">
          <pc:chgData name="Abdi, Adnan" userId="503e002c-9b3b-4180-87fb-acabeb2b158a" providerId="ADAL" clId="{5C2CD6D4-C7A9-4CEF-AA9C-BC2977F70622}" dt="2024-02-20T12:53:06.140" v="20938"/>
          <pc:sldLayoutMkLst>
            <pc:docMk/>
            <pc:sldMasterMk cId="1321919033" sldId="2147483709"/>
            <pc:sldLayoutMk cId="389841817" sldId="2147483757"/>
          </pc:sldLayoutMkLst>
          <pc:spChg chg="mod">
            <ac:chgData name="Abdi, Adnan" userId="503e002c-9b3b-4180-87fb-acabeb2b158a" providerId="ADAL" clId="{5C2CD6D4-C7A9-4CEF-AA9C-BC2977F70622}" dt="2024-02-20T12:53:03.184" v="19943" actId="948"/>
            <ac:spMkLst>
              <pc:docMk/>
              <pc:sldMasterMk cId="1321919033" sldId="2147483709"/>
              <pc:sldLayoutMk cId="389841817" sldId="2147483757"/>
              <ac:spMk id="2" creationId="{00000000-0000-0000-0000-000000000000}"/>
            </ac:spMkLst>
          </pc:spChg>
          <pc:spChg chg="del mod modVis">
            <ac:chgData name="Abdi, Adnan" userId="503e002c-9b3b-4180-87fb-acabeb2b158a" providerId="ADAL" clId="{5C2CD6D4-C7A9-4CEF-AA9C-BC2977F70622}" dt="2024-02-20T12:53:06.109" v="20931" actId="478"/>
            <ac:spMkLst>
              <pc:docMk/>
              <pc:sldMasterMk cId="1321919033" sldId="2147483709"/>
              <pc:sldLayoutMk cId="389841817" sldId="2147483757"/>
              <ac:spMk id="3" creationId="{2E4B7D91-9418-B0A2-4741-9DA51C5CC753}"/>
            </ac:spMkLst>
          </pc:spChg>
          <pc:spChg chg="mod">
            <ac:chgData name="Abdi, Adnan" userId="503e002c-9b3b-4180-87fb-acabeb2b158a" providerId="ADAL" clId="{5C2CD6D4-C7A9-4CEF-AA9C-BC2977F70622}" dt="2024-02-20T12:52:59.316" v="17482" actId="947"/>
            <ac:spMkLst>
              <pc:docMk/>
              <pc:sldMasterMk cId="1321919033" sldId="2147483709"/>
              <pc:sldLayoutMk cId="389841817" sldId="2147483757"/>
              <ac:spMk id="12" creationId="{00000000-0000-0000-0000-000000000000}"/>
            </ac:spMkLst>
          </pc:spChg>
          <pc:spChg chg="mod">
            <ac:chgData name="Abdi, Adnan" userId="503e002c-9b3b-4180-87fb-acabeb2b158a" providerId="ADAL" clId="{5C2CD6D4-C7A9-4CEF-AA9C-BC2977F70622}" dt="2024-02-20T12:52:59.316" v="17484" actId="790"/>
            <ac:spMkLst>
              <pc:docMk/>
              <pc:sldMasterMk cId="1321919033" sldId="2147483709"/>
              <pc:sldLayoutMk cId="389841817" sldId="2147483757"/>
              <ac:spMk id="17" creationId="{00000000-0000-0000-0000-000000000000}"/>
            </ac:spMkLst>
          </pc:spChg>
          <pc:spChg chg="mod">
            <ac:chgData name="Abdi, Adnan" userId="503e002c-9b3b-4180-87fb-acabeb2b158a" providerId="ADAL" clId="{5C2CD6D4-C7A9-4CEF-AA9C-BC2977F70622}" dt="2024-02-20T12:52:59.316" v="17486" actId="947"/>
            <ac:spMkLst>
              <pc:docMk/>
              <pc:sldMasterMk cId="1321919033" sldId="2147483709"/>
              <pc:sldLayoutMk cId="389841817" sldId="2147483757"/>
              <ac:spMk id="18" creationId="{00000000-0000-0000-0000-000000000000}"/>
            </ac:spMkLst>
          </pc:spChg>
          <pc:spChg chg="mod">
            <ac:chgData name="Abdi, Adnan" userId="503e002c-9b3b-4180-87fb-acabeb2b158a" providerId="ADAL" clId="{5C2CD6D4-C7A9-4CEF-AA9C-BC2977F70622}" dt="2024-02-20T12:52:59.331" v="17488" actId="947"/>
            <ac:spMkLst>
              <pc:docMk/>
              <pc:sldMasterMk cId="1321919033" sldId="2147483709"/>
              <pc:sldLayoutMk cId="389841817" sldId="2147483757"/>
              <ac:spMk id="19" creationId="{00000000-0000-0000-0000-000000000000}"/>
            </ac:spMkLst>
          </pc:spChg>
          <pc:graphicFrameChg chg="mod ord modVis replST">
            <ac:chgData name="Abdi, Adnan" userId="503e002c-9b3b-4180-87fb-acabeb2b158a" providerId="ADAL" clId="{5C2CD6D4-C7A9-4CEF-AA9C-BC2977F70622}" dt="2024-02-20T12:53:06.140" v="20938"/>
            <ac:graphicFrameMkLst>
              <pc:docMk/>
              <pc:sldMasterMk cId="1321919033" sldId="2147483709"/>
              <pc:sldLayoutMk cId="389841817" sldId="2147483757"/>
              <ac:graphicFrameMk id="4" creationId="{B7956F96-F570-4886-4CDC-3E82F7D95D63}"/>
            </ac:graphicFrameMkLst>
          </pc:graphicFrameChg>
        </pc:sldLayoutChg>
        <pc:sldLayoutChg chg="delSp modSp mod">
          <pc:chgData name="Abdi, Adnan" userId="503e002c-9b3b-4180-87fb-acabeb2b158a" providerId="ADAL" clId="{5C2CD6D4-C7A9-4CEF-AA9C-BC2977F70622}" dt="2024-02-20T12:53:06.109" v="20930"/>
          <pc:sldLayoutMkLst>
            <pc:docMk/>
            <pc:sldMasterMk cId="1321919033" sldId="2147483709"/>
            <pc:sldLayoutMk cId="1818560159" sldId="2147483758"/>
          </pc:sldLayoutMkLst>
          <pc:spChg chg="del mod modVis">
            <ac:chgData name="Abdi, Adnan" userId="503e002c-9b3b-4180-87fb-acabeb2b158a" providerId="ADAL" clId="{5C2CD6D4-C7A9-4CEF-AA9C-BC2977F70622}" dt="2024-02-20T12:53:06.095" v="20923" actId="478"/>
            <ac:spMkLst>
              <pc:docMk/>
              <pc:sldMasterMk cId="1321919033" sldId="2147483709"/>
              <pc:sldLayoutMk cId="1818560159" sldId="2147483758"/>
              <ac:spMk id="2" creationId="{D327D2D4-695A-0DD1-A63F-ECB325572FB2}"/>
            </ac:spMkLst>
          </pc:spChg>
          <pc:spChg chg="mod">
            <ac:chgData name="Abdi, Adnan" userId="503e002c-9b3b-4180-87fb-acabeb2b158a" providerId="ADAL" clId="{5C2CD6D4-C7A9-4CEF-AA9C-BC2977F70622}" dt="2024-02-20T12:52:59.300" v="17475" actId="790"/>
            <ac:spMkLst>
              <pc:docMk/>
              <pc:sldMasterMk cId="1321919033" sldId="2147483709"/>
              <pc:sldLayoutMk cId="1818560159" sldId="2147483758"/>
              <ac:spMk id="7" creationId="{00000000-0000-0000-0000-000000000000}"/>
            </ac:spMkLst>
          </pc:spChg>
          <pc:spChg chg="mod">
            <ac:chgData name="Abdi, Adnan" userId="503e002c-9b3b-4180-87fb-acabeb2b158a" providerId="ADAL" clId="{5C2CD6D4-C7A9-4CEF-AA9C-BC2977F70622}" dt="2024-02-20T12:52:59.300" v="17477" actId="947"/>
            <ac:spMkLst>
              <pc:docMk/>
              <pc:sldMasterMk cId="1321919033" sldId="2147483709"/>
              <pc:sldLayoutMk cId="1818560159" sldId="2147483758"/>
              <ac:spMk id="9" creationId="{00000000-0000-0000-0000-000000000000}"/>
            </ac:spMkLst>
          </pc:spChg>
          <pc:spChg chg="mod">
            <ac:chgData name="Abdi, Adnan" userId="503e002c-9b3b-4180-87fb-acabeb2b158a" providerId="ADAL" clId="{5C2CD6D4-C7A9-4CEF-AA9C-BC2977F70622}" dt="2024-02-20T12:52:59.300" v="17479" actId="947"/>
            <ac:spMkLst>
              <pc:docMk/>
              <pc:sldMasterMk cId="1321919033" sldId="2147483709"/>
              <pc:sldLayoutMk cId="1818560159" sldId="2147483758"/>
              <ac:spMk id="10" creationId="{00000000-0000-0000-0000-000000000000}"/>
            </ac:spMkLst>
          </pc:spChg>
          <pc:spChg chg="mod">
            <ac:chgData name="Abdi, Adnan" userId="503e002c-9b3b-4180-87fb-acabeb2b158a" providerId="ADAL" clId="{5C2CD6D4-C7A9-4CEF-AA9C-BC2977F70622}" dt="2024-02-20T12:53:03.158" v="19925" actId="948"/>
            <ac:spMkLst>
              <pc:docMk/>
              <pc:sldMasterMk cId="1321919033" sldId="2147483709"/>
              <pc:sldLayoutMk cId="1818560159" sldId="2147483758"/>
              <ac:spMk id="11" creationId="{00000000-0000-0000-0000-000000000000}"/>
            </ac:spMkLst>
          </pc:spChg>
          <pc:graphicFrameChg chg="mod ord modVis replST">
            <ac:chgData name="Abdi, Adnan" userId="503e002c-9b3b-4180-87fb-acabeb2b158a" providerId="ADAL" clId="{5C2CD6D4-C7A9-4CEF-AA9C-BC2977F70622}" dt="2024-02-20T12:53:06.109" v="20930"/>
            <ac:graphicFrameMkLst>
              <pc:docMk/>
              <pc:sldMasterMk cId="1321919033" sldId="2147483709"/>
              <pc:sldLayoutMk cId="1818560159" sldId="2147483758"/>
              <ac:graphicFrameMk id="3" creationId="{81DE2BA7-16F8-A7E4-3373-C1D728A8CD41}"/>
            </ac:graphicFrameMkLst>
          </pc:graphicFrameChg>
        </pc:sldLayoutChg>
        <pc:sldLayoutChg chg="delSp modSp mod">
          <pc:chgData name="Abdi, Adnan" userId="503e002c-9b3b-4180-87fb-acabeb2b158a" providerId="ADAL" clId="{5C2CD6D4-C7A9-4CEF-AA9C-BC2977F70622}" dt="2024-02-20T12:53:06.094" v="20922"/>
          <pc:sldLayoutMkLst>
            <pc:docMk/>
            <pc:sldMasterMk cId="1321919033" sldId="2147483709"/>
            <pc:sldLayoutMk cId="1643928076" sldId="2147483759"/>
          </pc:sldLayoutMkLst>
          <pc:spChg chg="del mod modVis">
            <ac:chgData name="Abdi, Adnan" userId="503e002c-9b3b-4180-87fb-acabeb2b158a" providerId="ADAL" clId="{5C2CD6D4-C7A9-4CEF-AA9C-BC2977F70622}" dt="2024-02-20T12:53:06.056" v="20915" actId="478"/>
            <ac:spMkLst>
              <pc:docMk/>
              <pc:sldMasterMk cId="1321919033" sldId="2147483709"/>
              <pc:sldLayoutMk cId="1643928076" sldId="2147483759"/>
              <ac:spMk id="2" creationId="{673B1F7F-6BBC-075D-7B82-099F59F95D8E}"/>
            </ac:spMkLst>
          </pc:spChg>
          <pc:spChg chg="mod">
            <ac:chgData name="Abdi, Adnan" userId="503e002c-9b3b-4180-87fb-acabeb2b158a" providerId="ADAL" clId="{5C2CD6D4-C7A9-4CEF-AA9C-BC2977F70622}" dt="2024-02-20T12:52:59.300" v="17473" actId="947"/>
            <ac:spMkLst>
              <pc:docMk/>
              <pc:sldMasterMk cId="1321919033" sldId="2147483709"/>
              <pc:sldLayoutMk cId="1643928076" sldId="2147483759"/>
              <ac:spMk id="6" creationId="{00000000-0000-0000-0000-000000000000}"/>
            </ac:spMkLst>
          </pc:spChg>
          <pc:spChg chg="mod">
            <ac:chgData name="Abdi, Adnan" userId="503e002c-9b3b-4180-87fb-acabeb2b158a" providerId="ADAL" clId="{5C2CD6D4-C7A9-4CEF-AA9C-BC2977F70622}" dt="2024-02-20T12:53:03.127" v="19907" actId="948"/>
            <ac:spMkLst>
              <pc:docMk/>
              <pc:sldMasterMk cId="1321919033" sldId="2147483709"/>
              <pc:sldLayoutMk cId="1643928076" sldId="2147483759"/>
              <ac:spMk id="7" creationId="{00000000-0000-0000-0000-000000000000}"/>
            </ac:spMkLst>
          </pc:spChg>
          <pc:spChg chg="mod">
            <ac:chgData name="Abdi, Adnan" userId="503e002c-9b3b-4180-87fb-acabeb2b158a" providerId="ADAL" clId="{5C2CD6D4-C7A9-4CEF-AA9C-BC2977F70622}" dt="2024-02-20T12:52:59.298" v="17469" actId="790"/>
            <ac:spMkLst>
              <pc:docMk/>
              <pc:sldMasterMk cId="1321919033" sldId="2147483709"/>
              <pc:sldLayoutMk cId="1643928076" sldId="2147483759"/>
              <ac:spMk id="8" creationId="{00000000-0000-0000-0000-000000000000}"/>
            </ac:spMkLst>
          </pc:spChg>
          <pc:spChg chg="mod">
            <ac:chgData name="Abdi, Adnan" userId="503e002c-9b3b-4180-87fb-acabeb2b158a" providerId="ADAL" clId="{5C2CD6D4-C7A9-4CEF-AA9C-BC2977F70622}" dt="2024-02-20T12:52:59.300" v="17471" actId="947"/>
            <ac:spMkLst>
              <pc:docMk/>
              <pc:sldMasterMk cId="1321919033" sldId="2147483709"/>
              <pc:sldLayoutMk cId="1643928076" sldId="2147483759"/>
              <ac:spMk id="11" creationId="{00000000-0000-0000-0000-000000000000}"/>
            </ac:spMkLst>
          </pc:spChg>
          <pc:graphicFrameChg chg="mod ord modVis replST">
            <ac:chgData name="Abdi, Adnan" userId="503e002c-9b3b-4180-87fb-acabeb2b158a" providerId="ADAL" clId="{5C2CD6D4-C7A9-4CEF-AA9C-BC2977F70622}" dt="2024-02-20T12:53:06.094" v="20922"/>
            <ac:graphicFrameMkLst>
              <pc:docMk/>
              <pc:sldMasterMk cId="1321919033" sldId="2147483709"/>
              <pc:sldLayoutMk cId="1643928076" sldId="2147483759"/>
              <ac:graphicFrameMk id="3" creationId="{B67C88BA-F3E4-9624-477E-C2C7FD52D350}"/>
            </ac:graphicFrameMkLst>
          </pc:graphicFrameChg>
        </pc:sldLayoutChg>
        <pc:sldLayoutChg chg="modSp mod">
          <pc:chgData name="Abdi, Adnan" userId="503e002c-9b3b-4180-87fb-acabeb2b158a" providerId="ADAL" clId="{5C2CD6D4-C7A9-4CEF-AA9C-BC2977F70622}" dt="2024-02-20T12:53:06.140" v="20939" actId="1076"/>
          <pc:sldLayoutMkLst>
            <pc:docMk/>
            <pc:sldMasterMk cId="1321919033" sldId="2147483709"/>
            <pc:sldLayoutMk cId="1478713314" sldId="2147483760"/>
          </pc:sldLayoutMkLst>
          <pc:spChg chg="mod">
            <ac:chgData name="Abdi, Adnan" userId="503e002c-9b3b-4180-87fb-acabeb2b158a" providerId="ADAL" clId="{5C2CD6D4-C7A9-4CEF-AA9C-BC2977F70622}" dt="2024-02-20T12:52:59.331" v="17491" actId="790"/>
            <ac:spMkLst>
              <pc:docMk/>
              <pc:sldMasterMk cId="1321919033" sldId="2147483709"/>
              <pc:sldLayoutMk cId="1478713314" sldId="2147483760"/>
              <ac:spMk id="2" creationId="{00000000-0000-0000-0000-000000000000}"/>
            </ac:spMkLst>
          </pc:spChg>
          <pc:spChg chg="mod">
            <ac:chgData name="Abdi, Adnan" userId="503e002c-9b3b-4180-87fb-acabeb2b158a" providerId="ADAL" clId="{5C2CD6D4-C7A9-4CEF-AA9C-BC2977F70622}" dt="2024-02-20T12:52:59.331" v="17490" actId="947"/>
            <ac:spMkLst>
              <pc:docMk/>
              <pc:sldMasterMk cId="1321919033" sldId="2147483709"/>
              <pc:sldLayoutMk cId="1478713314" sldId="2147483760"/>
              <ac:spMk id="6" creationId="{00000000-0000-0000-0000-000000000000}"/>
            </ac:spMkLst>
          </pc:spChg>
          <pc:spChg chg="mod">
            <ac:chgData name="Abdi, Adnan" userId="503e002c-9b3b-4180-87fb-acabeb2b158a" providerId="ADAL" clId="{5C2CD6D4-C7A9-4CEF-AA9C-BC2977F70622}" dt="2024-02-20T12:52:59.331" v="17493" actId="947"/>
            <ac:spMkLst>
              <pc:docMk/>
              <pc:sldMasterMk cId="1321919033" sldId="2147483709"/>
              <pc:sldLayoutMk cId="1478713314" sldId="2147483760"/>
              <ac:spMk id="59" creationId="{00000000-0000-0000-0000-000000000000}"/>
            </ac:spMkLst>
          </pc:spChg>
          <pc:graphicFrameChg chg="mod">
            <ac:chgData name="Abdi, Adnan" userId="503e002c-9b3b-4180-87fb-acabeb2b158a" providerId="ADAL" clId="{5C2CD6D4-C7A9-4CEF-AA9C-BC2977F70622}" dt="2024-02-20T12:53:06.140" v="20939" actId="1076"/>
            <ac:graphicFrameMkLst>
              <pc:docMk/>
              <pc:sldMasterMk cId="1321919033" sldId="2147483709"/>
              <pc:sldLayoutMk cId="1478713314" sldId="2147483760"/>
              <ac:graphicFrameMk id="3" creationId="{00000000-0000-0000-0000-000000000000}"/>
            </ac:graphicFrameMkLst>
          </pc:graphicFrameChg>
        </pc:sldLayoutChg>
        <pc:sldLayoutChg chg="delSp modSp mod">
          <pc:chgData name="Abdi, Adnan" userId="503e002c-9b3b-4180-87fb-acabeb2b158a" providerId="ADAL" clId="{5C2CD6D4-C7A9-4CEF-AA9C-BC2977F70622}" dt="2024-02-20T12:53:06.179" v="20947"/>
          <pc:sldLayoutMkLst>
            <pc:docMk/>
            <pc:sldMasterMk cId="1321919033" sldId="2147483709"/>
            <pc:sldLayoutMk cId="862921277" sldId="2147483761"/>
          </pc:sldLayoutMkLst>
          <pc:spChg chg="mod">
            <ac:chgData name="Abdi, Adnan" userId="503e002c-9b3b-4180-87fb-acabeb2b158a" providerId="ADAL" clId="{5C2CD6D4-C7A9-4CEF-AA9C-BC2977F70622}" dt="2024-02-20T12:53:03.209" v="19961" actId="948"/>
            <ac:spMkLst>
              <pc:docMk/>
              <pc:sldMasterMk cId="1321919033" sldId="2147483709"/>
              <pc:sldLayoutMk cId="862921277" sldId="2147483761"/>
              <ac:spMk id="2" creationId="{00000000-0000-0000-0000-000000000000}"/>
            </ac:spMkLst>
          </pc:spChg>
          <pc:spChg chg="mod">
            <ac:chgData name="Abdi, Adnan" userId="503e002c-9b3b-4180-87fb-acabeb2b158a" providerId="ADAL" clId="{5C2CD6D4-C7A9-4CEF-AA9C-BC2977F70622}" dt="2024-02-20T12:52:59.347" v="17496" actId="790"/>
            <ac:spMkLst>
              <pc:docMk/>
              <pc:sldMasterMk cId="1321919033" sldId="2147483709"/>
              <pc:sldLayoutMk cId="862921277" sldId="2147483761"/>
              <ac:spMk id="3" creationId="{00000000-0000-0000-0000-000000000000}"/>
            </ac:spMkLst>
          </pc:spChg>
          <pc:spChg chg="del mod modVis">
            <ac:chgData name="Abdi, Adnan" userId="503e002c-9b3b-4180-87fb-acabeb2b158a" providerId="ADAL" clId="{5C2CD6D4-C7A9-4CEF-AA9C-BC2977F70622}" dt="2024-02-20T12:53:06.140" v="20940" actId="478"/>
            <ac:spMkLst>
              <pc:docMk/>
              <pc:sldMasterMk cId="1321919033" sldId="2147483709"/>
              <pc:sldLayoutMk cId="862921277" sldId="2147483761"/>
              <ac:spMk id="4" creationId="{2005F041-9BB5-844E-CEE0-F01041DB52B9}"/>
            </ac:spMkLst>
          </pc:spChg>
          <pc:spChg chg="mod">
            <ac:chgData name="Abdi, Adnan" userId="503e002c-9b3b-4180-87fb-acabeb2b158a" providerId="ADAL" clId="{5C2CD6D4-C7A9-4CEF-AA9C-BC2977F70622}" dt="2024-02-20T12:52:59.331" v="17495" actId="947"/>
            <ac:spMkLst>
              <pc:docMk/>
              <pc:sldMasterMk cId="1321919033" sldId="2147483709"/>
              <pc:sldLayoutMk cId="862921277" sldId="2147483761"/>
              <ac:spMk id="5" creationId="{00000000-0000-0000-0000-000000000000}"/>
            </ac:spMkLst>
          </pc:spChg>
          <pc:spChg chg="mod">
            <ac:chgData name="Abdi, Adnan" userId="503e002c-9b3b-4180-87fb-acabeb2b158a" providerId="ADAL" clId="{5C2CD6D4-C7A9-4CEF-AA9C-BC2977F70622}" dt="2024-02-20T12:52:59.347" v="17498" actId="947"/>
            <ac:spMkLst>
              <pc:docMk/>
              <pc:sldMasterMk cId="1321919033" sldId="2147483709"/>
              <pc:sldLayoutMk cId="862921277" sldId="2147483761"/>
              <ac:spMk id="11" creationId="{00000000-0000-0000-0000-000000000000}"/>
            </ac:spMkLst>
          </pc:spChg>
          <pc:graphicFrameChg chg="mod ord modVis replST">
            <ac:chgData name="Abdi, Adnan" userId="503e002c-9b3b-4180-87fb-acabeb2b158a" providerId="ADAL" clId="{5C2CD6D4-C7A9-4CEF-AA9C-BC2977F70622}" dt="2024-02-20T12:53:06.179" v="20947"/>
            <ac:graphicFrameMkLst>
              <pc:docMk/>
              <pc:sldMasterMk cId="1321919033" sldId="2147483709"/>
              <pc:sldLayoutMk cId="862921277" sldId="2147483761"/>
              <ac:graphicFrameMk id="6" creationId="{1FE90806-D2D7-F529-E3B9-C3CE60E485E4}"/>
            </ac:graphicFrameMkLst>
          </pc:graphicFrameChg>
        </pc:sldLayoutChg>
        <pc:sldLayoutChg chg="modSp mod">
          <pc:chgData name="Abdi, Adnan" userId="503e002c-9b3b-4180-87fb-acabeb2b158a" providerId="ADAL" clId="{5C2CD6D4-C7A9-4CEF-AA9C-BC2977F70622}" dt="2024-02-20T12:53:06.224" v="20961"/>
          <pc:sldLayoutMkLst>
            <pc:docMk/>
            <pc:sldMasterMk cId="1321919033" sldId="2147483709"/>
            <pc:sldLayoutMk cId="1459257501" sldId="2147483762"/>
          </pc:sldLayoutMkLst>
          <pc:spChg chg="mod">
            <ac:chgData name="Abdi, Adnan" userId="503e002c-9b3b-4180-87fb-acabeb2b158a" providerId="ADAL" clId="{5C2CD6D4-C7A9-4CEF-AA9C-BC2977F70622}" dt="2024-02-20T12:52:59.373" v="17508" actId="947"/>
            <ac:spMkLst>
              <pc:docMk/>
              <pc:sldMasterMk cId="1321919033" sldId="2147483709"/>
              <pc:sldLayoutMk cId="1459257501" sldId="2147483762"/>
              <ac:spMk id="13" creationId="{00000000-0000-0000-0000-000000000000}"/>
            </ac:spMkLst>
          </pc:spChg>
          <pc:spChg chg="mod">
            <ac:chgData name="Abdi, Adnan" userId="503e002c-9b3b-4180-87fb-acabeb2b158a" providerId="ADAL" clId="{5C2CD6D4-C7A9-4CEF-AA9C-BC2977F70622}" dt="2024-02-20T12:52:59.378" v="17513" actId="790"/>
            <ac:spMkLst>
              <pc:docMk/>
              <pc:sldMasterMk cId="1321919033" sldId="2147483709"/>
              <pc:sldLayoutMk cId="1459257501" sldId="2147483762"/>
              <ac:spMk id="15" creationId="{00000000-0000-0000-0000-000000000000}"/>
            </ac:spMkLst>
          </pc:spChg>
          <pc:spChg chg="mod">
            <ac:chgData name="Abdi, Adnan" userId="503e002c-9b3b-4180-87fb-acabeb2b158a" providerId="ADAL" clId="{5C2CD6D4-C7A9-4CEF-AA9C-BC2977F70622}" dt="2024-02-20T12:52:59.375" v="17510" actId="947"/>
            <ac:spMkLst>
              <pc:docMk/>
              <pc:sldMasterMk cId="1321919033" sldId="2147483709"/>
              <pc:sldLayoutMk cId="1459257501" sldId="2147483762"/>
              <ac:spMk id="17" creationId="{00000000-0000-0000-0000-000000000000}"/>
            </ac:spMkLst>
          </pc:spChg>
          <pc:spChg chg="mod">
            <ac:chgData name="Abdi, Adnan" userId="503e002c-9b3b-4180-87fb-acabeb2b158a" providerId="ADAL" clId="{5C2CD6D4-C7A9-4CEF-AA9C-BC2977F70622}" dt="2024-02-20T12:52:59.385" v="17517" actId="947"/>
            <ac:spMkLst>
              <pc:docMk/>
              <pc:sldMasterMk cId="1321919033" sldId="2147483709"/>
              <pc:sldLayoutMk cId="1459257501" sldId="2147483762"/>
              <ac:spMk id="19" creationId="{00000000-0000-0000-0000-000000000000}"/>
            </ac:spMkLst>
          </pc:spChg>
          <pc:spChg chg="mod">
            <ac:chgData name="Abdi, Adnan" userId="503e002c-9b3b-4180-87fb-acabeb2b158a" providerId="ADAL" clId="{5C2CD6D4-C7A9-4CEF-AA9C-BC2977F70622}" dt="2024-02-20T12:52:59.377" v="17512" actId="947"/>
            <ac:spMkLst>
              <pc:docMk/>
              <pc:sldMasterMk cId="1321919033" sldId="2147483709"/>
              <pc:sldLayoutMk cId="1459257501" sldId="2147483762"/>
              <ac:spMk id="20" creationId="{00000000-0000-0000-0000-000000000000}"/>
            </ac:spMkLst>
          </pc:spChg>
          <pc:spChg chg="mod">
            <ac:chgData name="Abdi, Adnan" userId="503e002c-9b3b-4180-87fb-acabeb2b158a" providerId="ADAL" clId="{5C2CD6D4-C7A9-4CEF-AA9C-BC2977F70622}" dt="2024-02-20T12:52:59.383" v="17515" actId="947"/>
            <ac:spMkLst>
              <pc:docMk/>
              <pc:sldMasterMk cId="1321919033" sldId="2147483709"/>
              <pc:sldLayoutMk cId="1459257501" sldId="2147483762"/>
              <ac:spMk id="24" creationId="{00000000-0000-0000-0000-000000000000}"/>
            </ac:spMkLst>
          </pc:spChg>
          <pc:graphicFrameChg chg="mod ord modVis replST">
            <ac:chgData name="Abdi, Adnan" userId="503e002c-9b3b-4180-87fb-acabeb2b158a" providerId="ADAL" clId="{5C2CD6D4-C7A9-4CEF-AA9C-BC2977F70622}" dt="2024-02-20T12:53:06.224" v="20961"/>
            <ac:graphicFrameMkLst>
              <pc:docMk/>
              <pc:sldMasterMk cId="1321919033" sldId="2147483709"/>
              <pc:sldLayoutMk cId="1459257501" sldId="2147483762"/>
              <ac:graphicFrameMk id="2" creationId="{1FA0608D-EBC0-34B7-9B23-DDF685C76F19}"/>
            </ac:graphicFrameMkLst>
          </pc:graphicFrameChg>
        </pc:sldLayoutChg>
        <pc:sldLayoutChg chg="modSp mod">
          <pc:chgData name="Abdi, Adnan" userId="503e002c-9b3b-4180-87fb-acabeb2b158a" providerId="ADAL" clId="{5C2CD6D4-C7A9-4CEF-AA9C-BC2977F70622}" dt="2024-02-20T12:53:06.288" v="20975"/>
          <pc:sldLayoutMkLst>
            <pc:docMk/>
            <pc:sldMasterMk cId="1321919033" sldId="2147483709"/>
            <pc:sldLayoutMk cId="1512893451" sldId="2147483763"/>
          </pc:sldLayoutMkLst>
          <pc:spChg chg="mod">
            <ac:chgData name="Abdi, Adnan" userId="503e002c-9b3b-4180-87fb-acabeb2b158a" providerId="ADAL" clId="{5C2CD6D4-C7A9-4CEF-AA9C-BC2977F70622}" dt="2024-02-20T12:52:59.393" v="17521" actId="790"/>
            <ac:spMkLst>
              <pc:docMk/>
              <pc:sldMasterMk cId="1321919033" sldId="2147483709"/>
              <pc:sldLayoutMk cId="1512893451" sldId="2147483763"/>
              <ac:spMk id="6" creationId="{00000000-0000-0000-0000-000000000000}"/>
            </ac:spMkLst>
          </pc:spChg>
          <pc:spChg chg="mod">
            <ac:chgData name="Abdi, Adnan" userId="503e002c-9b3b-4180-87fb-acabeb2b158a" providerId="ADAL" clId="{5C2CD6D4-C7A9-4CEF-AA9C-BC2977F70622}" dt="2024-02-20T12:52:59.398" v="17523" actId="947"/>
            <ac:spMkLst>
              <pc:docMk/>
              <pc:sldMasterMk cId="1321919033" sldId="2147483709"/>
              <pc:sldLayoutMk cId="1512893451" sldId="2147483763"/>
              <ac:spMk id="9" creationId="{00000000-0000-0000-0000-000000000000}"/>
            </ac:spMkLst>
          </pc:spChg>
          <pc:spChg chg="mod">
            <ac:chgData name="Abdi, Adnan" userId="503e002c-9b3b-4180-87fb-acabeb2b158a" providerId="ADAL" clId="{5C2CD6D4-C7A9-4CEF-AA9C-BC2977F70622}" dt="2024-02-20T12:52:59.398" v="17525" actId="947"/>
            <ac:spMkLst>
              <pc:docMk/>
              <pc:sldMasterMk cId="1321919033" sldId="2147483709"/>
              <pc:sldLayoutMk cId="1512893451" sldId="2147483763"/>
              <ac:spMk id="11" creationId="{00000000-0000-0000-0000-000000000000}"/>
            </ac:spMkLst>
          </pc:spChg>
          <pc:graphicFrameChg chg="mod ord modVis replST">
            <ac:chgData name="Abdi, Adnan" userId="503e002c-9b3b-4180-87fb-acabeb2b158a" providerId="ADAL" clId="{5C2CD6D4-C7A9-4CEF-AA9C-BC2977F70622}" dt="2024-02-20T12:53:06.288" v="20975"/>
            <ac:graphicFrameMkLst>
              <pc:docMk/>
              <pc:sldMasterMk cId="1321919033" sldId="2147483709"/>
              <pc:sldLayoutMk cId="1512893451" sldId="2147483763"/>
              <ac:graphicFrameMk id="2" creationId="{4D89670F-0802-9527-77BC-397DC756E299}"/>
            </ac:graphicFrameMkLst>
          </pc:graphicFrameChg>
        </pc:sldLayoutChg>
        <pc:sldLayoutChg chg="modSp mod">
          <pc:chgData name="Abdi, Adnan" userId="503e002c-9b3b-4180-87fb-acabeb2b158a" providerId="ADAL" clId="{5C2CD6D4-C7A9-4CEF-AA9C-BC2977F70622}" dt="2024-02-20T12:53:06.255" v="20968"/>
          <pc:sldLayoutMkLst>
            <pc:docMk/>
            <pc:sldMasterMk cId="1321919033" sldId="2147483709"/>
            <pc:sldLayoutMk cId="2724959756" sldId="2147483764"/>
          </pc:sldLayoutMkLst>
          <pc:spChg chg="mod">
            <ac:chgData name="Abdi, Adnan" userId="503e002c-9b3b-4180-87fb-acabeb2b158a" providerId="ADAL" clId="{5C2CD6D4-C7A9-4CEF-AA9C-BC2977F70622}" dt="2024-02-20T12:52:59.390" v="17520" actId="947"/>
            <ac:spMkLst>
              <pc:docMk/>
              <pc:sldMasterMk cId="1321919033" sldId="2147483709"/>
              <pc:sldLayoutMk cId="2724959756" sldId="2147483764"/>
              <ac:spMk id="5" creationId="{00000000-0000-0000-0000-000000000000}"/>
            </ac:spMkLst>
          </pc:spChg>
          <pc:spChg chg="mod">
            <ac:chgData name="Abdi, Adnan" userId="503e002c-9b3b-4180-87fb-acabeb2b158a" providerId="ADAL" clId="{5C2CD6D4-C7A9-4CEF-AA9C-BC2977F70622}" dt="2024-02-20T12:52:59.387" v="17518" actId="790"/>
            <ac:spMkLst>
              <pc:docMk/>
              <pc:sldMasterMk cId="1321919033" sldId="2147483709"/>
              <pc:sldLayoutMk cId="2724959756" sldId="2147483764"/>
              <ac:spMk id="7" creationId="{00000000-0000-0000-0000-000000000000}"/>
            </ac:spMkLst>
          </pc:spChg>
          <pc:graphicFrameChg chg="mod ord modVis replST">
            <ac:chgData name="Abdi, Adnan" userId="503e002c-9b3b-4180-87fb-acabeb2b158a" providerId="ADAL" clId="{5C2CD6D4-C7A9-4CEF-AA9C-BC2977F70622}" dt="2024-02-20T12:53:06.255" v="20968"/>
            <ac:graphicFrameMkLst>
              <pc:docMk/>
              <pc:sldMasterMk cId="1321919033" sldId="2147483709"/>
              <pc:sldLayoutMk cId="2724959756" sldId="2147483764"/>
              <ac:graphicFrameMk id="2" creationId="{03A3E11A-3DD7-3E61-42DC-3E2EB790F7FC}"/>
            </ac:graphicFrameMkLst>
          </pc:graphicFrameChg>
        </pc:sldLayoutChg>
        <pc:sldLayoutChg chg="modSp mod">
          <pc:chgData name="Abdi, Adnan" userId="503e002c-9b3b-4180-87fb-acabeb2b158a" providerId="ADAL" clId="{5C2CD6D4-C7A9-4CEF-AA9C-BC2977F70622}" dt="2024-02-20T12:53:06.206" v="20954"/>
          <pc:sldLayoutMkLst>
            <pc:docMk/>
            <pc:sldMasterMk cId="1321919033" sldId="2147483709"/>
            <pc:sldLayoutMk cId="3066741548" sldId="2147483765"/>
          </pc:sldLayoutMkLst>
          <pc:spChg chg="mod">
            <ac:chgData name="Abdi, Adnan" userId="503e002c-9b3b-4180-87fb-acabeb2b158a" providerId="ADAL" clId="{5C2CD6D4-C7A9-4CEF-AA9C-BC2977F70622}" dt="2024-02-20T12:52:59.366" v="17504" actId="790"/>
            <ac:spMkLst>
              <pc:docMk/>
              <pc:sldMasterMk cId="1321919033" sldId="2147483709"/>
              <pc:sldLayoutMk cId="3066741548" sldId="2147483765"/>
              <ac:spMk id="4" creationId="{00000000-0000-0000-0000-000000000000}"/>
            </ac:spMkLst>
          </pc:spChg>
          <pc:spChg chg="mod">
            <ac:chgData name="Abdi, Adnan" userId="503e002c-9b3b-4180-87fb-acabeb2b158a" providerId="ADAL" clId="{5C2CD6D4-C7A9-4CEF-AA9C-BC2977F70622}" dt="2024-02-20T12:52:59.347" v="17501" actId="947"/>
            <ac:spMkLst>
              <pc:docMk/>
              <pc:sldMasterMk cId="1321919033" sldId="2147483709"/>
              <pc:sldLayoutMk cId="3066741548" sldId="2147483765"/>
              <ac:spMk id="6" creationId="{00000000-0000-0000-0000-000000000000}"/>
            </ac:spMkLst>
          </pc:spChg>
          <pc:spChg chg="mod">
            <ac:chgData name="Abdi, Adnan" userId="503e002c-9b3b-4180-87fb-acabeb2b158a" providerId="ADAL" clId="{5C2CD6D4-C7A9-4CEF-AA9C-BC2977F70622}" dt="2024-02-20T12:52:59.365" v="17503" actId="947"/>
            <ac:spMkLst>
              <pc:docMk/>
              <pc:sldMasterMk cId="1321919033" sldId="2147483709"/>
              <pc:sldLayoutMk cId="3066741548" sldId="2147483765"/>
              <ac:spMk id="7" creationId="{00000000-0000-0000-0000-000000000000}"/>
            </ac:spMkLst>
          </pc:spChg>
          <pc:spChg chg="mod">
            <ac:chgData name="Abdi, Adnan" userId="503e002c-9b3b-4180-87fb-acabeb2b158a" providerId="ADAL" clId="{5C2CD6D4-C7A9-4CEF-AA9C-BC2977F70622}" dt="2024-02-20T12:52:59.370" v="17506" actId="947"/>
            <ac:spMkLst>
              <pc:docMk/>
              <pc:sldMasterMk cId="1321919033" sldId="2147483709"/>
              <pc:sldLayoutMk cId="3066741548" sldId="2147483765"/>
              <ac:spMk id="10" creationId="{00000000-0000-0000-0000-000000000000}"/>
            </ac:spMkLst>
          </pc:spChg>
          <pc:graphicFrameChg chg="mod ord modVis replST">
            <ac:chgData name="Abdi, Adnan" userId="503e002c-9b3b-4180-87fb-acabeb2b158a" providerId="ADAL" clId="{5C2CD6D4-C7A9-4CEF-AA9C-BC2977F70622}" dt="2024-02-20T12:53:06.206" v="20954"/>
            <ac:graphicFrameMkLst>
              <pc:docMk/>
              <pc:sldMasterMk cId="1321919033" sldId="2147483709"/>
              <pc:sldLayoutMk cId="3066741548" sldId="2147483765"/>
              <ac:graphicFrameMk id="2" creationId="{1D5F6271-6FFE-42FF-65A8-36F34183C66C}"/>
            </ac:graphicFrameMkLst>
          </pc:graphicFrameChg>
        </pc:sldLayoutChg>
        <pc:sldLayoutChg chg="modSp mod">
          <pc:chgData name="Abdi, Adnan" userId="503e002c-9b3b-4180-87fb-acabeb2b158a" providerId="ADAL" clId="{5C2CD6D4-C7A9-4CEF-AA9C-BC2977F70622}" dt="2024-02-20T12:53:06.292" v="20976" actId="1076"/>
          <pc:sldLayoutMkLst>
            <pc:docMk/>
            <pc:sldMasterMk cId="1321919033" sldId="2147483709"/>
            <pc:sldLayoutMk cId="2143876949" sldId="2147483766"/>
          </pc:sldLayoutMkLst>
          <pc:spChg chg="mod">
            <ac:chgData name="Abdi, Adnan" userId="503e002c-9b3b-4180-87fb-acabeb2b158a" providerId="ADAL" clId="{5C2CD6D4-C7A9-4CEF-AA9C-BC2977F70622}" dt="2024-02-20T12:52:59.398" v="17527" actId="947"/>
            <ac:spMkLst>
              <pc:docMk/>
              <pc:sldMasterMk cId="1321919033" sldId="2147483709"/>
              <pc:sldLayoutMk cId="2143876949" sldId="2147483766"/>
              <ac:spMk id="8" creationId="{00000000-0000-0000-0000-000000000000}"/>
            </ac:spMkLst>
          </pc:spChg>
          <pc:spChg chg="mod">
            <ac:chgData name="Abdi, Adnan" userId="503e002c-9b3b-4180-87fb-acabeb2b158a" providerId="ADAL" clId="{5C2CD6D4-C7A9-4CEF-AA9C-BC2977F70622}" dt="2024-02-20T12:52:59.398" v="17529" actId="947"/>
            <ac:spMkLst>
              <pc:docMk/>
              <pc:sldMasterMk cId="1321919033" sldId="2147483709"/>
              <pc:sldLayoutMk cId="2143876949" sldId="2147483766"/>
              <ac:spMk id="15" creationId="{00000000-0000-0000-0000-000000000000}"/>
            </ac:spMkLst>
          </pc:spChg>
          <pc:graphicFrameChg chg="mod">
            <ac:chgData name="Abdi, Adnan" userId="503e002c-9b3b-4180-87fb-acabeb2b158a" providerId="ADAL" clId="{5C2CD6D4-C7A9-4CEF-AA9C-BC2977F70622}" dt="2024-02-20T12:53:06.292" v="20976" actId="1076"/>
            <ac:graphicFrameMkLst>
              <pc:docMk/>
              <pc:sldMasterMk cId="1321919033" sldId="2147483709"/>
              <pc:sldLayoutMk cId="2143876949" sldId="2147483766"/>
              <ac:graphicFrameMk id="2" creationId="{00000000-0000-0000-0000-000000000000}"/>
            </ac:graphicFrameMkLst>
          </pc:graphicFrameChg>
        </pc:sldLayoutChg>
        <pc:sldLayoutChg chg="modSp mod">
          <pc:chgData name="Abdi, Adnan" userId="503e002c-9b3b-4180-87fb-acabeb2b158a" providerId="ADAL" clId="{5C2CD6D4-C7A9-4CEF-AA9C-BC2977F70622}" dt="2024-02-20T12:53:06.498" v="21029"/>
          <pc:sldLayoutMkLst>
            <pc:docMk/>
            <pc:sldMasterMk cId="1321919033" sldId="2147483709"/>
            <pc:sldLayoutMk cId="980742490" sldId="2147483767"/>
          </pc:sldLayoutMkLst>
          <pc:spChg chg="mod">
            <ac:chgData name="Abdi, Adnan" userId="503e002c-9b3b-4180-87fb-acabeb2b158a" providerId="ADAL" clId="{5C2CD6D4-C7A9-4CEF-AA9C-BC2977F70622}" dt="2024-02-20T12:53:00.012" v="18040" actId="790"/>
            <ac:spMkLst>
              <pc:docMk/>
              <pc:sldMasterMk cId="1321919033" sldId="2147483709"/>
              <pc:sldLayoutMk cId="980742490" sldId="2147483767"/>
              <ac:spMk id="2" creationId="{00000000-0000-0000-0000-000000000000}"/>
            </ac:spMkLst>
          </pc:spChg>
          <pc:spChg chg="mod">
            <ac:chgData name="Abdi, Adnan" userId="503e002c-9b3b-4180-87fb-acabeb2b158a" providerId="ADAL" clId="{5C2CD6D4-C7A9-4CEF-AA9C-BC2977F70622}" dt="2024-02-20T12:53:00.018" v="18042" actId="947"/>
            <ac:spMkLst>
              <pc:docMk/>
              <pc:sldMasterMk cId="1321919033" sldId="2147483709"/>
              <pc:sldLayoutMk cId="980742490" sldId="2147483767"/>
              <ac:spMk id="56" creationId="{00000000-0000-0000-0000-000000000000}"/>
            </ac:spMkLst>
          </pc:spChg>
          <pc:spChg chg="mod">
            <ac:chgData name="Abdi, Adnan" userId="503e002c-9b3b-4180-87fb-acabeb2b158a" providerId="ADAL" clId="{5C2CD6D4-C7A9-4CEF-AA9C-BC2977F70622}" dt="2024-02-20T12:53:00.001" v="18039" actId="947"/>
            <ac:spMkLst>
              <pc:docMk/>
              <pc:sldMasterMk cId="1321919033" sldId="2147483709"/>
              <pc:sldLayoutMk cId="980742490" sldId="2147483767"/>
              <ac:spMk id="148" creationId="{00000000-0000-0000-0000-000000000000}"/>
            </ac:spMkLst>
          </pc:spChg>
          <pc:spChg chg="mod">
            <ac:chgData name="Abdi, Adnan" userId="503e002c-9b3b-4180-87fb-acabeb2b158a" providerId="ADAL" clId="{5C2CD6D4-C7A9-4CEF-AA9C-BC2977F70622}" dt="2024-02-20T12:52:59.993" v="18037" actId="947"/>
            <ac:spMkLst>
              <pc:docMk/>
              <pc:sldMasterMk cId="1321919033" sldId="2147483709"/>
              <pc:sldLayoutMk cId="980742490" sldId="2147483767"/>
              <ac:spMk id="152" creationId="{00000000-0000-0000-0000-000000000000}"/>
            </ac:spMkLst>
          </pc:spChg>
          <pc:spChg chg="mod">
            <ac:chgData name="Abdi, Adnan" userId="503e002c-9b3b-4180-87fb-acabeb2b158a" providerId="ADAL" clId="{5C2CD6D4-C7A9-4CEF-AA9C-BC2977F70622}" dt="2024-02-20T12:52:59.990" v="18035" actId="947"/>
            <ac:spMkLst>
              <pc:docMk/>
              <pc:sldMasterMk cId="1321919033" sldId="2147483709"/>
              <pc:sldLayoutMk cId="980742490" sldId="2147483767"/>
              <ac:spMk id="153" creationId="{00000000-0000-0000-0000-000000000000}"/>
            </ac:spMkLst>
          </pc:spChg>
          <pc:graphicFrameChg chg="mod ord modVis replST">
            <ac:chgData name="Abdi, Adnan" userId="503e002c-9b3b-4180-87fb-acabeb2b158a" providerId="ADAL" clId="{5C2CD6D4-C7A9-4CEF-AA9C-BC2977F70622}" dt="2024-02-20T12:53:06.498" v="21029"/>
            <ac:graphicFrameMkLst>
              <pc:docMk/>
              <pc:sldMasterMk cId="1321919033" sldId="2147483709"/>
              <pc:sldLayoutMk cId="980742490" sldId="2147483767"/>
              <ac:graphicFrameMk id="3" creationId="{9BD857D6-2430-0A08-1A17-C2359B57529F}"/>
            </ac:graphicFrameMkLst>
          </pc:graphicFrameChg>
        </pc:sldLayoutChg>
        <pc:sldLayoutChg chg="modSp mod">
          <pc:chgData name="Abdi, Adnan" userId="503e002c-9b3b-4180-87fb-acabeb2b158a" providerId="ADAL" clId="{5C2CD6D4-C7A9-4CEF-AA9C-BC2977F70622}" dt="2024-02-20T12:53:06.453" v="21022" actId="1076"/>
          <pc:sldLayoutMkLst>
            <pc:docMk/>
            <pc:sldMasterMk cId="1321919033" sldId="2147483709"/>
            <pc:sldLayoutMk cId="3046473342" sldId="2147483768"/>
          </pc:sldLayoutMkLst>
          <pc:spChg chg="mod">
            <ac:chgData name="Abdi, Adnan" userId="503e002c-9b3b-4180-87fb-acabeb2b158a" providerId="ADAL" clId="{5C2CD6D4-C7A9-4CEF-AA9C-BC2977F70622}" dt="2024-02-20T12:52:59.980" v="18029" actId="947"/>
            <ac:spMkLst>
              <pc:docMk/>
              <pc:sldMasterMk cId="1321919033" sldId="2147483709"/>
              <pc:sldLayoutMk cId="3046473342" sldId="2147483768"/>
              <ac:spMk id="2" creationId="{00000000-0000-0000-0000-000000000000}"/>
            </ac:spMkLst>
          </pc:spChg>
          <pc:spChg chg="mod">
            <ac:chgData name="Abdi, Adnan" userId="503e002c-9b3b-4180-87fb-acabeb2b158a" providerId="ADAL" clId="{5C2CD6D4-C7A9-4CEF-AA9C-BC2977F70622}" dt="2024-02-20T12:52:59.982" v="18031" actId="947"/>
            <ac:spMkLst>
              <pc:docMk/>
              <pc:sldMasterMk cId="1321919033" sldId="2147483709"/>
              <pc:sldLayoutMk cId="3046473342" sldId="2147483768"/>
              <ac:spMk id="7" creationId="{00000000-0000-0000-0000-000000000000}"/>
            </ac:spMkLst>
          </pc:spChg>
          <pc:spChg chg="mod">
            <ac:chgData name="Abdi, Adnan" userId="503e002c-9b3b-4180-87fb-acabeb2b158a" providerId="ADAL" clId="{5C2CD6D4-C7A9-4CEF-AA9C-BC2977F70622}" dt="2024-02-20T12:52:59.984" v="18033" actId="947"/>
            <ac:spMkLst>
              <pc:docMk/>
              <pc:sldMasterMk cId="1321919033" sldId="2147483709"/>
              <pc:sldLayoutMk cId="3046473342" sldId="2147483768"/>
              <ac:spMk id="9" creationId="{00000000-0000-0000-0000-000000000000}"/>
            </ac:spMkLst>
          </pc:spChg>
          <pc:spChg chg="mod">
            <ac:chgData name="Abdi, Adnan" userId="503e002c-9b3b-4180-87fb-acabeb2b158a" providerId="ADAL" clId="{5C2CD6D4-C7A9-4CEF-AA9C-BC2977F70622}" dt="2024-02-20T12:52:59.978" v="18027" actId="947"/>
            <ac:spMkLst>
              <pc:docMk/>
              <pc:sldMasterMk cId="1321919033" sldId="2147483709"/>
              <pc:sldLayoutMk cId="3046473342" sldId="2147483768"/>
              <ac:spMk id="10" creationId="{00000000-0000-0000-0000-000000000000}"/>
            </ac:spMkLst>
          </pc:spChg>
          <pc:spChg chg="mod">
            <ac:chgData name="Abdi, Adnan" userId="503e002c-9b3b-4180-87fb-acabeb2b158a" providerId="ADAL" clId="{5C2CD6D4-C7A9-4CEF-AA9C-BC2977F70622}" dt="2024-02-20T12:52:59.975" v="18025" actId="947"/>
            <ac:spMkLst>
              <pc:docMk/>
              <pc:sldMasterMk cId="1321919033" sldId="2147483709"/>
              <pc:sldLayoutMk cId="3046473342" sldId="2147483768"/>
              <ac:spMk id="11" creationId="{00000000-0000-0000-0000-000000000000}"/>
            </ac:spMkLst>
          </pc:spChg>
          <pc:graphicFrameChg chg="mod">
            <ac:chgData name="Abdi, Adnan" userId="503e002c-9b3b-4180-87fb-acabeb2b158a" providerId="ADAL" clId="{5C2CD6D4-C7A9-4CEF-AA9C-BC2977F70622}" dt="2024-02-20T12:53:06.453" v="21022" actId="1076"/>
            <ac:graphicFrameMkLst>
              <pc:docMk/>
              <pc:sldMasterMk cId="1321919033" sldId="2147483709"/>
              <pc:sldLayoutMk cId="3046473342" sldId="2147483768"/>
              <ac:graphicFrameMk id="3" creationId="{00000000-0000-0000-0000-000000000000}"/>
            </ac:graphicFrameMkLst>
          </pc:graphicFrameChg>
        </pc:sldLayoutChg>
        <pc:sldLayoutChg chg="modSp mod">
          <pc:chgData name="Abdi, Adnan" userId="503e002c-9b3b-4180-87fb-acabeb2b158a" providerId="ADAL" clId="{5C2CD6D4-C7A9-4CEF-AA9C-BC2977F70622}" dt="2024-02-20T12:53:06.503" v="21030" actId="1076"/>
          <pc:sldLayoutMkLst>
            <pc:docMk/>
            <pc:sldMasterMk cId="1321919033" sldId="2147483709"/>
            <pc:sldLayoutMk cId="1402545839" sldId="2147483769"/>
          </pc:sldLayoutMkLst>
          <pc:spChg chg="mod">
            <ac:chgData name="Abdi, Adnan" userId="503e002c-9b3b-4180-87fb-acabeb2b158a" providerId="ADAL" clId="{5C2CD6D4-C7A9-4CEF-AA9C-BC2977F70622}" dt="2024-02-20T12:53:00.020" v="18044" actId="947"/>
            <ac:spMkLst>
              <pc:docMk/>
              <pc:sldMasterMk cId="1321919033" sldId="2147483709"/>
              <pc:sldLayoutMk cId="1402545839" sldId="2147483769"/>
              <ac:spMk id="7" creationId="{00000000-0000-0000-0000-000000000000}"/>
            </ac:spMkLst>
          </pc:spChg>
          <pc:spChg chg="mod">
            <ac:chgData name="Abdi, Adnan" userId="503e002c-9b3b-4180-87fb-acabeb2b158a" providerId="ADAL" clId="{5C2CD6D4-C7A9-4CEF-AA9C-BC2977F70622}" dt="2024-02-20T12:53:00.020" v="18046" actId="947"/>
            <ac:spMkLst>
              <pc:docMk/>
              <pc:sldMasterMk cId="1321919033" sldId="2147483709"/>
              <pc:sldLayoutMk cId="1402545839" sldId="2147483769"/>
              <ac:spMk id="9" creationId="{00000000-0000-0000-0000-000000000000}"/>
            </ac:spMkLst>
          </pc:spChg>
          <pc:spChg chg="mod">
            <ac:chgData name="Abdi, Adnan" userId="503e002c-9b3b-4180-87fb-acabeb2b158a" providerId="ADAL" clId="{5C2CD6D4-C7A9-4CEF-AA9C-BC2977F70622}" dt="2024-02-20T12:53:00.020" v="18048" actId="947"/>
            <ac:spMkLst>
              <pc:docMk/>
              <pc:sldMasterMk cId="1321919033" sldId="2147483709"/>
              <pc:sldLayoutMk cId="1402545839" sldId="2147483769"/>
              <ac:spMk id="10" creationId="{00000000-0000-0000-0000-000000000000}"/>
            </ac:spMkLst>
          </pc:spChg>
          <pc:spChg chg="mod">
            <ac:chgData name="Abdi, Adnan" userId="503e002c-9b3b-4180-87fb-acabeb2b158a" providerId="ADAL" clId="{5C2CD6D4-C7A9-4CEF-AA9C-BC2977F70622}" dt="2024-02-20T12:53:00.020" v="18050" actId="947"/>
            <ac:spMkLst>
              <pc:docMk/>
              <pc:sldMasterMk cId="1321919033" sldId="2147483709"/>
              <pc:sldLayoutMk cId="1402545839" sldId="2147483769"/>
              <ac:spMk id="13" creationId="{00000000-0000-0000-0000-000000000000}"/>
            </ac:spMkLst>
          </pc:spChg>
          <pc:graphicFrameChg chg="mod">
            <ac:chgData name="Abdi, Adnan" userId="503e002c-9b3b-4180-87fb-acabeb2b158a" providerId="ADAL" clId="{5C2CD6D4-C7A9-4CEF-AA9C-BC2977F70622}" dt="2024-02-20T12:53:06.503" v="21030" actId="1076"/>
            <ac:graphicFrameMkLst>
              <pc:docMk/>
              <pc:sldMasterMk cId="1321919033" sldId="2147483709"/>
              <pc:sldLayoutMk cId="1402545839" sldId="2147483769"/>
              <ac:graphicFrameMk id="3" creationId="{00000000-0000-0000-0000-000000000000}"/>
            </ac:graphicFrameMkLst>
          </pc:graphicFrameChg>
        </pc:sldLayoutChg>
        <pc:sldLayoutChg chg="modSp mod">
          <pc:chgData name="Abdi, Adnan" userId="503e002c-9b3b-4180-87fb-acabeb2b158a" providerId="ADAL" clId="{5C2CD6D4-C7A9-4CEF-AA9C-BC2977F70622}" dt="2024-02-20T12:53:06.505" v="21031" actId="1076"/>
          <pc:sldLayoutMkLst>
            <pc:docMk/>
            <pc:sldMasterMk cId="1321919033" sldId="2147483709"/>
            <pc:sldLayoutMk cId="1247484813" sldId="2147483770"/>
          </pc:sldLayoutMkLst>
          <pc:spChg chg="mod">
            <ac:chgData name="Abdi, Adnan" userId="503e002c-9b3b-4180-87fb-acabeb2b158a" providerId="ADAL" clId="{5C2CD6D4-C7A9-4CEF-AA9C-BC2977F70622}" dt="2024-02-20T12:53:00.036" v="18052" actId="947"/>
            <ac:spMkLst>
              <pc:docMk/>
              <pc:sldMasterMk cId="1321919033" sldId="2147483709"/>
              <pc:sldLayoutMk cId="1247484813" sldId="2147483770"/>
              <ac:spMk id="7" creationId="{00000000-0000-0000-0000-000000000000}"/>
            </ac:spMkLst>
          </pc:spChg>
          <pc:spChg chg="mod">
            <ac:chgData name="Abdi, Adnan" userId="503e002c-9b3b-4180-87fb-acabeb2b158a" providerId="ADAL" clId="{5C2CD6D4-C7A9-4CEF-AA9C-BC2977F70622}" dt="2024-02-20T12:53:00.036" v="18054" actId="947"/>
            <ac:spMkLst>
              <pc:docMk/>
              <pc:sldMasterMk cId="1321919033" sldId="2147483709"/>
              <pc:sldLayoutMk cId="1247484813" sldId="2147483770"/>
              <ac:spMk id="9" creationId="{00000000-0000-0000-0000-000000000000}"/>
            </ac:spMkLst>
          </pc:spChg>
          <pc:spChg chg="mod">
            <ac:chgData name="Abdi, Adnan" userId="503e002c-9b3b-4180-87fb-acabeb2b158a" providerId="ADAL" clId="{5C2CD6D4-C7A9-4CEF-AA9C-BC2977F70622}" dt="2024-02-20T12:53:00.036" v="18056" actId="947"/>
            <ac:spMkLst>
              <pc:docMk/>
              <pc:sldMasterMk cId="1321919033" sldId="2147483709"/>
              <pc:sldLayoutMk cId="1247484813" sldId="2147483770"/>
              <ac:spMk id="10" creationId="{00000000-0000-0000-0000-000000000000}"/>
            </ac:spMkLst>
          </pc:spChg>
          <pc:graphicFrameChg chg="mod">
            <ac:chgData name="Abdi, Adnan" userId="503e002c-9b3b-4180-87fb-acabeb2b158a" providerId="ADAL" clId="{5C2CD6D4-C7A9-4CEF-AA9C-BC2977F70622}" dt="2024-02-20T12:53:06.505" v="21031" actId="1076"/>
            <ac:graphicFrameMkLst>
              <pc:docMk/>
              <pc:sldMasterMk cId="1321919033" sldId="2147483709"/>
              <pc:sldLayoutMk cId="1247484813" sldId="2147483770"/>
              <ac:graphicFrameMk id="3" creationId="{00000000-0000-0000-0000-000000000000}"/>
            </ac:graphicFrameMkLst>
          </pc:graphicFrameChg>
        </pc:sldLayoutChg>
        <pc:sldLayoutChg chg="modSp mod">
          <pc:chgData name="Abdi, Adnan" userId="503e002c-9b3b-4180-87fb-acabeb2b158a" providerId="ADAL" clId="{5C2CD6D4-C7A9-4CEF-AA9C-BC2977F70622}" dt="2024-02-20T12:53:06.505" v="21032" actId="1076"/>
          <pc:sldLayoutMkLst>
            <pc:docMk/>
            <pc:sldMasterMk cId="1321919033" sldId="2147483709"/>
            <pc:sldLayoutMk cId="3576338500" sldId="2147483771"/>
          </pc:sldLayoutMkLst>
          <pc:spChg chg="mod">
            <ac:chgData name="Abdi, Adnan" userId="503e002c-9b3b-4180-87fb-acabeb2b158a" providerId="ADAL" clId="{5C2CD6D4-C7A9-4CEF-AA9C-BC2977F70622}" dt="2024-02-20T12:53:00.051" v="18058" actId="947"/>
            <ac:spMkLst>
              <pc:docMk/>
              <pc:sldMasterMk cId="1321919033" sldId="2147483709"/>
              <pc:sldLayoutMk cId="3576338500" sldId="2147483771"/>
              <ac:spMk id="13" creationId="{00000000-0000-0000-0000-000000000000}"/>
            </ac:spMkLst>
          </pc:spChg>
          <pc:spChg chg="mod">
            <ac:chgData name="Abdi, Adnan" userId="503e002c-9b3b-4180-87fb-acabeb2b158a" providerId="ADAL" clId="{5C2CD6D4-C7A9-4CEF-AA9C-BC2977F70622}" dt="2024-02-20T12:53:00.051" v="18062" actId="947"/>
            <ac:spMkLst>
              <pc:docMk/>
              <pc:sldMasterMk cId="1321919033" sldId="2147483709"/>
              <pc:sldLayoutMk cId="3576338500" sldId="2147483771"/>
              <ac:spMk id="15" creationId="{00000000-0000-0000-0000-000000000000}"/>
            </ac:spMkLst>
          </pc:spChg>
          <pc:spChg chg="mod">
            <ac:chgData name="Abdi, Adnan" userId="503e002c-9b3b-4180-87fb-acabeb2b158a" providerId="ADAL" clId="{5C2CD6D4-C7A9-4CEF-AA9C-BC2977F70622}" dt="2024-02-20T12:53:00.051" v="18060" actId="947"/>
            <ac:spMkLst>
              <pc:docMk/>
              <pc:sldMasterMk cId="1321919033" sldId="2147483709"/>
              <pc:sldLayoutMk cId="3576338500" sldId="2147483771"/>
              <ac:spMk id="16" creationId="{00000000-0000-0000-0000-000000000000}"/>
            </ac:spMkLst>
          </pc:spChg>
          <pc:spChg chg="mod">
            <ac:chgData name="Abdi, Adnan" userId="503e002c-9b3b-4180-87fb-acabeb2b158a" providerId="ADAL" clId="{5C2CD6D4-C7A9-4CEF-AA9C-BC2977F70622}" dt="2024-02-20T12:53:00.051" v="18064" actId="947"/>
            <ac:spMkLst>
              <pc:docMk/>
              <pc:sldMasterMk cId="1321919033" sldId="2147483709"/>
              <pc:sldLayoutMk cId="3576338500" sldId="2147483771"/>
              <ac:spMk id="17" creationId="{00000000-0000-0000-0000-000000000000}"/>
            </ac:spMkLst>
          </pc:spChg>
          <pc:graphicFrameChg chg="mod">
            <ac:chgData name="Abdi, Adnan" userId="503e002c-9b3b-4180-87fb-acabeb2b158a" providerId="ADAL" clId="{5C2CD6D4-C7A9-4CEF-AA9C-BC2977F70622}" dt="2024-02-20T12:53:06.505" v="21032" actId="1076"/>
            <ac:graphicFrameMkLst>
              <pc:docMk/>
              <pc:sldMasterMk cId="1321919033" sldId="2147483709"/>
              <pc:sldLayoutMk cId="3576338500" sldId="2147483771"/>
              <ac:graphicFrameMk id="2" creationId="{00000000-0000-0000-0000-000000000000}"/>
            </ac:graphicFrameMkLst>
          </pc:graphicFrameChg>
        </pc:sldLayoutChg>
        <pc:sldLayoutChg chg="modSp mod">
          <pc:chgData name="Abdi, Adnan" userId="503e002c-9b3b-4180-87fb-acabeb2b158a" providerId="ADAL" clId="{5C2CD6D4-C7A9-4CEF-AA9C-BC2977F70622}" dt="2024-02-20T12:53:06.453" v="21021" actId="1076"/>
          <pc:sldLayoutMkLst>
            <pc:docMk/>
            <pc:sldMasterMk cId="1321919033" sldId="2147483709"/>
            <pc:sldLayoutMk cId="541514303" sldId="2147483772"/>
          </pc:sldLayoutMkLst>
          <pc:spChg chg="mod">
            <ac:chgData name="Abdi, Adnan" userId="503e002c-9b3b-4180-87fb-acabeb2b158a" providerId="ADAL" clId="{5C2CD6D4-C7A9-4CEF-AA9C-BC2977F70622}" dt="2024-02-20T12:52:59.952" v="18017" actId="947"/>
            <ac:spMkLst>
              <pc:docMk/>
              <pc:sldMasterMk cId="1321919033" sldId="2147483709"/>
              <pc:sldLayoutMk cId="541514303" sldId="2147483772"/>
              <ac:spMk id="5" creationId="{00000000-0000-0000-0000-000000000000}"/>
            </ac:spMkLst>
          </pc:spChg>
          <pc:spChg chg="mod">
            <ac:chgData name="Abdi, Adnan" userId="503e002c-9b3b-4180-87fb-acabeb2b158a" providerId="ADAL" clId="{5C2CD6D4-C7A9-4CEF-AA9C-BC2977F70622}" dt="2024-02-20T12:52:59.952" v="18019" actId="947"/>
            <ac:spMkLst>
              <pc:docMk/>
              <pc:sldMasterMk cId="1321919033" sldId="2147483709"/>
              <pc:sldLayoutMk cId="541514303" sldId="2147483772"/>
              <ac:spMk id="8" creationId="{00000000-0000-0000-0000-000000000000}"/>
            </ac:spMkLst>
          </pc:spChg>
          <pc:spChg chg="mod">
            <ac:chgData name="Abdi, Adnan" userId="503e002c-9b3b-4180-87fb-acabeb2b158a" providerId="ADAL" clId="{5C2CD6D4-C7A9-4CEF-AA9C-BC2977F70622}" dt="2024-02-20T12:52:59.968" v="18023" actId="947"/>
            <ac:spMkLst>
              <pc:docMk/>
              <pc:sldMasterMk cId="1321919033" sldId="2147483709"/>
              <pc:sldLayoutMk cId="541514303" sldId="2147483772"/>
              <ac:spMk id="9" creationId="{00000000-0000-0000-0000-000000000000}"/>
            </ac:spMkLst>
          </pc:spChg>
          <pc:spChg chg="mod">
            <ac:chgData name="Abdi, Adnan" userId="503e002c-9b3b-4180-87fb-acabeb2b158a" providerId="ADAL" clId="{5C2CD6D4-C7A9-4CEF-AA9C-BC2977F70622}" dt="2024-02-20T12:52:59.952" v="18021" actId="947"/>
            <ac:spMkLst>
              <pc:docMk/>
              <pc:sldMasterMk cId="1321919033" sldId="2147483709"/>
              <pc:sldLayoutMk cId="541514303" sldId="2147483772"/>
              <ac:spMk id="11" creationId="{00000000-0000-0000-0000-000000000000}"/>
            </ac:spMkLst>
          </pc:spChg>
          <pc:graphicFrameChg chg="mod">
            <ac:chgData name="Abdi, Adnan" userId="503e002c-9b3b-4180-87fb-acabeb2b158a" providerId="ADAL" clId="{5C2CD6D4-C7A9-4CEF-AA9C-BC2977F70622}" dt="2024-02-20T12:53:06.453" v="21021" actId="1076"/>
            <ac:graphicFrameMkLst>
              <pc:docMk/>
              <pc:sldMasterMk cId="1321919033" sldId="2147483709"/>
              <pc:sldLayoutMk cId="541514303" sldId="2147483772"/>
              <ac:graphicFrameMk id="2" creationId="{00000000-0000-0000-0000-000000000000}"/>
            </ac:graphicFrameMkLst>
          </pc:graphicFrameChg>
        </pc:sldLayoutChg>
        <pc:sldLayoutChg chg="modSp mod">
          <pc:chgData name="Abdi, Adnan" userId="503e002c-9b3b-4180-87fb-acabeb2b158a" providerId="ADAL" clId="{5C2CD6D4-C7A9-4CEF-AA9C-BC2977F70622}" dt="2024-02-20T12:53:06.505" v="21033" actId="1076"/>
          <pc:sldLayoutMkLst>
            <pc:docMk/>
            <pc:sldMasterMk cId="1321919033" sldId="2147483709"/>
            <pc:sldLayoutMk cId="1082766489" sldId="2147483773"/>
          </pc:sldLayoutMkLst>
          <pc:spChg chg="mod">
            <ac:chgData name="Abdi, Adnan" userId="503e002c-9b3b-4180-87fb-acabeb2b158a" providerId="ADAL" clId="{5C2CD6D4-C7A9-4CEF-AA9C-BC2977F70622}" dt="2024-02-20T12:53:00.073" v="18066" actId="947"/>
            <ac:spMkLst>
              <pc:docMk/>
              <pc:sldMasterMk cId="1321919033" sldId="2147483709"/>
              <pc:sldLayoutMk cId="1082766489" sldId="2147483773"/>
              <ac:spMk id="5" creationId="{00000000-0000-0000-0000-000000000000}"/>
            </ac:spMkLst>
          </pc:spChg>
          <pc:spChg chg="mod">
            <ac:chgData name="Abdi, Adnan" userId="503e002c-9b3b-4180-87fb-acabeb2b158a" providerId="ADAL" clId="{5C2CD6D4-C7A9-4CEF-AA9C-BC2977F70622}" dt="2024-02-20T12:53:00.075" v="18068" actId="947"/>
            <ac:spMkLst>
              <pc:docMk/>
              <pc:sldMasterMk cId="1321919033" sldId="2147483709"/>
              <pc:sldLayoutMk cId="1082766489" sldId="2147483773"/>
              <ac:spMk id="8" creationId="{00000000-0000-0000-0000-000000000000}"/>
            </ac:spMkLst>
          </pc:spChg>
          <pc:spChg chg="mod">
            <ac:chgData name="Abdi, Adnan" userId="503e002c-9b3b-4180-87fb-acabeb2b158a" providerId="ADAL" clId="{5C2CD6D4-C7A9-4CEF-AA9C-BC2977F70622}" dt="2024-02-20T12:53:00.077" v="18070" actId="947"/>
            <ac:spMkLst>
              <pc:docMk/>
              <pc:sldMasterMk cId="1321919033" sldId="2147483709"/>
              <pc:sldLayoutMk cId="1082766489" sldId="2147483773"/>
              <ac:spMk id="10" creationId="{00000000-0000-0000-0000-000000000000}"/>
            </ac:spMkLst>
          </pc:spChg>
          <pc:graphicFrameChg chg="mod">
            <ac:chgData name="Abdi, Adnan" userId="503e002c-9b3b-4180-87fb-acabeb2b158a" providerId="ADAL" clId="{5C2CD6D4-C7A9-4CEF-AA9C-BC2977F70622}" dt="2024-02-20T12:53:06.505" v="21033" actId="1076"/>
            <ac:graphicFrameMkLst>
              <pc:docMk/>
              <pc:sldMasterMk cId="1321919033" sldId="2147483709"/>
              <pc:sldLayoutMk cId="1082766489" sldId="2147483773"/>
              <ac:graphicFrameMk id="2" creationId="{00000000-0000-0000-0000-000000000000}"/>
            </ac:graphicFrameMkLst>
          </pc:graphicFrameChg>
        </pc:sldLayoutChg>
        <pc:sldLayoutChg chg="modSp mod">
          <pc:chgData name="Abdi, Adnan" userId="503e002c-9b3b-4180-87fb-acabeb2b158a" providerId="ADAL" clId="{5C2CD6D4-C7A9-4CEF-AA9C-BC2977F70622}" dt="2024-02-20T12:53:06.505" v="21034" actId="1076"/>
          <pc:sldLayoutMkLst>
            <pc:docMk/>
            <pc:sldMasterMk cId="1321919033" sldId="2147483709"/>
            <pc:sldLayoutMk cId="2527937174" sldId="2147483774"/>
          </pc:sldLayoutMkLst>
          <pc:spChg chg="mod">
            <ac:chgData name="Abdi, Adnan" userId="503e002c-9b3b-4180-87fb-acabeb2b158a" providerId="ADAL" clId="{5C2CD6D4-C7A9-4CEF-AA9C-BC2977F70622}" dt="2024-02-20T12:53:00.084" v="18072" actId="947"/>
            <ac:spMkLst>
              <pc:docMk/>
              <pc:sldMasterMk cId="1321919033" sldId="2147483709"/>
              <pc:sldLayoutMk cId="2527937174" sldId="2147483774"/>
              <ac:spMk id="5" creationId="{00000000-0000-0000-0000-000000000000}"/>
            </ac:spMkLst>
          </pc:spChg>
          <pc:spChg chg="mod">
            <ac:chgData name="Abdi, Adnan" userId="503e002c-9b3b-4180-87fb-acabeb2b158a" providerId="ADAL" clId="{5C2CD6D4-C7A9-4CEF-AA9C-BC2977F70622}" dt="2024-02-20T12:53:00.087" v="18074" actId="947"/>
            <ac:spMkLst>
              <pc:docMk/>
              <pc:sldMasterMk cId="1321919033" sldId="2147483709"/>
              <pc:sldLayoutMk cId="2527937174" sldId="2147483774"/>
              <ac:spMk id="7" creationId="{00000000-0000-0000-0000-000000000000}"/>
            </ac:spMkLst>
          </pc:spChg>
          <pc:graphicFrameChg chg="mod">
            <ac:chgData name="Abdi, Adnan" userId="503e002c-9b3b-4180-87fb-acabeb2b158a" providerId="ADAL" clId="{5C2CD6D4-C7A9-4CEF-AA9C-BC2977F70622}" dt="2024-02-20T12:53:06.505" v="21034" actId="1076"/>
            <ac:graphicFrameMkLst>
              <pc:docMk/>
              <pc:sldMasterMk cId="1321919033" sldId="2147483709"/>
              <pc:sldLayoutMk cId="2527937174" sldId="2147483774"/>
              <ac:graphicFrameMk id="2" creationId="{00000000-0000-0000-0000-000000000000}"/>
            </ac:graphicFrameMkLst>
          </pc:graphicFrameChg>
        </pc:sldLayoutChg>
        <pc:sldLayoutChg chg="modSp mod">
          <pc:chgData name="Abdi, Adnan" userId="503e002c-9b3b-4180-87fb-acabeb2b158a" providerId="ADAL" clId="{5C2CD6D4-C7A9-4CEF-AA9C-BC2977F70622}" dt="2024-02-20T12:53:06.521" v="21035" actId="1076"/>
          <pc:sldLayoutMkLst>
            <pc:docMk/>
            <pc:sldMasterMk cId="1321919033" sldId="2147483709"/>
            <pc:sldLayoutMk cId="130226039" sldId="2147483775"/>
          </pc:sldLayoutMkLst>
          <pc:spChg chg="mod">
            <ac:chgData name="Abdi, Adnan" userId="503e002c-9b3b-4180-87fb-acabeb2b158a" providerId="ADAL" clId="{5C2CD6D4-C7A9-4CEF-AA9C-BC2977F70622}" dt="2024-02-20T12:53:00.101" v="18082" actId="947"/>
            <ac:spMkLst>
              <pc:docMk/>
              <pc:sldMasterMk cId="1321919033" sldId="2147483709"/>
              <pc:sldLayoutMk cId="130226039" sldId="2147483775"/>
              <ac:spMk id="10" creationId="{00000000-0000-0000-0000-000000000000}"/>
            </ac:spMkLst>
          </pc:spChg>
          <pc:spChg chg="mod">
            <ac:chgData name="Abdi, Adnan" userId="503e002c-9b3b-4180-87fb-acabeb2b158a" providerId="ADAL" clId="{5C2CD6D4-C7A9-4CEF-AA9C-BC2977F70622}" dt="2024-02-20T12:53:00.094" v="18076" actId="947"/>
            <ac:spMkLst>
              <pc:docMk/>
              <pc:sldMasterMk cId="1321919033" sldId="2147483709"/>
              <pc:sldLayoutMk cId="130226039" sldId="2147483775"/>
              <ac:spMk id="26" creationId="{00000000-0000-0000-0000-000000000000}"/>
            </ac:spMkLst>
          </pc:spChg>
          <pc:spChg chg="mod">
            <ac:chgData name="Abdi, Adnan" userId="503e002c-9b3b-4180-87fb-acabeb2b158a" providerId="ADAL" clId="{5C2CD6D4-C7A9-4CEF-AA9C-BC2977F70622}" dt="2024-02-20T12:53:00.099" v="18080" actId="947"/>
            <ac:spMkLst>
              <pc:docMk/>
              <pc:sldMasterMk cId="1321919033" sldId="2147483709"/>
              <pc:sldLayoutMk cId="130226039" sldId="2147483775"/>
              <ac:spMk id="28" creationId="{00000000-0000-0000-0000-000000000000}"/>
            </ac:spMkLst>
          </pc:spChg>
          <pc:spChg chg="mod">
            <ac:chgData name="Abdi, Adnan" userId="503e002c-9b3b-4180-87fb-acabeb2b158a" providerId="ADAL" clId="{5C2CD6D4-C7A9-4CEF-AA9C-BC2977F70622}" dt="2024-02-20T12:53:00.097" v="18078" actId="947"/>
            <ac:spMkLst>
              <pc:docMk/>
              <pc:sldMasterMk cId="1321919033" sldId="2147483709"/>
              <pc:sldLayoutMk cId="130226039" sldId="2147483775"/>
              <ac:spMk id="29" creationId="{00000000-0000-0000-0000-000000000000}"/>
            </ac:spMkLst>
          </pc:spChg>
          <pc:graphicFrameChg chg="mod">
            <ac:chgData name="Abdi, Adnan" userId="503e002c-9b3b-4180-87fb-acabeb2b158a" providerId="ADAL" clId="{5C2CD6D4-C7A9-4CEF-AA9C-BC2977F70622}" dt="2024-02-20T12:53:06.521" v="21035" actId="1076"/>
            <ac:graphicFrameMkLst>
              <pc:docMk/>
              <pc:sldMasterMk cId="1321919033" sldId="2147483709"/>
              <pc:sldLayoutMk cId="130226039" sldId="2147483775"/>
              <ac:graphicFrameMk id="2" creationId="{00000000-0000-0000-0000-000000000000}"/>
            </ac:graphicFrameMkLst>
          </pc:graphicFrameChg>
        </pc:sldLayoutChg>
        <pc:sldLayoutChg chg="modSp mod">
          <pc:chgData name="Abdi, Adnan" userId="503e002c-9b3b-4180-87fb-acabeb2b158a" providerId="ADAL" clId="{5C2CD6D4-C7A9-4CEF-AA9C-BC2977F70622}" dt="2024-02-20T12:53:06.521" v="21036" actId="1076"/>
          <pc:sldLayoutMkLst>
            <pc:docMk/>
            <pc:sldMasterMk cId="1321919033" sldId="2147483709"/>
            <pc:sldLayoutMk cId="3499607693" sldId="2147483776"/>
          </pc:sldLayoutMkLst>
          <pc:spChg chg="mod">
            <ac:chgData name="Abdi, Adnan" userId="503e002c-9b3b-4180-87fb-acabeb2b158a" providerId="ADAL" clId="{5C2CD6D4-C7A9-4CEF-AA9C-BC2977F70622}" dt="2024-02-20T12:53:00.110" v="18084" actId="947"/>
            <ac:spMkLst>
              <pc:docMk/>
              <pc:sldMasterMk cId="1321919033" sldId="2147483709"/>
              <pc:sldLayoutMk cId="3499607693" sldId="2147483776"/>
              <ac:spMk id="13" creationId="{00000000-0000-0000-0000-000000000000}"/>
            </ac:spMkLst>
          </pc:spChg>
          <pc:spChg chg="mod">
            <ac:chgData name="Abdi, Adnan" userId="503e002c-9b3b-4180-87fb-acabeb2b158a" providerId="ADAL" clId="{5C2CD6D4-C7A9-4CEF-AA9C-BC2977F70622}" dt="2024-02-20T12:53:00.112" v="18086" actId="947"/>
            <ac:spMkLst>
              <pc:docMk/>
              <pc:sldMasterMk cId="1321919033" sldId="2147483709"/>
              <pc:sldLayoutMk cId="3499607693" sldId="2147483776"/>
              <ac:spMk id="17" creationId="{00000000-0000-0000-0000-000000000000}"/>
            </ac:spMkLst>
          </pc:spChg>
          <pc:spChg chg="mod">
            <ac:chgData name="Abdi, Adnan" userId="503e002c-9b3b-4180-87fb-acabeb2b158a" providerId="ADAL" clId="{5C2CD6D4-C7A9-4CEF-AA9C-BC2977F70622}" dt="2024-02-20T12:53:00.119" v="18092" actId="947"/>
            <ac:spMkLst>
              <pc:docMk/>
              <pc:sldMasterMk cId="1321919033" sldId="2147483709"/>
              <pc:sldLayoutMk cId="3499607693" sldId="2147483776"/>
              <ac:spMk id="19" creationId="{00000000-0000-0000-0000-000000000000}"/>
            </ac:spMkLst>
          </pc:spChg>
          <pc:spChg chg="mod">
            <ac:chgData name="Abdi, Adnan" userId="503e002c-9b3b-4180-87fb-acabeb2b158a" providerId="ADAL" clId="{5C2CD6D4-C7A9-4CEF-AA9C-BC2977F70622}" dt="2024-02-20T12:53:00.115" v="18088" actId="947"/>
            <ac:spMkLst>
              <pc:docMk/>
              <pc:sldMasterMk cId="1321919033" sldId="2147483709"/>
              <pc:sldLayoutMk cId="3499607693" sldId="2147483776"/>
              <ac:spMk id="20" creationId="{00000000-0000-0000-0000-000000000000}"/>
            </ac:spMkLst>
          </pc:spChg>
          <pc:spChg chg="mod">
            <ac:chgData name="Abdi, Adnan" userId="503e002c-9b3b-4180-87fb-acabeb2b158a" providerId="ADAL" clId="{5C2CD6D4-C7A9-4CEF-AA9C-BC2977F70622}" dt="2024-02-20T12:53:00.117" v="18090" actId="947"/>
            <ac:spMkLst>
              <pc:docMk/>
              <pc:sldMasterMk cId="1321919033" sldId="2147483709"/>
              <pc:sldLayoutMk cId="3499607693" sldId="2147483776"/>
              <ac:spMk id="24" creationId="{00000000-0000-0000-0000-000000000000}"/>
            </ac:spMkLst>
          </pc:spChg>
          <pc:graphicFrameChg chg="mod">
            <ac:chgData name="Abdi, Adnan" userId="503e002c-9b3b-4180-87fb-acabeb2b158a" providerId="ADAL" clId="{5C2CD6D4-C7A9-4CEF-AA9C-BC2977F70622}" dt="2024-02-20T12:53:06.521" v="21036" actId="1076"/>
            <ac:graphicFrameMkLst>
              <pc:docMk/>
              <pc:sldMasterMk cId="1321919033" sldId="2147483709"/>
              <pc:sldLayoutMk cId="3499607693" sldId="2147483776"/>
              <ac:graphicFrameMk id="2" creationId="{00000000-0000-0000-0000-000000000000}"/>
            </ac:graphicFrameMkLst>
          </pc:graphicFrameChg>
        </pc:sldLayoutChg>
      </pc:sldMasterChg>
    </pc:docChg>
  </pc:docChgLst>
  <pc:docChgLst>
    <pc:chgData name="Mikkilä Joonas" userId="1119a1b6-95cc-4af4-888e-65a51a84f68e" providerId="ADAL" clId="{8540EED3-210C-4E92-9567-DD0EADFC4B06}"/>
    <pc:docChg chg="undo redo custSel modSld sldOrd">
      <pc:chgData name="Mikkilä Joonas" userId="1119a1b6-95cc-4af4-888e-65a51a84f68e" providerId="ADAL" clId="{8540EED3-210C-4E92-9567-DD0EADFC4B06}" dt="2024-04-09T08:51:25.529" v="204" actId="1076"/>
      <pc:docMkLst>
        <pc:docMk/>
      </pc:docMkLst>
      <pc:sldChg chg="modSp mod">
        <pc:chgData name="Mikkilä Joonas" userId="1119a1b6-95cc-4af4-888e-65a51a84f68e" providerId="ADAL" clId="{8540EED3-210C-4E92-9567-DD0EADFC4B06}" dt="2024-04-09T08:43:35.633" v="175" actId="20577"/>
        <pc:sldMkLst>
          <pc:docMk/>
          <pc:sldMk cId="4108071521" sldId="257"/>
        </pc:sldMkLst>
        <pc:spChg chg="mod">
          <ac:chgData name="Mikkilä Joonas" userId="1119a1b6-95cc-4af4-888e-65a51a84f68e" providerId="ADAL" clId="{8540EED3-210C-4E92-9567-DD0EADFC4B06}" dt="2024-04-09T08:43:35.633" v="175" actId="20577"/>
          <ac:spMkLst>
            <pc:docMk/>
            <pc:sldMk cId="4108071521" sldId="257"/>
            <ac:spMk id="140" creationId="{02D04E89-9FDF-E71F-D696-61112336DD3E}"/>
          </ac:spMkLst>
        </pc:spChg>
      </pc:sldChg>
      <pc:sldChg chg="modSp mod">
        <pc:chgData name="Mikkilä Joonas" userId="1119a1b6-95cc-4af4-888e-65a51a84f68e" providerId="ADAL" clId="{8540EED3-210C-4E92-9567-DD0EADFC4B06}" dt="2024-04-09T08:35:55.653" v="58" actId="20577"/>
        <pc:sldMkLst>
          <pc:docMk/>
          <pc:sldMk cId="1205465817" sldId="2147483545"/>
        </pc:sldMkLst>
        <pc:spChg chg="mod">
          <ac:chgData name="Mikkilä Joonas" userId="1119a1b6-95cc-4af4-888e-65a51a84f68e" providerId="ADAL" clId="{8540EED3-210C-4E92-9567-DD0EADFC4B06}" dt="2024-04-09T08:35:16.237" v="52" actId="20577"/>
          <ac:spMkLst>
            <pc:docMk/>
            <pc:sldMk cId="1205465817" sldId="2147483545"/>
            <ac:spMk id="18" creationId="{BEED88C6-BEF2-D5F4-446F-21BB4D2DB470}"/>
          </ac:spMkLst>
        </pc:spChg>
        <pc:spChg chg="mod">
          <ac:chgData name="Mikkilä Joonas" userId="1119a1b6-95cc-4af4-888e-65a51a84f68e" providerId="ADAL" clId="{8540EED3-210C-4E92-9567-DD0EADFC4B06}" dt="2024-04-09T08:35:55.653" v="58" actId="20577"/>
          <ac:spMkLst>
            <pc:docMk/>
            <pc:sldMk cId="1205465817" sldId="2147483545"/>
            <ac:spMk id="23" creationId="{5FA3478B-EE12-E61F-6829-0E31EFDFFA61}"/>
          </ac:spMkLst>
        </pc:spChg>
      </pc:sldChg>
      <pc:sldChg chg="modSp mod">
        <pc:chgData name="Mikkilä Joonas" userId="1119a1b6-95cc-4af4-888e-65a51a84f68e" providerId="ADAL" clId="{8540EED3-210C-4E92-9567-DD0EADFC4B06}" dt="2024-04-09T08:45:22.168" v="203" actId="798"/>
        <pc:sldMkLst>
          <pc:docMk/>
          <pc:sldMk cId="3721981857" sldId="2147483546"/>
        </pc:sldMkLst>
        <pc:graphicFrameChg chg="mod modGraphic">
          <ac:chgData name="Mikkilä Joonas" userId="1119a1b6-95cc-4af4-888e-65a51a84f68e" providerId="ADAL" clId="{8540EED3-210C-4E92-9567-DD0EADFC4B06}" dt="2024-04-09T08:45:22.168" v="203" actId="798"/>
          <ac:graphicFrameMkLst>
            <pc:docMk/>
            <pc:sldMk cId="3721981857" sldId="2147483546"/>
            <ac:graphicFrameMk id="9" creationId="{ABC06D4E-302D-E39D-61E0-3DDC1AD7B6C6}"/>
          </ac:graphicFrameMkLst>
        </pc:graphicFrameChg>
      </pc:sldChg>
      <pc:sldChg chg="modSp mod">
        <pc:chgData name="Mikkilä Joonas" userId="1119a1b6-95cc-4af4-888e-65a51a84f68e" providerId="ADAL" clId="{8540EED3-210C-4E92-9567-DD0EADFC4B06}" dt="2024-04-09T07:51:52.412" v="38" actId="20577"/>
        <pc:sldMkLst>
          <pc:docMk/>
          <pc:sldMk cId="3011676800" sldId="2147483554"/>
        </pc:sldMkLst>
        <pc:spChg chg="mod">
          <ac:chgData name="Mikkilä Joonas" userId="1119a1b6-95cc-4af4-888e-65a51a84f68e" providerId="ADAL" clId="{8540EED3-210C-4E92-9567-DD0EADFC4B06}" dt="2024-04-09T07:51:52.412" v="38" actId="20577"/>
          <ac:spMkLst>
            <pc:docMk/>
            <pc:sldMk cId="3011676800" sldId="2147483554"/>
            <ac:spMk id="69" creationId="{4F381E4F-7301-B758-7BF4-B5D98F4B1B9B}"/>
          </ac:spMkLst>
        </pc:spChg>
      </pc:sldChg>
      <pc:sldChg chg="modSp mod">
        <pc:chgData name="Mikkilä Joonas" userId="1119a1b6-95cc-4af4-888e-65a51a84f68e" providerId="ADAL" clId="{8540EED3-210C-4E92-9567-DD0EADFC4B06}" dt="2024-04-09T07:56:52.563" v="46" actId="20577"/>
        <pc:sldMkLst>
          <pc:docMk/>
          <pc:sldMk cId="1343589809" sldId="2147483559"/>
        </pc:sldMkLst>
        <pc:spChg chg="mod">
          <ac:chgData name="Mikkilä Joonas" userId="1119a1b6-95cc-4af4-888e-65a51a84f68e" providerId="ADAL" clId="{8540EED3-210C-4E92-9567-DD0EADFC4B06}" dt="2024-04-09T07:56:52.563" v="46" actId="20577"/>
          <ac:spMkLst>
            <pc:docMk/>
            <pc:sldMk cId="1343589809" sldId="2147483559"/>
            <ac:spMk id="5" creationId="{5F43F86A-EE19-5783-47DD-51DBCADCF320}"/>
          </ac:spMkLst>
        </pc:spChg>
      </pc:sldChg>
      <pc:sldChg chg="modSp mod">
        <pc:chgData name="Mikkilä Joonas" userId="1119a1b6-95cc-4af4-888e-65a51a84f68e" providerId="ADAL" clId="{8540EED3-210C-4E92-9567-DD0EADFC4B06}" dt="2024-04-09T07:41:24.706" v="11" actId="20577"/>
        <pc:sldMkLst>
          <pc:docMk/>
          <pc:sldMk cId="1586721897" sldId="2147483587"/>
        </pc:sldMkLst>
        <pc:spChg chg="mod">
          <ac:chgData name="Mikkilä Joonas" userId="1119a1b6-95cc-4af4-888e-65a51a84f68e" providerId="ADAL" clId="{8540EED3-210C-4E92-9567-DD0EADFC4B06}" dt="2024-04-09T07:41:24.706" v="11" actId="20577"/>
          <ac:spMkLst>
            <pc:docMk/>
            <pc:sldMk cId="1586721897" sldId="2147483587"/>
            <ac:spMk id="11" creationId="{745E615C-2ACE-07D9-CED4-CCDC72792CAF}"/>
          </ac:spMkLst>
        </pc:spChg>
        <pc:spChg chg="mod">
          <ac:chgData name="Mikkilä Joonas" userId="1119a1b6-95cc-4af4-888e-65a51a84f68e" providerId="ADAL" clId="{8540EED3-210C-4E92-9567-DD0EADFC4B06}" dt="2024-04-09T07:41:00.933" v="2" actId="20577"/>
          <ac:spMkLst>
            <pc:docMk/>
            <pc:sldMk cId="1586721897" sldId="2147483587"/>
            <ac:spMk id="20" creationId="{1319F30A-B07B-0540-07CE-D4DC01D20CD6}"/>
          </ac:spMkLst>
        </pc:spChg>
      </pc:sldChg>
      <pc:sldChg chg="modSp mod">
        <pc:chgData name="Mikkilä Joonas" userId="1119a1b6-95cc-4af4-888e-65a51a84f68e" providerId="ADAL" clId="{8540EED3-210C-4E92-9567-DD0EADFC4B06}" dt="2024-04-09T07:50:00.804" v="31" actId="20577"/>
        <pc:sldMkLst>
          <pc:docMk/>
          <pc:sldMk cId="2775471582" sldId="2147483603"/>
        </pc:sldMkLst>
        <pc:spChg chg="mod">
          <ac:chgData name="Mikkilä Joonas" userId="1119a1b6-95cc-4af4-888e-65a51a84f68e" providerId="ADAL" clId="{8540EED3-210C-4E92-9567-DD0EADFC4B06}" dt="2024-04-09T07:50:00.804" v="31" actId="20577"/>
          <ac:spMkLst>
            <pc:docMk/>
            <pc:sldMk cId="2775471582" sldId="2147483603"/>
            <ac:spMk id="18" creationId="{B3029324-9053-82B6-D2CE-C6100EEFDDBB}"/>
          </ac:spMkLst>
        </pc:spChg>
        <pc:spChg chg="mod">
          <ac:chgData name="Mikkilä Joonas" userId="1119a1b6-95cc-4af4-888e-65a51a84f68e" providerId="ADAL" clId="{8540EED3-210C-4E92-9567-DD0EADFC4B06}" dt="2024-04-09T07:49:26.074" v="30" actId="20577"/>
          <ac:spMkLst>
            <pc:docMk/>
            <pc:sldMk cId="2775471582" sldId="2147483603"/>
            <ac:spMk id="22" creationId="{8FDF5BBF-1E98-2952-42F2-CC3A457D8267}"/>
          </ac:spMkLst>
        </pc:spChg>
      </pc:sldChg>
      <pc:sldChg chg="modSp mod">
        <pc:chgData name="Mikkilä Joonas" userId="1119a1b6-95cc-4af4-888e-65a51a84f68e" providerId="ADAL" clId="{8540EED3-210C-4E92-9567-DD0EADFC4B06}" dt="2024-04-09T08:40:46.444" v="143" actId="20577"/>
        <pc:sldMkLst>
          <pc:docMk/>
          <pc:sldMk cId="2564153488" sldId="2147483607"/>
        </pc:sldMkLst>
        <pc:spChg chg="mod">
          <ac:chgData name="Mikkilä Joonas" userId="1119a1b6-95cc-4af4-888e-65a51a84f68e" providerId="ADAL" clId="{8540EED3-210C-4E92-9567-DD0EADFC4B06}" dt="2024-04-09T08:40:30.933" v="142" actId="20577"/>
          <ac:spMkLst>
            <pc:docMk/>
            <pc:sldMk cId="2564153488" sldId="2147483607"/>
            <ac:spMk id="85" creationId="{B346302F-9CB2-95EB-39B9-29DCFA8AB954}"/>
          </ac:spMkLst>
        </pc:spChg>
        <pc:spChg chg="mod">
          <ac:chgData name="Mikkilä Joonas" userId="1119a1b6-95cc-4af4-888e-65a51a84f68e" providerId="ADAL" clId="{8540EED3-210C-4E92-9567-DD0EADFC4B06}" dt="2024-04-09T08:40:46.444" v="143" actId="20577"/>
          <ac:spMkLst>
            <pc:docMk/>
            <pc:sldMk cId="2564153488" sldId="2147483607"/>
            <ac:spMk id="112" creationId="{4445CFC4-7A3A-77CD-55B9-50106524C321}"/>
          </ac:spMkLst>
        </pc:spChg>
        <pc:spChg chg="mod">
          <ac:chgData name="Mikkilä Joonas" userId="1119a1b6-95cc-4af4-888e-65a51a84f68e" providerId="ADAL" clId="{8540EED3-210C-4E92-9567-DD0EADFC4B06}" dt="2024-04-09T08:38:04.061" v="82" actId="20577"/>
          <ac:spMkLst>
            <pc:docMk/>
            <pc:sldMk cId="2564153488" sldId="2147483607"/>
            <ac:spMk id="129" creationId="{64FB43A5-0B00-C925-639F-2ED12D753BD0}"/>
          </ac:spMkLst>
        </pc:spChg>
      </pc:sldChg>
      <pc:sldChg chg="modSp mod">
        <pc:chgData name="Mikkilä Joonas" userId="1119a1b6-95cc-4af4-888e-65a51a84f68e" providerId="ADAL" clId="{8540EED3-210C-4E92-9567-DD0EADFC4B06}" dt="2024-04-09T08:37:09.646" v="59" actId="20577"/>
        <pc:sldMkLst>
          <pc:docMk/>
          <pc:sldMk cId="4205166027" sldId="2147483616"/>
        </pc:sldMkLst>
        <pc:spChg chg="mod">
          <ac:chgData name="Mikkilä Joonas" userId="1119a1b6-95cc-4af4-888e-65a51a84f68e" providerId="ADAL" clId="{8540EED3-210C-4E92-9567-DD0EADFC4B06}" dt="2024-04-09T08:37:09.646" v="59" actId="20577"/>
          <ac:spMkLst>
            <pc:docMk/>
            <pc:sldMk cId="4205166027" sldId="2147483616"/>
            <ac:spMk id="49" creationId="{DC3A8934-BC51-C1BD-9E37-3C01E30634A5}"/>
          </ac:spMkLst>
        </pc:spChg>
      </pc:sldChg>
      <pc:sldChg chg="modSp mod ord">
        <pc:chgData name="Mikkilä Joonas" userId="1119a1b6-95cc-4af4-888e-65a51a84f68e" providerId="ADAL" clId="{8540EED3-210C-4E92-9567-DD0EADFC4B06}" dt="2024-04-09T08:51:25.529" v="204" actId="1076"/>
        <pc:sldMkLst>
          <pc:docMk/>
          <pc:sldMk cId="384802099" sldId="2147483625"/>
        </pc:sldMkLst>
        <pc:spChg chg="mod">
          <ac:chgData name="Mikkilä Joonas" userId="1119a1b6-95cc-4af4-888e-65a51a84f68e" providerId="ADAL" clId="{8540EED3-210C-4E92-9567-DD0EADFC4B06}" dt="2024-04-09T07:44:27.995" v="12" actId="20577"/>
          <ac:spMkLst>
            <pc:docMk/>
            <pc:sldMk cId="384802099" sldId="2147483625"/>
            <ac:spMk id="46" creationId="{F6929839-E402-1BDE-6E21-C7DBFB0E4B4C}"/>
          </ac:spMkLst>
        </pc:spChg>
        <pc:spChg chg="mod">
          <ac:chgData name="Mikkilä Joonas" userId="1119a1b6-95cc-4af4-888e-65a51a84f68e" providerId="ADAL" clId="{8540EED3-210C-4E92-9567-DD0EADFC4B06}" dt="2024-04-09T08:51:25.529" v="204" actId="1076"/>
          <ac:spMkLst>
            <pc:docMk/>
            <pc:sldMk cId="384802099" sldId="2147483625"/>
            <ac:spMk id="126" creationId="{98C04FE3-BC79-DEC5-EC10-E1013BAEE48E}"/>
          </ac:spMkLst>
        </pc:spChg>
      </pc:sldChg>
    </pc:docChg>
  </pc:docChgLst>
  <pc:docChgLst>
    <pc:chgData name="Nisen, Henrik (BCG Platinion)" userId="23462ed3-8a28-48c0-b94c-224b90eb8d0a" providerId="ADAL" clId="{85BF7E29-B863-8743-821C-9B528FF1FFE4}"/>
    <pc:docChg chg="undo custSel addSld delSld modSld sldOrd replTag">
      <pc:chgData name="Nisen, Henrik (BCG Platinion)" userId="23462ed3-8a28-48c0-b94c-224b90eb8d0a" providerId="ADAL" clId="{85BF7E29-B863-8743-821C-9B528FF1FFE4}" dt="2024-04-05T12:27:16.427" v="8735" actId="1036"/>
      <pc:docMkLst>
        <pc:docMk/>
      </pc:docMkLst>
      <pc:sldChg chg="add del">
        <pc:chgData name="Nisen, Henrik (BCG Platinion)" userId="23462ed3-8a28-48c0-b94c-224b90eb8d0a" providerId="ADAL" clId="{85BF7E29-B863-8743-821C-9B528FF1FFE4}" dt="2024-04-05T07:16:23.007" v="5324" actId="2696"/>
        <pc:sldMkLst>
          <pc:docMk/>
          <pc:sldMk cId="3756785466" sldId="256"/>
        </pc:sldMkLst>
      </pc:sldChg>
      <pc:sldChg chg="addSp delSp modSp add mod modTransition">
        <pc:chgData name="Nisen, Henrik (BCG Platinion)" userId="23462ed3-8a28-48c0-b94c-224b90eb8d0a" providerId="ADAL" clId="{85BF7E29-B863-8743-821C-9B528FF1FFE4}" dt="2024-04-05T08:34:44.540" v="8623"/>
        <pc:sldMkLst>
          <pc:docMk/>
          <pc:sldMk cId="4108071521" sldId="257"/>
        </pc:sldMkLst>
        <pc:spChg chg="add mod">
          <ac:chgData name="Nisen, Henrik (BCG Platinion)" userId="23462ed3-8a28-48c0-b94c-224b90eb8d0a" providerId="ADAL" clId="{85BF7E29-B863-8743-821C-9B528FF1FFE4}" dt="2024-04-05T07:56:25.836" v="8151" actId="20577"/>
          <ac:spMkLst>
            <pc:docMk/>
            <pc:sldMk cId="4108071521" sldId="257"/>
            <ac:spMk id="2" creationId="{06D2E5C0-0503-9C45-AA23-9967E7696E81}"/>
          </ac:spMkLst>
        </pc:spChg>
        <pc:spChg chg="mod">
          <ac:chgData name="Nisen, Henrik (BCG Platinion)" userId="23462ed3-8a28-48c0-b94c-224b90eb8d0a" providerId="ADAL" clId="{85BF7E29-B863-8743-821C-9B528FF1FFE4}" dt="2024-04-05T07:44:52.217" v="7397" actId="404"/>
          <ac:spMkLst>
            <pc:docMk/>
            <pc:sldMk cId="4108071521" sldId="257"/>
            <ac:spMk id="11" creationId="{742847F0-0CF5-02D2-2B7D-77B91DBF31DC}"/>
          </ac:spMkLst>
        </pc:spChg>
        <pc:spChg chg="del">
          <ac:chgData name="Nisen, Henrik (BCG Platinion)" userId="23462ed3-8a28-48c0-b94c-224b90eb8d0a" providerId="ADAL" clId="{85BF7E29-B863-8743-821C-9B528FF1FFE4}" dt="2024-04-05T07:15:27.181" v="5318" actId="478"/>
          <ac:spMkLst>
            <pc:docMk/>
            <pc:sldMk cId="4108071521" sldId="257"/>
            <ac:spMk id="12" creationId="{4F6F5A5A-52A0-F3F1-2431-A86D71CCC36C}"/>
          </ac:spMkLst>
        </pc:spChg>
        <pc:spChg chg="mod">
          <ac:chgData name="Nisen, Henrik (BCG Platinion)" userId="23462ed3-8a28-48c0-b94c-224b90eb8d0a" providerId="ADAL" clId="{85BF7E29-B863-8743-821C-9B528FF1FFE4}" dt="2024-04-05T07:44:52.217" v="7397" actId="404"/>
          <ac:spMkLst>
            <pc:docMk/>
            <pc:sldMk cId="4108071521" sldId="257"/>
            <ac:spMk id="44" creationId="{7CB5CE6B-7EA0-8964-75FD-C4AD6C94FA1A}"/>
          </ac:spMkLst>
        </pc:spChg>
        <pc:spChg chg="mod">
          <ac:chgData name="Nisen, Henrik (BCG Platinion)" userId="23462ed3-8a28-48c0-b94c-224b90eb8d0a" providerId="ADAL" clId="{85BF7E29-B863-8743-821C-9B528FF1FFE4}" dt="2024-04-05T07:44:52.217" v="7397" actId="404"/>
          <ac:spMkLst>
            <pc:docMk/>
            <pc:sldMk cId="4108071521" sldId="257"/>
            <ac:spMk id="52" creationId="{190BA04C-2738-9220-ECB3-3AF0777FA625}"/>
          </ac:spMkLst>
        </pc:spChg>
        <pc:spChg chg="mod">
          <ac:chgData name="Nisen, Henrik (BCG Platinion)" userId="23462ed3-8a28-48c0-b94c-224b90eb8d0a" providerId="ADAL" clId="{85BF7E29-B863-8743-821C-9B528FF1FFE4}" dt="2024-04-05T07:44:52.217" v="7397" actId="404"/>
          <ac:spMkLst>
            <pc:docMk/>
            <pc:sldMk cId="4108071521" sldId="257"/>
            <ac:spMk id="53" creationId="{8881D24F-CCB1-7F85-12BA-3293E4006521}"/>
          </ac:spMkLst>
        </pc:spChg>
        <pc:spChg chg="mod">
          <ac:chgData name="Nisen, Henrik (BCG Platinion)" userId="23462ed3-8a28-48c0-b94c-224b90eb8d0a" providerId="ADAL" clId="{85BF7E29-B863-8743-821C-9B528FF1FFE4}" dt="2024-04-05T07:44:52.217" v="7397" actId="404"/>
          <ac:spMkLst>
            <pc:docMk/>
            <pc:sldMk cId="4108071521" sldId="257"/>
            <ac:spMk id="60" creationId="{A0CA23D4-6C69-90C0-D254-D3C30B136BE1}"/>
          </ac:spMkLst>
        </pc:spChg>
        <pc:spChg chg="mod">
          <ac:chgData name="Nisen, Henrik (BCG Platinion)" userId="23462ed3-8a28-48c0-b94c-224b90eb8d0a" providerId="ADAL" clId="{85BF7E29-B863-8743-821C-9B528FF1FFE4}" dt="2024-04-05T07:44:52.217" v="7397" actId="404"/>
          <ac:spMkLst>
            <pc:docMk/>
            <pc:sldMk cId="4108071521" sldId="257"/>
            <ac:spMk id="61" creationId="{8AB02B59-CFBE-FD37-C07F-D35F51518DFB}"/>
          </ac:spMkLst>
        </pc:spChg>
        <pc:spChg chg="mod">
          <ac:chgData name="Nisen, Henrik (BCG Platinion)" userId="23462ed3-8a28-48c0-b94c-224b90eb8d0a" providerId="ADAL" clId="{85BF7E29-B863-8743-821C-9B528FF1FFE4}" dt="2024-04-05T07:44:52.217" v="7397" actId="404"/>
          <ac:spMkLst>
            <pc:docMk/>
            <pc:sldMk cId="4108071521" sldId="257"/>
            <ac:spMk id="93" creationId="{0F553B37-850B-8CB5-1935-606100B86476}"/>
          </ac:spMkLst>
        </pc:spChg>
        <pc:spChg chg="mod">
          <ac:chgData name="Nisen, Henrik (BCG Platinion)" userId="23462ed3-8a28-48c0-b94c-224b90eb8d0a" providerId="ADAL" clId="{85BF7E29-B863-8743-821C-9B528FF1FFE4}" dt="2024-04-05T07:44:52.217" v="7397" actId="404"/>
          <ac:spMkLst>
            <pc:docMk/>
            <pc:sldMk cId="4108071521" sldId="257"/>
            <ac:spMk id="100" creationId="{9200D230-9AE7-3B25-F673-018529DED1C3}"/>
          </ac:spMkLst>
        </pc:spChg>
        <pc:spChg chg="mod">
          <ac:chgData name="Nisen, Henrik (BCG Platinion)" userId="23462ed3-8a28-48c0-b94c-224b90eb8d0a" providerId="ADAL" clId="{85BF7E29-B863-8743-821C-9B528FF1FFE4}" dt="2024-04-05T07:44:52.217" v="7397" actId="404"/>
          <ac:spMkLst>
            <pc:docMk/>
            <pc:sldMk cId="4108071521" sldId="257"/>
            <ac:spMk id="110" creationId="{2BD73EDB-B453-03E0-D43A-81CBD5A900B8}"/>
          </ac:spMkLst>
        </pc:spChg>
        <pc:spChg chg="mod">
          <ac:chgData name="Nisen, Henrik (BCG Platinion)" userId="23462ed3-8a28-48c0-b94c-224b90eb8d0a" providerId="ADAL" clId="{85BF7E29-B863-8743-821C-9B528FF1FFE4}" dt="2024-04-05T07:44:52.217" v="7397" actId="404"/>
          <ac:spMkLst>
            <pc:docMk/>
            <pc:sldMk cId="4108071521" sldId="257"/>
            <ac:spMk id="111" creationId="{20701FEE-6451-D713-061D-DDF6472A0D87}"/>
          </ac:spMkLst>
        </pc:spChg>
        <pc:spChg chg="mod">
          <ac:chgData name="Nisen, Henrik (BCG Platinion)" userId="23462ed3-8a28-48c0-b94c-224b90eb8d0a" providerId="ADAL" clId="{85BF7E29-B863-8743-821C-9B528FF1FFE4}" dt="2024-04-05T07:44:52.217" v="7397" actId="404"/>
          <ac:spMkLst>
            <pc:docMk/>
            <pc:sldMk cId="4108071521" sldId="257"/>
            <ac:spMk id="112" creationId="{417E6CB9-79DB-F5DB-6EF7-C53256670320}"/>
          </ac:spMkLst>
        </pc:spChg>
        <pc:spChg chg="mod">
          <ac:chgData name="Nisen, Henrik (BCG Platinion)" userId="23462ed3-8a28-48c0-b94c-224b90eb8d0a" providerId="ADAL" clId="{85BF7E29-B863-8743-821C-9B528FF1FFE4}" dt="2024-04-05T07:44:52.217" v="7397" actId="404"/>
          <ac:spMkLst>
            <pc:docMk/>
            <pc:sldMk cId="4108071521" sldId="257"/>
            <ac:spMk id="113" creationId="{57F38203-948F-6447-0AF0-2E33630B049A}"/>
          </ac:spMkLst>
        </pc:spChg>
        <pc:spChg chg="mod">
          <ac:chgData name="Nisen, Henrik (BCG Platinion)" userId="23462ed3-8a28-48c0-b94c-224b90eb8d0a" providerId="ADAL" clId="{85BF7E29-B863-8743-821C-9B528FF1FFE4}" dt="2024-04-05T07:44:52.217" v="7397" actId="404"/>
          <ac:spMkLst>
            <pc:docMk/>
            <pc:sldMk cId="4108071521" sldId="257"/>
            <ac:spMk id="119" creationId="{C5F56155-12FC-0238-8835-307532CC6AF2}"/>
          </ac:spMkLst>
        </pc:spChg>
        <pc:spChg chg="mod">
          <ac:chgData name="Nisen, Henrik (BCG Platinion)" userId="23462ed3-8a28-48c0-b94c-224b90eb8d0a" providerId="ADAL" clId="{85BF7E29-B863-8743-821C-9B528FF1FFE4}" dt="2024-04-05T07:44:52.217" v="7397" actId="404"/>
          <ac:spMkLst>
            <pc:docMk/>
            <pc:sldMk cId="4108071521" sldId="257"/>
            <ac:spMk id="120" creationId="{E90F1CDA-D0E0-EF23-1CEC-2F65BE4759E2}"/>
          </ac:spMkLst>
        </pc:spChg>
        <pc:spChg chg="mod">
          <ac:chgData name="Nisen, Henrik (BCG Platinion)" userId="23462ed3-8a28-48c0-b94c-224b90eb8d0a" providerId="ADAL" clId="{85BF7E29-B863-8743-821C-9B528FF1FFE4}" dt="2024-04-05T07:44:52.217" v="7397" actId="404"/>
          <ac:spMkLst>
            <pc:docMk/>
            <pc:sldMk cId="4108071521" sldId="257"/>
            <ac:spMk id="121" creationId="{8E269002-475D-7C8B-5C32-C7D495A1C67B}"/>
          </ac:spMkLst>
        </pc:spChg>
        <pc:spChg chg="mod">
          <ac:chgData name="Nisen, Henrik (BCG Platinion)" userId="23462ed3-8a28-48c0-b94c-224b90eb8d0a" providerId="ADAL" clId="{85BF7E29-B863-8743-821C-9B528FF1FFE4}" dt="2024-04-05T07:44:52.217" v="7397" actId="404"/>
          <ac:spMkLst>
            <pc:docMk/>
            <pc:sldMk cId="4108071521" sldId="257"/>
            <ac:spMk id="122" creationId="{A1B9F99F-397A-0A87-DC8E-C35A7294DD22}"/>
          </ac:spMkLst>
        </pc:spChg>
        <pc:spChg chg="mod">
          <ac:chgData name="Nisen, Henrik (BCG Platinion)" userId="23462ed3-8a28-48c0-b94c-224b90eb8d0a" providerId="ADAL" clId="{85BF7E29-B863-8743-821C-9B528FF1FFE4}" dt="2024-04-05T07:44:52.217" v="7397" actId="404"/>
          <ac:spMkLst>
            <pc:docMk/>
            <pc:sldMk cId="4108071521" sldId="257"/>
            <ac:spMk id="123" creationId="{64CEE406-A2C4-DADC-25B6-A90A1CBD6889}"/>
          </ac:spMkLst>
        </pc:spChg>
        <pc:spChg chg="mod">
          <ac:chgData name="Nisen, Henrik (BCG Platinion)" userId="23462ed3-8a28-48c0-b94c-224b90eb8d0a" providerId="ADAL" clId="{85BF7E29-B863-8743-821C-9B528FF1FFE4}" dt="2024-04-05T07:44:52.217" v="7397" actId="404"/>
          <ac:spMkLst>
            <pc:docMk/>
            <pc:sldMk cId="4108071521" sldId="257"/>
            <ac:spMk id="124" creationId="{3999A56E-E4CF-70C1-11D9-CB0B5CC12FA1}"/>
          </ac:spMkLst>
        </pc:spChg>
        <pc:spChg chg="mod">
          <ac:chgData name="Nisen, Henrik (BCG Platinion)" userId="23462ed3-8a28-48c0-b94c-224b90eb8d0a" providerId="ADAL" clId="{85BF7E29-B863-8743-821C-9B528FF1FFE4}" dt="2024-04-05T07:44:52.217" v="7397" actId="404"/>
          <ac:spMkLst>
            <pc:docMk/>
            <pc:sldMk cId="4108071521" sldId="257"/>
            <ac:spMk id="125" creationId="{FE328ACB-E82E-2430-892F-CE2F83A2BE59}"/>
          </ac:spMkLst>
        </pc:spChg>
        <pc:spChg chg="del">
          <ac:chgData name="Nisen, Henrik (BCG Platinion)" userId="23462ed3-8a28-48c0-b94c-224b90eb8d0a" providerId="ADAL" clId="{85BF7E29-B863-8743-821C-9B528FF1FFE4}" dt="2024-04-05T07:15:08.347" v="5314" actId="478"/>
          <ac:spMkLst>
            <pc:docMk/>
            <pc:sldMk cId="4108071521" sldId="257"/>
            <ac:spMk id="126" creationId="{98C04FE3-BC79-DEC5-EC10-E1013BAEE48E}"/>
          </ac:spMkLst>
        </pc:spChg>
        <pc:spChg chg="mod">
          <ac:chgData name="Nisen, Henrik (BCG Platinion)" userId="23462ed3-8a28-48c0-b94c-224b90eb8d0a" providerId="ADAL" clId="{85BF7E29-B863-8743-821C-9B528FF1FFE4}" dt="2024-04-05T07:44:52.217" v="7397" actId="404"/>
          <ac:spMkLst>
            <pc:docMk/>
            <pc:sldMk cId="4108071521" sldId="257"/>
            <ac:spMk id="127" creationId="{63B436AC-567D-440E-892C-AE3E224D88D0}"/>
          </ac:spMkLst>
        </pc:spChg>
        <pc:spChg chg="mod">
          <ac:chgData name="Nisen, Henrik (BCG Platinion)" userId="23462ed3-8a28-48c0-b94c-224b90eb8d0a" providerId="ADAL" clId="{85BF7E29-B863-8743-821C-9B528FF1FFE4}" dt="2024-04-05T07:44:52.217" v="7397" actId="404"/>
          <ac:spMkLst>
            <pc:docMk/>
            <pc:sldMk cId="4108071521" sldId="257"/>
            <ac:spMk id="128" creationId="{80BF7EDF-13C2-0D71-D141-E9C81F3347DB}"/>
          </ac:spMkLst>
        </pc:spChg>
        <pc:spChg chg="mod">
          <ac:chgData name="Nisen, Henrik (BCG Platinion)" userId="23462ed3-8a28-48c0-b94c-224b90eb8d0a" providerId="ADAL" clId="{85BF7E29-B863-8743-821C-9B528FF1FFE4}" dt="2024-04-05T07:56:32.396" v="8152" actId="14100"/>
          <ac:spMkLst>
            <pc:docMk/>
            <pc:sldMk cId="4108071521" sldId="257"/>
            <ac:spMk id="129" creationId="{DDD4A595-2F2D-756B-2951-BF99D7D46B70}"/>
          </ac:spMkLst>
        </pc:spChg>
        <pc:spChg chg="mod">
          <ac:chgData name="Nisen, Henrik (BCG Platinion)" userId="23462ed3-8a28-48c0-b94c-224b90eb8d0a" providerId="ADAL" clId="{85BF7E29-B863-8743-821C-9B528FF1FFE4}" dt="2024-04-05T07:44:52.217" v="7397" actId="404"/>
          <ac:spMkLst>
            <pc:docMk/>
            <pc:sldMk cId="4108071521" sldId="257"/>
            <ac:spMk id="130" creationId="{3E4D0C4E-864C-2326-9F1A-509C6F39C156}"/>
          </ac:spMkLst>
        </pc:spChg>
        <pc:spChg chg="mod">
          <ac:chgData name="Nisen, Henrik (BCG Platinion)" userId="23462ed3-8a28-48c0-b94c-224b90eb8d0a" providerId="ADAL" clId="{85BF7E29-B863-8743-821C-9B528FF1FFE4}" dt="2024-04-05T07:44:52.217" v="7397" actId="404"/>
          <ac:spMkLst>
            <pc:docMk/>
            <pc:sldMk cId="4108071521" sldId="257"/>
            <ac:spMk id="133" creationId="{D8272000-1693-D496-3B77-57E751FA357A}"/>
          </ac:spMkLst>
        </pc:spChg>
        <pc:spChg chg="mod">
          <ac:chgData name="Nisen, Henrik (BCG Platinion)" userId="23462ed3-8a28-48c0-b94c-224b90eb8d0a" providerId="ADAL" clId="{85BF7E29-B863-8743-821C-9B528FF1FFE4}" dt="2024-04-05T07:44:52.217" v="7397" actId="404"/>
          <ac:spMkLst>
            <pc:docMk/>
            <pc:sldMk cId="4108071521" sldId="257"/>
            <ac:spMk id="134" creationId="{36E16004-558F-CDD1-0EB4-CDDBA065CB71}"/>
          </ac:spMkLst>
        </pc:spChg>
        <pc:spChg chg="mod">
          <ac:chgData name="Nisen, Henrik (BCG Platinion)" userId="23462ed3-8a28-48c0-b94c-224b90eb8d0a" providerId="ADAL" clId="{85BF7E29-B863-8743-821C-9B528FF1FFE4}" dt="2024-04-05T07:44:52.217" v="7397" actId="404"/>
          <ac:spMkLst>
            <pc:docMk/>
            <pc:sldMk cId="4108071521" sldId="257"/>
            <ac:spMk id="135" creationId="{247AACC6-D0BB-36C5-3BC7-F3AA7ED59137}"/>
          </ac:spMkLst>
        </pc:spChg>
        <pc:spChg chg="mod">
          <ac:chgData name="Nisen, Henrik (BCG Platinion)" userId="23462ed3-8a28-48c0-b94c-224b90eb8d0a" providerId="ADAL" clId="{85BF7E29-B863-8743-821C-9B528FF1FFE4}" dt="2024-04-05T07:44:52.217" v="7397" actId="404"/>
          <ac:spMkLst>
            <pc:docMk/>
            <pc:sldMk cId="4108071521" sldId="257"/>
            <ac:spMk id="136" creationId="{1818F301-6020-0D03-8171-5FB43D636C32}"/>
          </ac:spMkLst>
        </pc:spChg>
        <pc:spChg chg="mod">
          <ac:chgData name="Nisen, Henrik (BCG Platinion)" userId="23462ed3-8a28-48c0-b94c-224b90eb8d0a" providerId="ADAL" clId="{85BF7E29-B863-8743-821C-9B528FF1FFE4}" dt="2024-04-05T07:44:52.217" v="7397" actId="404"/>
          <ac:spMkLst>
            <pc:docMk/>
            <pc:sldMk cId="4108071521" sldId="257"/>
            <ac:spMk id="137" creationId="{C5A98961-6928-DBED-0D56-87D1E64528B5}"/>
          </ac:spMkLst>
        </pc:spChg>
        <pc:spChg chg="mod">
          <ac:chgData name="Nisen, Henrik (BCG Platinion)" userId="23462ed3-8a28-48c0-b94c-224b90eb8d0a" providerId="ADAL" clId="{85BF7E29-B863-8743-821C-9B528FF1FFE4}" dt="2024-04-05T07:44:52.217" v="7397" actId="404"/>
          <ac:spMkLst>
            <pc:docMk/>
            <pc:sldMk cId="4108071521" sldId="257"/>
            <ac:spMk id="138" creationId="{F4218A5D-00C2-151C-BC63-E5969BC9AE99}"/>
          </ac:spMkLst>
        </pc:spChg>
        <pc:spChg chg="mod">
          <ac:chgData name="Nisen, Henrik (BCG Platinion)" userId="23462ed3-8a28-48c0-b94c-224b90eb8d0a" providerId="ADAL" clId="{85BF7E29-B863-8743-821C-9B528FF1FFE4}" dt="2024-04-05T07:44:52.217" v="7397" actId="404"/>
          <ac:spMkLst>
            <pc:docMk/>
            <pc:sldMk cId="4108071521" sldId="257"/>
            <ac:spMk id="139" creationId="{2B64FEE5-8F87-E1BA-1FF2-FFBA0C3AE369}"/>
          </ac:spMkLst>
        </pc:spChg>
        <pc:spChg chg="mod">
          <ac:chgData name="Nisen, Henrik (BCG Platinion)" userId="23462ed3-8a28-48c0-b94c-224b90eb8d0a" providerId="ADAL" clId="{85BF7E29-B863-8743-821C-9B528FF1FFE4}" dt="2024-04-05T07:44:52.217" v="7397" actId="404"/>
          <ac:spMkLst>
            <pc:docMk/>
            <pc:sldMk cId="4108071521" sldId="257"/>
            <ac:spMk id="140" creationId="{02D04E89-9FDF-E71F-D696-61112336DD3E}"/>
          </ac:spMkLst>
        </pc:spChg>
        <pc:spChg chg="mod">
          <ac:chgData name="Nisen, Henrik (BCG Platinion)" userId="23462ed3-8a28-48c0-b94c-224b90eb8d0a" providerId="ADAL" clId="{85BF7E29-B863-8743-821C-9B528FF1FFE4}" dt="2024-04-05T07:44:52.217" v="7397" actId="404"/>
          <ac:spMkLst>
            <pc:docMk/>
            <pc:sldMk cId="4108071521" sldId="257"/>
            <ac:spMk id="141" creationId="{6CD6FF94-EE17-9654-8775-BF7D2F20C7F2}"/>
          </ac:spMkLst>
        </pc:spChg>
        <pc:spChg chg="mod">
          <ac:chgData name="Nisen, Henrik (BCG Platinion)" userId="23462ed3-8a28-48c0-b94c-224b90eb8d0a" providerId="ADAL" clId="{85BF7E29-B863-8743-821C-9B528FF1FFE4}" dt="2024-04-05T07:44:52.217" v="7397" actId="404"/>
          <ac:spMkLst>
            <pc:docMk/>
            <pc:sldMk cId="4108071521" sldId="257"/>
            <ac:spMk id="143" creationId="{788FFB69-342C-D657-6412-36EBF38B154A}"/>
          </ac:spMkLst>
        </pc:spChg>
        <pc:spChg chg="mod">
          <ac:chgData name="Nisen, Henrik (BCG Platinion)" userId="23462ed3-8a28-48c0-b94c-224b90eb8d0a" providerId="ADAL" clId="{85BF7E29-B863-8743-821C-9B528FF1FFE4}" dt="2024-04-05T07:44:52.217" v="7397" actId="404"/>
          <ac:spMkLst>
            <pc:docMk/>
            <pc:sldMk cId="4108071521" sldId="257"/>
            <ac:spMk id="144" creationId="{4BE331E4-0EFD-5289-4887-565E5C63ECE1}"/>
          </ac:spMkLst>
        </pc:spChg>
        <pc:spChg chg="mod">
          <ac:chgData name="Nisen, Henrik (BCG Platinion)" userId="23462ed3-8a28-48c0-b94c-224b90eb8d0a" providerId="ADAL" clId="{85BF7E29-B863-8743-821C-9B528FF1FFE4}" dt="2024-04-05T07:44:52.217" v="7397" actId="404"/>
          <ac:spMkLst>
            <pc:docMk/>
            <pc:sldMk cId="4108071521" sldId="257"/>
            <ac:spMk id="145" creationId="{40BCB2C7-57DB-6C29-88F9-6284F4573FA0}"/>
          </ac:spMkLst>
        </pc:spChg>
        <pc:spChg chg="mod">
          <ac:chgData name="Nisen, Henrik (BCG Platinion)" userId="23462ed3-8a28-48c0-b94c-224b90eb8d0a" providerId="ADAL" clId="{85BF7E29-B863-8743-821C-9B528FF1FFE4}" dt="2024-04-05T07:44:52.217" v="7397" actId="404"/>
          <ac:spMkLst>
            <pc:docMk/>
            <pc:sldMk cId="4108071521" sldId="257"/>
            <ac:spMk id="146" creationId="{6EF3FD11-9E16-01E6-2163-A525AD38778A}"/>
          </ac:spMkLst>
        </pc:spChg>
        <pc:spChg chg="mod">
          <ac:chgData name="Nisen, Henrik (BCG Platinion)" userId="23462ed3-8a28-48c0-b94c-224b90eb8d0a" providerId="ADAL" clId="{85BF7E29-B863-8743-821C-9B528FF1FFE4}" dt="2024-04-05T07:44:52.217" v="7397" actId="404"/>
          <ac:spMkLst>
            <pc:docMk/>
            <pc:sldMk cId="4108071521" sldId="257"/>
            <ac:spMk id="154" creationId="{79DCE935-A145-C457-8844-79DCF74EDD63}"/>
          </ac:spMkLst>
        </pc:spChg>
        <pc:spChg chg="mod">
          <ac:chgData name="Nisen, Henrik (BCG Platinion)" userId="23462ed3-8a28-48c0-b94c-224b90eb8d0a" providerId="ADAL" clId="{85BF7E29-B863-8743-821C-9B528FF1FFE4}" dt="2024-04-05T07:44:52.217" v="7397" actId="404"/>
          <ac:spMkLst>
            <pc:docMk/>
            <pc:sldMk cId="4108071521" sldId="257"/>
            <ac:spMk id="155" creationId="{58056716-4662-F49A-CBCC-75C272D66CFB}"/>
          </ac:spMkLst>
        </pc:spChg>
        <pc:spChg chg="mod">
          <ac:chgData name="Nisen, Henrik (BCG Platinion)" userId="23462ed3-8a28-48c0-b94c-224b90eb8d0a" providerId="ADAL" clId="{85BF7E29-B863-8743-821C-9B528FF1FFE4}" dt="2024-04-05T07:44:52.217" v="7397" actId="404"/>
          <ac:spMkLst>
            <pc:docMk/>
            <pc:sldMk cId="4108071521" sldId="257"/>
            <ac:spMk id="161" creationId="{253271BE-BDBB-0BC9-4F06-81DCDE7ED305}"/>
          </ac:spMkLst>
        </pc:spChg>
        <pc:spChg chg="mod">
          <ac:chgData name="Nisen, Henrik (BCG Platinion)" userId="23462ed3-8a28-48c0-b94c-224b90eb8d0a" providerId="ADAL" clId="{85BF7E29-B863-8743-821C-9B528FF1FFE4}" dt="2024-04-05T07:44:52.217" v="7397" actId="404"/>
          <ac:spMkLst>
            <pc:docMk/>
            <pc:sldMk cId="4108071521" sldId="257"/>
            <ac:spMk id="165" creationId="{19A2E9B1-6243-1836-9028-AD27D96CFAA7}"/>
          </ac:spMkLst>
        </pc:spChg>
        <pc:spChg chg="mod">
          <ac:chgData name="Nisen, Henrik (BCG Platinion)" userId="23462ed3-8a28-48c0-b94c-224b90eb8d0a" providerId="ADAL" clId="{85BF7E29-B863-8743-821C-9B528FF1FFE4}" dt="2024-04-05T07:44:52.217" v="7397" actId="404"/>
          <ac:spMkLst>
            <pc:docMk/>
            <pc:sldMk cId="4108071521" sldId="257"/>
            <ac:spMk id="166" creationId="{223883FB-914B-2F69-6C70-D72DD945B27D}"/>
          </ac:spMkLst>
        </pc:spChg>
        <pc:spChg chg="mod">
          <ac:chgData name="Nisen, Henrik (BCG Platinion)" userId="23462ed3-8a28-48c0-b94c-224b90eb8d0a" providerId="ADAL" clId="{85BF7E29-B863-8743-821C-9B528FF1FFE4}" dt="2024-04-05T07:44:52.217" v="7397" actId="404"/>
          <ac:spMkLst>
            <pc:docMk/>
            <pc:sldMk cId="4108071521" sldId="257"/>
            <ac:spMk id="167" creationId="{F4F36897-8E0E-7A9E-6883-8F53D677BD9C}"/>
          </ac:spMkLst>
        </pc:spChg>
        <pc:spChg chg="mod">
          <ac:chgData name="Nisen, Henrik (BCG Platinion)" userId="23462ed3-8a28-48c0-b94c-224b90eb8d0a" providerId="ADAL" clId="{85BF7E29-B863-8743-821C-9B528FF1FFE4}" dt="2024-04-05T07:44:52.217" v="7397" actId="404"/>
          <ac:spMkLst>
            <pc:docMk/>
            <pc:sldMk cId="4108071521" sldId="257"/>
            <ac:spMk id="168" creationId="{A2F2A35A-E784-A05E-ACD9-82D2E388F6C1}"/>
          </ac:spMkLst>
        </pc:spChg>
        <pc:spChg chg="mod">
          <ac:chgData name="Nisen, Henrik (BCG Platinion)" userId="23462ed3-8a28-48c0-b94c-224b90eb8d0a" providerId="ADAL" clId="{85BF7E29-B863-8743-821C-9B528FF1FFE4}" dt="2024-04-05T07:44:52.217" v="7397" actId="404"/>
          <ac:spMkLst>
            <pc:docMk/>
            <pc:sldMk cId="4108071521" sldId="257"/>
            <ac:spMk id="169" creationId="{18FA60B5-38BD-0F78-9B66-22A8736CD226}"/>
          </ac:spMkLst>
        </pc:spChg>
        <pc:spChg chg="mod">
          <ac:chgData name="Nisen, Henrik (BCG Platinion)" userId="23462ed3-8a28-48c0-b94c-224b90eb8d0a" providerId="ADAL" clId="{85BF7E29-B863-8743-821C-9B528FF1FFE4}" dt="2024-04-05T07:44:52.217" v="7397" actId="404"/>
          <ac:spMkLst>
            <pc:docMk/>
            <pc:sldMk cId="4108071521" sldId="257"/>
            <ac:spMk id="170" creationId="{AB19585C-890E-2502-2646-006AB7757AD8}"/>
          </ac:spMkLst>
        </pc:spChg>
        <pc:spChg chg="mod">
          <ac:chgData name="Nisen, Henrik (BCG Platinion)" userId="23462ed3-8a28-48c0-b94c-224b90eb8d0a" providerId="ADAL" clId="{85BF7E29-B863-8743-821C-9B528FF1FFE4}" dt="2024-04-05T07:44:52.217" v="7397" actId="404"/>
          <ac:spMkLst>
            <pc:docMk/>
            <pc:sldMk cId="4108071521" sldId="257"/>
            <ac:spMk id="171" creationId="{6091FD50-7E9D-7822-6CD9-18799C34C60B}"/>
          </ac:spMkLst>
        </pc:spChg>
        <pc:grpChg chg="mod">
          <ac:chgData name="Nisen, Henrik (BCG Platinion)" userId="23462ed3-8a28-48c0-b94c-224b90eb8d0a" providerId="ADAL" clId="{85BF7E29-B863-8743-821C-9B528FF1FFE4}" dt="2024-04-05T07:44:52.217" v="7397" actId="404"/>
          <ac:grpSpMkLst>
            <pc:docMk/>
            <pc:sldMk cId="4108071521" sldId="257"/>
            <ac:grpSpMk id="36" creationId="{D9BA2636-44D3-743E-AAB6-B9ECDC26D6D2}"/>
          </ac:grpSpMkLst>
        </pc:grpChg>
        <pc:picChg chg="mod">
          <ac:chgData name="Nisen, Henrik (BCG Platinion)" userId="23462ed3-8a28-48c0-b94c-224b90eb8d0a" providerId="ADAL" clId="{85BF7E29-B863-8743-821C-9B528FF1FFE4}" dt="2024-04-05T07:44:52.217" v="7397" actId="404"/>
          <ac:picMkLst>
            <pc:docMk/>
            <pc:sldMk cId="4108071521" sldId="257"/>
            <ac:picMk id="174" creationId="{2E357B41-A948-DB1E-BFA7-97381A77FA5F}"/>
          </ac:picMkLst>
        </pc:picChg>
        <pc:cxnChg chg="mod">
          <ac:chgData name="Nisen, Henrik (BCG Platinion)" userId="23462ed3-8a28-48c0-b94c-224b90eb8d0a" providerId="ADAL" clId="{85BF7E29-B863-8743-821C-9B528FF1FFE4}" dt="2024-04-05T07:44:52.217" v="7397" actId="404"/>
          <ac:cxnSpMkLst>
            <pc:docMk/>
            <pc:sldMk cId="4108071521" sldId="257"/>
            <ac:cxnSpMk id="10" creationId="{BD9C3B01-2043-D398-B2C9-B6C9F8281FF0}"/>
          </ac:cxnSpMkLst>
        </pc:cxnChg>
        <pc:cxnChg chg="mod">
          <ac:chgData name="Nisen, Henrik (BCG Platinion)" userId="23462ed3-8a28-48c0-b94c-224b90eb8d0a" providerId="ADAL" clId="{85BF7E29-B863-8743-821C-9B528FF1FFE4}" dt="2024-04-05T07:44:52.217" v="7397" actId="404"/>
          <ac:cxnSpMkLst>
            <pc:docMk/>
            <pc:sldMk cId="4108071521" sldId="257"/>
            <ac:cxnSpMk id="43" creationId="{4C127A8D-740E-D40D-EDDD-33B0E46990C6}"/>
          </ac:cxnSpMkLst>
        </pc:cxnChg>
        <pc:cxnChg chg="mod">
          <ac:chgData name="Nisen, Henrik (BCG Platinion)" userId="23462ed3-8a28-48c0-b94c-224b90eb8d0a" providerId="ADAL" clId="{85BF7E29-B863-8743-821C-9B528FF1FFE4}" dt="2024-04-05T07:44:52.217" v="7397" actId="404"/>
          <ac:cxnSpMkLst>
            <pc:docMk/>
            <pc:sldMk cId="4108071521" sldId="257"/>
            <ac:cxnSpMk id="92" creationId="{4475EE13-FC2E-C42C-DC85-020FD89B44D7}"/>
          </ac:cxnSpMkLst>
        </pc:cxnChg>
        <pc:cxnChg chg="mod">
          <ac:chgData name="Nisen, Henrik (BCG Platinion)" userId="23462ed3-8a28-48c0-b94c-224b90eb8d0a" providerId="ADAL" clId="{85BF7E29-B863-8743-821C-9B528FF1FFE4}" dt="2024-04-05T07:44:52.217" v="7397" actId="404"/>
          <ac:cxnSpMkLst>
            <pc:docMk/>
            <pc:sldMk cId="4108071521" sldId="257"/>
            <ac:cxnSpMk id="142" creationId="{C2531CC9-F570-7D19-1827-CCD1634F5168}"/>
          </ac:cxnSpMkLst>
        </pc:cxnChg>
        <pc:cxnChg chg="mod">
          <ac:chgData name="Nisen, Henrik (BCG Platinion)" userId="23462ed3-8a28-48c0-b94c-224b90eb8d0a" providerId="ADAL" clId="{85BF7E29-B863-8743-821C-9B528FF1FFE4}" dt="2024-04-05T07:44:52.217" v="7397" actId="404"/>
          <ac:cxnSpMkLst>
            <pc:docMk/>
            <pc:sldMk cId="4108071521" sldId="257"/>
            <ac:cxnSpMk id="147" creationId="{9D2376D4-D8DA-FD9C-BBF6-5E5B32E4CE56}"/>
          </ac:cxnSpMkLst>
        </pc:cxnChg>
        <pc:cxnChg chg="mod">
          <ac:chgData name="Nisen, Henrik (BCG Platinion)" userId="23462ed3-8a28-48c0-b94c-224b90eb8d0a" providerId="ADAL" clId="{85BF7E29-B863-8743-821C-9B528FF1FFE4}" dt="2024-04-05T07:44:52.217" v="7397" actId="404"/>
          <ac:cxnSpMkLst>
            <pc:docMk/>
            <pc:sldMk cId="4108071521" sldId="257"/>
            <ac:cxnSpMk id="148" creationId="{ADF79F94-CA40-203A-0813-AF4605894BE8}"/>
          </ac:cxnSpMkLst>
        </pc:cxnChg>
        <pc:cxnChg chg="mod">
          <ac:chgData name="Nisen, Henrik (BCG Platinion)" userId="23462ed3-8a28-48c0-b94c-224b90eb8d0a" providerId="ADAL" clId="{85BF7E29-B863-8743-821C-9B528FF1FFE4}" dt="2024-04-05T07:44:52.217" v="7397" actId="404"/>
          <ac:cxnSpMkLst>
            <pc:docMk/>
            <pc:sldMk cId="4108071521" sldId="257"/>
            <ac:cxnSpMk id="149" creationId="{BEDFC780-EEBD-1A95-BE70-8330599674AA}"/>
          </ac:cxnSpMkLst>
        </pc:cxnChg>
        <pc:cxnChg chg="mod">
          <ac:chgData name="Nisen, Henrik (BCG Platinion)" userId="23462ed3-8a28-48c0-b94c-224b90eb8d0a" providerId="ADAL" clId="{85BF7E29-B863-8743-821C-9B528FF1FFE4}" dt="2024-04-05T07:44:52.217" v="7397" actId="404"/>
          <ac:cxnSpMkLst>
            <pc:docMk/>
            <pc:sldMk cId="4108071521" sldId="257"/>
            <ac:cxnSpMk id="150" creationId="{326057DB-AD6C-2FA9-9246-D62B5D1895B7}"/>
          </ac:cxnSpMkLst>
        </pc:cxnChg>
        <pc:cxnChg chg="mod">
          <ac:chgData name="Nisen, Henrik (BCG Platinion)" userId="23462ed3-8a28-48c0-b94c-224b90eb8d0a" providerId="ADAL" clId="{85BF7E29-B863-8743-821C-9B528FF1FFE4}" dt="2024-04-05T07:44:52.217" v="7397" actId="404"/>
          <ac:cxnSpMkLst>
            <pc:docMk/>
            <pc:sldMk cId="4108071521" sldId="257"/>
            <ac:cxnSpMk id="151" creationId="{90EE1F82-3E64-5B74-D406-6AED180754AE}"/>
          </ac:cxnSpMkLst>
        </pc:cxnChg>
        <pc:cxnChg chg="mod">
          <ac:chgData name="Nisen, Henrik (BCG Platinion)" userId="23462ed3-8a28-48c0-b94c-224b90eb8d0a" providerId="ADAL" clId="{85BF7E29-B863-8743-821C-9B528FF1FFE4}" dt="2024-04-05T07:44:52.217" v="7397" actId="404"/>
          <ac:cxnSpMkLst>
            <pc:docMk/>
            <pc:sldMk cId="4108071521" sldId="257"/>
            <ac:cxnSpMk id="152" creationId="{DF03F595-0C4C-D165-0641-6D11178FF763}"/>
          </ac:cxnSpMkLst>
        </pc:cxnChg>
        <pc:cxnChg chg="mod">
          <ac:chgData name="Nisen, Henrik (BCG Platinion)" userId="23462ed3-8a28-48c0-b94c-224b90eb8d0a" providerId="ADAL" clId="{85BF7E29-B863-8743-821C-9B528FF1FFE4}" dt="2024-04-05T07:44:52.217" v="7397" actId="404"/>
          <ac:cxnSpMkLst>
            <pc:docMk/>
            <pc:sldMk cId="4108071521" sldId="257"/>
            <ac:cxnSpMk id="153" creationId="{B349BA2E-A77E-4613-AD23-6C083B812B87}"/>
          </ac:cxnSpMkLst>
        </pc:cxnChg>
        <pc:cxnChg chg="mod">
          <ac:chgData name="Nisen, Henrik (BCG Platinion)" userId="23462ed3-8a28-48c0-b94c-224b90eb8d0a" providerId="ADAL" clId="{85BF7E29-B863-8743-821C-9B528FF1FFE4}" dt="2024-04-05T07:44:52.217" v="7397" actId="404"/>
          <ac:cxnSpMkLst>
            <pc:docMk/>
            <pc:sldMk cId="4108071521" sldId="257"/>
            <ac:cxnSpMk id="162" creationId="{4840F41A-698A-4088-6CD2-2C6D2B04153C}"/>
          </ac:cxnSpMkLst>
        </pc:cxnChg>
        <pc:cxnChg chg="mod">
          <ac:chgData name="Nisen, Henrik (BCG Platinion)" userId="23462ed3-8a28-48c0-b94c-224b90eb8d0a" providerId="ADAL" clId="{85BF7E29-B863-8743-821C-9B528FF1FFE4}" dt="2024-04-05T07:44:52.217" v="7397" actId="404"/>
          <ac:cxnSpMkLst>
            <pc:docMk/>
            <pc:sldMk cId="4108071521" sldId="257"/>
            <ac:cxnSpMk id="163" creationId="{BF806D69-9CBB-40EA-3275-0A7E0A51881B}"/>
          </ac:cxnSpMkLst>
        </pc:cxnChg>
        <pc:cxnChg chg="mod">
          <ac:chgData name="Nisen, Henrik (BCG Platinion)" userId="23462ed3-8a28-48c0-b94c-224b90eb8d0a" providerId="ADAL" clId="{85BF7E29-B863-8743-821C-9B528FF1FFE4}" dt="2024-04-05T07:44:52.217" v="7397" actId="404"/>
          <ac:cxnSpMkLst>
            <pc:docMk/>
            <pc:sldMk cId="4108071521" sldId="257"/>
            <ac:cxnSpMk id="164" creationId="{D6BA6E1E-BBA1-D03B-63D6-CA575234C4FA}"/>
          </ac:cxnSpMkLst>
        </pc:cxnChg>
      </pc:sldChg>
      <pc:sldChg chg="ord modTransition">
        <pc:chgData name="Nisen, Henrik (BCG Platinion)" userId="23462ed3-8a28-48c0-b94c-224b90eb8d0a" providerId="ADAL" clId="{85BF7E29-B863-8743-821C-9B528FF1FFE4}" dt="2024-04-05T08:34:44.540" v="8623"/>
        <pc:sldMkLst>
          <pc:docMk/>
          <pc:sldMk cId="480159982" sldId="260"/>
        </pc:sldMkLst>
      </pc:sldChg>
      <pc:sldChg chg="modSp mod modTransition">
        <pc:chgData name="Nisen, Henrik (BCG Platinion)" userId="23462ed3-8a28-48c0-b94c-224b90eb8d0a" providerId="ADAL" clId="{85BF7E29-B863-8743-821C-9B528FF1FFE4}" dt="2024-04-05T08:34:44.540" v="8623"/>
        <pc:sldMkLst>
          <pc:docMk/>
          <pc:sldMk cId="2455817319" sldId="264"/>
        </pc:sldMkLst>
        <pc:spChg chg="mod">
          <ac:chgData name="Nisen, Henrik (BCG Platinion)" userId="23462ed3-8a28-48c0-b94c-224b90eb8d0a" providerId="ADAL" clId="{85BF7E29-B863-8743-821C-9B528FF1FFE4}" dt="2024-04-05T06:17:19.945" v="1546" actId="20577"/>
          <ac:spMkLst>
            <pc:docMk/>
            <pc:sldMk cId="2455817319" sldId="264"/>
            <ac:spMk id="2" creationId="{001CE8E0-3002-6540-AB4A-44A213CCD16D}"/>
          </ac:spMkLst>
        </pc:spChg>
      </pc:sldChg>
      <pc:sldChg chg="del">
        <pc:chgData name="Nisen, Henrik (BCG Platinion)" userId="23462ed3-8a28-48c0-b94c-224b90eb8d0a" providerId="ADAL" clId="{85BF7E29-B863-8743-821C-9B528FF1FFE4}" dt="2024-04-05T06:16:10.147" v="1470" actId="2696"/>
        <pc:sldMkLst>
          <pc:docMk/>
          <pc:sldMk cId="2555337822" sldId="2147483414"/>
        </pc:sldMkLst>
      </pc:sldChg>
      <pc:sldChg chg="del">
        <pc:chgData name="Nisen, Henrik (BCG Platinion)" userId="23462ed3-8a28-48c0-b94c-224b90eb8d0a" providerId="ADAL" clId="{85BF7E29-B863-8743-821C-9B528FF1FFE4}" dt="2024-04-05T06:16:10.390" v="1487" actId="2696"/>
        <pc:sldMkLst>
          <pc:docMk/>
          <pc:sldMk cId="1220377637" sldId="2147483544"/>
        </pc:sldMkLst>
      </pc:sldChg>
      <pc:sldChg chg="modSp mod ord modTransition">
        <pc:chgData name="Nisen, Henrik (BCG Platinion)" userId="23462ed3-8a28-48c0-b94c-224b90eb8d0a" providerId="ADAL" clId="{85BF7E29-B863-8743-821C-9B528FF1FFE4}" dt="2024-04-05T08:34:44.540" v="8623"/>
        <pc:sldMkLst>
          <pc:docMk/>
          <pc:sldMk cId="1205465817" sldId="2147483545"/>
        </pc:sldMkLst>
        <pc:spChg chg="mod">
          <ac:chgData name="Nisen, Henrik (BCG Platinion)" userId="23462ed3-8a28-48c0-b94c-224b90eb8d0a" providerId="ADAL" clId="{85BF7E29-B863-8743-821C-9B528FF1FFE4}" dt="2024-04-05T07:12:19.409" v="5294" actId="20577"/>
          <ac:spMkLst>
            <pc:docMk/>
            <pc:sldMk cId="1205465817" sldId="2147483545"/>
            <ac:spMk id="5" creationId="{27ECD9F2-EE12-A1F5-FBDE-734AEBE5D72E}"/>
          </ac:spMkLst>
        </pc:spChg>
        <pc:spChg chg="mod">
          <ac:chgData name="Nisen, Henrik (BCG Platinion)" userId="23462ed3-8a28-48c0-b94c-224b90eb8d0a" providerId="ADAL" clId="{85BF7E29-B863-8743-821C-9B528FF1FFE4}" dt="2024-04-05T07:04:51.784" v="4634" actId="1076"/>
          <ac:spMkLst>
            <pc:docMk/>
            <pc:sldMk cId="1205465817" sldId="2147483545"/>
            <ac:spMk id="10" creationId="{AC80CF7A-54F5-ACCE-7182-BE26BEBF34D3}"/>
          </ac:spMkLst>
        </pc:spChg>
        <pc:spChg chg="mod">
          <ac:chgData name="Nisen, Henrik (BCG Platinion)" userId="23462ed3-8a28-48c0-b94c-224b90eb8d0a" providerId="ADAL" clId="{85BF7E29-B863-8743-821C-9B528FF1FFE4}" dt="2024-04-05T07:07:30.821" v="4874" actId="20577"/>
          <ac:spMkLst>
            <pc:docMk/>
            <pc:sldMk cId="1205465817" sldId="2147483545"/>
            <ac:spMk id="18" creationId="{BEED88C6-BEF2-D5F4-446F-21BB4D2DB470}"/>
          </ac:spMkLst>
        </pc:spChg>
        <pc:spChg chg="mod">
          <ac:chgData name="Nisen, Henrik (BCG Platinion)" userId="23462ed3-8a28-48c0-b94c-224b90eb8d0a" providerId="ADAL" clId="{85BF7E29-B863-8743-821C-9B528FF1FFE4}" dt="2024-04-05T07:12:09.505" v="5289" actId="20577"/>
          <ac:spMkLst>
            <pc:docMk/>
            <pc:sldMk cId="1205465817" sldId="2147483545"/>
            <ac:spMk id="23" creationId="{5FA3478B-EE12-E61F-6829-0E31EFDFFA61}"/>
          </ac:spMkLst>
        </pc:spChg>
      </pc:sldChg>
      <pc:sldChg chg="addSp delSp modSp mod ord modTransition">
        <pc:chgData name="Nisen, Henrik (BCG Platinion)" userId="23462ed3-8a28-48c0-b94c-224b90eb8d0a" providerId="ADAL" clId="{85BF7E29-B863-8743-821C-9B528FF1FFE4}" dt="2024-04-05T08:37:21.991" v="8632" actId="207"/>
        <pc:sldMkLst>
          <pc:docMk/>
          <pc:sldMk cId="3721981857" sldId="2147483546"/>
        </pc:sldMkLst>
        <pc:spChg chg="add del mod">
          <ac:chgData name="Nisen, Henrik (BCG Platinion)" userId="23462ed3-8a28-48c0-b94c-224b90eb8d0a" providerId="ADAL" clId="{85BF7E29-B863-8743-821C-9B528FF1FFE4}" dt="2024-04-05T08:01:39.436" v="8173" actId="478"/>
          <ac:spMkLst>
            <pc:docMk/>
            <pc:sldMk cId="3721981857" sldId="2147483546"/>
            <ac:spMk id="7" creationId="{CBD3C03E-CB82-EE06-9E5D-BF6F5EB1EB71}"/>
          </ac:spMkLst>
        </pc:spChg>
        <pc:spChg chg="del mod">
          <ac:chgData name="Nisen, Henrik (BCG Platinion)" userId="23462ed3-8a28-48c0-b94c-224b90eb8d0a" providerId="ADAL" clId="{85BF7E29-B863-8743-821C-9B528FF1FFE4}" dt="2024-04-05T08:01:36.639" v="8171" actId="478"/>
          <ac:spMkLst>
            <pc:docMk/>
            <pc:sldMk cId="3721981857" sldId="2147483546"/>
            <ac:spMk id="8" creationId="{BD9A78C3-88E5-0727-8E4B-1F395F302DB6}"/>
          </ac:spMkLst>
        </pc:spChg>
        <pc:spChg chg="add mod">
          <ac:chgData name="Nisen, Henrik (BCG Platinion)" userId="23462ed3-8a28-48c0-b94c-224b90eb8d0a" providerId="ADAL" clId="{85BF7E29-B863-8743-821C-9B528FF1FFE4}" dt="2024-04-05T08:01:36.804" v="8172"/>
          <ac:spMkLst>
            <pc:docMk/>
            <pc:sldMk cId="3721981857" sldId="2147483546"/>
            <ac:spMk id="16" creationId="{99EE562B-7AFA-9430-7C67-6C6AD357EA1A}"/>
          </ac:spMkLst>
        </pc:spChg>
        <pc:spChg chg="add mod">
          <ac:chgData name="Nisen, Henrik (BCG Platinion)" userId="23462ed3-8a28-48c0-b94c-224b90eb8d0a" providerId="ADAL" clId="{85BF7E29-B863-8743-821C-9B528FF1FFE4}" dt="2024-04-05T08:33:00.519" v="8590" actId="20577"/>
          <ac:spMkLst>
            <pc:docMk/>
            <pc:sldMk cId="3721981857" sldId="2147483546"/>
            <ac:spMk id="17" creationId="{30AF310E-0E86-D8DA-C328-0078C3558288}"/>
          </ac:spMkLst>
        </pc:spChg>
        <pc:grpChg chg="del">
          <ac:chgData name="Nisen, Henrik (BCG Platinion)" userId="23462ed3-8a28-48c0-b94c-224b90eb8d0a" providerId="ADAL" clId="{85BF7E29-B863-8743-821C-9B528FF1FFE4}" dt="2024-04-05T08:02:10.584" v="8189" actId="478"/>
          <ac:grpSpMkLst>
            <pc:docMk/>
            <pc:sldMk cId="3721981857" sldId="2147483546"/>
            <ac:grpSpMk id="10" creationId="{8E8020FF-ECA2-C8C3-8319-A717D8F41D5F}"/>
          </ac:grpSpMkLst>
        </pc:grpChg>
        <pc:graphicFrameChg chg="add del mod modGraphic">
          <ac:chgData name="Nisen, Henrik (BCG Platinion)" userId="23462ed3-8a28-48c0-b94c-224b90eb8d0a" providerId="ADAL" clId="{85BF7E29-B863-8743-821C-9B528FF1FFE4}" dt="2024-04-05T08:37:21.991" v="8632" actId="207"/>
          <ac:graphicFrameMkLst>
            <pc:docMk/>
            <pc:sldMk cId="3721981857" sldId="2147483546"/>
            <ac:graphicFrameMk id="9" creationId="{ABC06D4E-302D-E39D-61E0-3DDC1AD7B6C6}"/>
          </ac:graphicFrameMkLst>
        </pc:graphicFrameChg>
        <pc:picChg chg="add">
          <ac:chgData name="Nisen, Henrik (BCG Platinion)" userId="23462ed3-8a28-48c0-b94c-224b90eb8d0a" providerId="ADAL" clId="{85BF7E29-B863-8743-821C-9B528FF1FFE4}" dt="2024-04-05T08:21:02.657" v="8385"/>
          <ac:picMkLst>
            <pc:docMk/>
            <pc:sldMk cId="3721981857" sldId="2147483546"/>
            <ac:picMk id="18" creationId="{94D27909-80C2-2B26-45BF-EA4F873E7BE4}"/>
          </ac:picMkLst>
        </pc:picChg>
      </pc:sldChg>
      <pc:sldChg chg="del">
        <pc:chgData name="Nisen, Henrik (BCG Platinion)" userId="23462ed3-8a28-48c0-b94c-224b90eb8d0a" providerId="ADAL" clId="{85BF7E29-B863-8743-821C-9B528FF1FFE4}" dt="2024-04-05T08:33:47.985" v="8610" actId="2696"/>
        <pc:sldMkLst>
          <pc:docMk/>
          <pc:sldMk cId="909291825" sldId="2147483547"/>
        </pc:sldMkLst>
      </pc:sldChg>
      <pc:sldChg chg="del">
        <pc:chgData name="Nisen, Henrik (BCG Platinion)" userId="23462ed3-8a28-48c0-b94c-224b90eb8d0a" providerId="ADAL" clId="{85BF7E29-B863-8743-821C-9B528FF1FFE4}" dt="2024-04-05T08:33:50.345" v="8611" actId="2696"/>
        <pc:sldMkLst>
          <pc:docMk/>
          <pc:sldMk cId="1583266516" sldId="2147483548"/>
        </pc:sldMkLst>
      </pc:sldChg>
      <pc:sldChg chg="del">
        <pc:chgData name="Nisen, Henrik (BCG Platinion)" userId="23462ed3-8a28-48c0-b94c-224b90eb8d0a" providerId="ADAL" clId="{85BF7E29-B863-8743-821C-9B528FF1FFE4}" dt="2024-04-05T06:16:10.295" v="1480" actId="2696"/>
        <pc:sldMkLst>
          <pc:docMk/>
          <pc:sldMk cId="881438303" sldId="2147483549"/>
        </pc:sldMkLst>
      </pc:sldChg>
      <pc:sldChg chg="modSp del mod">
        <pc:chgData name="Nisen, Henrik (BCG Platinion)" userId="23462ed3-8a28-48c0-b94c-224b90eb8d0a" providerId="ADAL" clId="{85BF7E29-B863-8743-821C-9B528FF1FFE4}" dt="2024-04-05T06:16:10.480" v="1495" actId="2696"/>
        <pc:sldMkLst>
          <pc:docMk/>
          <pc:sldMk cId="269182462" sldId="2147483550"/>
        </pc:sldMkLst>
        <pc:spChg chg="mod">
          <ac:chgData name="Nisen, Henrik (BCG Platinion)" userId="23462ed3-8a28-48c0-b94c-224b90eb8d0a" providerId="ADAL" clId="{85BF7E29-B863-8743-821C-9B528FF1FFE4}" dt="2024-04-05T06:14:59.706" v="0" actId="27636"/>
          <ac:spMkLst>
            <pc:docMk/>
            <pc:sldMk cId="269182462" sldId="2147483550"/>
            <ac:spMk id="244" creationId="{929FEC08-B969-C79D-32C6-6B1D4BC9CC1B}"/>
          </ac:spMkLst>
        </pc:spChg>
      </pc:sldChg>
      <pc:sldChg chg="modSp mod modTransition">
        <pc:chgData name="Nisen, Henrik (BCG Platinion)" userId="23462ed3-8a28-48c0-b94c-224b90eb8d0a" providerId="ADAL" clId="{85BF7E29-B863-8743-821C-9B528FF1FFE4}" dt="2024-04-05T08:34:44.540" v="8623"/>
        <pc:sldMkLst>
          <pc:docMk/>
          <pc:sldMk cId="3874668093" sldId="2147483551"/>
        </pc:sldMkLst>
        <pc:spChg chg="mod">
          <ac:chgData name="Nisen, Henrik (BCG Platinion)" userId="23462ed3-8a28-48c0-b94c-224b90eb8d0a" providerId="ADAL" clId="{85BF7E29-B863-8743-821C-9B528FF1FFE4}" dt="2024-04-05T06:23:39.213" v="2236"/>
          <ac:spMkLst>
            <pc:docMk/>
            <pc:sldMk cId="3874668093" sldId="2147483551"/>
            <ac:spMk id="8" creationId="{E73C6532-3274-AA7E-65C7-D9FDA88CC3D4}"/>
          </ac:spMkLst>
        </pc:spChg>
      </pc:sldChg>
      <pc:sldChg chg="del">
        <pc:chgData name="Nisen, Henrik (BCG Platinion)" userId="23462ed3-8a28-48c0-b94c-224b90eb8d0a" providerId="ADAL" clId="{85BF7E29-B863-8743-821C-9B528FF1FFE4}" dt="2024-04-05T06:16:10.162" v="1472" actId="2696"/>
        <pc:sldMkLst>
          <pc:docMk/>
          <pc:sldMk cId="160757671" sldId="2147483552"/>
        </pc:sldMkLst>
      </pc:sldChg>
      <pc:sldChg chg="modSp mod modTransition">
        <pc:chgData name="Nisen, Henrik (BCG Platinion)" userId="23462ed3-8a28-48c0-b94c-224b90eb8d0a" providerId="ADAL" clId="{85BF7E29-B863-8743-821C-9B528FF1FFE4}" dt="2024-04-05T08:34:44.540" v="8623"/>
        <pc:sldMkLst>
          <pc:docMk/>
          <pc:sldMk cId="3011676800" sldId="2147483554"/>
        </pc:sldMkLst>
        <pc:spChg chg="mod">
          <ac:chgData name="Nisen, Henrik (BCG Platinion)" userId="23462ed3-8a28-48c0-b94c-224b90eb8d0a" providerId="ADAL" clId="{85BF7E29-B863-8743-821C-9B528FF1FFE4}" dt="2024-04-05T06:44:51.612" v="3081" actId="27636"/>
          <ac:spMkLst>
            <pc:docMk/>
            <pc:sldMk cId="3011676800" sldId="2147483554"/>
            <ac:spMk id="7" creationId="{4408E651-160C-1E66-D23C-D59C1CAF0B33}"/>
          </ac:spMkLst>
        </pc:spChg>
        <pc:spChg chg="mod">
          <ac:chgData name="Nisen, Henrik (BCG Platinion)" userId="23462ed3-8a28-48c0-b94c-224b90eb8d0a" providerId="ADAL" clId="{85BF7E29-B863-8743-821C-9B528FF1FFE4}" dt="2024-04-05T06:45:04.012" v="3095" actId="1036"/>
          <ac:spMkLst>
            <pc:docMk/>
            <pc:sldMk cId="3011676800" sldId="2147483554"/>
            <ac:spMk id="62" creationId="{1C4C5E68-970F-77A5-E495-4A8FED1E54E1}"/>
          </ac:spMkLst>
        </pc:spChg>
        <pc:spChg chg="mod">
          <ac:chgData name="Nisen, Henrik (BCG Platinion)" userId="23462ed3-8a28-48c0-b94c-224b90eb8d0a" providerId="ADAL" clId="{85BF7E29-B863-8743-821C-9B528FF1FFE4}" dt="2024-04-05T06:45:04.012" v="3095" actId="1036"/>
          <ac:spMkLst>
            <pc:docMk/>
            <pc:sldMk cId="3011676800" sldId="2147483554"/>
            <ac:spMk id="63" creationId="{AB1016B4-4B79-3931-52A0-DC0D5294B9C5}"/>
          </ac:spMkLst>
        </pc:spChg>
        <pc:spChg chg="mod">
          <ac:chgData name="Nisen, Henrik (BCG Platinion)" userId="23462ed3-8a28-48c0-b94c-224b90eb8d0a" providerId="ADAL" clId="{85BF7E29-B863-8743-821C-9B528FF1FFE4}" dt="2024-04-05T06:45:04.012" v="3095" actId="1036"/>
          <ac:spMkLst>
            <pc:docMk/>
            <pc:sldMk cId="3011676800" sldId="2147483554"/>
            <ac:spMk id="73" creationId="{CBC511E1-3622-F1A2-FE77-0EDA66FCEA24}"/>
          </ac:spMkLst>
        </pc:spChg>
      </pc:sldChg>
      <pc:sldChg chg="del">
        <pc:chgData name="Nisen, Henrik (BCG Platinion)" userId="23462ed3-8a28-48c0-b94c-224b90eb8d0a" providerId="ADAL" clId="{85BF7E29-B863-8743-821C-9B528FF1FFE4}" dt="2024-04-05T06:16:10.427" v="1489" actId="2696"/>
        <pc:sldMkLst>
          <pc:docMk/>
          <pc:sldMk cId="1842424348" sldId="2147483555"/>
        </pc:sldMkLst>
      </pc:sldChg>
      <pc:sldChg chg="del">
        <pc:chgData name="Nisen, Henrik (BCG Platinion)" userId="23462ed3-8a28-48c0-b94c-224b90eb8d0a" providerId="ADAL" clId="{85BF7E29-B863-8743-821C-9B528FF1FFE4}" dt="2024-04-05T06:16:10.372" v="1485" actId="2696"/>
        <pc:sldMkLst>
          <pc:docMk/>
          <pc:sldMk cId="1938886422" sldId="2147483557"/>
        </pc:sldMkLst>
      </pc:sldChg>
      <pc:sldChg chg="del">
        <pc:chgData name="Nisen, Henrik (BCG Platinion)" userId="23462ed3-8a28-48c0-b94c-224b90eb8d0a" providerId="ADAL" clId="{85BF7E29-B863-8743-821C-9B528FF1FFE4}" dt="2024-04-05T06:16:10.331" v="1481" actId="2696"/>
        <pc:sldMkLst>
          <pc:docMk/>
          <pc:sldMk cId="133732852" sldId="2147483558"/>
        </pc:sldMkLst>
      </pc:sldChg>
      <pc:sldChg chg="modSp mod modTransition">
        <pc:chgData name="Nisen, Henrik (BCG Platinion)" userId="23462ed3-8a28-48c0-b94c-224b90eb8d0a" providerId="ADAL" clId="{85BF7E29-B863-8743-821C-9B528FF1FFE4}" dt="2024-04-05T08:34:44.540" v="8623"/>
        <pc:sldMkLst>
          <pc:docMk/>
          <pc:sldMk cId="1343589809" sldId="2147483559"/>
        </pc:sldMkLst>
        <pc:spChg chg="mod">
          <ac:chgData name="Nisen, Henrik (BCG Platinion)" userId="23462ed3-8a28-48c0-b94c-224b90eb8d0a" providerId="ADAL" clId="{85BF7E29-B863-8743-821C-9B528FF1FFE4}" dt="2024-04-05T06:53:52.916" v="3518" actId="20577"/>
          <ac:spMkLst>
            <pc:docMk/>
            <pc:sldMk cId="1343589809" sldId="2147483559"/>
            <ac:spMk id="5" creationId="{5F43F86A-EE19-5783-47DD-51DBCADCF320}"/>
          </ac:spMkLst>
        </pc:spChg>
        <pc:spChg chg="mod">
          <ac:chgData name="Nisen, Henrik (BCG Platinion)" userId="23462ed3-8a28-48c0-b94c-224b90eb8d0a" providerId="ADAL" clId="{85BF7E29-B863-8743-821C-9B528FF1FFE4}" dt="2024-04-05T06:54:39.011" v="3610" actId="20577"/>
          <ac:spMkLst>
            <pc:docMk/>
            <pc:sldMk cId="1343589809" sldId="2147483559"/>
            <ac:spMk id="60" creationId="{5BD22249-25D3-4F0A-D909-C57A7C687EEF}"/>
          </ac:spMkLst>
        </pc:spChg>
        <pc:spChg chg="mod">
          <ac:chgData name="Nisen, Henrik (BCG Platinion)" userId="23462ed3-8a28-48c0-b94c-224b90eb8d0a" providerId="ADAL" clId="{85BF7E29-B863-8743-821C-9B528FF1FFE4}" dt="2024-04-05T06:58:30.610" v="3962" actId="20577"/>
          <ac:spMkLst>
            <pc:docMk/>
            <pc:sldMk cId="1343589809" sldId="2147483559"/>
            <ac:spMk id="63" creationId="{638EA041-AB8D-9159-2512-10A59D9C19AF}"/>
          </ac:spMkLst>
        </pc:spChg>
        <pc:spChg chg="mod">
          <ac:chgData name="Nisen, Henrik (BCG Platinion)" userId="23462ed3-8a28-48c0-b94c-224b90eb8d0a" providerId="ADAL" clId="{85BF7E29-B863-8743-821C-9B528FF1FFE4}" dt="2024-04-05T06:59:05.091" v="4006" actId="20577"/>
          <ac:spMkLst>
            <pc:docMk/>
            <pc:sldMk cId="1343589809" sldId="2147483559"/>
            <ac:spMk id="64" creationId="{0FC950B7-50D0-BEEE-25CB-E23749017DD1}"/>
          </ac:spMkLst>
        </pc:spChg>
        <pc:spChg chg="mod">
          <ac:chgData name="Nisen, Henrik (BCG Platinion)" userId="23462ed3-8a28-48c0-b94c-224b90eb8d0a" providerId="ADAL" clId="{85BF7E29-B863-8743-821C-9B528FF1FFE4}" dt="2024-04-05T07:00:14.814" v="4128" actId="20577"/>
          <ac:spMkLst>
            <pc:docMk/>
            <pc:sldMk cId="1343589809" sldId="2147483559"/>
            <ac:spMk id="66" creationId="{FDE7FF8F-9A43-B5E6-2A5B-F5B1D85C2FD2}"/>
          </ac:spMkLst>
        </pc:spChg>
        <pc:spChg chg="mod">
          <ac:chgData name="Nisen, Henrik (BCG Platinion)" userId="23462ed3-8a28-48c0-b94c-224b90eb8d0a" providerId="ADAL" clId="{85BF7E29-B863-8743-821C-9B528FF1FFE4}" dt="2024-04-05T06:58:00.532" v="3916" actId="20577"/>
          <ac:spMkLst>
            <pc:docMk/>
            <pc:sldMk cId="1343589809" sldId="2147483559"/>
            <ac:spMk id="67" creationId="{6097C977-C096-75AA-B1BB-11E0300C00E2}"/>
          </ac:spMkLst>
        </pc:spChg>
        <pc:spChg chg="mod">
          <ac:chgData name="Nisen, Henrik (BCG Platinion)" userId="23462ed3-8a28-48c0-b94c-224b90eb8d0a" providerId="ADAL" clId="{85BF7E29-B863-8743-821C-9B528FF1FFE4}" dt="2024-04-05T06:58:55.112" v="3997" actId="20577"/>
          <ac:spMkLst>
            <pc:docMk/>
            <pc:sldMk cId="1343589809" sldId="2147483559"/>
            <ac:spMk id="72" creationId="{8FB06394-42F4-FC70-9E4E-A174AA19D907}"/>
          </ac:spMkLst>
        </pc:spChg>
        <pc:spChg chg="mod">
          <ac:chgData name="Nisen, Henrik (BCG Platinion)" userId="23462ed3-8a28-48c0-b94c-224b90eb8d0a" providerId="ADAL" clId="{85BF7E29-B863-8743-821C-9B528FF1FFE4}" dt="2024-04-05T06:59:52.583" v="4112"/>
          <ac:spMkLst>
            <pc:docMk/>
            <pc:sldMk cId="1343589809" sldId="2147483559"/>
            <ac:spMk id="75" creationId="{56F6B9C8-11B2-A39C-2EBD-F43F82E55AE4}"/>
          </ac:spMkLst>
        </pc:spChg>
        <pc:spChg chg="mod">
          <ac:chgData name="Nisen, Henrik (BCG Platinion)" userId="23462ed3-8a28-48c0-b94c-224b90eb8d0a" providerId="ADAL" clId="{85BF7E29-B863-8743-821C-9B528FF1FFE4}" dt="2024-04-05T06:55:21.439" v="3669" actId="20577"/>
          <ac:spMkLst>
            <pc:docMk/>
            <pc:sldMk cId="1343589809" sldId="2147483559"/>
            <ac:spMk id="111" creationId="{508CB0FD-EAA4-15AC-EB17-196F2245F10F}"/>
          </ac:spMkLst>
        </pc:spChg>
        <pc:spChg chg="mod">
          <ac:chgData name="Nisen, Henrik (BCG Platinion)" userId="23462ed3-8a28-48c0-b94c-224b90eb8d0a" providerId="ADAL" clId="{85BF7E29-B863-8743-821C-9B528FF1FFE4}" dt="2024-04-05T06:55:45.485" v="3679"/>
          <ac:spMkLst>
            <pc:docMk/>
            <pc:sldMk cId="1343589809" sldId="2147483559"/>
            <ac:spMk id="112" creationId="{A9B033B9-EB11-8D0E-276E-BF983E7AAE56}"/>
          </ac:spMkLst>
        </pc:spChg>
        <pc:spChg chg="mod">
          <ac:chgData name="Nisen, Henrik (BCG Platinion)" userId="23462ed3-8a28-48c0-b94c-224b90eb8d0a" providerId="ADAL" clId="{85BF7E29-B863-8743-821C-9B528FF1FFE4}" dt="2024-04-05T06:57:12.473" v="3796"/>
          <ac:spMkLst>
            <pc:docMk/>
            <pc:sldMk cId="1343589809" sldId="2147483559"/>
            <ac:spMk id="154" creationId="{FCF8BAB2-D8C4-6D04-4C79-048E05CB6B36}"/>
          </ac:spMkLst>
        </pc:spChg>
        <pc:spChg chg="mod">
          <ac:chgData name="Nisen, Henrik (BCG Platinion)" userId="23462ed3-8a28-48c0-b94c-224b90eb8d0a" providerId="ADAL" clId="{85BF7E29-B863-8743-821C-9B528FF1FFE4}" dt="2024-04-05T06:57:46.338" v="3901" actId="20577"/>
          <ac:spMkLst>
            <pc:docMk/>
            <pc:sldMk cId="1343589809" sldId="2147483559"/>
            <ac:spMk id="155" creationId="{601AA2D5-0F23-B313-A950-30B6F92A42F1}"/>
          </ac:spMkLst>
        </pc:spChg>
      </pc:sldChg>
      <pc:sldChg chg="del ord">
        <pc:chgData name="Nisen, Henrik (BCG Platinion)" userId="23462ed3-8a28-48c0-b94c-224b90eb8d0a" providerId="ADAL" clId="{85BF7E29-B863-8743-821C-9B528FF1FFE4}" dt="2024-04-05T08:33:46.086" v="8608" actId="2696"/>
        <pc:sldMkLst>
          <pc:docMk/>
          <pc:sldMk cId="292208671" sldId="2147483560"/>
        </pc:sldMkLst>
      </pc:sldChg>
      <pc:sldChg chg="del">
        <pc:chgData name="Nisen, Henrik (BCG Platinion)" userId="23462ed3-8a28-48c0-b94c-224b90eb8d0a" providerId="ADAL" clId="{85BF7E29-B863-8743-821C-9B528FF1FFE4}" dt="2024-04-05T06:16:10.282" v="1479" actId="2696"/>
        <pc:sldMkLst>
          <pc:docMk/>
          <pc:sldMk cId="3199200530" sldId="2147483561"/>
        </pc:sldMkLst>
      </pc:sldChg>
      <pc:sldChg chg="del">
        <pc:chgData name="Nisen, Henrik (BCG Platinion)" userId="23462ed3-8a28-48c0-b94c-224b90eb8d0a" providerId="ADAL" clId="{85BF7E29-B863-8743-821C-9B528FF1FFE4}" dt="2024-04-05T06:16:10.195" v="1474" actId="2696"/>
        <pc:sldMkLst>
          <pc:docMk/>
          <pc:sldMk cId="3260886565" sldId="2147483564"/>
        </pc:sldMkLst>
      </pc:sldChg>
      <pc:sldChg chg="del">
        <pc:chgData name="Nisen, Henrik (BCG Platinion)" userId="23462ed3-8a28-48c0-b94c-224b90eb8d0a" providerId="ADAL" clId="{85BF7E29-B863-8743-821C-9B528FF1FFE4}" dt="2024-04-05T06:16:10.343" v="1482" actId="2696"/>
        <pc:sldMkLst>
          <pc:docMk/>
          <pc:sldMk cId="1969782702" sldId="2147483567"/>
        </pc:sldMkLst>
      </pc:sldChg>
      <pc:sldChg chg="del">
        <pc:chgData name="Nisen, Henrik (BCG Platinion)" userId="23462ed3-8a28-48c0-b94c-224b90eb8d0a" providerId="ADAL" clId="{85BF7E29-B863-8743-821C-9B528FF1FFE4}" dt="2024-04-05T06:16:10.471" v="1493" actId="2696"/>
        <pc:sldMkLst>
          <pc:docMk/>
          <pc:sldMk cId="3972091571" sldId="2147483583"/>
        </pc:sldMkLst>
      </pc:sldChg>
      <pc:sldChg chg="del">
        <pc:chgData name="Nisen, Henrik (BCG Platinion)" userId="23462ed3-8a28-48c0-b94c-224b90eb8d0a" providerId="ADAL" clId="{85BF7E29-B863-8743-821C-9B528FF1FFE4}" dt="2024-04-05T06:16:10.267" v="1478" actId="2696"/>
        <pc:sldMkLst>
          <pc:docMk/>
          <pc:sldMk cId="1706326155" sldId="2147483584"/>
        </pc:sldMkLst>
      </pc:sldChg>
      <pc:sldChg chg="del">
        <pc:chgData name="Nisen, Henrik (BCG Platinion)" userId="23462ed3-8a28-48c0-b94c-224b90eb8d0a" providerId="ADAL" clId="{85BF7E29-B863-8743-821C-9B528FF1FFE4}" dt="2024-04-05T06:16:10.442" v="1491" actId="2696"/>
        <pc:sldMkLst>
          <pc:docMk/>
          <pc:sldMk cId="2551518534" sldId="2147483585"/>
        </pc:sldMkLst>
      </pc:sldChg>
      <pc:sldChg chg="addSp delSp modSp mod modTransition">
        <pc:chgData name="Nisen, Henrik (BCG Platinion)" userId="23462ed3-8a28-48c0-b94c-224b90eb8d0a" providerId="ADAL" clId="{85BF7E29-B863-8743-821C-9B528FF1FFE4}" dt="2024-04-05T12:27:16.427" v="8735" actId="1036"/>
        <pc:sldMkLst>
          <pc:docMk/>
          <pc:sldMk cId="805076339" sldId="2147483586"/>
        </pc:sldMkLst>
        <pc:spChg chg="mod">
          <ac:chgData name="Nisen, Henrik (BCG Platinion)" userId="23462ed3-8a28-48c0-b94c-224b90eb8d0a" providerId="ADAL" clId="{85BF7E29-B863-8743-821C-9B528FF1FFE4}" dt="2024-04-05T06:47:00.343" v="3164"/>
          <ac:spMkLst>
            <pc:docMk/>
            <pc:sldMk cId="805076339" sldId="2147483586"/>
            <ac:spMk id="5" creationId="{466EECFC-7F57-1001-4C54-E053FD02A596}"/>
          </ac:spMkLst>
        </pc:spChg>
        <pc:spChg chg="mod">
          <ac:chgData name="Nisen, Henrik (BCG Platinion)" userId="23462ed3-8a28-48c0-b94c-224b90eb8d0a" providerId="ADAL" clId="{85BF7E29-B863-8743-821C-9B528FF1FFE4}" dt="2024-04-05T06:47:00.345" v="3165"/>
          <ac:spMkLst>
            <pc:docMk/>
            <pc:sldMk cId="805076339" sldId="2147483586"/>
            <ac:spMk id="6" creationId="{922AD939-6BDC-6481-1BDE-245E7E24EFEA}"/>
          </ac:spMkLst>
        </pc:spChg>
        <pc:spChg chg="mod">
          <ac:chgData name="Nisen, Henrik (BCG Platinion)" userId="23462ed3-8a28-48c0-b94c-224b90eb8d0a" providerId="ADAL" clId="{85BF7E29-B863-8743-821C-9B528FF1FFE4}" dt="2024-04-05T06:47:15.850" v="3175"/>
          <ac:spMkLst>
            <pc:docMk/>
            <pc:sldMk cId="805076339" sldId="2147483586"/>
            <ac:spMk id="11" creationId="{CA11FF84-F91E-7E1B-9430-DF369DDF2DA4}"/>
          </ac:spMkLst>
        </pc:spChg>
        <pc:spChg chg="mod">
          <ac:chgData name="Nisen, Henrik (BCG Platinion)" userId="23462ed3-8a28-48c0-b94c-224b90eb8d0a" providerId="ADAL" clId="{85BF7E29-B863-8743-821C-9B528FF1FFE4}" dt="2024-04-05T06:47:00.347" v="3167"/>
          <ac:spMkLst>
            <pc:docMk/>
            <pc:sldMk cId="805076339" sldId="2147483586"/>
            <ac:spMk id="23" creationId="{49F41DD7-5AB3-E7B5-4E41-7D4CA916BB5A}"/>
          </ac:spMkLst>
        </pc:spChg>
        <pc:spChg chg="mod">
          <ac:chgData name="Nisen, Henrik (BCG Platinion)" userId="23462ed3-8a28-48c0-b94c-224b90eb8d0a" providerId="ADAL" clId="{85BF7E29-B863-8743-821C-9B528FF1FFE4}" dt="2024-04-05T06:47:00.365" v="3172" actId="2711"/>
          <ac:spMkLst>
            <pc:docMk/>
            <pc:sldMk cId="805076339" sldId="2147483586"/>
            <ac:spMk id="24" creationId="{6537DC89-F377-B4DB-5732-2BEDF435F80E}"/>
          </ac:spMkLst>
        </pc:spChg>
        <pc:spChg chg="mod">
          <ac:chgData name="Nisen, Henrik (BCG Platinion)" userId="23462ed3-8a28-48c0-b94c-224b90eb8d0a" providerId="ADAL" clId="{85BF7E29-B863-8743-821C-9B528FF1FFE4}" dt="2024-04-05T06:47:00.365" v="3172" actId="2711"/>
          <ac:spMkLst>
            <pc:docMk/>
            <pc:sldMk cId="805076339" sldId="2147483586"/>
            <ac:spMk id="25" creationId="{EB9E5D9D-7CB6-4EB6-0D26-019B8A18CBC6}"/>
          </ac:spMkLst>
        </pc:spChg>
        <pc:spChg chg="mod">
          <ac:chgData name="Nisen, Henrik (BCG Platinion)" userId="23462ed3-8a28-48c0-b94c-224b90eb8d0a" providerId="ADAL" clId="{85BF7E29-B863-8743-821C-9B528FF1FFE4}" dt="2024-04-05T06:47:00.365" v="3172" actId="2711"/>
          <ac:spMkLst>
            <pc:docMk/>
            <pc:sldMk cId="805076339" sldId="2147483586"/>
            <ac:spMk id="26" creationId="{5295E371-481A-1922-EA81-3B1743E92F88}"/>
          </ac:spMkLst>
        </pc:spChg>
        <pc:spChg chg="mod">
          <ac:chgData name="Nisen, Henrik (BCG Platinion)" userId="23462ed3-8a28-48c0-b94c-224b90eb8d0a" providerId="ADAL" clId="{85BF7E29-B863-8743-821C-9B528FF1FFE4}" dt="2024-04-05T06:47:00.365" v="3172" actId="2711"/>
          <ac:spMkLst>
            <pc:docMk/>
            <pc:sldMk cId="805076339" sldId="2147483586"/>
            <ac:spMk id="27" creationId="{BD5A5F1F-2C78-A2CD-26B6-335913E7A245}"/>
          </ac:spMkLst>
        </pc:spChg>
        <pc:spChg chg="mod">
          <ac:chgData name="Nisen, Henrik (BCG Platinion)" userId="23462ed3-8a28-48c0-b94c-224b90eb8d0a" providerId="ADAL" clId="{85BF7E29-B863-8743-821C-9B528FF1FFE4}" dt="2024-04-05T06:47:00.365" v="3172" actId="2711"/>
          <ac:spMkLst>
            <pc:docMk/>
            <pc:sldMk cId="805076339" sldId="2147483586"/>
            <ac:spMk id="28" creationId="{D0F2F533-F545-9A04-3036-9EB7EFE10B6A}"/>
          </ac:spMkLst>
        </pc:spChg>
        <pc:spChg chg="mod">
          <ac:chgData name="Nisen, Henrik (BCG Platinion)" userId="23462ed3-8a28-48c0-b94c-224b90eb8d0a" providerId="ADAL" clId="{85BF7E29-B863-8743-821C-9B528FF1FFE4}" dt="2024-04-05T12:26:37.319" v="8680" actId="1036"/>
          <ac:spMkLst>
            <pc:docMk/>
            <pc:sldMk cId="805076339" sldId="2147483586"/>
            <ac:spMk id="29" creationId="{559E3F9E-D1D4-C364-DAE1-F7DAE8D40310}"/>
          </ac:spMkLst>
        </pc:spChg>
        <pc:spChg chg="mod">
          <ac:chgData name="Nisen, Henrik (BCG Platinion)" userId="23462ed3-8a28-48c0-b94c-224b90eb8d0a" providerId="ADAL" clId="{85BF7E29-B863-8743-821C-9B528FF1FFE4}" dt="2024-04-05T06:47:00.365" v="3172" actId="2711"/>
          <ac:spMkLst>
            <pc:docMk/>
            <pc:sldMk cId="805076339" sldId="2147483586"/>
            <ac:spMk id="30" creationId="{B49E7DF5-CBA9-46D8-3F84-D394D0352659}"/>
          </ac:spMkLst>
        </pc:spChg>
        <pc:spChg chg="mod">
          <ac:chgData name="Nisen, Henrik (BCG Platinion)" userId="23462ed3-8a28-48c0-b94c-224b90eb8d0a" providerId="ADAL" clId="{85BF7E29-B863-8743-821C-9B528FF1FFE4}" dt="2024-04-05T12:26:48.003" v="8696" actId="1036"/>
          <ac:spMkLst>
            <pc:docMk/>
            <pc:sldMk cId="805076339" sldId="2147483586"/>
            <ac:spMk id="31" creationId="{22A38F90-2A60-EACC-D81E-16339E98DE25}"/>
          </ac:spMkLst>
        </pc:spChg>
        <pc:spChg chg="mod">
          <ac:chgData name="Nisen, Henrik (BCG Platinion)" userId="23462ed3-8a28-48c0-b94c-224b90eb8d0a" providerId="ADAL" clId="{85BF7E29-B863-8743-821C-9B528FF1FFE4}" dt="2024-04-05T06:47:00.365" v="3172" actId="2711"/>
          <ac:spMkLst>
            <pc:docMk/>
            <pc:sldMk cId="805076339" sldId="2147483586"/>
            <ac:spMk id="32" creationId="{16973211-1C9C-6AA5-986B-1EA00156E9D1}"/>
          </ac:spMkLst>
        </pc:spChg>
        <pc:spChg chg="mod">
          <ac:chgData name="Nisen, Henrik (BCG Platinion)" userId="23462ed3-8a28-48c0-b94c-224b90eb8d0a" providerId="ADAL" clId="{85BF7E29-B863-8743-821C-9B528FF1FFE4}" dt="2024-04-05T12:27:12.534" v="8732" actId="1036"/>
          <ac:spMkLst>
            <pc:docMk/>
            <pc:sldMk cId="805076339" sldId="2147483586"/>
            <ac:spMk id="33" creationId="{AAA4FCA3-E88C-997D-79FB-CFD1DCFA495E}"/>
          </ac:spMkLst>
        </pc:spChg>
        <pc:spChg chg="mod">
          <ac:chgData name="Nisen, Henrik (BCG Platinion)" userId="23462ed3-8a28-48c0-b94c-224b90eb8d0a" providerId="ADAL" clId="{85BF7E29-B863-8743-821C-9B528FF1FFE4}" dt="2024-04-05T06:47:00.365" v="3172" actId="2711"/>
          <ac:spMkLst>
            <pc:docMk/>
            <pc:sldMk cId="805076339" sldId="2147483586"/>
            <ac:spMk id="34" creationId="{0C27ED2B-DD9E-8A06-15BC-A15060906198}"/>
          </ac:spMkLst>
        </pc:spChg>
        <pc:spChg chg="mod">
          <ac:chgData name="Nisen, Henrik (BCG Platinion)" userId="23462ed3-8a28-48c0-b94c-224b90eb8d0a" providerId="ADAL" clId="{85BF7E29-B863-8743-821C-9B528FF1FFE4}" dt="2024-04-05T06:47:00.365" v="3172" actId="2711"/>
          <ac:spMkLst>
            <pc:docMk/>
            <pc:sldMk cId="805076339" sldId="2147483586"/>
            <ac:spMk id="35" creationId="{0B535C3F-5565-5370-FD6F-70C2031A0239}"/>
          </ac:spMkLst>
        </pc:spChg>
        <pc:spChg chg="mod">
          <ac:chgData name="Nisen, Henrik (BCG Platinion)" userId="23462ed3-8a28-48c0-b94c-224b90eb8d0a" providerId="ADAL" clId="{85BF7E29-B863-8743-821C-9B528FF1FFE4}" dt="2024-04-05T12:27:16.427" v="8735" actId="1036"/>
          <ac:spMkLst>
            <pc:docMk/>
            <pc:sldMk cId="805076339" sldId="2147483586"/>
            <ac:spMk id="37" creationId="{19C61A89-EF11-F97F-C85F-3BF2157BD852}"/>
          </ac:spMkLst>
        </pc:spChg>
        <pc:spChg chg="mod">
          <ac:chgData name="Nisen, Henrik (BCG Platinion)" userId="23462ed3-8a28-48c0-b94c-224b90eb8d0a" providerId="ADAL" clId="{85BF7E29-B863-8743-821C-9B528FF1FFE4}" dt="2024-04-05T06:47:00.365" v="3172" actId="2711"/>
          <ac:spMkLst>
            <pc:docMk/>
            <pc:sldMk cId="805076339" sldId="2147483586"/>
            <ac:spMk id="38" creationId="{755B70D6-EB26-64E1-B9C6-2800DDAFA023}"/>
          </ac:spMkLst>
        </pc:spChg>
        <pc:spChg chg="mod">
          <ac:chgData name="Nisen, Henrik (BCG Platinion)" userId="23462ed3-8a28-48c0-b94c-224b90eb8d0a" providerId="ADAL" clId="{85BF7E29-B863-8743-821C-9B528FF1FFE4}" dt="2024-04-05T12:27:00.032" v="8719" actId="20577"/>
          <ac:spMkLst>
            <pc:docMk/>
            <pc:sldMk cId="805076339" sldId="2147483586"/>
            <ac:spMk id="39" creationId="{C2EEE899-C965-7810-9351-EFEAB67255B9}"/>
          </ac:spMkLst>
        </pc:spChg>
        <pc:spChg chg="mod">
          <ac:chgData name="Nisen, Henrik (BCG Platinion)" userId="23462ed3-8a28-48c0-b94c-224b90eb8d0a" providerId="ADAL" clId="{85BF7E29-B863-8743-821C-9B528FF1FFE4}" dt="2024-04-05T06:47:00.365" v="3172" actId="2711"/>
          <ac:spMkLst>
            <pc:docMk/>
            <pc:sldMk cId="805076339" sldId="2147483586"/>
            <ac:spMk id="40" creationId="{AE48ECA3-0B3F-4EAC-7D79-633E0E511B92}"/>
          </ac:spMkLst>
        </pc:spChg>
        <pc:spChg chg="mod">
          <ac:chgData name="Nisen, Henrik (BCG Platinion)" userId="23462ed3-8a28-48c0-b94c-224b90eb8d0a" providerId="ADAL" clId="{85BF7E29-B863-8743-821C-9B528FF1FFE4}" dt="2024-04-05T06:47:00.365" v="3172" actId="2711"/>
          <ac:spMkLst>
            <pc:docMk/>
            <pc:sldMk cId="805076339" sldId="2147483586"/>
            <ac:spMk id="41" creationId="{D45B152F-8042-DA74-14EA-FB7376462E93}"/>
          </ac:spMkLst>
        </pc:spChg>
        <pc:spChg chg="mod">
          <ac:chgData name="Nisen, Henrik (BCG Platinion)" userId="23462ed3-8a28-48c0-b94c-224b90eb8d0a" providerId="ADAL" clId="{85BF7E29-B863-8743-821C-9B528FF1FFE4}" dt="2024-04-05T06:47:00.365" v="3172" actId="2711"/>
          <ac:spMkLst>
            <pc:docMk/>
            <pc:sldMk cId="805076339" sldId="2147483586"/>
            <ac:spMk id="42" creationId="{BCFC615A-E11C-6B4B-89C7-0F28E3F26638}"/>
          </ac:spMkLst>
        </pc:spChg>
        <pc:spChg chg="mod">
          <ac:chgData name="Nisen, Henrik (BCG Platinion)" userId="23462ed3-8a28-48c0-b94c-224b90eb8d0a" providerId="ADAL" clId="{85BF7E29-B863-8743-821C-9B528FF1FFE4}" dt="2024-04-05T06:47:00.365" v="3172" actId="2711"/>
          <ac:spMkLst>
            <pc:docMk/>
            <pc:sldMk cId="805076339" sldId="2147483586"/>
            <ac:spMk id="43" creationId="{84A6B2E0-03F1-D30B-D3DD-5B9A6ED49988}"/>
          </ac:spMkLst>
        </pc:spChg>
        <pc:spChg chg="mod">
          <ac:chgData name="Nisen, Henrik (BCG Platinion)" userId="23462ed3-8a28-48c0-b94c-224b90eb8d0a" providerId="ADAL" clId="{85BF7E29-B863-8743-821C-9B528FF1FFE4}" dt="2024-04-05T06:47:00.365" v="3172" actId="2711"/>
          <ac:spMkLst>
            <pc:docMk/>
            <pc:sldMk cId="805076339" sldId="2147483586"/>
            <ac:spMk id="44" creationId="{B5A3133E-A60A-AEA5-76BB-2CE799F215EF}"/>
          </ac:spMkLst>
        </pc:spChg>
        <pc:spChg chg="mod">
          <ac:chgData name="Nisen, Henrik (BCG Platinion)" userId="23462ed3-8a28-48c0-b94c-224b90eb8d0a" providerId="ADAL" clId="{85BF7E29-B863-8743-821C-9B528FF1FFE4}" dt="2024-04-05T06:47:00.365" v="3172" actId="2711"/>
          <ac:spMkLst>
            <pc:docMk/>
            <pc:sldMk cId="805076339" sldId="2147483586"/>
            <ac:spMk id="45" creationId="{6EB64CD5-754D-AE4F-86AE-1F8B5B1713FB}"/>
          </ac:spMkLst>
        </pc:spChg>
        <pc:spChg chg="mod">
          <ac:chgData name="Nisen, Henrik (BCG Platinion)" userId="23462ed3-8a28-48c0-b94c-224b90eb8d0a" providerId="ADAL" clId="{85BF7E29-B863-8743-821C-9B528FF1FFE4}" dt="2024-04-05T06:47:00.365" v="3172" actId="2711"/>
          <ac:spMkLst>
            <pc:docMk/>
            <pc:sldMk cId="805076339" sldId="2147483586"/>
            <ac:spMk id="46" creationId="{AC3EC8E5-234D-4C9C-ED79-ABBA88A8781B}"/>
          </ac:spMkLst>
        </pc:spChg>
        <pc:spChg chg="mod">
          <ac:chgData name="Nisen, Henrik (BCG Platinion)" userId="23462ed3-8a28-48c0-b94c-224b90eb8d0a" providerId="ADAL" clId="{85BF7E29-B863-8743-821C-9B528FF1FFE4}" dt="2024-04-05T06:47:11.151" v="3174" actId="207"/>
          <ac:spMkLst>
            <pc:docMk/>
            <pc:sldMk cId="805076339" sldId="2147483586"/>
            <ac:spMk id="47" creationId="{EE6D6F96-9A48-5A44-B2F4-6EBF4B5BD7A0}"/>
          </ac:spMkLst>
        </pc:spChg>
        <pc:spChg chg="mod">
          <ac:chgData name="Nisen, Henrik (BCG Platinion)" userId="23462ed3-8a28-48c0-b94c-224b90eb8d0a" providerId="ADAL" clId="{85BF7E29-B863-8743-821C-9B528FF1FFE4}" dt="2024-04-05T06:47:00.365" v="3172" actId="2711"/>
          <ac:spMkLst>
            <pc:docMk/>
            <pc:sldMk cId="805076339" sldId="2147483586"/>
            <ac:spMk id="48" creationId="{1338A0EB-4480-935A-AE83-68669C06A456}"/>
          </ac:spMkLst>
        </pc:spChg>
        <pc:spChg chg="mod">
          <ac:chgData name="Nisen, Henrik (BCG Platinion)" userId="23462ed3-8a28-48c0-b94c-224b90eb8d0a" providerId="ADAL" clId="{85BF7E29-B863-8743-821C-9B528FF1FFE4}" dt="2024-04-05T06:47:00.365" v="3172" actId="2711"/>
          <ac:spMkLst>
            <pc:docMk/>
            <pc:sldMk cId="805076339" sldId="2147483586"/>
            <ac:spMk id="49" creationId="{07B36BCC-DA94-8BA3-0969-D57D7419C328}"/>
          </ac:spMkLst>
        </pc:spChg>
        <pc:spChg chg="mod">
          <ac:chgData name="Nisen, Henrik (BCG Platinion)" userId="23462ed3-8a28-48c0-b94c-224b90eb8d0a" providerId="ADAL" clId="{85BF7E29-B863-8743-821C-9B528FF1FFE4}" dt="2024-04-05T06:47:11.149" v="3173" actId="207"/>
          <ac:spMkLst>
            <pc:docMk/>
            <pc:sldMk cId="805076339" sldId="2147483586"/>
            <ac:spMk id="50" creationId="{6F34BE38-CBE8-109E-FAA7-E5BAB23CB198}"/>
          </ac:spMkLst>
        </pc:spChg>
        <pc:spChg chg="mod">
          <ac:chgData name="Nisen, Henrik (BCG Platinion)" userId="23462ed3-8a28-48c0-b94c-224b90eb8d0a" providerId="ADAL" clId="{85BF7E29-B863-8743-821C-9B528FF1FFE4}" dt="2024-04-05T06:47:00.365" v="3172" actId="2711"/>
          <ac:spMkLst>
            <pc:docMk/>
            <pc:sldMk cId="805076339" sldId="2147483586"/>
            <ac:spMk id="51" creationId="{B92F7A82-09B0-0AB3-246C-DD62FF9CF8A2}"/>
          </ac:spMkLst>
        </pc:spChg>
        <pc:spChg chg="mod">
          <ac:chgData name="Nisen, Henrik (BCG Platinion)" userId="23462ed3-8a28-48c0-b94c-224b90eb8d0a" providerId="ADAL" clId="{85BF7E29-B863-8743-821C-9B528FF1FFE4}" dt="2024-04-05T06:47:00.365" v="3172" actId="2711"/>
          <ac:spMkLst>
            <pc:docMk/>
            <pc:sldMk cId="805076339" sldId="2147483586"/>
            <ac:spMk id="52" creationId="{50C38333-C424-B82E-3C4C-77B6D9FFB4CC}"/>
          </ac:spMkLst>
        </pc:spChg>
        <pc:spChg chg="mod">
          <ac:chgData name="Nisen, Henrik (BCG Platinion)" userId="23462ed3-8a28-48c0-b94c-224b90eb8d0a" providerId="ADAL" clId="{85BF7E29-B863-8743-821C-9B528FF1FFE4}" dt="2024-04-05T06:47:00.365" v="3172" actId="2711"/>
          <ac:spMkLst>
            <pc:docMk/>
            <pc:sldMk cId="805076339" sldId="2147483586"/>
            <ac:spMk id="53" creationId="{CCFA7DED-A5B1-B2C4-C3FD-A42E51E9B608}"/>
          </ac:spMkLst>
        </pc:spChg>
        <pc:spChg chg="mod">
          <ac:chgData name="Nisen, Henrik (BCG Platinion)" userId="23462ed3-8a28-48c0-b94c-224b90eb8d0a" providerId="ADAL" clId="{85BF7E29-B863-8743-821C-9B528FF1FFE4}" dt="2024-04-05T06:47:00.365" v="3172" actId="2711"/>
          <ac:spMkLst>
            <pc:docMk/>
            <pc:sldMk cId="805076339" sldId="2147483586"/>
            <ac:spMk id="54" creationId="{9879CB70-FBAA-BA5D-E903-8ED6A6384CC1}"/>
          </ac:spMkLst>
        </pc:spChg>
        <pc:spChg chg="mod">
          <ac:chgData name="Nisen, Henrik (BCG Platinion)" userId="23462ed3-8a28-48c0-b94c-224b90eb8d0a" providerId="ADAL" clId="{85BF7E29-B863-8743-821C-9B528FF1FFE4}" dt="2024-04-05T06:47:00.365" v="3172" actId="2711"/>
          <ac:spMkLst>
            <pc:docMk/>
            <pc:sldMk cId="805076339" sldId="2147483586"/>
            <ac:spMk id="55" creationId="{532DA259-E3FE-6E41-8F88-37FDA4913528}"/>
          </ac:spMkLst>
        </pc:spChg>
        <pc:spChg chg="mod">
          <ac:chgData name="Nisen, Henrik (BCG Platinion)" userId="23462ed3-8a28-48c0-b94c-224b90eb8d0a" providerId="ADAL" clId="{85BF7E29-B863-8743-821C-9B528FF1FFE4}" dt="2024-04-05T06:47:00.365" v="3172" actId="2711"/>
          <ac:spMkLst>
            <pc:docMk/>
            <pc:sldMk cId="805076339" sldId="2147483586"/>
            <ac:spMk id="56" creationId="{51C7A53B-A596-144A-E07B-71D66B88C5F6}"/>
          </ac:spMkLst>
        </pc:spChg>
        <pc:spChg chg="mod">
          <ac:chgData name="Nisen, Henrik (BCG Platinion)" userId="23462ed3-8a28-48c0-b94c-224b90eb8d0a" providerId="ADAL" clId="{85BF7E29-B863-8743-821C-9B528FF1FFE4}" dt="2024-04-05T06:47:00.365" v="3172" actId="2711"/>
          <ac:spMkLst>
            <pc:docMk/>
            <pc:sldMk cId="805076339" sldId="2147483586"/>
            <ac:spMk id="57" creationId="{A6C7348E-02C3-4170-8E15-15FD629E6F1B}"/>
          </ac:spMkLst>
        </pc:spChg>
        <pc:spChg chg="mod">
          <ac:chgData name="Nisen, Henrik (BCG Platinion)" userId="23462ed3-8a28-48c0-b94c-224b90eb8d0a" providerId="ADAL" clId="{85BF7E29-B863-8743-821C-9B528FF1FFE4}" dt="2024-04-05T06:47:00.365" v="3172" actId="2711"/>
          <ac:spMkLst>
            <pc:docMk/>
            <pc:sldMk cId="805076339" sldId="2147483586"/>
            <ac:spMk id="58" creationId="{1ED07146-2464-D683-B847-AF4E1A6EA433}"/>
          </ac:spMkLst>
        </pc:spChg>
        <pc:spChg chg="mod">
          <ac:chgData name="Nisen, Henrik (BCG Platinion)" userId="23462ed3-8a28-48c0-b94c-224b90eb8d0a" providerId="ADAL" clId="{85BF7E29-B863-8743-821C-9B528FF1FFE4}" dt="2024-04-05T06:47:00.365" v="3172" actId="2711"/>
          <ac:spMkLst>
            <pc:docMk/>
            <pc:sldMk cId="805076339" sldId="2147483586"/>
            <ac:spMk id="59" creationId="{C2B9D283-941B-4AD0-4158-12D180CEF844}"/>
          </ac:spMkLst>
        </pc:spChg>
        <pc:spChg chg="mod">
          <ac:chgData name="Nisen, Henrik (BCG Platinion)" userId="23462ed3-8a28-48c0-b94c-224b90eb8d0a" providerId="ADAL" clId="{85BF7E29-B863-8743-821C-9B528FF1FFE4}" dt="2024-04-05T06:48:11.310" v="3270" actId="20577"/>
          <ac:spMkLst>
            <pc:docMk/>
            <pc:sldMk cId="805076339" sldId="2147483586"/>
            <ac:spMk id="163" creationId="{2D9AF636-C56F-701C-CD7E-36960884DDA5}"/>
          </ac:spMkLst>
        </pc:spChg>
        <pc:graphicFrameChg chg="del">
          <ac:chgData name="Nisen, Henrik (BCG Platinion)" userId="23462ed3-8a28-48c0-b94c-224b90eb8d0a" providerId="ADAL" clId="{85BF7E29-B863-8743-821C-9B528FF1FFE4}" dt="2024-04-05T06:15:27.119" v="677"/>
          <ac:graphicFrameMkLst>
            <pc:docMk/>
            <pc:sldMk cId="805076339" sldId="2147483586"/>
            <ac:graphicFrameMk id="2" creationId="{F739DAC7-D9D7-0381-943D-2496F63E5EA7}"/>
          </ac:graphicFrameMkLst>
        </pc:graphicFrameChg>
        <pc:graphicFrameChg chg="add del mod replST">
          <ac:chgData name="Nisen, Henrik (BCG Platinion)" userId="23462ed3-8a28-48c0-b94c-224b90eb8d0a" providerId="ADAL" clId="{85BF7E29-B863-8743-821C-9B528FF1FFE4}" dt="2024-04-05T06:47:00.275" v="3118"/>
          <ac:graphicFrameMkLst>
            <pc:docMk/>
            <pc:sldMk cId="805076339" sldId="2147483586"/>
            <ac:graphicFrameMk id="3" creationId="{5D01B37B-A7F9-CC92-31BF-09A1ED1A977E}"/>
          </ac:graphicFrameMkLst>
        </pc:graphicFrameChg>
        <pc:graphicFrameChg chg="add mod replST">
          <ac:chgData name="Nisen, Henrik (BCG Platinion)" userId="23462ed3-8a28-48c0-b94c-224b90eb8d0a" providerId="ADAL" clId="{85BF7E29-B863-8743-821C-9B528FF1FFE4}" dt="2024-04-05T06:47:00.300" v="3128"/>
          <ac:graphicFrameMkLst>
            <pc:docMk/>
            <pc:sldMk cId="805076339" sldId="2147483586"/>
            <ac:graphicFrameMk id="4" creationId="{64724C96-99F8-8118-F70B-490F5612FF48}"/>
          </ac:graphicFrameMkLst>
        </pc:graphicFrameChg>
        <pc:graphicFrameChg chg="mod modGraphic">
          <ac:chgData name="Nisen, Henrik (BCG Platinion)" userId="23462ed3-8a28-48c0-b94c-224b90eb8d0a" providerId="ADAL" clId="{85BF7E29-B863-8743-821C-9B528FF1FFE4}" dt="2024-04-05T12:25:48.206" v="8665" actId="20577"/>
          <ac:graphicFrameMkLst>
            <pc:docMk/>
            <pc:sldMk cId="805076339" sldId="2147483586"/>
            <ac:graphicFrameMk id="8" creationId="{149D169D-9ABE-5F57-E16B-9A3195D5CB29}"/>
          </ac:graphicFrameMkLst>
        </pc:graphicFrameChg>
        <pc:graphicFrameChg chg="mod">
          <ac:chgData name="Nisen, Henrik (BCG Platinion)" userId="23462ed3-8a28-48c0-b94c-224b90eb8d0a" providerId="ADAL" clId="{85BF7E29-B863-8743-821C-9B528FF1FFE4}" dt="2024-04-05T06:47:00.351" v="3171"/>
          <ac:graphicFrameMkLst>
            <pc:docMk/>
            <pc:sldMk cId="805076339" sldId="2147483586"/>
            <ac:graphicFrameMk id="16" creationId="{38CD42A9-5F70-6F2E-B937-4F607A4B417C}"/>
          </ac:graphicFrameMkLst>
        </pc:graphicFrameChg>
        <pc:cxnChg chg="mod">
          <ac:chgData name="Nisen, Henrik (BCG Platinion)" userId="23462ed3-8a28-48c0-b94c-224b90eb8d0a" providerId="ADAL" clId="{85BF7E29-B863-8743-821C-9B528FF1FFE4}" dt="2024-04-05T06:47:00.365" v="3172" actId="2711"/>
          <ac:cxnSpMkLst>
            <pc:docMk/>
            <pc:sldMk cId="805076339" sldId="2147483586"/>
            <ac:cxnSpMk id="12" creationId="{6A6E4E9F-0335-24BA-FF2F-80D45E4BC7CD}"/>
          </ac:cxnSpMkLst>
        </pc:cxnChg>
      </pc:sldChg>
      <pc:sldChg chg="modSp mod ord modTransition modShow">
        <pc:chgData name="Nisen, Henrik (BCG Platinion)" userId="23462ed3-8a28-48c0-b94c-224b90eb8d0a" providerId="ADAL" clId="{85BF7E29-B863-8743-821C-9B528FF1FFE4}" dt="2024-04-05T08:34:44.540" v="8623"/>
        <pc:sldMkLst>
          <pc:docMk/>
          <pc:sldMk cId="1586721897" sldId="2147483587"/>
        </pc:sldMkLst>
        <pc:spChg chg="mod">
          <ac:chgData name="Nisen, Henrik (BCG Platinion)" userId="23462ed3-8a28-48c0-b94c-224b90eb8d0a" providerId="ADAL" clId="{85BF7E29-B863-8743-821C-9B528FF1FFE4}" dt="2024-04-05T07:52:44.099" v="7587" actId="20577"/>
          <ac:spMkLst>
            <pc:docMk/>
            <pc:sldMk cId="1586721897" sldId="2147483587"/>
            <ac:spMk id="7" creationId="{662CAB21-6D45-B391-170F-469FE0A64245}"/>
          </ac:spMkLst>
        </pc:spChg>
        <pc:spChg chg="mod">
          <ac:chgData name="Nisen, Henrik (BCG Platinion)" userId="23462ed3-8a28-48c0-b94c-224b90eb8d0a" providerId="ADAL" clId="{85BF7E29-B863-8743-821C-9B528FF1FFE4}" dt="2024-04-05T07:47:05.110" v="7558" actId="20577"/>
          <ac:spMkLst>
            <pc:docMk/>
            <pc:sldMk cId="1586721897" sldId="2147483587"/>
            <ac:spMk id="8" creationId="{14FF434B-48AC-9C83-7483-A64B2B4C7A20}"/>
          </ac:spMkLst>
        </pc:spChg>
        <pc:spChg chg="mod">
          <ac:chgData name="Nisen, Henrik (BCG Platinion)" userId="23462ed3-8a28-48c0-b94c-224b90eb8d0a" providerId="ADAL" clId="{85BF7E29-B863-8743-821C-9B528FF1FFE4}" dt="2024-04-05T07:53:29.056" v="7599" actId="20577"/>
          <ac:spMkLst>
            <pc:docMk/>
            <pc:sldMk cId="1586721897" sldId="2147483587"/>
            <ac:spMk id="11" creationId="{745E615C-2ACE-07D9-CED4-CCDC72792CAF}"/>
          </ac:spMkLst>
        </pc:spChg>
        <pc:spChg chg="mod">
          <ac:chgData name="Nisen, Henrik (BCG Platinion)" userId="23462ed3-8a28-48c0-b94c-224b90eb8d0a" providerId="ADAL" clId="{85BF7E29-B863-8743-821C-9B528FF1FFE4}" dt="2024-04-05T07:53:11.435" v="7597" actId="20577"/>
          <ac:spMkLst>
            <pc:docMk/>
            <pc:sldMk cId="1586721897" sldId="2147483587"/>
            <ac:spMk id="21" creationId="{1217BC1C-102B-D970-CC2E-1C3FCA27A8B2}"/>
          </ac:spMkLst>
        </pc:spChg>
        <pc:spChg chg="mod">
          <ac:chgData name="Nisen, Henrik (BCG Platinion)" userId="23462ed3-8a28-48c0-b94c-224b90eb8d0a" providerId="ADAL" clId="{85BF7E29-B863-8743-821C-9B528FF1FFE4}" dt="2024-04-05T07:46:54.734" v="7556" actId="20577"/>
          <ac:spMkLst>
            <pc:docMk/>
            <pc:sldMk cId="1586721897" sldId="2147483587"/>
            <ac:spMk id="23" creationId="{578ED5AE-8F49-A9DD-3472-B4D9F168D43D}"/>
          </ac:spMkLst>
        </pc:spChg>
      </pc:sldChg>
      <pc:sldChg chg="del">
        <pc:chgData name="Nisen, Henrik (BCG Platinion)" userId="23462ed3-8a28-48c0-b94c-224b90eb8d0a" providerId="ADAL" clId="{85BF7E29-B863-8743-821C-9B528FF1FFE4}" dt="2024-04-05T06:16:10.462" v="1492" actId="2696"/>
        <pc:sldMkLst>
          <pc:docMk/>
          <pc:sldMk cId="37108236" sldId="2147483589"/>
        </pc:sldMkLst>
      </pc:sldChg>
      <pc:sldChg chg="del">
        <pc:chgData name="Nisen, Henrik (BCG Platinion)" userId="23462ed3-8a28-48c0-b94c-224b90eb8d0a" providerId="ADAL" clId="{85BF7E29-B863-8743-821C-9B528FF1FFE4}" dt="2024-04-05T06:16:10.383" v="1486" actId="2696"/>
        <pc:sldMkLst>
          <pc:docMk/>
          <pc:sldMk cId="3017358938" sldId="2147483590"/>
        </pc:sldMkLst>
      </pc:sldChg>
      <pc:sldChg chg="del">
        <pc:chgData name="Nisen, Henrik (BCG Platinion)" userId="23462ed3-8a28-48c0-b94c-224b90eb8d0a" providerId="ADAL" clId="{85BF7E29-B863-8743-821C-9B528FF1FFE4}" dt="2024-04-05T06:16:10.404" v="1488" actId="2696"/>
        <pc:sldMkLst>
          <pc:docMk/>
          <pc:sldMk cId="3137648856" sldId="2147483591"/>
        </pc:sldMkLst>
      </pc:sldChg>
      <pc:sldChg chg="del">
        <pc:chgData name="Nisen, Henrik (BCG Platinion)" userId="23462ed3-8a28-48c0-b94c-224b90eb8d0a" providerId="ADAL" clId="{85BF7E29-B863-8743-821C-9B528FF1FFE4}" dt="2024-04-05T06:16:10.436" v="1490" actId="2696"/>
        <pc:sldMkLst>
          <pc:docMk/>
          <pc:sldMk cId="2453663028" sldId="2147483592"/>
        </pc:sldMkLst>
      </pc:sldChg>
      <pc:sldChg chg="del">
        <pc:chgData name="Nisen, Henrik (BCG Platinion)" userId="23462ed3-8a28-48c0-b94c-224b90eb8d0a" providerId="ADAL" clId="{85BF7E29-B863-8743-821C-9B528FF1FFE4}" dt="2024-04-05T06:16:10.356" v="1483" actId="2696"/>
        <pc:sldMkLst>
          <pc:docMk/>
          <pc:sldMk cId="1783604824" sldId="2147483593"/>
        </pc:sldMkLst>
      </pc:sldChg>
      <pc:sldChg chg="del">
        <pc:chgData name="Nisen, Henrik (BCG Platinion)" userId="23462ed3-8a28-48c0-b94c-224b90eb8d0a" providerId="ADAL" clId="{85BF7E29-B863-8743-821C-9B528FF1FFE4}" dt="2024-04-05T06:16:10.362" v="1484" actId="2696"/>
        <pc:sldMkLst>
          <pc:docMk/>
          <pc:sldMk cId="3260611131" sldId="2147483594"/>
        </pc:sldMkLst>
      </pc:sldChg>
      <pc:sldChg chg="del">
        <pc:chgData name="Nisen, Henrik (BCG Platinion)" userId="23462ed3-8a28-48c0-b94c-224b90eb8d0a" providerId="ADAL" clId="{85BF7E29-B863-8743-821C-9B528FF1FFE4}" dt="2024-04-05T06:16:10.491" v="1497" actId="2696"/>
        <pc:sldMkLst>
          <pc:docMk/>
          <pc:sldMk cId="2438272984" sldId="2147483596"/>
        </pc:sldMkLst>
      </pc:sldChg>
      <pc:sldChg chg="addSp modSp mod ord modTransition">
        <pc:chgData name="Nisen, Henrik (BCG Platinion)" userId="23462ed3-8a28-48c0-b94c-224b90eb8d0a" providerId="ADAL" clId="{85BF7E29-B863-8743-821C-9B528FF1FFE4}" dt="2024-04-05T08:47:08.870" v="8638" actId="20577"/>
        <pc:sldMkLst>
          <pc:docMk/>
          <pc:sldMk cId="3293034707" sldId="2147483597"/>
        </pc:sldMkLst>
        <pc:spChg chg="mod">
          <ac:chgData name="Nisen, Henrik (BCG Platinion)" userId="23462ed3-8a28-48c0-b94c-224b90eb8d0a" providerId="ADAL" clId="{85BF7E29-B863-8743-821C-9B528FF1FFE4}" dt="2024-04-05T06:24:20.802" v="2239" actId="20577"/>
          <ac:spMkLst>
            <pc:docMk/>
            <pc:sldMk cId="3293034707" sldId="2147483597"/>
            <ac:spMk id="5" creationId="{B58EE5ED-7569-E30B-AB77-400D5AB394D8}"/>
          </ac:spMkLst>
        </pc:spChg>
        <pc:spChg chg="mod">
          <ac:chgData name="Nisen, Henrik (BCG Platinion)" userId="23462ed3-8a28-48c0-b94c-224b90eb8d0a" providerId="ADAL" clId="{85BF7E29-B863-8743-821C-9B528FF1FFE4}" dt="2024-04-05T08:47:08.870" v="8638" actId="20577"/>
          <ac:spMkLst>
            <pc:docMk/>
            <pc:sldMk cId="3293034707" sldId="2147483597"/>
            <ac:spMk id="6" creationId="{02945BB6-CE38-6059-3335-9651C1C9987E}"/>
          </ac:spMkLst>
        </pc:spChg>
        <pc:spChg chg="mod">
          <ac:chgData name="Nisen, Henrik (BCG Platinion)" userId="23462ed3-8a28-48c0-b94c-224b90eb8d0a" providerId="ADAL" clId="{85BF7E29-B863-8743-821C-9B528FF1FFE4}" dt="2024-04-05T07:54:29.442" v="7699" actId="20577"/>
          <ac:spMkLst>
            <pc:docMk/>
            <pc:sldMk cId="3293034707" sldId="2147483597"/>
            <ac:spMk id="9" creationId="{3440410A-426A-CB7C-FD55-34A4DFA4671D}"/>
          </ac:spMkLst>
        </pc:spChg>
        <pc:spChg chg="mod">
          <ac:chgData name="Nisen, Henrik (BCG Platinion)" userId="23462ed3-8a28-48c0-b94c-224b90eb8d0a" providerId="ADAL" clId="{85BF7E29-B863-8743-821C-9B528FF1FFE4}" dt="2024-04-05T06:22:12.257" v="2055" actId="1036"/>
          <ac:spMkLst>
            <pc:docMk/>
            <pc:sldMk cId="3293034707" sldId="2147483597"/>
            <ac:spMk id="13" creationId="{58744A61-4D2E-AE35-2ADD-F4A4B677EA8A}"/>
          </ac:spMkLst>
        </pc:spChg>
        <pc:spChg chg="mod">
          <ac:chgData name="Nisen, Henrik (BCG Platinion)" userId="23462ed3-8a28-48c0-b94c-224b90eb8d0a" providerId="ADAL" clId="{85BF7E29-B863-8743-821C-9B528FF1FFE4}" dt="2024-04-05T06:37:40.805" v="2778" actId="20577"/>
          <ac:spMkLst>
            <pc:docMk/>
            <pc:sldMk cId="3293034707" sldId="2147483597"/>
            <ac:spMk id="15" creationId="{91BFDBD1-E17B-1FC9-6384-8D6D2A7C493F}"/>
          </ac:spMkLst>
        </pc:spChg>
        <pc:spChg chg="mod">
          <ac:chgData name="Nisen, Henrik (BCG Platinion)" userId="23462ed3-8a28-48c0-b94c-224b90eb8d0a" providerId="ADAL" clId="{85BF7E29-B863-8743-821C-9B528FF1FFE4}" dt="2024-04-05T06:22:12.257" v="2055" actId="1036"/>
          <ac:spMkLst>
            <pc:docMk/>
            <pc:sldMk cId="3293034707" sldId="2147483597"/>
            <ac:spMk id="16" creationId="{7A1F41C2-AF77-9DAB-007C-5188641E86CC}"/>
          </ac:spMkLst>
        </pc:spChg>
        <pc:spChg chg="mod">
          <ac:chgData name="Nisen, Henrik (BCG Platinion)" userId="23462ed3-8a28-48c0-b94c-224b90eb8d0a" providerId="ADAL" clId="{85BF7E29-B863-8743-821C-9B528FF1FFE4}" dt="2024-04-05T06:22:12.257" v="2055" actId="1036"/>
          <ac:spMkLst>
            <pc:docMk/>
            <pc:sldMk cId="3293034707" sldId="2147483597"/>
            <ac:spMk id="20" creationId="{F10BFCE2-CDED-3BF5-B858-465D751DE71E}"/>
          </ac:spMkLst>
        </pc:spChg>
        <pc:spChg chg="mod">
          <ac:chgData name="Nisen, Henrik (BCG Platinion)" userId="23462ed3-8a28-48c0-b94c-224b90eb8d0a" providerId="ADAL" clId="{85BF7E29-B863-8743-821C-9B528FF1FFE4}" dt="2024-04-05T06:22:12.257" v="2055" actId="1036"/>
          <ac:spMkLst>
            <pc:docMk/>
            <pc:sldMk cId="3293034707" sldId="2147483597"/>
            <ac:spMk id="35" creationId="{764753D2-D638-D6DF-F916-A070443981DD}"/>
          </ac:spMkLst>
        </pc:spChg>
        <pc:spChg chg="mod">
          <ac:chgData name="Nisen, Henrik (BCG Platinion)" userId="23462ed3-8a28-48c0-b94c-224b90eb8d0a" providerId="ADAL" clId="{85BF7E29-B863-8743-821C-9B528FF1FFE4}" dt="2024-04-05T06:22:12.257" v="2055" actId="1036"/>
          <ac:spMkLst>
            <pc:docMk/>
            <pc:sldMk cId="3293034707" sldId="2147483597"/>
            <ac:spMk id="38" creationId="{BA3FBBD2-8B8B-FAD5-B770-FAE891226559}"/>
          </ac:spMkLst>
        </pc:spChg>
        <pc:spChg chg="mod">
          <ac:chgData name="Nisen, Henrik (BCG Platinion)" userId="23462ed3-8a28-48c0-b94c-224b90eb8d0a" providerId="ADAL" clId="{85BF7E29-B863-8743-821C-9B528FF1FFE4}" dt="2024-04-05T06:22:12.257" v="2055" actId="1036"/>
          <ac:spMkLst>
            <pc:docMk/>
            <pc:sldMk cId="3293034707" sldId="2147483597"/>
            <ac:spMk id="39" creationId="{64F8B8C9-E069-90DB-6C60-91424CF7D2E7}"/>
          </ac:spMkLst>
        </pc:spChg>
        <pc:spChg chg="mod">
          <ac:chgData name="Nisen, Henrik (BCG Platinion)" userId="23462ed3-8a28-48c0-b94c-224b90eb8d0a" providerId="ADAL" clId="{85BF7E29-B863-8743-821C-9B528FF1FFE4}" dt="2024-04-05T06:22:12.257" v="2055" actId="1036"/>
          <ac:spMkLst>
            <pc:docMk/>
            <pc:sldMk cId="3293034707" sldId="2147483597"/>
            <ac:spMk id="40" creationId="{BFB8A02B-4101-9592-8716-77CCEAE695EE}"/>
          </ac:spMkLst>
        </pc:spChg>
        <pc:spChg chg="mod">
          <ac:chgData name="Nisen, Henrik (BCG Platinion)" userId="23462ed3-8a28-48c0-b94c-224b90eb8d0a" providerId="ADAL" clId="{85BF7E29-B863-8743-821C-9B528FF1FFE4}" dt="2024-04-05T06:22:12.257" v="2055" actId="1036"/>
          <ac:spMkLst>
            <pc:docMk/>
            <pc:sldMk cId="3293034707" sldId="2147483597"/>
            <ac:spMk id="41" creationId="{C0DCEC1F-6D68-40E1-B6CD-646C94BB98FD}"/>
          </ac:spMkLst>
        </pc:spChg>
        <pc:spChg chg="mod">
          <ac:chgData name="Nisen, Henrik (BCG Platinion)" userId="23462ed3-8a28-48c0-b94c-224b90eb8d0a" providerId="ADAL" clId="{85BF7E29-B863-8743-821C-9B528FF1FFE4}" dt="2024-04-05T06:22:12.257" v="2055" actId="1036"/>
          <ac:spMkLst>
            <pc:docMk/>
            <pc:sldMk cId="3293034707" sldId="2147483597"/>
            <ac:spMk id="42" creationId="{CB2767BB-AAB8-8832-102A-4F7E7D3B8977}"/>
          </ac:spMkLst>
        </pc:spChg>
        <pc:spChg chg="mod">
          <ac:chgData name="Nisen, Henrik (BCG Platinion)" userId="23462ed3-8a28-48c0-b94c-224b90eb8d0a" providerId="ADAL" clId="{85BF7E29-B863-8743-821C-9B528FF1FFE4}" dt="2024-04-05T06:22:12.257" v="2055" actId="1036"/>
          <ac:spMkLst>
            <pc:docMk/>
            <pc:sldMk cId="3293034707" sldId="2147483597"/>
            <ac:spMk id="43" creationId="{5D749F37-E71A-29E6-4E0F-C958483C3613}"/>
          </ac:spMkLst>
        </pc:spChg>
        <pc:spChg chg="mod">
          <ac:chgData name="Nisen, Henrik (BCG Platinion)" userId="23462ed3-8a28-48c0-b94c-224b90eb8d0a" providerId="ADAL" clId="{85BF7E29-B863-8743-821C-9B528FF1FFE4}" dt="2024-04-05T06:22:12.257" v="2055" actId="1036"/>
          <ac:spMkLst>
            <pc:docMk/>
            <pc:sldMk cId="3293034707" sldId="2147483597"/>
            <ac:spMk id="44" creationId="{550BBFA6-0C99-6DF2-71FE-C1C564BF915B}"/>
          </ac:spMkLst>
        </pc:spChg>
        <pc:spChg chg="mod">
          <ac:chgData name="Nisen, Henrik (BCG Platinion)" userId="23462ed3-8a28-48c0-b94c-224b90eb8d0a" providerId="ADAL" clId="{85BF7E29-B863-8743-821C-9B528FF1FFE4}" dt="2024-04-05T06:22:12.257" v="2055" actId="1036"/>
          <ac:spMkLst>
            <pc:docMk/>
            <pc:sldMk cId="3293034707" sldId="2147483597"/>
            <ac:spMk id="45" creationId="{FC2A1050-4B9F-7D14-498C-B20BA2E8F291}"/>
          </ac:spMkLst>
        </pc:spChg>
        <pc:picChg chg="add mod">
          <ac:chgData name="Nisen, Henrik (BCG Platinion)" userId="23462ed3-8a28-48c0-b94c-224b90eb8d0a" providerId="ADAL" clId="{85BF7E29-B863-8743-821C-9B528FF1FFE4}" dt="2024-04-05T06:18:05.615" v="1550"/>
          <ac:picMkLst>
            <pc:docMk/>
            <pc:sldMk cId="3293034707" sldId="2147483597"/>
            <ac:picMk id="7" creationId="{0F83C4AC-DC04-C7D9-EC70-4571780D9C1F}"/>
          </ac:picMkLst>
        </pc:picChg>
        <pc:picChg chg="add">
          <ac:chgData name="Nisen, Henrik (BCG Platinion)" userId="23462ed3-8a28-48c0-b94c-224b90eb8d0a" providerId="ADAL" clId="{85BF7E29-B863-8743-821C-9B528FF1FFE4}" dt="2024-04-05T06:19:34.796" v="1702"/>
          <ac:picMkLst>
            <pc:docMk/>
            <pc:sldMk cId="3293034707" sldId="2147483597"/>
            <ac:picMk id="14" creationId="{4E3DD4D3-6F56-B74C-5047-0061D40A155C}"/>
          </ac:picMkLst>
        </pc:picChg>
      </pc:sldChg>
      <pc:sldChg chg="modSp mod modTransition">
        <pc:chgData name="Nisen, Henrik (BCG Platinion)" userId="23462ed3-8a28-48c0-b94c-224b90eb8d0a" providerId="ADAL" clId="{85BF7E29-B863-8743-821C-9B528FF1FFE4}" dt="2024-04-05T08:34:44.540" v="8623"/>
        <pc:sldMkLst>
          <pc:docMk/>
          <pc:sldMk cId="41052664" sldId="2147483598"/>
        </pc:sldMkLst>
        <pc:spChg chg="mod">
          <ac:chgData name="Nisen, Henrik (BCG Platinion)" userId="23462ed3-8a28-48c0-b94c-224b90eb8d0a" providerId="ADAL" clId="{85BF7E29-B863-8743-821C-9B528FF1FFE4}" dt="2024-04-05T06:24:33.449" v="2242" actId="20577"/>
          <ac:spMkLst>
            <pc:docMk/>
            <pc:sldMk cId="41052664" sldId="2147483598"/>
            <ac:spMk id="8" creationId="{527DAFC8-E43F-B664-298B-52B12FD413D3}"/>
          </ac:spMkLst>
        </pc:spChg>
      </pc:sldChg>
      <pc:sldChg chg="modSp mod modTransition">
        <pc:chgData name="Nisen, Henrik (BCG Platinion)" userId="23462ed3-8a28-48c0-b94c-224b90eb8d0a" providerId="ADAL" clId="{85BF7E29-B863-8743-821C-9B528FF1FFE4}" dt="2024-04-05T08:34:44.540" v="8623"/>
        <pc:sldMkLst>
          <pc:docMk/>
          <pc:sldMk cId="647525745" sldId="2147483599"/>
        </pc:sldMkLst>
        <pc:spChg chg="mod">
          <ac:chgData name="Nisen, Henrik (BCG Platinion)" userId="23462ed3-8a28-48c0-b94c-224b90eb8d0a" providerId="ADAL" clId="{85BF7E29-B863-8743-821C-9B528FF1FFE4}" dt="2024-04-05T06:23:57.266" v="2237"/>
          <ac:spMkLst>
            <pc:docMk/>
            <pc:sldMk cId="647525745" sldId="2147483599"/>
            <ac:spMk id="8" creationId="{527DAFC8-E43F-B664-298B-52B12FD413D3}"/>
          </ac:spMkLst>
        </pc:spChg>
      </pc:sldChg>
      <pc:sldChg chg="del">
        <pc:chgData name="Nisen, Henrik (BCG Platinion)" userId="23462ed3-8a28-48c0-b94c-224b90eb8d0a" providerId="ADAL" clId="{85BF7E29-B863-8743-821C-9B528FF1FFE4}" dt="2024-04-05T06:16:10.483" v="1496" actId="2696"/>
        <pc:sldMkLst>
          <pc:docMk/>
          <pc:sldMk cId="2594962716" sldId="2147483601"/>
        </pc:sldMkLst>
      </pc:sldChg>
      <pc:sldChg chg="del">
        <pc:chgData name="Nisen, Henrik (BCG Platinion)" userId="23462ed3-8a28-48c0-b94c-224b90eb8d0a" providerId="ADAL" clId="{85BF7E29-B863-8743-821C-9B528FF1FFE4}" dt="2024-04-05T06:16:10.252" v="1477" actId="2696"/>
        <pc:sldMkLst>
          <pc:docMk/>
          <pc:sldMk cId="839864784" sldId="2147483602"/>
        </pc:sldMkLst>
      </pc:sldChg>
      <pc:sldChg chg="modSp mod modTransition">
        <pc:chgData name="Nisen, Henrik (BCG Platinion)" userId="23462ed3-8a28-48c0-b94c-224b90eb8d0a" providerId="ADAL" clId="{85BF7E29-B863-8743-821C-9B528FF1FFE4}" dt="2024-04-05T08:34:44.540" v="8623"/>
        <pc:sldMkLst>
          <pc:docMk/>
          <pc:sldMk cId="2775471582" sldId="2147483603"/>
        </pc:sldMkLst>
        <pc:spChg chg="mod">
          <ac:chgData name="Nisen, Henrik (BCG Platinion)" userId="23462ed3-8a28-48c0-b94c-224b90eb8d0a" providerId="ADAL" clId="{85BF7E29-B863-8743-821C-9B528FF1FFE4}" dt="2024-04-05T06:35:59.155" v="2727" actId="20577"/>
          <ac:spMkLst>
            <pc:docMk/>
            <pc:sldMk cId="2775471582" sldId="2147483603"/>
            <ac:spMk id="7" creationId="{655C5497-1A69-8645-BD38-1845C93346B4}"/>
          </ac:spMkLst>
        </pc:spChg>
        <pc:spChg chg="mod">
          <ac:chgData name="Nisen, Henrik (BCG Platinion)" userId="23462ed3-8a28-48c0-b94c-224b90eb8d0a" providerId="ADAL" clId="{85BF7E29-B863-8743-821C-9B528FF1FFE4}" dt="2024-04-05T06:36:17.016" v="2754" actId="20577"/>
          <ac:spMkLst>
            <pc:docMk/>
            <pc:sldMk cId="2775471582" sldId="2147483603"/>
            <ac:spMk id="8" creationId="{2C5DD0C3-EAB4-6AB1-C877-EE4374DC8597}"/>
          </ac:spMkLst>
        </pc:spChg>
        <pc:spChg chg="mod">
          <ac:chgData name="Nisen, Henrik (BCG Platinion)" userId="23462ed3-8a28-48c0-b94c-224b90eb8d0a" providerId="ADAL" clId="{85BF7E29-B863-8743-821C-9B528FF1FFE4}" dt="2024-04-05T06:37:12.299" v="2763"/>
          <ac:spMkLst>
            <pc:docMk/>
            <pc:sldMk cId="2775471582" sldId="2147483603"/>
            <ac:spMk id="14" creationId="{5746B9E5-8388-0D46-BFC5-CD79468030EF}"/>
          </ac:spMkLst>
        </pc:spChg>
      </pc:sldChg>
      <pc:sldChg chg="addSp delSp modSp del mod">
        <pc:chgData name="Nisen, Henrik (BCG Platinion)" userId="23462ed3-8a28-48c0-b94c-224b90eb8d0a" providerId="ADAL" clId="{85BF7E29-B863-8743-821C-9B528FF1FFE4}" dt="2024-04-05T06:16:10.127" v="1469" actId="2696"/>
        <pc:sldMkLst>
          <pc:docMk/>
          <pc:sldMk cId="2791291552" sldId="2147483605"/>
        </pc:sldMkLst>
        <pc:spChg chg="mod">
          <ac:chgData name="Nisen, Henrik (BCG Platinion)" userId="23462ed3-8a28-48c0-b94c-224b90eb8d0a" providerId="ADAL" clId="{85BF7E29-B863-8743-821C-9B528FF1FFE4}" dt="2024-04-05T06:16:06.733" v="1414"/>
          <ac:spMkLst>
            <pc:docMk/>
            <pc:sldMk cId="2791291552" sldId="2147483605"/>
            <ac:spMk id="2" creationId="{3D276EDA-45C9-60D6-7BB0-61EE15635B23}"/>
          </ac:spMkLst>
        </pc:spChg>
        <pc:spChg chg="mod">
          <ac:chgData name="Nisen, Henrik (BCG Platinion)" userId="23462ed3-8a28-48c0-b94c-224b90eb8d0a" providerId="ADAL" clId="{85BF7E29-B863-8743-821C-9B528FF1FFE4}" dt="2024-04-05T06:16:06.734" v="1415"/>
          <ac:spMkLst>
            <pc:docMk/>
            <pc:sldMk cId="2791291552" sldId="2147483605"/>
            <ac:spMk id="3" creationId="{522AC60D-FE96-2546-F27F-FF49D8F5A326}"/>
          </ac:spMkLst>
        </pc:spChg>
        <pc:spChg chg="mod">
          <ac:chgData name="Nisen, Henrik (BCG Platinion)" userId="23462ed3-8a28-48c0-b94c-224b90eb8d0a" providerId="ADAL" clId="{85BF7E29-B863-8743-821C-9B528FF1FFE4}" dt="2024-04-05T06:16:06.735" v="1416"/>
          <ac:spMkLst>
            <pc:docMk/>
            <pc:sldMk cId="2791291552" sldId="2147483605"/>
            <ac:spMk id="4" creationId="{7DAD173B-050D-ADC2-C16D-F8C1AF4A1564}"/>
          </ac:spMkLst>
        </pc:spChg>
        <pc:spChg chg="mod">
          <ac:chgData name="Nisen, Henrik (BCG Platinion)" userId="23462ed3-8a28-48c0-b94c-224b90eb8d0a" providerId="ADAL" clId="{85BF7E29-B863-8743-821C-9B528FF1FFE4}" dt="2024-04-05T06:16:06.736" v="1417"/>
          <ac:spMkLst>
            <pc:docMk/>
            <pc:sldMk cId="2791291552" sldId="2147483605"/>
            <ac:spMk id="8" creationId="{9806F401-BD29-CD8B-DF35-C83F70109977}"/>
          </ac:spMkLst>
        </pc:spChg>
        <pc:spChg chg="mod">
          <ac:chgData name="Nisen, Henrik (BCG Platinion)" userId="23462ed3-8a28-48c0-b94c-224b90eb8d0a" providerId="ADAL" clId="{85BF7E29-B863-8743-821C-9B528FF1FFE4}" dt="2024-04-05T06:16:06.738" v="1419"/>
          <ac:spMkLst>
            <pc:docMk/>
            <pc:sldMk cId="2791291552" sldId="2147483605"/>
            <ac:spMk id="10" creationId="{1F785D3F-109F-A5E1-5CBB-62E16FFAD99C}"/>
          </ac:spMkLst>
        </pc:spChg>
        <pc:spChg chg="mod">
          <ac:chgData name="Nisen, Henrik (BCG Platinion)" userId="23462ed3-8a28-48c0-b94c-224b90eb8d0a" providerId="ADAL" clId="{85BF7E29-B863-8743-821C-9B528FF1FFE4}" dt="2024-04-05T06:16:06.739" v="1420"/>
          <ac:spMkLst>
            <pc:docMk/>
            <pc:sldMk cId="2791291552" sldId="2147483605"/>
            <ac:spMk id="12" creationId="{5DE12A3F-197C-4896-AE32-E7F7F65A4FBF}"/>
          </ac:spMkLst>
        </pc:spChg>
        <pc:spChg chg="mod">
          <ac:chgData name="Nisen, Henrik (BCG Platinion)" userId="23462ed3-8a28-48c0-b94c-224b90eb8d0a" providerId="ADAL" clId="{85BF7E29-B863-8743-821C-9B528FF1FFE4}" dt="2024-04-05T06:16:06.740" v="1422"/>
          <ac:spMkLst>
            <pc:docMk/>
            <pc:sldMk cId="2791291552" sldId="2147483605"/>
            <ac:spMk id="15" creationId="{7401882C-0FC8-C3C9-764A-50F6C6C1CD15}"/>
          </ac:spMkLst>
        </pc:spChg>
        <pc:spChg chg="mod">
          <ac:chgData name="Nisen, Henrik (BCG Platinion)" userId="23462ed3-8a28-48c0-b94c-224b90eb8d0a" providerId="ADAL" clId="{85BF7E29-B863-8743-821C-9B528FF1FFE4}" dt="2024-04-05T06:16:06.743" v="1425"/>
          <ac:spMkLst>
            <pc:docMk/>
            <pc:sldMk cId="2791291552" sldId="2147483605"/>
            <ac:spMk id="16" creationId="{3A1324D6-A7A5-F4E6-42D0-0CF65D3D8624}"/>
          </ac:spMkLst>
        </pc:spChg>
        <pc:spChg chg="mod">
          <ac:chgData name="Nisen, Henrik (BCG Platinion)" userId="23462ed3-8a28-48c0-b94c-224b90eb8d0a" providerId="ADAL" clId="{85BF7E29-B863-8743-821C-9B528FF1FFE4}" dt="2024-04-05T06:16:06.744" v="1426"/>
          <ac:spMkLst>
            <pc:docMk/>
            <pc:sldMk cId="2791291552" sldId="2147483605"/>
            <ac:spMk id="17" creationId="{8E6D5BF3-9530-C112-DF33-12A77A6F1FE9}"/>
          </ac:spMkLst>
        </pc:spChg>
        <pc:spChg chg="mod">
          <ac:chgData name="Nisen, Henrik (BCG Platinion)" userId="23462ed3-8a28-48c0-b94c-224b90eb8d0a" providerId="ADAL" clId="{85BF7E29-B863-8743-821C-9B528FF1FFE4}" dt="2024-04-05T06:16:06.741" v="1423"/>
          <ac:spMkLst>
            <pc:docMk/>
            <pc:sldMk cId="2791291552" sldId="2147483605"/>
            <ac:spMk id="18" creationId="{1E5C105C-7FB0-FFEF-0CF3-B10F28A5C194}"/>
          </ac:spMkLst>
        </pc:spChg>
        <pc:spChg chg="mod">
          <ac:chgData name="Nisen, Henrik (BCG Platinion)" userId="23462ed3-8a28-48c0-b94c-224b90eb8d0a" providerId="ADAL" clId="{85BF7E29-B863-8743-821C-9B528FF1FFE4}" dt="2024-04-05T06:16:06.742" v="1424"/>
          <ac:spMkLst>
            <pc:docMk/>
            <pc:sldMk cId="2791291552" sldId="2147483605"/>
            <ac:spMk id="19" creationId="{F8DC370C-F68E-0C82-FDE1-01E2F1E46CDF}"/>
          </ac:spMkLst>
        </pc:spChg>
        <pc:spChg chg="mod">
          <ac:chgData name="Nisen, Henrik (BCG Platinion)" userId="23462ed3-8a28-48c0-b94c-224b90eb8d0a" providerId="ADAL" clId="{85BF7E29-B863-8743-821C-9B528FF1FFE4}" dt="2024-04-05T06:16:06.745" v="1427"/>
          <ac:spMkLst>
            <pc:docMk/>
            <pc:sldMk cId="2791291552" sldId="2147483605"/>
            <ac:spMk id="20" creationId="{CA816FF0-4593-4490-B043-75A97697C067}"/>
          </ac:spMkLst>
        </pc:spChg>
        <pc:spChg chg="mod">
          <ac:chgData name="Nisen, Henrik (BCG Platinion)" userId="23462ed3-8a28-48c0-b94c-224b90eb8d0a" providerId="ADAL" clId="{85BF7E29-B863-8743-821C-9B528FF1FFE4}" dt="2024-04-05T06:16:06.746" v="1428"/>
          <ac:spMkLst>
            <pc:docMk/>
            <pc:sldMk cId="2791291552" sldId="2147483605"/>
            <ac:spMk id="21" creationId="{AF6C42F1-0A0A-654F-B94A-A32ECBEB0AE2}"/>
          </ac:spMkLst>
        </pc:spChg>
        <pc:spChg chg="mod">
          <ac:chgData name="Nisen, Henrik (BCG Platinion)" userId="23462ed3-8a28-48c0-b94c-224b90eb8d0a" providerId="ADAL" clId="{85BF7E29-B863-8743-821C-9B528FF1FFE4}" dt="2024-04-05T06:16:06.747" v="1429"/>
          <ac:spMkLst>
            <pc:docMk/>
            <pc:sldMk cId="2791291552" sldId="2147483605"/>
            <ac:spMk id="22" creationId="{0C68B494-FF7D-74F5-A641-619AF3387052}"/>
          </ac:spMkLst>
        </pc:spChg>
        <pc:spChg chg="mod">
          <ac:chgData name="Nisen, Henrik (BCG Platinion)" userId="23462ed3-8a28-48c0-b94c-224b90eb8d0a" providerId="ADAL" clId="{85BF7E29-B863-8743-821C-9B528FF1FFE4}" dt="2024-04-05T06:16:06.748" v="1430"/>
          <ac:spMkLst>
            <pc:docMk/>
            <pc:sldMk cId="2791291552" sldId="2147483605"/>
            <ac:spMk id="23" creationId="{752977E1-34EF-1C47-EC81-F0BC8BC4993C}"/>
          </ac:spMkLst>
        </pc:spChg>
        <pc:spChg chg="mod">
          <ac:chgData name="Nisen, Henrik (BCG Platinion)" userId="23462ed3-8a28-48c0-b94c-224b90eb8d0a" providerId="ADAL" clId="{85BF7E29-B863-8743-821C-9B528FF1FFE4}" dt="2024-04-05T06:16:06.749" v="1431"/>
          <ac:spMkLst>
            <pc:docMk/>
            <pc:sldMk cId="2791291552" sldId="2147483605"/>
            <ac:spMk id="24" creationId="{FD32732E-BA07-A446-1F8B-49A27F0D7E71}"/>
          </ac:spMkLst>
        </pc:spChg>
        <pc:spChg chg="mod">
          <ac:chgData name="Nisen, Henrik (BCG Platinion)" userId="23462ed3-8a28-48c0-b94c-224b90eb8d0a" providerId="ADAL" clId="{85BF7E29-B863-8743-821C-9B528FF1FFE4}" dt="2024-04-05T06:16:06.750" v="1432"/>
          <ac:spMkLst>
            <pc:docMk/>
            <pc:sldMk cId="2791291552" sldId="2147483605"/>
            <ac:spMk id="25" creationId="{6E6A7902-B5ED-7879-2904-2F4F7B823878}"/>
          </ac:spMkLst>
        </pc:spChg>
        <pc:spChg chg="mod">
          <ac:chgData name="Nisen, Henrik (BCG Platinion)" userId="23462ed3-8a28-48c0-b94c-224b90eb8d0a" providerId="ADAL" clId="{85BF7E29-B863-8743-821C-9B528FF1FFE4}" dt="2024-04-05T06:16:06.751" v="1433"/>
          <ac:spMkLst>
            <pc:docMk/>
            <pc:sldMk cId="2791291552" sldId="2147483605"/>
            <ac:spMk id="26" creationId="{1C423085-878A-BE2C-534A-3E5DE531065F}"/>
          </ac:spMkLst>
        </pc:spChg>
        <pc:spChg chg="mod">
          <ac:chgData name="Nisen, Henrik (BCG Platinion)" userId="23462ed3-8a28-48c0-b94c-224b90eb8d0a" providerId="ADAL" clId="{85BF7E29-B863-8743-821C-9B528FF1FFE4}" dt="2024-04-05T06:16:06.752" v="1434"/>
          <ac:spMkLst>
            <pc:docMk/>
            <pc:sldMk cId="2791291552" sldId="2147483605"/>
            <ac:spMk id="27" creationId="{11F9DEA9-0AE1-B1EC-9C00-B9CE096FF815}"/>
          </ac:spMkLst>
        </pc:spChg>
        <pc:spChg chg="mod">
          <ac:chgData name="Nisen, Henrik (BCG Platinion)" userId="23462ed3-8a28-48c0-b94c-224b90eb8d0a" providerId="ADAL" clId="{85BF7E29-B863-8743-821C-9B528FF1FFE4}" dt="2024-04-05T06:16:06.753" v="1435"/>
          <ac:spMkLst>
            <pc:docMk/>
            <pc:sldMk cId="2791291552" sldId="2147483605"/>
            <ac:spMk id="28" creationId="{38E12450-6CCA-A3A6-1CAD-9A2D37F20E34}"/>
          </ac:spMkLst>
        </pc:spChg>
        <pc:spChg chg="mod">
          <ac:chgData name="Nisen, Henrik (BCG Platinion)" userId="23462ed3-8a28-48c0-b94c-224b90eb8d0a" providerId="ADAL" clId="{85BF7E29-B863-8743-821C-9B528FF1FFE4}" dt="2024-04-05T06:16:06.754" v="1436"/>
          <ac:spMkLst>
            <pc:docMk/>
            <pc:sldMk cId="2791291552" sldId="2147483605"/>
            <ac:spMk id="29" creationId="{D45E247E-9A6C-3DE7-72EF-1D070D368BDD}"/>
          </ac:spMkLst>
        </pc:spChg>
        <pc:spChg chg="mod">
          <ac:chgData name="Nisen, Henrik (BCG Platinion)" userId="23462ed3-8a28-48c0-b94c-224b90eb8d0a" providerId="ADAL" clId="{85BF7E29-B863-8743-821C-9B528FF1FFE4}" dt="2024-04-05T06:16:06.755" v="1437"/>
          <ac:spMkLst>
            <pc:docMk/>
            <pc:sldMk cId="2791291552" sldId="2147483605"/>
            <ac:spMk id="30" creationId="{7BF34145-C6C4-065E-C019-78A220F9EAA2}"/>
          </ac:spMkLst>
        </pc:spChg>
        <pc:spChg chg="mod">
          <ac:chgData name="Nisen, Henrik (BCG Platinion)" userId="23462ed3-8a28-48c0-b94c-224b90eb8d0a" providerId="ADAL" clId="{85BF7E29-B863-8743-821C-9B528FF1FFE4}" dt="2024-04-05T06:16:06.756" v="1438"/>
          <ac:spMkLst>
            <pc:docMk/>
            <pc:sldMk cId="2791291552" sldId="2147483605"/>
            <ac:spMk id="31" creationId="{AACA09E4-06E1-74BF-8C5D-7B8B4C5E34DA}"/>
          </ac:spMkLst>
        </pc:spChg>
        <pc:spChg chg="mod">
          <ac:chgData name="Nisen, Henrik (BCG Platinion)" userId="23462ed3-8a28-48c0-b94c-224b90eb8d0a" providerId="ADAL" clId="{85BF7E29-B863-8743-821C-9B528FF1FFE4}" dt="2024-04-05T06:16:06.757" v="1439"/>
          <ac:spMkLst>
            <pc:docMk/>
            <pc:sldMk cId="2791291552" sldId="2147483605"/>
            <ac:spMk id="32" creationId="{36316487-72CB-EE66-7730-E094E070DF52}"/>
          </ac:spMkLst>
        </pc:spChg>
        <pc:spChg chg="mod">
          <ac:chgData name="Nisen, Henrik (BCG Platinion)" userId="23462ed3-8a28-48c0-b94c-224b90eb8d0a" providerId="ADAL" clId="{85BF7E29-B863-8743-821C-9B528FF1FFE4}" dt="2024-04-05T06:16:06.758" v="1440"/>
          <ac:spMkLst>
            <pc:docMk/>
            <pc:sldMk cId="2791291552" sldId="2147483605"/>
            <ac:spMk id="33" creationId="{27E1480E-F722-C391-9DFF-CAA22A8F59F9}"/>
          </ac:spMkLst>
        </pc:spChg>
        <pc:spChg chg="mod">
          <ac:chgData name="Nisen, Henrik (BCG Platinion)" userId="23462ed3-8a28-48c0-b94c-224b90eb8d0a" providerId="ADAL" clId="{85BF7E29-B863-8743-821C-9B528FF1FFE4}" dt="2024-04-05T06:16:06.759" v="1441"/>
          <ac:spMkLst>
            <pc:docMk/>
            <pc:sldMk cId="2791291552" sldId="2147483605"/>
            <ac:spMk id="34" creationId="{C1E80E5D-16CF-4E90-DC49-CA194E023031}"/>
          </ac:spMkLst>
        </pc:spChg>
        <pc:spChg chg="mod">
          <ac:chgData name="Nisen, Henrik (BCG Platinion)" userId="23462ed3-8a28-48c0-b94c-224b90eb8d0a" providerId="ADAL" clId="{85BF7E29-B863-8743-821C-9B528FF1FFE4}" dt="2024-04-05T06:16:06.760" v="1442"/>
          <ac:spMkLst>
            <pc:docMk/>
            <pc:sldMk cId="2791291552" sldId="2147483605"/>
            <ac:spMk id="35" creationId="{ED1469CC-CEDF-0F51-174A-16056B67A8B2}"/>
          </ac:spMkLst>
        </pc:spChg>
        <pc:spChg chg="mod">
          <ac:chgData name="Nisen, Henrik (BCG Platinion)" userId="23462ed3-8a28-48c0-b94c-224b90eb8d0a" providerId="ADAL" clId="{85BF7E29-B863-8743-821C-9B528FF1FFE4}" dt="2024-04-05T06:16:06.761" v="1443"/>
          <ac:spMkLst>
            <pc:docMk/>
            <pc:sldMk cId="2791291552" sldId="2147483605"/>
            <ac:spMk id="36" creationId="{F95ACB3C-C490-7AC3-F728-F51C6A035A48}"/>
          </ac:spMkLst>
        </pc:spChg>
        <pc:spChg chg="mod">
          <ac:chgData name="Nisen, Henrik (BCG Platinion)" userId="23462ed3-8a28-48c0-b94c-224b90eb8d0a" providerId="ADAL" clId="{85BF7E29-B863-8743-821C-9B528FF1FFE4}" dt="2024-04-05T06:16:06.762" v="1444"/>
          <ac:spMkLst>
            <pc:docMk/>
            <pc:sldMk cId="2791291552" sldId="2147483605"/>
            <ac:spMk id="37" creationId="{728421F0-E587-F7F2-9ADE-C8EA4211A239}"/>
          </ac:spMkLst>
        </pc:spChg>
        <pc:spChg chg="mod">
          <ac:chgData name="Nisen, Henrik (BCG Platinion)" userId="23462ed3-8a28-48c0-b94c-224b90eb8d0a" providerId="ADAL" clId="{85BF7E29-B863-8743-821C-9B528FF1FFE4}" dt="2024-04-05T06:16:06.763" v="1445"/>
          <ac:spMkLst>
            <pc:docMk/>
            <pc:sldMk cId="2791291552" sldId="2147483605"/>
            <ac:spMk id="38" creationId="{AF4C27CD-192E-813A-48DC-F3E793A828BA}"/>
          </ac:spMkLst>
        </pc:spChg>
        <pc:spChg chg="mod">
          <ac:chgData name="Nisen, Henrik (BCG Platinion)" userId="23462ed3-8a28-48c0-b94c-224b90eb8d0a" providerId="ADAL" clId="{85BF7E29-B863-8743-821C-9B528FF1FFE4}" dt="2024-04-05T06:16:06.764" v="1446"/>
          <ac:spMkLst>
            <pc:docMk/>
            <pc:sldMk cId="2791291552" sldId="2147483605"/>
            <ac:spMk id="39" creationId="{01032468-CFDE-00B2-11EB-9BF3DC3CDB53}"/>
          </ac:spMkLst>
        </pc:spChg>
        <pc:spChg chg="mod">
          <ac:chgData name="Nisen, Henrik (BCG Platinion)" userId="23462ed3-8a28-48c0-b94c-224b90eb8d0a" providerId="ADAL" clId="{85BF7E29-B863-8743-821C-9B528FF1FFE4}" dt="2024-04-05T06:16:06.765" v="1447"/>
          <ac:spMkLst>
            <pc:docMk/>
            <pc:sldMk cId="2791291552" sldId="2147483605"/>
            <ac:spMk id="40" creationId="{413E66E8-263C-DDBF-6E0C-4F4ACA7E5255}"/>
          </ac:spMkLst>
        </pc:spChg>
        <pc:spChg chg="mod">
          <ac:chgData name="Nisen, Henrik (BCG Platinion)" userId="23462ed3-8a28-48c0-b94c-224b90eb8d0a" providerId="ADAL" clId="{85BF7E29-B863-8743-821C-9B528FF1FFE4}" dt="2024-04-05T06:16:06.766" v="1448"/>
          <ac:spMkLst>
            <pc:docMk/>
            <pc:sldMk cId="2791291552" sldId="2147483605"/>
            <ac:spMk id="41" creationId="{8836F41A-9C45-B99F-841D-0F0C00A919BA}"/>
          </ac:spMkLst>
        </pc:spChg>
        <pc:spChg chg="mod">
          <ac:chgData name="Nisen, Henrik (BCG Platinion)" userId="23462ed3-8a28-48c0-b94c-224b90eb8d0a" providerId="ADAL" clId="{85BF7E29-B863-8743-821C-9B528FF1FFE4}" dt="2024-04-05T06:16:06.767" v="1449"/>
          <ac:spMkLst>
            <pc:docMk/>
            <pc:sldMk cId="2791291552" sldId="2147483605"/>
            <ac:spMk id="42" creationId="{870C4CD2-0373-CF14-C4DA-525816A6211E}"/>
          </ac:spMkLst>
        </pc:spChg>
        <pc:spChg chg="mod">
          <ac:chgData name="Nisen, Henrik (BCG Platinion)" userId="23462ed3-8a28-48c0-b94c-224b90eb8d0a" providerId="ADAL" clId="{85BF7E29-B863-8743-821C-9B528FF1FFE4}" dt="2024-04-05T06:16:06.768" v="1450"/>
          <ac:spMkLst>
            <pc:docMk/>
            <pc:sldMk cId="2791291552" sldId="2147483605"/>
            <ac:spMk id="43" creationId="{98EB1A6E-A021-7AE6-EA6F-2FBF402E5A36}"/>
          </ac:spMkLst>
        </pc:spChg>
        <pc:spChg chg="mod">
          <ac:chgData name="Nisen, Henrik (BCG Platinion)" userId="23462ed3-8a28-48c0-b94c-224b90eb8d0a" providerId="ADAL" clId="{85BF7E29-B863-8743-821C-9B528FF1FFE4}" dt="2024-04-05T06:16:06.769" v="1451"/>
          <ac:spMkLst>
            <pc:docMk/>
            <pc:sldMk cId="2791291552" sldId="2147483605"/>
            <ac:spMk id="44" creationId="{86341E98-075E-F6EF-8D70-083638FB5ECD}"/>
          </ac:spMkLst>
        </pc:spChg>
        <pc:spChg chg="mod">
          <ac:chgData name="Nisen, Henrik (BCG Platinion)" userId="23462ed3-8a28-48c0-b94c-224b90eb8d0a" providerId="ADAL" clId="{85BF7E29-B863-8743-821C-9B528FF1FFE4}" dt="2024-04-05T06:16:06.770" v="1452"/>
          <ac:spMkLst>
            <pc:docMk/>
            <pc:sldMk cId="2791291552" sldId="2147483605"/>
            <ac:spMk id="45" creationId="{47E64E72-2E93-DAEA-680B-850F96E5612F}"/>
          </ac:spMkLst>
        </pc:spChg>
        <pc:spChg chg="mod">
          <ac:chgData name="Nisen, Henrik (BCG Platinion)" userId="23462ed3-8a28-48c0-b94c-224b90eb8d0a" providerId="ADAL" clId="{85BF7E29-B863-8743-821C-9B528FF1FFE4}" dt="2024-04-05T06:16:06.771" v="1453"/>
          <ac:spMkLst>
            <pc:docMk/>
            <pc:sldMk cId="2791291552" sldId="2147483605"/>
            <ac:spMk id="46" creationId="{E0C8F4D1-BF6A-AE86-B603-A97171603F63}"/>
          </ac:spMkLst>
        </pc:spChg>
        <pc:spChg chg="mod">
          <ac:chgData name="Nisen, Henrik (BCG Platinion)" userId="23462ed3-8a28-48c0-b94c-224b90eb8d0a" providerId="ADAL" clId="{85BF7E29-B863-8743-821C-9B528FF1FFE4}" dt="2024-04-05T06:16:06.772" v="1454"/>
          <ac:spMkLst>
            <pc:docMk/>
            <pc:sldMk cId="2791291552" sldId="2147483605"/>
            <ac:spMk id="47" creationId="{67C14584-D255-2353-AE8E-B5BE82BE5CD6}"/>
          </ac:spMkLst>
        </pc:spChg>
        <pc:spChg chg="mod">
          <ac:chgData name="Nisen, Henrik (BCG Platinion)" userId="23462ed3-8a28-48c0-b94c-224b90eb8d0a" providerId="ADAL" clId="{85BF7E29-B863-8743-821C-9B528FF1FFE4}" dt="2024-04-05T06:16:06.773" v="1455"/>
          <ac:spMkLst>
            <pc:docMk/>
            <pc:sldMk cId="2791291552" sldId="2147483605"/>
            <ac:spMk id="48" creationId="{AE71FF3B-A6A3-A358-A012-A70511E4B77B}"/>
          </ac:spMkLst>
        </pc:spChg>
        <pc:spChg chg="mod">
          <ac:chgData name="Nisen, Henrik (BCG Platinion)" userId="23462ed3-8a28-48c0-b94c-224b90eb8d0a" providerId="ADAL" clId="{85BF7E29-B863-8743-821C-9B528FF1FFE4}" dt="2024-04-05T06:16:06.774" v="1456"/>
          <ac:spMkLst>
            <pc:docMk/>
            <pc:sldMk cId="2791291552" sldId="2147483605"/>
            <ac:spMk id="49" creationId="{A2011173-4073-1364-AB99-9C1F71630D89}"/>
          </ac:spMkLst>
        </pc:spChg>
        <pc:spChg chg="mod">
          <ac:chgData name="Nisen, Henrik (BCG Platinion)" userId="23462ed3-8a28-48c0-b94c-224b90eb8d0a" providerId="ADAL" clId="{85BF7E29-B863-8743-821C-9B528FF1FFE4}" dt="2024-04-05T06:16:06.775" v="1457"/>
          <ac:spMkLst>
            <pc:docMk/>
            <pc:sldMk cId="2791291552" sldId="2147483605"/>
            <ac:spMk id="50" creationId="{0648BAF4-8FFF-2ABB-24C2-ACDC3CDA9E9B}"/>
          </ac:spMkLst>
        </pc:spChg>
        <pc:spChg chg="mod">
          <ac:chgData name="Nisen, Henrik (BCG Platinion)" userId="23462ed3-8a28-48c0-b94c-224b90eb8d0a" providerId="ADAL" clId="{85BF7E29-B863-8743-821C-9B528FF1FFE4}" dt="2024-04-05T06:16:06.776" v="1458"/>
          <ac:spMkLst>
            <pc:docMk/>
            <pc:sldMk cId="2791291552" sldId="2147483605"/>
            <ac:spMk id="51" creationId="{91C02490-4429-2FDB-0C02-29CBD6ABFB9A}"/>
          </ac:spMkLst>
        </pc:spChg>
        <pc:spChg chg="mod">
          <ac:chgData name="Nisen, Henrik (BCG Platinion)" userId="23462ed3-8a28-48c0-b94c-224b90eb8d0a" providerId="ADAL" clId="{85BF7E29-B863-8743-821C-9B528FF1FFE4}" dt="2024-04-05T06:16:06.777" v="1459"/>
          <ac:spMkLst>
            <pc:docMk/>
            <pc:sldMk cId="2791291552" sldId="2147483605"/>
            <ac:spMk id="52" creationId="{8BB4BDC5-CDF1-9FC1-CA83-8BC8F0553DD6}"/>
          </ac:spMkLst>
        </pc:spChg>
        <pc:spChg chg="mod">
          <ac:chgData name="Nisen, Henrik (BCG Platinion)" userId="23462ed3-8a28-48c0-b94c-224b90eb8d0a" providerId="ADAL" clId="{85BF7E29-B863-8743-821C-9B528FF1FFE4}" dt="2024-04-05T06:16:06.778" v="1460"/>
          <ac:spMkLst>
            <pc:docMk/>
            <pc:sldMk cId="2791291552" sldId="2147483605"/>
            <ac:spMk id="53" creationId="{E52486E8-3A13-5DE8-61E9-9ED900BA5D4E}"/>
          </ac:spMkLst>
        </pc:spChg>
        <pc:spChg chg="mod">
          <ac:chgData name="Nisen, Henrik (BCG Platinion)" userId="23462ed3-8a28-48c0-b94c-224b90eb8d0a" providerId="ADAL" clId="{85BF7E29-B863-8743-821C-9B528FF1FFE4}" dt="2024-04-05T06:16:06.779" v="1461"/>
          <ac:spMkLst>
            <pc:docMk/>
            <pc:sldMk cId="2791291552" sldId="2147483605"/>
            <ac:spMk id="54" creationId="{488FCF46-7EE0-68A5-7F7A-BB5340A048FD}"/>
          </ac:spMkLst>
        </pc:spChg>
        <pc:spChg chg="mod">
          <ac:chgData name="Nisen, Henrik (BCG Platinion)" userId="23462ed3-8a28-48c0-b94c-224b90eb8d0a" providerId="ADAL" clId="{85BF7E29-B863-8743-821C-9B528FF1FFE4}" dt="2024-04-05T06:16:06.780" v="1462"/>
          <ac:spMkLst>
            <pc:docMk/>
            <pc:sldMk cId="2791291552" sldId="2147483605"/>
            <ac:spMk id="55" creationId="{D6BF1236-7915-54E0-7C33-929D0379B7DB}"/>
          </ac:spMkLst>
        </pc:spChg>
        <pc:graphicFrameChg chg="add mod replST">
          <ac:chgData name="Nisen, Henrik (BCG Platinion)" userId="23462ed3-8a28-48c0-b94c-224b90eb8d0a" providerId="ADAL" clId="{85BF7E29-B863-8743-821C-9B528FF1FFE4}" dt="2024-04-05T06:16:06.739" v="1421"/>
          <ac:graphicFrameMkLst>
            <pc:docMk/>
            <pc:sldMk cId="2791291552" sldId="2147483605"/>
            <ac:graphicFrameMk id="5" creationId="{E39DEF26-B332-C585-5933-D7D966B26A01}"/>
          </ac:graphicFrameMkLst>
        </pc:graphicFrameChg>
        <pc:graphicFrameChg chg="mod">
          <ac:chgData name="Nisen, Henrik (BCG Platinion)" userId="23462ed3-8a28-48c0-b94c-224b90eb8d0a" providerId="ADAL" clId="{85BF7E29-B863-8743-821C-9B528FF1FFE4}" dt="2024-04-05T06:16:06.737" v="1418"/>
          <ac:graphicFrameMkLst>
            <pc:docMk/>
            <pc:sldMk cId="2791291552" sldId="2147483605"/>
            <ac:graphicFrameMk id="9" creationId="{8DED4956-6027-EA3D-52B0-1344BC7B73FE}"/>
          </ac:graphicFrameMkLst>
        </pc:graphicFrameChg>
        <pc:graphicFrameChg chg="mod">
          <ac:chgData name="Nisen, Henrik (BCG Platinion)" userId="23462ed3-8a28-48c0-b94c-224b90eb8d0a" providerId="ADAL" clId="{85BF7E29-B863-8743-821C-9B528FF1FFE4}" dt="2024-04-05T06:16:06.784" v="1468"/>
          <ac:graphicFrameMkLst>
            <pc:docMk/>
            <pc:sldMk cId="2791291552" sldId="2147483605"/>
            <ac:graphicFrameMk id="57" creationId="{745B1105-B840-B99A-7C1D-6569D6060CCD}"/>
          </ac:graphicFrameMkLst>
        </pc:graphicFrameChg>
        <pc:graphicFrameChg chg="del">
          <ac:chgData name="Nisen, Henrik (BCG Platinion)" userId="23462ed3-8a28-48c0-b94c-224b90eb8d0a" providerId="ADAL" clId="{85BF7E29-B863-8743-821C-9B528FF1FFE4}" dt="2024-04-05T06:16:06.714" v="1407"/>
          <ac:graphicFrameMkLst>
            <pc:docMk/>
            <pc:sldMk cId="2791291552" sldId="2147483605"/>
            <ac:graphicFrameMk id="85" creationId="{EE722E80-DD14-10D8-69F4-B85D374D014A}"/>
          </ac:graphicFrameMkLst>
        </pc:graphicFrameChg>
        <pc:cxnChg chg="mod">
          <ac:chgData name="Nisen, Henrik (BCG Platinion)" userId="23462ed3-8a28-48c0-b94c-224b90eb8d0a" providerId="ADAL" clId="{85BF7E29-B863-8743-821C-9B528FF1FFE4}" dt="2024-04-05T06:16:06.780" v="1463"/>
          <ac:cxnSpMkLst>
            <pc:docMk/>
            <pc:sldMk cId="2791291552" sldId="2147483605"/>
            <ac:cxnSpMk id="72" creationId="{1194051A-5FB9-E3C6-B0BD-A96098D48CEF}"/>
          </ac:cxnSpMkLst>
        </pc:cxnChg>
        <pc:cxnChg chg="mod">
          <ac:chgData name="Nisen, Henrik (BCG Platinion)" userId="23462ed3-8a28-48c0-b94c-224b90eb8d0a" providerId="ADAL" clId="{85BF7E29-B863-8743-821C-9B528FF1FFE4}" dt="2024-04-05T06:16:06.781" v="1464"/>
          <ac:cxnSpMkLst>
            <pc:docMk/>
            <pc:sldMk cId="2791291552" sldId="2147483605"/>
            <ac:cxnSpMk id="73" creationId="{885899E0-700B-BD20-6865-A99FEA4B64F0}"/>
          </ac:cxnSpMkLst>
        </pc:cxnChg>
      </pc:sldChg>
      <pc:sldChg chg="addSp delSp modSp mod modTransition">
        <pc:chgData name="Nisen, Henrik (BCG Platinion)" userId="23462ed3-8a28-48c0-b94c-224b90eb8d0a" providerId="ADAL" clId="{85BF7E29-B863-8743-821C-9B528FF1FFE4}" dt="2024-04-05T08:34:44.540" v="8623"/>
        <pc:sldMkLst>
          <pc:docMk/>
          <pc:sldMk cId="3239871205" sldId="2147483606"/>
        </pc:sldMkLst>
        <pc:spChg chg="add mod">
          <ac:chgData name="Nisen, Henrik (BCG Platinion)" userId="23462ed3-8a28-48c0-b94c-224b90eb8d0a" providerId="ADAL" clId="{85BF7E29-B863-8743-821C-9B528FF1FFE4}" dt="2024-04-05T06:31:19.825" v="2397"/>
          <ac:spMkLst>
            <pc:docMk/>
            <pc:sldMk cId="3239871205" sldId="2147483606"/>
            <ac:spMk id="2" creationId="{D95E7EB6-E657-0A7C-ACE1-A1BC53373375}"/>
          </ac:spMkLst>
        </pc:spChg>
        <pc:spChg chg="del">
          <ac:chgData name="Nisen, Henrik (BCG Platinion)" userId="23462ed3-8a28-48c0-b94c-224b90eb8d0a" providerId="ADAL" clId="{85BF7E29-B863-8743-821C-9B528FF1FFE4}" dt="2024-04-05T06:31:19.396" v="2396" actId="478"/>
          <ac:spMkLst>
            <pc:docMk/>
            <pc:sldMk cId="3239871205" sldId="2147483606"/>
            <ac:spMk id="3" creationId="{F0D37CF9-5EEF-91F5-1BC3-76A8A1D1303C}"/>
          </ac:spMkLst>
        </pc:spChg>
        <pc:spChg chg="del">
          <ac:chgData name="Nisen, Henrik (BCG Platinion)" userId="23462ed3-8a28-48c0-b94c-224b90eb8d0a" providerId="ADAL" clId="{85BF7E29-B863-8743-821C-9B528FF1FFE4}" dt="2024-04-05T06:31:19.396" v="2396" actId="478"/>
          <ac:spMkLst>
            <pc:docMk/>
            <pc:sldMk cId="3239871205" sldId="2147483606"/>
            <ac:spMk id="4" creationId="{9D287119-0827-93CB-70FA-5F74758D5107}"/>
          </ac:spMkLst>
        </pc:spChg>
        <pc:spChg chg="del">
          <ac:chgData name="Nisen, Henrik (BCG Platinion)" userId="23462ed3-8a28-48c0-b94c-224b90eb8d0a" providerId="ADAL" clId="{85BF7E29-B863-8743-821C-9B528FF1FFE4}" dt="2024-04-05T06:31:19.396" v="2396" actId="478"/>
          <ac:spMkLst>
            <pc:docMk/>
            <pc:sldMk cId="3239871205" sldId="2147483606"/>
            <ac:spMk id="6" creationId="{F0DFA630-2BD3-73AD-DBB6-BEBC1B50338D}"/>
          </ac:spMkLst>
        </pc:spChg>
        <pc:spChg chg="add mod">
          <ac:chgData name="Nisen, Henrik (BCG Platinion)" userId="23462ed3-8a28-48c0-b94c-224b90eb8d0a" providerId="ADAL" clId="{85BF7E29-B863-8743-821C-9B528FF1FFE4}" dt="2024-04-05T06:31:19.825" v="2397"/>
          <ac:spMkLst>
            <pc:docMk/>
            <pc:sldMk cId="3239871205" sldId="2147483606"/>
            <ac:spMk id="7" creationId="{6B7F0D2E-2F8F-D60A-7F99-B4D3D62C312E}"/>
          </ac:spMkLst>
        </pc:spChg>
        <pc:spChg chg="del">
          <ac:chgData name="Nisen, Henrik (BCG Platinion)" userId="23462ed3-8a28-48c0-b94c-224b90eb8d0a" providerId="ADAL" clId="{85BF7E29-B863-8743-821C-9B528FF1FFE4}" dt="2024-04-05T06:31:19.396" v="2396" actId="478"/>
          <ac:spMkLst>
            <pc:docMk/>
            <pc:sldMk cId="3239871205" sldId="2147483606"/>
            <ac:spMk id="8" creationId="{0AA5F5CF-A36A-DAB9-2F14-40C5A44A4F00}"/>
          </ac:spMkLst>
        </pc:spChg>
        <pc:spChg chg="del">
          <ac:chgData name="Nisen, Henrik (BCG Platinion)" userId="23462ed3-8a28-48c0-b94c-224b90eb8d0a" providerId="ADAL" clId="{85BF7E29-B863-8743-821C-9B528FF1FFE4}" dt="2024-04-05T06:31:19.396" v="2396" actId="478"/>
          <ac:spMkLst>
            <pc:docMk/>
            <pc:sldMk cId="3239871205" sldId="2147483606"/>
            <ac:spMk id="9" creationId="{A210D8AC-878F-BB87-9F97-E4CD4EB66160}"/>
          </ac:spMkLst>
        </pc:spChg>
        <pc:spChg chg="del">
          <ac:chgData name="Nisen, Henrik (BCG Platinion)" userId="23462ed3-8a28-48c0-b94c-224b90eb8d0a" providerId="ADAL" clId="{85BF7E29-B863-8743-821C-9B528FF1FFE4}" dt="2024-04-05T06:31:19.396" v="2396" actId="478"/>
          <ac:spMkLst>
            <pc:docMk/>
            <pc:sldMk cId="3239871205" sldId="2147483606"/>
            <ac:spMk id="10" creationId="{B12A2133-F594-D250-8C00-157BE629A41B}"/>
          </ac:spMkLst>
        </pc:spChg>
        <pc:spChg chg="del">
          <ac:chgData name="Nisen, Henrik (BCG Platinion)" userId="23462ed3-8a28-48c0-b94c-224b90eb8d0a" providerId="ADAL" clId="{85BF7E29-B863-8743-821C-9B528FF1FFE4}" dt="2024-04-05T06:31:19.396" v="2396" actId="478"/>
          <ac:spMkLst>
            <pc:docMk/>
            <pc:sldMk cId="3239871205" sldId="2147483606"/>
            <ac:spMk id="11" creationId="{179B3804-D616-2B9F-E0A0-CF18BE930B1F}"/>
          </ac:spMkLst>
        </pc:spChg>
        <pc:spChg chg="del mod">
          <ac:chgData name="Nisen, Henrik (BCG Platinion)" userId="23462ed3-8a28-48c0-b94c-224b90eb8d0a" providerId="ADAL" clId="{85BF7E29-B863-8743-821C-9B528FF1FFE4}" dt="2024-04-05T06:33:52.112" v="2454" actId="478"/>
          <ac:spMkLst>
            <pc:docMk/>
            <pc:sldMk cId="3239871205" sldId="2147483606"/>
            <ac:spMk id="14" creationId="{8359BCD2-1510-E786-109C-EED1A5CBD121}"/>
          </ac:spMkLst>
        </pc:spChg>
        <pc:spChg chg="del">
          <ac:chgData name="Nisen, Henrik (BCG Platinion)" userId="23462ed3-8a28-48c0-b94c-224b90eb8d0a" providerId="ADAL" clId="{85BF7E29-B863-8743-821C-9B528FF1FFE4}" dt="2024-04-05T06:31:19.396" v="2396" actId="478"/>
          <ac:spMkLst>
            <pc:docMk/>
            <pc:sldMk cId="3239871205" sldId="2147483606"/>
            <ac:spMk id="15" creationId="{A84C7EC2-D5BB-DCA1-2A19-25F4511CAC97}"/>
          </ac:spMkLst>
        </pc:spChg>
        <pc:spChg chg="del">
          <ac:chgData name="Nisen, Henrik (BCG Platinion)" userId="23462ed3-8a28-48c0-b94c-224b90eb8d0a" providerId="ADAL" clId="{85BF7E29-B863-8743-821C-9B528FF1FFE4}" dt="2024-04-05T06:31:19.396" v="2396" actId="478"/>
          <ac:spMkLst>
            <pc:docMk/>
            <pc:sldMk cId="3239871205" sldId="2147483606"/>
            <ac:spMk id="17" creationId="{C3EA5D2A-5D80-74F7-7B30-4FA94A5500EE}"/>
          </ac:spMkLst>
        </pc:spChg>
        <pc:spChg chg="del">
          <ac:chgData name="Nisen, Henrik (BCG Platinion)" userId="23462ed3-8a28-48c0-b94c-224b90eb8d0a" providerId="ADAL" clId="{85BF7E29-B863-8743-821C-9B528FF1FFE4}" dt="2024-04-05T06:31:19.396" v="2396" actId="478"/>
          <ac:spMkLst>
            <pc:docMk/>
            <pc:sldMk cId="3239871205" sldId="2147483606"/>
            <ac:spMk id="18" creationId="{F0756654-6020-B5E0-F35D-099731A3357B}"/>
          </ac:spMkLst>
        </pc:spChg>
        <pc:spChg chg="del">
          <ac:chgData name="Nisen, Henrik (BCG Platinion)" userId="23462ed3-8a28-48c0-b94c-224b90eb8d0a" providerId="ADAL" clId="{85BF7E29-B863-8743-821C-9B528FF1FFE4}" dt="2024-04-05T06:31:19.396" v="2396" actId="478"/>
          <ac:spMkLst>
            <pc:docMk/>
            <pc:sldMk cId="3239871205" sldId="2147483606"/>
            <ac:spMk id="19" creationId="{D9856F3C-DC25-4DAC-C8E5-DE6C8CBF49E1}"/>
          </ac:spMkLst>
        </pc:spChg>
        <pc:spChg chg="add mod">
          <ac:chgData name="Nisen, Henrik (BCG Platinion)" userId="23462ed3-8a28-48c0-b94c-224b90eb8d0a" providerId="ADAL" clId="{85BF7E29-B863-8743-821C-9B528FF1FFE4}" dt="2024-04-05T06:31:19.825" v="2397"/>
          <ac:spMkLst>
            <pc:docMk/>
            <pc:sldMk cId="3239871205" sldId="2147483606"/>
            <ac:spMk id="20" creationId="{2562C5D8-8212-11A5-AADC-4789E6B25A37}"/>
          </ac:spMkLst>
        </pc:spChg>
        <pc:spChg chg="add mod">
          <ac:chgData name="Nisen, Henrik (BCG Platinion)" userId="23462ed3-8a28-48c0-b94c-224b90eb8d0a" providerId="ADAL" clId="{85BF7E29-B863-8743-821C-9B528FF1FFE4}" dt="2024-04-05T06:31:19.825" v="2397"/>
          <ac:spMkLst>
            <pc:docMk/>
            <pc:sldMk cId="3239871205" sldId="2147483606"/>
            <ac:spMk id="21" creationId="{1633DB87-E440-7326-69EC-2FA9E2280645}"/>
          </ac:spMkLst>
        </pc:spChg>
        <pc:spChg chg="add mod">
          <ac:chgData name="Nisen, Henrik (BCG Platinion)" userId="23462ed3-8a28-48c0-b94c-224b90eb8d0a" providerId="ADAL" clId="{85BF7E29-B863-8743-821C-9B528FF1FFE4}" dt="2024-04-05T06:31:19.825" v="2397"/>
          <ac:spMkLst>
            <pc:docMk/>
            <pc:sldMk cId="3239871205" sldId="2147483606"/>
            <ac:spMk id="25" creationId="{D17721A9-604D-22ED-C099-291A3C65EB1C}"/>
          </ac:spMkLst>
        </pc:spChg>
        <pc:spChg chg="add mod">
          <ac:chgData name="Nisen, Henrik (BCG Platinion)" userId="23462ed3-8a28-48c0-b94c-224b90eb8d0a" providerId="ADAL" clId="{85BF7E29-B863-8743-821C-9B528FF1FFE4}" dt="2024-04-05T06:31:19.825" v="2397"/>
          <ac:spMkLst>
            <pc:docMk/>
            <pc:sldMk cId="3239871205" sldId="2147483606"/>
            <ac:spMk id="26" creationId="{4C745643-8E11-74E6-AC9B-D445F6D1622C}"/>
          </ac:spMkLst>
        </pc:spChg>
        <pc:spChg chg="add mod">
          <ac:chgData name="Nisen, Henrik (BCG Platinion)" userId="23462ed3-8a28-48c0-b94c-224b90eb8d0a" providerId="ADAL" clId="{85BF7E29-B863-8743-821C-9B528FF1FFE4}" dt="2024-04-05T06:31:19.825" v="2397"/>
          <ac:spMkLst>
            <pc:docMk/>
            <pc:sldMk cId="3239871205" sldId="2147483606"/>
            <ac:spMk id="28" creationId="{A404F9E2-C8FC-A79C-EC1A-8B330E17867C}"/>
          </ac:spMkLst>
        </pc:spChg>
        <pc:spChg chg="add mod">
          <ac:chgData name="Nisen, Henrik (BCG Platinion)" userId="23462ed3-8a28-48c0-b94c-224b90eb8d0a" providerId="ADAL" clId="{85BF7E29-B863-8743-821C-9B528FF1FFE4}" dt="2024-04-05T06:31:19.825" v="2397"/>
          <ac:spMkLst>
            <pc:docMk/>
            <pc:sldMk cId="3239871205" sldId="2147483606"/>
            <ac:spMk id="29" creationId="{D57CCA14-8371-2573-A427-7E068DF0D9CF}"/>
          </ac:spMkLst>
        </pc:spChg>
        <pc:spChg chg="add mod">
          <ac:chgData name="Nisen, Henrik (BCG Platinion)" userId="23462ed3-8a28-48c0-b94c-224b90eb8d0a" providerId="ADAL" clId="{85BF7E29-B863-8743-821C-9B528FF1FFE4}" dt="2024-04-05T06:31:19.825" v="2397"/>
          <ac:spMkLst>
            <pc:docMk/>
            <pc:sldMk cId="3239871205" sldId="2147483606"/>
            <ac:spMk id="30" creationId="{375EF761-9443-91B3-DC47-B282AB3462F7}"/>
          </ac:spMkLst>
        </pc:spChg>
        <pc:spChg chg="add mod">
          <ac:chgData name="Nisen, Henrik (BCG Platinion)" userId="23462ed3-8a28-48c0-b94c-224b90eb8d0a" providerId="ADAL" clId="{85BF7E29-B863-8743-821C-9B528FF1FFE4}" dt="2024-04-05T06:31:19.825" v="2397"/>
          <ac:spMkLst>
            <pc:docMk/>
            <pc:sldMk cId="3239871205" sldId="2147483606"/>
            <ac:spMk id="31" creationId="{37B433D7-ED02-209C-7701-BA18A5CBC4E7}"/>
          </ac:spMkLst>
        </pc:spChg>
        <pc:spChg chg="add mod">
          <ac:chgData name="Nisen, Henrik (BCG Platinion)" userId="23462ed3-8a28-48c0-b94c-224b90eb8d0a" providerId="ADAL" clId="{85BF7E29-B863-8743-821C-9B528FF1FFE4}" dt="2024-04-05T06:31:19.825" v="2397"/>
          <ac:spMkLst>
            <pc:docMk/>
            <pc:sldMk cId="3239871205" sldId="2147483606"/>
            <ac:spMk id="32" creationId="{72FC9AF4-43B6-F4D8-EE92-0536CC743E23}"/>
          </ac:spMkLst>
        </pc:spChg>
        <pc:spChg chg="add mod">
          <ac:chgData name="Nisen, Henrik (BCG Platinion)" userId="23462ed3-8a28-48c0-b94c-224b90eb8d0a" providerId="ADAL" clId="{85BF7E29-B863-8743-821C-9B528FF1FFE4}" dt="2024-04-05T06:31:19.825" v="2397"/>
          <ac:spMkLst>
            <pc:docMk/>
            <pc:sldMk cId="3239871205" sldId="2147483606"/>
            <ac:spMk id="33" creationId="{2A6A21F7-3E30-2BA0-C4BA-03ECE1610F73}"/>
          </ac:spMkLst>
        </pc:spChg>
        <pc:spChg chg="del">
          <ac:chgData name="Nisen, Henrik (BCG Platinion)" userId="23462ed3-8a28-48c0-b94c-224b90eb8d0a" providerId="ADAL" clId="{85BF7E29-B863-8743-821C-9B528FF1FFE4}" dt="2024-04-05T06:31:19.396" v="2396" actId="478"/>
          <ac:spMkLst>
            <pc:docMk/>
            <pc:sldMk cId="3239871205" sldId="2147483606"/>
            <ac:spMk id="34" creationId="{1928F3CE-DE64-69BF-5CF2-E4AA13CD759D}"/>
          </ac:spMkLst>
        </pc:spChg>
        <pc:spChg chg="add mod">
          <ac:chgData name="Nisen, Henrik (BCG Platinion)" userId="23462ed3-8a28-48c0-b94c-224b90eb8d0a" providerId="ADAL" clId="{85BF7E29-B863-8743-821C-9B528FF1FFE4}" dt="2024-04-05T06:31:19.825" v="2397"/>
          <ac:spMkLst>
            <pc:docMk/>
            <pc:sldMk cId="3239871205" sldId="2147483606"/>
            <ac:spMk id="35" creationId="{3E5FA745-48D0-2217-2092-AB675D6FE0A6}"/>
          </ac:spMkLst>
        </pc:spChg>
        <pc:spChg chg="add mod">
          <ac:chgData name="Nisen, Henrik (BCG Platinion)" userId="23462ed3-8a28-48c0-b94c-224b90eb8d0a" providerId="ADAL" clId="{85BF7E29-B863-8743-821C-9B528FF1FFE4}" dt="2024-04-05T06:31:19.825" v="2397"/>
          <ac:spMkLst>
            <pc:docMk/>
            <pc:sldMk cId="3239871205" sldId="2147483606"/>
            <ac:spMk id="36" creationId="{CA713727-7E5A-5AF9-E48A-E094331DB015}"/>
          </ac:spMkLst>
        </pc:spChg>
        <pc:spChg chg="add mod">
          <ac:chgData name="Nisen, Henrik (BCG Platinion)" userId="23462ed3-8a28-48c0-b94c-224b90eb8d0a" providerId="ADAL" clId="{85BF7E29-B863-8743-821C-9B528FF1FFE4}" dt="2024-04-05T06:31:19.825" v="2397"/>
          <ac:spMkLst>
            <pc:docMk/>
            <pc:sldMk cId="3239871205" sldId="2147483606"/>
            <ac:spMk id="37" creationId="{A4340441-9782-0DD4-C500-314A86C51544}"/>
          </ac:spMkLst>
        </pc:spChg>
        <pc:spChg chg="add mod">
          <ac:chgData name="Nisen, Henrik (BCG Platinion)" userId="23462ed3-8a28-48c0-b94c-224b90eb8d0a" providerId="ADAL" clId="{85BF7E29-B863-8743-821C-9B528FF1FFE4}" dt="2024-04-05T06:31:19.825" v="2397"/>
          <ac:spMkLst>
            <pc:docMk/>
            <pc:sldMk cId="3239871205" sldId="2147483606"/>
            <ac:spMk id="38" creationId="{4A821407-69EA-77A1-4620-E2F5E0896880}"/>
          </ac:spMkLst>
        </pc:spChg>
        <pc:spChg chg="del">
          <ac:chgData name="Nisen, Henrik (BCG Platinion)" userId="23462ed3-8a28-48c0-b94c-224b90eb8d0a" providerId="ADAL" clId="{85BF7E29-B863-8743-821C-9B528FF1FFE4}" dt="2024-04-05T06:31:19.396" v="2396" actId="478"/>
          <ac:spMkLst>
            <pc:docMk/>
            <pc:sldMk cId="3239871205" sldId="2147483606"/>
            <ac:spMk id="39" creationId="{E3B8E8AF-5031-311E-6A35-F23CC1468977}"/>
          </ac:spMkLst>
        </pc:spChg>
        <pc:spChg chg="del">
          <ac:chgData name="Nisen, Henrik (BCG Platinion)" userId="23462ed3-8a28-48c0-b94c-224b90eb8d0a" providerId="ADAL" clId="{85BF7E29-B863-8743-821C-9B528FF1FFE4}" dt="2024-04-05T06:31:19.396" v="2396" actId="478"/>
          <ac:spMkLst>
            <pc:docMk/>
            <pc:sldMk cId="3239871205" sldId="2147483606"/>
            <ac:spMk id="40" creationId="{9BDBDCDA-6CBB-5A31-92E9-8E7CA86343A8}"/>
          </ac:spMkLst>
        </pc:spChg>
        <pc:spChg chg="add mod">
          <ac:chgData name="Nisen, Henrik (BCG Platinion)" userId="23462ed3-8a28-48c0-b94c-224b90eb8d0a" providerId="ADAL" clId="{85BF7E29-B863-8743-821C-9B528FF1FFE4}" dt="2024-04-05T06:31:19.825" v="2397"/>
          <ac:spMkLst>
            <pc:docMk/>
            <pc:sldMk cId="3239871205" sldId="2147483606"/>
            <ac:spMk id="41" creationId="{D0209990-20B1-8701-F7FE-E9B934098F29}"/>
          </ac:spMkLst>
        </pc:spChg>
        <pc:spChg chg="add mod">
          <ac:chgData name="Nisen, Henrik (BCG Platinion)" userId="23462ed3-8a28-48c0-b94c-224b90eb8d0a" providerId="ADAL" clId="{85BF7E29-B863-8743-821C-9B528FF1FFE4}" dt="2024-04-05T06:31:19.825" v="2397"/>
          <ac:spMkLst>
            <pc:docMk/>
            <pc:sldMk cId="3239871205" sldId="2147483606"/>
            <ac:spMk id="42" creationId="{7D01C525-9C4A-9DC4-45B8-6C80E89A573B}"/>
          </ac:spMkLst>
        </pc:spChg>
        <pc:spChg chg="del">
          <ac:chgData name="Nisen, Henrik (BCG Platinion)" userId="23462ed3-8a28-48c0-b94c-224b90eb8d0a" providerId="ADAL" clId="{85BF7E29-B863-8743-821C-9B528FF1FFE4}" dt="2024-04-05T06:31:19.396" v="2396" actId="478"/>
          <ac:spMkLst>
            <pc:docMk/>
            <pc:sldMk cId="3239871205" sldId="2147483606"/>
            <ac:spMk id="43" creationId="{6DB90930-21C9-221B-0032-FC93062612A2}"/>
          </ac:spMkLst>
        </pc:spChg>
        <pc:spChg chg="add mod">
          <ac:chgData name="Nisen, Henrik (BCG Platinion)" userId="23462ed3-8a28-48c0-b94c-224b90eb8d0a" providerId="ADAL" clId="{85BF7E29-B863-8743-821C-9B528FF1FFE4}" dt="2024-04-05T06:31:19.825" v="2397"/>
          <ac:spMkLst>
            <pc:docMk/>
            <pc:sldMk cId="3239871205" sldId="2147483606"/>
            <ac:spMk id="44" creationId="{B1523FB1-B901-82AB-1A94-2D1000C52468}"/>
          </ac:spMkLst>
        </pc:spChg>
        <pc:spChg chg="add mod">
          <ac:chgData name="Nisen, Henrik (BCG Platinion)" userId="23462ed3-8a28-48c0-b94c-224b90eb8d0a" providerId="ADAL" clId="{85BF7E29-B863-8743-821C-9B528FF1FFE4}" dt="2024-04-05T06:31:19.825" v="2397"/>
          <ac:spMkLst>
            <pc:docMk/>
            <pc:sldMk cId="3239871205" sldId="2147483606"/>
            <ac:spMk id="45" creationId="{71F13DAC-A810-3E08-9279-7A41DBE1DC3F}"/>
          </ac:spMkLst>
        </pc:spChg>
        <pc:spChg chg="add mod">
          <ac:chgData name="Nisen, Henrik (BCG Platinion)" userId="23462ed3-8a28-48c0-b94c-224b90eb8d0a" providerId="ADAL" clId="{85BF7E29-B863-8743-821C-9B528FF1FFE4}" dt="2024-04-05T06:31:19.825" v="2397"/>
          <ac:spMkLst>
            <pc:docMk/>
            <pc:sldMk cId="3239871205" sldId="2147483606"/>
            <ac:spMk id="46" creationId="{4FBC720F-0563-FB2B-E74D-47DD85EE2583}"/>
          </ac:spMkLst>
        </pc:spChg>
        <pc:spChg chg="del">
          <ac:chgData name="Nisen, Henrik (BCG Platinion)" userId="23462ed3-8a28-48c0-b94c-224b90eb8d0a" providerId="ADAL" clId="{85BF7E29-B863-8743-821C-9B528FF1FFE4}" dt="2024-04-05T06:31:19.396" v="2396" actId="478"/>
          <ac:spMkLst>
            <pc:docMk/>
            <pc:sldMk cId="3239871205" sldId="2147483606"/>
            <ac:spMk id="47" creationId="{7182237F-D58D-D4F2-1CFA-A994400E7CBD}"/>
          </ac:spMkLst>
        </pc:spChg>
        <pc:spChg chg="del">
          <ac:chgData name="Nisen, Henrik (BCG Platinion)" userId="23462ed3-8a28-48c0-b94c-224b90eb8d0a" providerId="ADAL" clId="{85BF7E29-B863-8743-821C-9B528FF1FFE4}" dt="2024-04-05T06:31:19.396" v="2396" actId="478"/>
          <ac:spMkLst>
            <pc:docMk/>
            <pc:sldMk cId="3239871205" sldId="2147483606"/>
            <ac:spMk id="48" creationId="{583FF8C4-B528-EEFB-C6F1-CF95B1CDD01D}"/>
          </ac:spMkLst>
        </pc:spChg>
        <pc:spChg chg="add mod">
          <ac:chgData name="Nisen, Henrik (BCG Platinion)" userId="23462ed3-8a28-48c0-b94c-224b90eb8d0a" providerId="ADAL" clId="{85BF7E29-B863-8743-821C-9B528FF1FFE4}" dt="2024-04-05T06:31:19.825" v="2397"/>
          <ac:spMkLst>
            <pc:docMk/>
            <pc:sldMk cId="3239871205" sldId="2147483606"/>
            <ac:spMk id="49" creationId="{BFE7D922-3FA1-3FE9-1290-D1AE0B07D29A}"/>
          </ac:spMkLst>
        </pc:spChg>
        <pc:spChg chg="add mod">
          <ac:chgData name="Nisen, Henrik (BCG Platinion)" userId="23462ed3-8a28-48c0-b94c-224b90eb8d0a" providerId="ADAL" clId="{85BF7E29-B863-8743-821C-9B528FF1FFE4}" dt="2024-04-05T06:31:19.825" v="2397"/>
          <ac:spMkLst>
            <pc:docMk/>
            <pc:sldMk cId="3239871205" sldId="2147483606"/>
            <ac:spMk id="50" creationId="{DA377BD0-92AB-EE43-0F99-DC6CBF2B3F03}"/>
          </ac:spMkLst>
        </pc:spChg>
        <pc:spChg chg="add mod">
          <ac:chgData name="Nisen, Henrik (BCG Platinion)" userId="23462ed3-8a28-48c0-b94c-224b90eb8d0a" providerId="ADAL" clId="{85BF7E29-B863-8743-821C-9B528FF1FFE4}" dt="2024-04-05T06:31:19.825" v="2397"/>
          <ac:spMkLst>
            <pc:docMk/>
            <pc:sldMk cId="3239871205" sldId="2147483606"/>
            <ac:spMk id="51" creationId="{C81850F4-885C-AA0C-DD41-679017CEEA99}"/>
          </ac:spMkLst>
        </pc:spChg>
        <pc:spChg chg="add mod">
          <ac:chgData name="Nisen, Henrik (BCG Platinion)" userId="23462ed3-8a28-48c0-b94c-224b90eb8d0a" providerId="ADAL" clId="{85BF7E29-B863-8743-821C-9B528FF1FFE4}" dt="2024-04-05T06:31:19.825" v="2397"/>
          <ac:spMkLst>
            <pc:docMk/>
            <pc:sldMk cId="3239871205" sldId="2147483606"/>
            <ac:spMk id="52" creationId="{7AC6A2F9-E587-3947-2E04-400611783B69}"/>
          </ac:spMkLst>
        </pc:spChg>
        <pc:spChg chg="add mod">
          <ac:chgData name="Nisen, Henrik (BCG Platinion)" userId="23462ed3-8a28-48c0-b94c-224b90eb8d0a" providerId="ADAL" clId="{85BF7E29-B863-8743-821C-9B528FF1FFE4}" dt="2024-04-05T06:31:19.825" v="2397"/>
          <ac:spMkLst>
            <pc:docMk/>
            <pc:sldMk cId="3239871205" sldId="2147483606"/>
            <ac:spMk id="53" creationId="{5B251E11-7745-FEAB-3968-35260327147A}"/>
          </ac:spMkLst>
        </pc:spChg>
        <pc:spChg chg="add mod">
          <ac:chgData name="Nisen, Henrik (BCG Platinion)" userId="23462ed3-8a28-48c0-b94c-224b90eb8d0a" providerId="ADAL" clId="{85BF7E29-B863-8743-821C-9B528FF1FFE4}" dt="2024-04-05T06:31:19.825" v="2397"/>
          <ac:spMkLst>
            <pc:docMk/>
            <pc:sldMk cId="3239871205" sldId="2147483606"/>
            <ac:spMk id="54" creationId="{92912425-1E4F-690C-722C-64251F1E77BC}"/>
          </ac:spMkLst>
        </pc:spChg>
        <pc:spChg chg="add mod">
          <ac:chgData name="Nisen, Henrik (BCG Platinion)" userId="23462ed3-8a28-48c0-b94c-224b90eb8d0a" providerId="ADAL" clId="{85BF7E29-B863-8743-821C-9B528FF1FFE4}" dt="2024-04-05T06:31:19.825" v="2397"/>
          <ac:spMkLst>
            <pc:docMk/>
            <pc:sldMk cId="3239871205" sldId="2147483606"/>
            <ac:spMk id="55" creationId="{773D06C7-6361-B7D4-C944-DBE3E23AEF87}"/>
          </ac:spMkLst>
        </pc:spChg>
        <pc:spChg chg="add mod">
          <ac:chgData name="Nisen, Henrik (BCG Platinion)" userId="23462ed3-8a28-48c0-b94c-224b90eb8d0a" providerId="ADAL" clId="{85BF7E29-B863-8743-821C-9B528FF1FFE4}" dt="2024-04-05T06:31:19.825" v="2397"/>
          <ac:spMkLst>
            <pc:docMk/>
            <pc:sldMk cId="3239871205" sldId="2147483606"/>
            <ac:spMk id="56" creationId="{28589C5C-27A5-7D03-1DB2-46C5F11BD33B}"/>
          </ac:spMkLst>
        </pc:spChg>
        <pc:spChg chg="add mod">
          <ac:chgData name="Nisen, Henrik (BCG Platinion)" userId="23462ed3-8a28-48c0-b94c-224b90eb8d0a" providerId="ADAL" clId="{85BF7E29-B863-8743-821C-9B528FF1FFE4}" dt="2024-04-05T06:31:19.825" v="2397"/>
          <ac:spMkLst>
            <pc:docMk/>
            <pc:sldMk cId="3239871205" sldId="2147483606"/>
            <ac:spMk id="57" creationId="{DA6D6882-1FE8-B858-17DF-3E231AD011F6}"/>
          </ac:spMkLst>
        </pc:spChg>
        <pc:spChg chg="mod">
          <ac:chgData name="Nisen, Henrik (BCG Platinion)" userId="23462ed3-8a28-48c0-b94c-224b90eb8d0a" providerId="ADAL" clId="{85BF7E29-B863-8743-821C-9B528FF1FFE4}" dt="2024-04-05T06:36:41.520" v="2757" actId="404"/>
          <ac:spMkLst>
            <pc:docMk/>
            <pc:sldMk cId="3239871205" sldId="2147483606"/>
            <ac:spMk id="59" creationId="{29932703-FE2F-2A80-B07A-E94517142BB8}"/>
          </ac:spMkLst>
        </pc:spChg>
        <pc:spChg chg="mod">
          <ac:chgData name="Nisen, Henrik (BCG Platinion)" userId="23462ed3-8a28-48c0-b94c-224b90eb8d0a" providerId="ADAL" clId="{85BF7E29-B863-8743-821C-9B528FF1FFE4}" dt="2024-04-05T06:36:41.520" v="2757" actId="404"/>
          <ac:spMkLst>
            <pc:docMk/>
            <pc:sldMk cId="3239871205" sldId="2147483606"/>
            <ac:spMk id="60" creationId="{630BAE72-F142-DC06-3D8D-914C6C0AFF22}"/>
          </ac:spMkLst>
        </pc:spChg>
        <pc:spChg chg="mod">
          <ac:chgData name="Nisen, Henrik (BCG Platinion)" userId="23462ed3-8a28-48c0-b94c-224b90eb8d0a" providerId="ADAL" clId="{85BF7E29-B863-8743-821C-9B528FF1FFE4}" dt="2024-04-05T06:36:41.520" v="2757" actId="404"/>
          <ac:spMkLst>
            <pc:docMk/>
            <pc:sldMk cId="3239871205" sldId="2147483606"/>
            <ac:spMk id="61" creationId="{A1A37D1E-FDF9-38A7-B066-21ACAE53FEC7}"/>
          </ac:spMkLst>
        </pc:spChg>
        <pc:spChg chg="mod">
          <ac:chgData name="Nisen, Henrik (BCG Platinion)" userId="23462ed3-8a28-48c0-b94c-224b90eb8d0a" providerId="ADAL" clId="{85BF7E29-B863-8743-821C-9B528FF1FFE4}" dt="2024-04-05T06:36:41.520" v="2757" actId="404"/>
          <ac:spMkLst>
            <pc:docMk/>
            <pc:sldMk cId="3239871205" sldId="2147483606"/>
            <ac:spMk id="62" creationId="{6207A3D2-3F32-F890-1947-E808373CC737}"/>
          </ac:spMkLst>
        </pc:spChg>
        <pc:spChg chg="mod">
          <ac:chgData name="Nisen, Henrik (BCG Platinion)" userId="23462ed3-8a28-48c0-b94c-224b90eb8d0a" providerId="ADAL" clId="{85BF7E29-B863-8743-821C-9B528FF1FFE4}" dt="2024-04-05T06:36:41.520" v="2757" actId="404"/>
          <ac:spMkLst>
            <pc:docMk/>
            <pc:sldMk cId="3239871205" sldId="2147483606"/>
            <ac:spMk id="66" creationId="{45A01B3D-60D9-32A5-239C-55CCC861214D}"/>
          </ac:spMkLst>
        </pc:spChg>
        <pc:spChg chg="mod">
          <ac:chgData name="Nisen, Henrik (BCG Platinion)" userId="23462ed3-8a28-48c0-b94c-224b90eb8d0a" providerId="ADAL" clId="{85BF7E29-B863-8743-821C-9B528FF1FFE4}" dt="2024-04-05T06:36:41.520" v="2757" actId="404"/>
          <ac:spMkLst>
            <pc:docMk/>
            <pc:sldMk cId="3239871205" sldId="2147483606"/>
            <ac:spMk id="67" creationId="{6CCBEE74-3273-6AD3-3E94-8BE6577D31BC}"/>
          </ac:spMkLst>
        </pc:spChg>
        <pc:spChg chg="mod">
          <ac:chgData name="Nisen, Henrik (BCG Platinion)" userId="23462ed3-8a28-48c0-b94c-224b90eb8d0a" providerId="ADAL" clId="{85BF7E29-B863-8743-821C-9B528FF1FFE4}" dt="2024-04-05T06:36:41.520" v="2757" actId="404"/>
          <ac:spMkLst>
            <pc:docMk/>
            <pc:sldMk cId="3239871205" sldId="2147483606"/>
            <ac:spMk id="69" creationId="{8F431A9D-DC6C-EA51-388D-B824103FA141}"/>
          </ac:spMkLst>
        </pc:spChg>
        <pc:spChg chg="mod">
          <ac:chgData name="Nisen, Henrik (BCG Platinion)" userId="23462ed3-8a28-48c0-b94c-224b90eb8d0a" providerId="ADAL" clId="{85BF7E29-B863-8743-821C-9B528FF1FFE4}" dt="2024-04-05T06:36:41.520" v="2757" actId="404"/>
          <ac:spMkLst>
            <pc:docMk/>
            <pc:sldMk cId="3239871205" sldId="2147483606"/>
            <ac:spMk id="70" creationId="{55E1E306-742F-A54C-E9A3-F12D4D3CB47F}"/>
          </ac:spMkLst>
        </pc:spChg>
        <pc:spChg chg="mod">
          <ac:chgData name="Nisen, Henrik (BCG Platinion)" userId="23462ed3-8a28-48c0-b94c-224b90eb8d0a" providerId="ADAL" clId="{85BF7E29-B863-8743-821C-9B528FF1FFE4}" dt="2024-04-05T06:36:41.520" v="2757" actId="404"/>
          <ac:spMkLst>
            <pc:docMk/>
            <pc:sldMk cId="3239871205" sldId="2147483606"/>
            <ac:spMk id="71" creationId="{44D6D501-5F0E-BC48-861B-06BAC1962969}"/>
          </ac:spMkLst>
        </pc:spChg>
        <pc:spChg chg="mod">
          <ac:chgData name="Nisen, Henrik (BCG Platinion)" userId="23462ed3-8a28-48c0-b94c-224b90eb8d0a" providerId="ADAL" clId="{85BF7E29-B863-8743-821C-9B528FF1FFE4}" dt="2024-04-05T06:36:41.520" v="2757" actId="404"/>
          <ac:spMkLst>
            <pc:docMk/>
            <pc:sldMk cId="3239871205" sldId="2147483606"/>
            <ac:spMk id="72" creationId="{4C8D68FD-055F-6881-B9B2-A72F1AC50036}"/>
          </ac:spMkLst>
        </pc:spChg>
        <pc:spChg chg="mod">
          <ac:chgData name="Nisen, Henrik (BCG Platinion)" userId="23462ed3-8a28-48c0-b94c-224b90eb8d0a" providerId="ADAL" clId="{85BF7E29-B863-8743-821C-9B528FF1FFE4}" dt="2024-04-05T06:36:41.520" v="2757" actId="404"/>
          <ac:spMkLst>
            <pc:docMk/>
            <pc:sldMk cId="3239871205" sldId="2147483606"/>
            <ac:spMk id="73" creationId="{181393A8-E723-A35B-A4B5-3768AE4841C7}"/>
          </ac:spMkLst>
        </pc:spChg>
        <pc:spChg chg="mod">
          <ac:chgData name="Nisen, Henrik (BCG Platinion)" userId="23462ed3-8a28-48c0-b94c-224b90eb8d0a" providerId="ADAL" clId="{85BF7E29-B863-8743-821C-9B528FF1FFE4}" dt="2024-04-05T06:36:41.520" v="2757" actId="404"/>
          <ac:spMkLst>
            <pc:docMk/>
            <pc:sldMk cId="3239871205" sldId="2147483606"/>
            <ac:spMk id="74" creationId="{5BF19357-F411-3D1D-40DD-A153387948EC}"/>
          </ac:spMkLst>
        </pc:spChg>
        <pc:spChg chg="mod">
          <ac:chgData name="Nisen, Henrik (BCG Platinion)" userId="23462ed3-8a28-48c0-b94c-224b90eb8d0a" providerId="ADAL" clId="{85BF7E29-B863-8743-821C-9B528FF1FFE4}" dt="2024-04-05T06:36:41.520" v="2757" actId="404"/>
          <ac:spMkLst>
            <pc:docMk/>
            <pc:sldMk cId="3239871205" sldId="2147483606"/>
            <ac:spMk id="75" creationId="{507D02D0-38B5-79D8-BAF4-FB2A9989EBAC}"/>
          </ac:spMkLst>
        </pc:spChg>
        <pc:spChg chg="mod">
          <ac:chgData name="Nisen, Henrik (BCG Platinion)" userId="23462ed3-8a28-48c0-b94c-224b90eb8d0a" providerId="ADAL" clId="{85BF7E29-B863-8743-821C-9B528FF1FFE4}" dt="2024-04-05T06:36:41.520" v="2757" actId="404"/>
          <ac:spMkLst>
            <pc:docMk/>
            <pc:sldMk cId="3239871205" sldId="2147483606"/>
            <ac:spMk id="76" creationId="{D7F78FE2-5BFF-10BC-6682-80A2C1A38178}"/>
          </ac:spMkLst>
        </pc:spChg>
        <pc:spChg chg="mod">
          <ac:chgData name="Nisen, Henrik (BCG Platinion)" userId="23462ed3-8a28-48c0-b94c-224b90eb8d0a" providerId="ADAL" clId="{85BF7E29-B863-8743-821C-9B528FF1FFE4}" dt="2024-04-05T06:36:41.520" v="2757" actId="404"/>
          <ac:spMkLst>
            <pc:docMk/>
            <pc:sldMk cId="3239871205" sldId="2147483606"/>
            <ac:spMk id="77" creationId="{23C6F389-062C-8DE3-798A-2E8EE21D9791}"/>
          </ac:spMkLst>
        </pc:spChg>
        <pc:spChg chg="mod">
          <ac:chgData name="Nisen, Henrik (BCG Platinion)" userId="23462ed3-8a28-48c0-b94c-224b90eb8d0a" providerId="ADAL" clId="{85BF7E29-B863-8743-821C-9B528FF1FFE4}" dt="2024-04-05T06:36:41.520" v="2757" actId="404"/>
          <ac:spMkLst>
            <pc:docMk/>
            <pc:sldMk cId="3239871205" sldId="2147483606"/>
            <ac:spMk id="78" creationId="{445117E9-B70C-3314-B046-921F713ACC49}"/>
          </ac:spMkLst>
        </pc:spChg>
        <pc:spChg chg="mod">
          <ac:chgData name="Nisen, Henrik (BCG Platinion)" userId="23462ed3-8a28-48c0-b94c-224b90eb8d0a" providerId="ADAL" clId="{85BF7E29-B863-8743-821C-9B528FF1FFE4}" dt="2024-04-05T06:36:41.520" v="2757" actId="404"/>
          <ac:spMkLst>
            <pc:docMk/>
            <pc:sldMk cId="3239871205" sldId="2147483606"/>
            <ac:spMk id="79" creationId="{24670B55-A21E-DCDB-3BD4-14FBB084CE0A}"/>
          </ac:spMkLst>
        </pc:spChg>
        <pc:spChg chg="mod">
          <ac:chgData name="Nisen, Henrik (BCG Platinion)" userId="23462ed3-8a28-48c0-b94c-224b90eb8d0a" providerId="ADAL" clId="{85BF7E29-B863-8743-821C-9B528FF1FFE4}" dt="2024-04-05T06:36:41.520" v="2757" actId="404"/>
          <ac:spMkLst>
            <pc:docMk/>
            <pc:sldMk cId="3239871205" sldId="2147483606"/>
            <ac:spMk id="80" creationId="{4C6DD880-25C4-39E4-E981-B03FDB8D5800}"/>
          </ac:spMkLst>
        </pc:spChg>
        <pc:spChg chg="mod">
          <ac:chgData name="Nisen, Henrik (BCG Platinion)" userId="23462ed3-8a28-48c0-b94c-224b90eb8d0a" providerId="ADAL" clId="{85BF7E29-B863-8743-821C-9B528FF1FFE4}" dt="2024-04-05T06:36:41.520" v="2757" actId="404"/>
          <ac:spMkLst>
            <pc:docMk/>
            <pc:sldMk cId="3239871205" sldId="2147483606"/>
            <ac:spMk id="81" creationId="{364F3F4F-DF2F-E5DB-29F5-AB10E2E40203}"/>
          </ac:spMkLst>
        </pc:spChg>
        <pc:spChg chg="mod">
          <ac:chgData name="Nisen, Henrik (BCG Platinion)" userId="23462ed3-8a28-48c0-b94c-224b90eb8d0a" providerId="ADAL" clId="{85BF7E29-B863-8743-821C-9B528FF1FFE4}" dt="2024-04-05T06:36:41.520" v="2757" actId="404"/>
          <ac:spMkLst>
            <pc:docMk/>
            <pc:sldMk cId="3239871205" sldId="2147483606"/>
            <ac:spMk id="82" creationId="{A7418AB1-3EB1-C4EA-C5A2-A386AE293247}"/>
          </ac:spMkLst>
        </pc:spChg>
        <pc:spChg chg="mod">
          <ac:chgData name="Nisen, Henrik (BCG Platinion)" userId="23462ed3-8a28-48c0-b94c-224b90eb8d0a" providerId="ADAL" clId="{85BF7E29-B863-8743-821C-9B528FF1FFE4}" dt="2024-04-05T06:36:41.520" v="2757" actId="404"/>
          <ac:spMkLst>
            <pc:docMk/>
            <pc:sldMk cId="3239871205" sldId="2147483606"/>
            <ac:spMk id="86" creationId="{6F83CD21-A737-56FC-38CA-95916224C5A3}"/>
          </ac:spMkLst>
        </pc:spChg>
        <pc:spChg chg="mod">
          <ac:chgData name="Nisen, Henrik (BCG Platinion)" userId="23462ed3-8a28-48c0-b94c-224b90eb8d0a" providerId="ADAL" clId="{85BF7E29-B863-8743-821C-9B528FF1FFE4}" dt="2024-04-05T06:36:41.520" v="2757" actId="404"/>
          <ac:spMkLst>
            <pc:docMk/>
            <pc:sldMk cId="3239871205" sldId="2147483606"/>
            <ac:spMk id="87" creationId="{1AE7B264-2AE0-8122-13DC-81B574875DEE}"/>
          </ac:spMkLst>
        </pc:spChg>
        <pc:spChg chg="del">
          <ac:chgData name="Nisen, Henrik (BCG Platinion)" userId="23462ed3-8a28-48c0-b94c-224b90eb8d0a" providerId="ADAL" clId="{85BF7E29-B863-8743-821C-9B528FF1FFE4}" dt="2024-04-05T06:31:19.396" v="2396" actId="478"/>
          <ac:spMkLst>
            <pc:docMk/>
            <pc:sldMk cId="3239871205" sldId="2147483606"/>
            <ac:spMk id="88" creationId="{675C0C0F-2412-0EE1-904E-26F79553ECB0}"/>
          </ac:spMkLst>
        </pc:spChg>
        <pc:spChg chg="mod">
          <ac:chgData name="Nisen, Henrik (BCG Platinion)" userId="23462ed3-8a28-48c0-b94c-224b90eb8d0a" providerId="ADAL" clId="{85BF7E29-B863-8743-821C-9B528FF1FFE4}" dt="2024-04-05T06:36:41.520" v="2757" actId="404"/>
          <ac:spMkLst>
            <pc:docMk/>
            <pc:sldMk cId="3239871205" sldId="2147483606"/>
            <ac:spMk id="89" creationId="{0A48FCF0-0136-49E6-0223-FA6F25F31B44}"/>
          </ac:spMkLst>
        </pc:spChg>
        <pc:spChg chg="mod">
          <ac:chgData name="Nisen, Henrik (BCG Platinion)" userId="23462ed3-8a28-48c0-b94c-224b90eb8d0a" providerId="ADAL" clId="{85BF7E29-B863-8743-821C-9B528FF1FFE4}" dt="2024-04-05T06:36:41.520" v="2757" actId="404"/>
          <ac:spMkLst>
            <pc:docMk/>
            <pc:sldMk cId="3239871205" sldId="2147483606"/>
            <ac:spMk id="90" creationId="{642516E4-FE3C-1E52-A2D8-CD92D04DB0E8}"/>
          </ac:spMkLst>
        </pc:spChg>
        <pc:spChg chg="del">
          <ac:chgData name="Nisen, Henrik (BCG Platinion)" userId="23462ed3-8a28-48c0-b94c-224b90eb8d0a" providerId="ADAL" clId="{85BF7E29-B863-8743-821C-9B528FF1FFE4}" dt="2024-04-05T06:31:19.396" v="2396" actId="478"/>
          <ac:spMkLst>
            <pc:docMk/>
            <pc:sldMk cId="3239871205" sldId="2147483606"/>
            <ac:spMk id="91" creationId="{51CD05B8-7412-0239-DFD0-900FCEB2DED5}"/>
          </ac:spMkLst>
        </pc:spChg>
        <pc:spChg chg="mod">
          <ac:chgData name="Nisen, Henrik (BCG Platinion)" userId="23462ed3-8a28-48c0-b94c-224b90eb8d0a" providerId="ADAL" clId="{85BF7E29-B863-8743-821C-9B528FF1FFE4}" dt="2024-04-05T06:36:41.520" v="2757" actId="404"/>
          <ac:spMkLst>
            <pc:docMk/>
            <pc:sldMk cId="3239871205" sldId="2147483606"/>
            <ac:spMk id="92" creationId="{E1B4242A-B087-6880-CE2C-B62C50EE6297}"/>
          </ac:spMkLst>
        </pc:spChg>
        <pc:spChg chg="mod">
          <ac:chgData name="Nisen, Henrik (BCG Platinion)" userId="23462ed3-8a28-48c0-b94c-224b90eb8d0a" providerId="ADAL" clId="{85BF7E29-B863-8743-821C-9B528FF1FFE4}" dt="2024-04-05T06:36:41.520" v="2757" actId="404"/>
          <ac:spMkLst>
            <pc:docMk/>
            <pc:sldMk cId="3239871205" sldId="2147483606"/>
            <ac:spMk id="93" creationId="{8C2BEDF2-10B5-E01F-F4BE-E7A328A4FF62}"/>
          </ac:spMkLst>
        </pc:spChg>
        <pc:spChg chg="mod">
          <ac:chgData name="Nisen, Henrik (BCG Platinion)" userId="23462ed3-8a28-48c0-b94c-224b90eb8d0a" providerId="ADAL" clId="{85BF7E29-B863-8743-821C-9B528FF1FFE4}" dt="2024-04-05T06:36:41.520" v="2757" actId="404"/>
          <ac:spMkLst>
            <pc:docMk/>
            <pc:sldMk cId="3239871205" sldId="2147483606"/>
            <ac:spMk id="94" creationId="{E327D5FB-35AE-D3E6-D556-EAF3261EB06D}"/>
          </ac:spMkLst>
        </pc:spChg>
        <pc:spChg chg="mod">
          <ac:chgData name="Nisen, Henrik (BCG Platinion)" userId="23462ed3-8a28-48c0-b94c-224b90eb8d0a" providerId="ADAL" clId="{85BF7E29-B863-8743-821C-9B528FF1FFE4}" dt="2024-04-05T06:36:41.520" v="2757" actId="404"/>
          <ac:spMkLst>
            <pc:docMk/>
            <pc:sldMk cId="3239871205" sldId="2147483606"/>
            <ac:spMk id="95" creationId="{EBA80673-783A-2F5D-5840-ADB9B4AA0488}"/>
          </ac:spMkLst>
        </pc:spChg>
        <pc:spChg chg="del">
          <ac:chgData name="Nisen, Henrik (BCG Platinion)" userId="23462ed3-8a28-48c0-b94c-224b90eb8d0a" providerId="ADAL" clId="{85BF7E29-B863-8743-821C-9B528FF1FFE4}" dt="2024-04-05T06:31:19.396" v="2396" actId="478"/>
          <ac:spMkLst>
            <pc:docMk/>
            <pc:sldMk cId="3239871205" sldId="2147483606"/>
            <ac:spMk id="96" creationId="{E32C37C8-D070-496E-B1E5-0E17389ACE21}"/>
          </ac:spMkLst>
        </pc:spChg>
        <pc:spChg chg="mod">
          <ac:chgData name="Nisen, Henrik (BCG Platinion)" userId="23462ed3-8a28-48c0-b94c-224b90eb8d0a" providerId="ADAL" clId="{85BF7E29-B863-8743-821C-9B528FF1FFE4}" dt="2024-04-05T06:36:41.520" v="2757" actId="404"/>
          <ac:spMkLst>
            <pc:docMk/>
            <pc:sldMk cId="3239871205" sldId="2147483606"/>
            <ac:spMk id="97" creationId="{533B9BB0-0061-0617-1726-C2331BCDAA25}"/>
          </ac:spMkLst>
        </pc:spChg>
        <pc:spChg chg="mod">
          <ac:chgData name="Nisen, Henrik (BCG Platinion)" userId="23462ed3-8a28-48c0-b94c-224b90eb8d0a" providerId="ADAL" clId="{85BF7E29-B863-8743-821C-9B528FF1FFE4}" dt="2024-04-05T06:36:41.520" v="2757" actId="404"/>
          <ac:spMkLst>
            <pc:docMk/>
            <pc:sldMk cId="3239871205" sldId="2147483606"/>
            <ac:spMk id="98" creationId="{40483BEF-3304-0BCA-6300-8BFF4FCD67BF}"/>
          </ac:spMkLst>
        </pc:spChg>
        <pc:spChg chg="add del mod">
          <ac:chgData name="Nisen, Henrik (BCG Platinion)" userId="23462ed3-8a28-48c0-b94c-224b90eb8d0a" providerId="ADAL" clId="{85BF7E29-B863-8743-821C-9B528FF1FFE4}" dt="2024-04-05T06:33:53.717" v="2455" actId="478"/>
          <ac:spMkLst>
            <pc:docMk/>
            <pc:sldMk cId="3239871205" sldId="2147483606"/>
            <ac:spMk id="100" creationId="{91A0BD95-1219-18E8-FB3D-8CD25CBAF0BD}"/>
          </ac:spMkLst>
        </pc:spChg>
        <pc:spChg chg="add mod">
          <ac:chgData name="Nisen, Henrik (BCG Platinion)" userId="23462ed3-8a28-48c0-b94c-224b90eb8d0a" providerId="ADAL" clId="{85BF7E29-B863-8743-821C-9B528FF1FFE4}" dt="2024-04-05T06:35:31.077" v="2688" actId="20577"/>
          <ac:spMkLst>
            <pc:docMk/>
            <pc:sldMk cId="3239871205" sldId="2147483606"/>
            <ac:spMk id="101" creationId="{EFE2E1E5-ED76-ABA1-661F-E573B3AB7C12}"/>
          </ac:spMkLst>
        </pc:spChg>
        <pc:spChg chg="del">
          <ac:chgData name="Nisen, Henrik (BCG Platinion)" userId="23462ed3-8a28-48c0-b94c-224b90eb8d0a" providerId="ADAL" clId="{85BF7E29-B863-8743-821C-9B528FF1FFE4}" dt="2024-04-05T06:31:19.396" v="2396" actId="478"/>
          <ac:spMkLst>
            <pc:docMk/>
            <pc:sldMk cId="3239871205" sldId="2147483606"/>
            <ac:spMk id="102" creationId="{FBEBCB73-8EEA-37FC-16F5-C61C2862A03B}"/>
          </ac:spMkLst>
        </pc:spChg>
        <pc:spChg chg="del">
          <ac:chgData name="Nisen, Henrik (BCG Platinion)" userId="23462ed3-8a28-48c0-b94c-224b90eb8d0a" providerId="ADAL" clId="{85BF7E29-B863-8743-821C-9B528FF1FFE4}" dt="2024-04-05T06:31:19.396" v="2396" actId="478"/>
          <ac:spMkLst>
            <pc:docMk/>
            <pc:sldMk cId="3239871205" sldId="2147483606"/>
            <ac:spMk id="115" creationId="{2CAE815B-5BF1-9122-EFFE-9BB9E45BA52A}"/>
          </ac:spMkLst>
        </pc:spChg>
        <pc:spChg chg="del">
          <ac:chgData name="Nisen, Henrik (BCG Platinion)" userId="23462ed3-8a28-48c0-b94c-224b90eb8d0a" providerId="ADAL" clId="{85BF7E29-B863-8743-821C-9B528FF1FFE4}" dt="2024-04-05T06:31:19.396" v="2396" actId="478"/>
          <ac:spMkLst>
            <pc:docMk/>
            <pc:sldMk cId="3239871205" sldId="2147483606"/>
            <ac:spMk id="121" creationId="{EF5084ED-3A9C-F260-CCB2-96BE2A75B567}"/>
          </ac:spMkLst>
        </pc:spChg>
        <pc:spChg chg="del">
          <ac:chgData name="Nisen, Henrik (BCG Platinion)" userId="23462ed3-8a28-48c0-b94c-224b90eb8d0a" providerId="ADAL" clId="{85BF7E29-B863-8743-821C-9B528FF1FFE4}" dt="2024-04-05T06:31:19.396" v="2396" actId="478"/>
          <ac:spMkLst>
            <pc:docMk/>
            <pc:sldMk cId="3239871205" sldId="2147483606"/>
            <ac:spMk id="126" creationId="{39DF3B38-1D59-F0C8-D624-C0E262ED33F3}"/>
          </ac:spMkLst>
        </pc:spChg>
        <pc:spChg chg="del">
          <ac:chgData name="Nisen, Henrik (BCG Platinion)" userId="23462ed3-8a28-48c0-b94c-224b90eb8d0a" providerId="ADAL" clId="{85BF7E29-B863-8743-821C-9B528FF1FFE4}" dt="2024-04-05T06:31:19.396" v="2396" actId="478"/>
          <ac:spMkLst>
            <pc:docMk/>
            <pc:sldMk cId="3239871205" sldId="2147483606"/>
            <ac:spMk id="127" creationId="{5E1D94B0-B000-ABF6-4A67-353DDA679802}"/>
          </ac:spMkLst>
        </pc:spChg>
        <pc:spChg chg="del">
          <ac:chgData name="Nisen, Henrik (BCG Platinion)" userId="23462ed3-8a28-48c0-b94c-224b90eb8d0a" providerId="ADAL" clId="{85BF7E29-B863-8743-821C-9B528FF1FFE4}" dt="2024-04-05T06:31:19.396" v="2396" actId="478"/>
          <ac:spMkLst>
            <pc:docMk/>
            <pc:sldMk cId="3239871205" sldId="2147483606"/>
            <ac:spMk id="128" creationId="{8541ED54-0A18-4FF2-D4C8-E8DEB0DED49E}"/>
          </ac:spMkLst>
        </pc:spChg>
        <pc:spChg chg="del">
          <ac:chgData name="Nisen, Henrik (BCG Platinion)" userId="23462ed3-8a28-48c0-b94c-224b90eb8d0a" providerId="ADAL" clId="{85BF7E29-B863-8743-821C-9B528FF1FFE4}" dt="2024-04-05T06:31:19.396" v="2396" actId="478"/>
          <ac:spMkLst>
            <pc:docMk/>
            <pc:sldMk cId="3239871205" sldId="2147483606"/>
            <ac:spMk id="132" creationId="{3D32E403-2530-438F-49FF-D6304A67B747}"/>
          </ac:spMkLst>
        </pc:spChg>
        <pc:spChg chg="del">
          <ac:chgData name="Nisen, Henrik (BCG Platinion)" userId="23462ed3-8a28-48c0-b94c-224b90eb8d0a" providerId="ADAL" clId="{85BF7E29-B863-8743-821C-9B528FF1FFE4}" dt="2024-04-05T06:31:19.396" v="2396" actId="478"/>
          <ac:spMkLst>
            <pc:docMk/>
            <pc:sldMk cId="3239871205" sldId="2147483606"/>
            <ac:spMk id="136" creationId="{17CCCCAA-7A3C-17CE-5358-AB917D524323}"/>
          </ac:spMkLst>
        </pc:spChg>
        <pc:spChg chg="del">
          <ac:chgData name="Nisen, Henrik (BCG Platinion)" userId="23462ed3-8a28-48c0-b94c-224b90eb8d0a" providerId="ADAL" clId="{85BF7E29-B863-8743-821C-9B528FF1FFE4}" dt="2024-04-05T06:31:19.396" v="2396" actId="478"/>
          <ac:spMkLst>
            <pc:docMk/>
            <pc:sldMk cId="3239871205" sldId="2147483606"/>
            <ac:spMk id="139" creationId="{6B482937-0603-6FCD-EA7F-2063C4F9F81D}"/>
          </ac:spMkLst>
        </pc:spChg>
        <pc:spChg chg="del">
          <ac:chgData name="Nisen, Henrik (BCG Platinion)" userId="23462ed3-8a28-48c0-b94c-224b90eb8d0a" providerId="ADAL" clId="{85BF7E29-B863-8743-821C-9B528FF1FFE4}" dt="2024-04-05T06:31:19.396" v="2396" actId="478"/>
          <ac:spMkLst>
            <pc:docMk/>
            <pc:sldMk cId="3239871205" sldId="2147483606"/>
            <ac:spMk id="175" creationId="{8485A1F6-B5F5-0ABA-7F4F-C6ED75975F06}"/>
          </ac:spMkLst>
        </pc:spChg>
        <pc:spChg chg="del">
          <ac:chgData name="Nisen, Henrik (BCG Platinion)" userId="23462ed3-8a28-48c0-b94c-224b90eb8d0a" providerId="ADAL" clId="{85BF7E29-B863-8743-821C-9B528FF1FFE4}" dt="2024-04-05T06:31:19.396" v="2396" actId="478"/>
          <ac:spMkLst>
            <pc:docMk/>
            <pc:sldMk cId="3239871205" sldId="2147483606"/>
            <ac:spMk id="191" creationId="{91CBB7DF-B46B-A092-5E6E-451B10F0F577}"/>
          </ac:spMkLst>
        </pc:spChg>
        <pc:grpChg chg="add mod">
          <ac:chgData name="Nisen, Henrik (BCG Platinion)" userId="23462ed3-8a28-48c0-b94c-224b90eb8d0a" providerId="ADAL" clId="{85BF7E29-B863-8743-821C-9B528FF1FFE4}" dt="2024-04-05T06:36:41.520" v="2757" actId="404"/>
          <ac:grpSpMkLst>
            <pc:docMk/>
            <pc:sldMk cId="3239871205" sldId="2147483606"/>
            <ac:grpSpMk id="58" creationId="{43EBFB16-2254-CE0E-A6D4-FEEE287B90BF}"/>
          </ac:grpSpMkLst>
        </pc:grpChg>
        <pc:cxnChg chg="add mod">
          <ac:chgData name="Nisen, Henrik (BCG Platinion)" userId="23462ed3-8a28-48c0-b94c-224b90eb8d0a" providerId="ADAL" clId="{85BF7E29-B863-8743-821C-9B528FF1FFE4}" dt="2024-04-05T06:31:19.825" v="2397"/>
          <ac:cxnSpMkLst>
            <pc:docMk/>
            <pc:sldMk cId="3239871205" sldId="2147483606"/>
            <ac:cxnSpMk id="22" creationId="{851E5EFB-1288-674A-017C-CA5A3C1023E9}"/>
          </ac:cxnSpMkLst>
        </pc:cxnChg>
        <pc:cxnChg chg="add mod">
          <ac:chgData name="Nisen, Henrik (BCG Platinion)" userId="23462ed3-8a28-48c0-b94c-224b90eb8d0a" providerId="ADAL" clId="{85BF7E29-B863-8743-821C-9B528FF1FFE4}" dt="2024-04-05T06:31:19.825" v="2397"/>
          <ac:cxnSpMkLst>
            <pc:docMk/>
            <pc:sldMk cId="3239871205" sldId="2147483606"/>
            <ac:cxnSpMk id="23" creationId="{D777E08B-CAA0-71A4-CC0F-5440C617D828}"/>
          </ac:cxnSpMkLst>
        </pc:cxnChg>
        <pc:cxnChg chg="add mod">
          <ac:chgData name="Nisen, Henrik (BCG Platinion)" userId="23462ed3-8a28-48c0-b94c-224b90eb8d0a" providerId="ADAL" clId="{85BF7E29-B863-8743-821C-9B528FF1FFE4}" dt="2024-04-05T06:31:19.825" v="2397"/>
          <ac:cxnSpMkLst>
            <pc:docMk/>
            <pc:sldMk cId="3239871205" sldId="2147483606"/>
            <ac:cxnSpMk id="24" creationId="{0F2852D8-3660-06AF-51EF-0368F046295F}"/>
          </ac:cxnSpMkLst>
        </pc:cxnChg>
        <pc:cxnChg chg="add mod">
          <ac:chgData name="Nisen, Henrik (BCG Platinion)" userId="23462ed3-8a28-48c0-b94c-224b90eb8d0a" providerId="ADAL" clId="{85BF7E29-B863-8743-821C-9B528FF1FFE4}" dt="2024-04-05T06:31:19.825" v="2397"/>
          <ac:cxnSpMkLst>
            <pc:docMk/>
            <pc:sldMk cId="3239871205" sldId="2147483606"/>
            <ac:cxnSpMk id="27" creationId="{9C87BEDF-AD66-1922-E395-36DDA9974396}"/>
          </ac:cxnSpMkLst>
        </pc:cxnChg>
        <pc:cxnChg chg="mod">
          <ac:chgData name="Nisen, Henrik (BCG Platinion)" userId="23462ed3-8a28-48c0-b94c-224b90eb8d0a" providerId="ADAL" clId="{85BF7E29-B863-8743-821C-9B528FF1FFE4}" dt="2024-04-05T06:36:41.520" v="2757" actId="404"/>
          <ac:cxnSpMkLst>
            <pc:docMk/>
            <pc:sldMk cId="3239871205" sldId="2147483606"/>
            <ac:cxnSpMk id="63" creationId="{2288B5CF-0DCD-C89F-CC49-BA0694AB159D}"/>
          </ac:cxnSpMkLst>
        </pc:cxnChg>
        <pc:cxnChg chg="mod">
          <ac:chgData name="Nisen, Henrik (BCG Platinion)" userId="23462ed3-8a28-48c0-b94c-224b90eb8d0a" providerId="ADAL" clId="{85BF7E29-B863-8743-821C-9B528FF1FFE4}" dt="2024-04-05T06:36:41.520" v="2757" actId="404"/>
          <ac:cxnSpMkLst>
            <pc:docMk/>
            <pc:sldMk cId="3239871205" sldId="2147483606"/>
            <ac:cxnSpMk id="64" creationId="{E79FFA52-132F-2E80-154A-F4EF612818E8}"/>
          </ac:cxnSpMkLst>
        </pc:cxnChg>
        <pc:cxnChg chg="mod">
          <ac:chgData name="Nisen, Henrik (BCG Platinion)" userId="23462ed3-8a28-48c0-b94c-224b90eb8d0a" providerId="ADAL" clId="{85BF7E29-B863-8743-821C-9B528FF1FFE4}" dt="2024-04-05T06:36:41.520" v="2757" actId="404"/>
          <ac:cxnSpMkLst>
            <pc:docMk/>
            <pc:sldMk cId="3239871205" sldId="2147483606"/>
            <ac:cxnSpMk id="65" creationId="{6515B3AA-340D-0BA5-9AC4-532EE2B8C805}"/>
          </ac:cxnSpMkLst>
        </pc:cxnChg>
        <pc:cxnChg chg="mod">
          <ac:chgData name="Nisen, Henrik (BCG Platinion)" userId="23462ed3-8a28-48c0-b94c-224b90eb8d0a" providerId="ADAL" clId="{85BF7E29-B863-8743-821C-9B528FF1FFE4}" dt="2024-04-05T06:36:41.520" v="2757" actId="404"/>
          <ac:cxnSpMkLst>
            <pc:docMk/>
            <pc:sldMk cId="3239871205" sldId="2147483606"/>
            <ac:cxnSpMk id="68" creationId="{466ABCB2-942A-A215-5379-6A802F578351}"/>
          </ac:cxnSpMkLst>
        </pc:cxnChg>
        <pc:cxnChg chg="del">
          <ac:chgData name="Nisen, Henrik (BCG Platinion)" userId="23462ed3-8a28-48c0-b94c-224b90eb8d0a" providerId="ADAL" clId="{85BF7E29-B863-8743-821C-9B528FF1FFE4}" dt="2024-04-05T06:31:19.396" v="2396" actId="478"/>
          <ac:cxnSpMkLst>
            <pc:docMk/>
            <pc:sldMk cId="3239871205" sldId="2147483606"/>
            <ac:cxnSpMk id="83" creationId="{AEB09DD1-E9C9-EE28-BCE7-6FFA5EC4DEE9}"/>
          </ac:cxnSpMkLst>
        </pc:cxnChg>
        <pc:cxnChg chg="del">
          <ac:chgData name="Nisen, Henrik (BCG Platinion)" userId="23462ed3-8a28-48c0-b94c-224b90eb8d0a" providerId="ADAL" clId="{85BF7E29-B863-8743-821C-9B528FF1FFE4}" dt="2024-04-05T06:31:19.396" v="2396" actId="478"/>
          <ac:cxnSpMkLst>
            <pc:docMk/>
            <pc:sldMk cId="3239871205" sldId="2147483606"/>
            <ac:cxnSpMk id="84" creationId="{5331415C-798E-794C-E5E0-84E020A8185D}"/>
          </ac:cxnSpMkLst>
        </pc:cxnChg>
        <pc:cxnChg chg="del">
          <ac:chgData name="Nisen, Henrik (BCG Platinion)" userId="23462ed3-8a28-48c0-b94c-224b90eb8d0a" providerId="ADAL" clId="{85BF7E29-B863-8743-821C-9B528FF1FFE4}" dt="2024-04-05T06:31:19.396" v="2396" actId="478"/>
          <ac:cxnSpMkLst>
            <pc:docMk/>
            <pc:sldMk cId="3239871205" sldId="2147483606"/>
            <ac:cxnSpMk id="85" creationId="{6F7EBA6F-D8A3-553A-B284-DBCA3C91BF6F}"/>
          </ac:cxnSpMkLst>
        </pc:cxnChg>
        <pc:cxnChg chg="del">
          <ac:chgData name="Nisen, Henrik (BCG Platinion)" userId="23462ed3-8a28-48c0-b94c-224b90eb8d0a" providerId="ADAL" clId="{85BF7E29-B863-8743-821C-9B528FF1FFE4}" dt="2024-04-05T06:31:19.396" v="2396" actId="478"/>
          <ac:cxnSpMkLst>
            <pc:docMk/>
            <pc:sldMk cId="3239871205" sldId="2147483606"/>
            <ac:cxnSpMk id="171" creationId="{EDA14F7F-4C1A-E441-20B9-C9D7020AD819}"/>
          </ac:cxnSpMkLst>
        </pc:cxnChg>
      </pc:sldChg>
      <pc:sldChg chg="addSp delSp modSp mod ord modTransition">
        <pc:chgData name="Nisen, Henrik (BCG Platinion)" userId="23462ed3-8a28-48c0-b94c-224b90eb8d0a" providerId="ADAL" clId="{85BF7E29-B863-8743-821C-9B528FF1FFE4}" dt="2024-04-05T08:34:44.540" v="8623"/>
        <pc:sldMkLst>
          <pc:docMk/>
          <pc:sldMk cId="2564153488" sldId="2147483607"/>
        </pc:sldMkLst>
        <pc:spChg chg="mod">
          <ac:chgData name="Nisen, Henrik (BCG Platinion)" userId="23462ed3-8a28-48c0-b94c-224b90eb8d0a" providerId="ADAL" clId="{85BF7E29-B863-8743-821C-9B528FF1FFE4}" dt="2024-04-05T07:55:08.448" v="7911"/>
          <ac:spMkLst>
            <pc:docMk/>
            <pc:sldMk cId="2564153488" sldId="2147483607"/>
            <ac:spMk id="2" creationId="{EBC0B914-B399-C0DC-19F9-15CAD22445E2}"/>
          </ac:spMkLst>
        </pc:spChg>
        <pc:spChg chg="mod">
          <ac:chgData name="Nisen, Henrik (BCG Platinion)" userId="23462ed3-8a28-48c0-b94c-224b90eb8d0a" providerId="ADAL" clId="{85BF7E29-B863-8743-821C-9B528FF1FFE4}" dt="2024-04-05T07:55:08.448" v="7912"/>
          <ac:spMkLst>
            <pc:docMk/>
            <pc:sldMk cId="2564153488" sldId="2147483607"/>
            <ac:spMk id="3" creationId="{E61F54FD-301D-50D2-049C-775E4F28D645}"/>
          </ac:spMkLst>
        </pc:spChg>
        <pc:spChg chg="mod">
          <ac:chgData name="Nisen, Henrik (BCG Platinion)" userId="23462ed3-8a28-48c0-b94c-224b90eb8d0a" providerId="ADAL" clId="{85BF7E29-B863-8743-821C-9B528FF1FFE4}" dt="2024-04-05T07:55:08.448" v="7913"/>
          <ac:spMkLst>
            <pc:docMk/>
            <pc:sldMk cId="2564153488" sldId="2147483607"/>
            <ac:spMk id="4" creationId="{D046A7B9-FBC8-3664-2D5D-651DF683D353}"/>
          </ac:spMkLst>
        </pc:spChg>
        <pc:spChg chg="add del mod modVis">
          <ac:chgData name="Nisen, Henrik (BCG Platinion)" userId="23462ed3-8a28-48c0-b94c-224b90eb8d0a" providerId="ADAL" clId="{85BF7E29-B863-8743-821C-9B528FF1FFE4}" dt="2024-04-05T06:15:59.154" v="1403"/>
          <ac:spMkLst>
            <pc:docMk/>
            <pc:sldMk cId="2564153488" sldId="2147483607"/>
            <ac:spMk id="5" creationId="{C9AB68B0-F3B0-56D1-3602-EACF20DBAFC7}"/>
          </ac:spMkLst>
        </pc:spChg>
        <pc:spChg chg="mod">
          <ac:chgData name="Nisen, Henrik (BCG Platinion)" userId="23462ed3-8a28-48c0-b94c-224b90eb8d0a" providerId="ADAL" clId="{85BF7E29-B863-8743-821C-9B528FF1FFE4}" dt="2024-04-05T07:55:08.459" v="7956"/>
          <ac:spMkLst>
            <pc:docMk/>
            <pc:sldMk cId="2564153488" sldId="2147483607"/>
            <ac:spMk id="6" creationId="{A0FD8DE8-7502-D220-4EDD-0CD169211AB5}"/>
          </ac:spMkLst>
        </pc:spChg>
        <pc:spChg chg="add del mod modVis">
          <ac:chgData name="Nisen, Henrik (BCG Platinion)" userId="23462ed3-8a28-48c0-b94c-224b90eb8d0a" providerId="ADAL" clId="{85BF7E29-B863-8743-821C-9B528FF1FFE4}" dt="2024-04-05T07:55:01.894" v="7802"/>
          <ac:spMkLst>
            <pc:docMk/>
            <pc:sldMk cId="2564153488" sldId="2147483607"/>
            <ac:spMk id="10" creationId="{7F4A908A-BD3B-E1B2-35DC-86CAA278FD50}"/>
          </ac:spMkLst>
        </pc:spChg>
        <pc:spChg chg="mod">
          <ac:chgData name="Nisen, Henrik (BCG Platinion)" userId="23462ed3-8a28-48c0-b94c-224b90eb8d0a" providerId="ADAL" clId="{85BF7E29-B863-8743-821C-9B528FF1FFE4}" dt="2024-04-05T07:55:08.458" v="7951"/>
          <ac:spMkLst>
            <pc:docMk/>
            <pc:sldMk cId="2564153488" sldId="2147483607"/>
            <ac:spMk id="11" creationId="{C03D5C2D-505A-7193-0506-88ADC697C800}"/>
          </ac:spMkLst>
        </pc:spChg>
        <pc:spChg chg="mod">
          <ac:chgData name="Nisen, Henrik (BCG Platinion)" userId="23462ed3-8a28-48c0-b94c-224b90eb8d0a" providerId="ADAL" clId="{85BF7E29-B863-8743-821C-9B528FF1FFE4}" dt="2024-04-05T07:55:08.457" v="7945"/>
          <ac:spMkLst>
            <pc:docMk/>
            <pc:sldMk cId="2564153488" sldId="2147483607"/>
            <ac:spMk id="18" creationId="{08F65369-57DA-C244-E445-12ED99F7EEA3}"/>
          </ac:spMkLst>
        </pc:spChg>
        <pc:spChg chg="mod">
          <ac:chgData name="Nisen, Henrik (BCG Platinion)" userId="23462ed3-8a28-48c0-b94c-224b90eb8d0a" providerId="ADAL" clId="{85BF7E29-B863-8743-821C-9B528FF1FFE4}" dt="2024-04-05T07:55:08.457" v="7946"/>
          <ac:spMkLst>
            <pc:docMk/>
            <pc:sldMk cId="2564153488" sldId="2147483607"/>
            <ac:spMk id="19" creationId="{CA278D2E-140F-7396-42D7-8EF92A4BEDB3}"/>
          </ac:spMkLst>
        </pc:spChg>
        <pc:spChg chg="mod">
          <ac:chgData name="Nisen, Henrik (BCG Platinion)" userId="23462ed3-8a28-48c0-b94c-224b90eb8d0a" providerId="ADAL" clId="{85BF7E29-B863-8743-821C-9B528FF1FFE4}" dt="2024-04-05T07:55:08.457" v="7947"/>
          <ac:spMkLst>
            <pc:docMk/>
            <pc:sldMk cId="2564153488" sldId="2147483607"/>
            <ac:spMk id="20" creationId="{C44179B2-93DE-5668-79B7-6E715ABEB9F9}"/>
          </ac:spMkLst>
        </pc:spChg>
        <pc:spChg chg="mod">
          <ac:chgData name="Nisen, Henrik (BCG Platinion)" userId="23462ed3-8a28-48c0-b94c-224b90eb8d0a" providerId="ADAL" clId="{85BF7E29-B863-8743-821C-9B528FF1FFE4}" dt="2024-04-05T07:55:08.457" v="7948"/>
          <ac:spMkLst>
            <pc:docMk/>
            <pc:sldMk cId="2564153488" sldId="2147483607"/>
            <ac:spMk id="21" creationId="{F1E06132-E7B5-3964-D079-003702BA9D6B}"/>
          </ac:spMkLst>
        </pc:spChg>
        <pc:spChg chg="mod">
          <ac:chgData name="Nisen, Henrik (BCG Platinion)" userId="23462ed3-8a28-48c0-b94c-224b90eb8d0a" providerId="ADAL" clId="{85BF7E29-B863-8743-821C-9B528FF1FFE4}" dt="2024-04-05T07:55:08.458" v="7949"/>
          <ac:spMkLst>
            <pc:docMk/>
            <pc:sldMk cId="2564153488" sldId="2147483607"/>
            <ac:spMk id="22" creationId="{9CC3351D-E241-0AA5-71D4-319BFE87FBA9}"/>
          </ac:spMkLst>
        </pc:spChg>
        <pc:spChg chg="mod">
          <ac:chgData name="Nisen, Henrik (BCG Platinion)" userId="23462ed3-8a28-48c0-b94c-224b90eb8d0a" providerId="ADAL" clId="{85BF7E29-B863-8743-821C-9B528FF1FFE4}" dt="2024-04-05T07:55:08.458" v="7950"/>
          <ac:spMkLst>
            <pc:docMk/>
            <pc:sldMk cId="2564153488" sldId="2147483607"/>
            <ac:spMk id="26" creationId="{EDFA4C3E-3C73-C7C9-22B4-82E191022EE8}"/>
          </ac:spMkLst>
        </pc:spChg>
        <pc:spChg chg="mod">
          <ac:chgData name="Nisen, Henrik (BCG Platinion)" userId="23462ed3-8a28-48c0-b94c-224b90eb8d0a" providerId="ADAL" clId="{85BF7E29-B863-8743-821C-9B528FF1FFE4}" dt="2024-04-05T07:55:08.450" v="7922"/>
          <ac:spMkLst>
            <pc:docMk/>
            <pc:sldMk cId="2564153488" sldId="2147483607"/>
            <ac:spMk id="27" creationId="{226D3426-8D8E-B00F-BDAA-61313408FA96}"/>
          </ac:spMkLst>
        </pc:spChg>
        <pc:spChg chg="mod">
          <ac:chgData name="Nisen, Henrik (BCG Platinion)" userId="23462ed3-8a28-48c0-b94c-224b90eb8d0a" providerId="ADAL" clId="{85BF7E29-B863-8743-821C-9B528FF1FFE4}" dt="2024-04-05T07:55:08.450" v="7920"/>
          <ac:spMkLst>
            <pc:docMk/>
            <pc:sldMk cId="2564153488" sldId="2147483607"/>
            <ac:spMk id="28" creationId="{E9ADDDC6-7337-B9A5-3C6D-AF0021AB7D4C}"/>
          </ac:spMkLst>
        </pc:spChg>
        <pc:spChg chg="mod">
          <ac:chgData name="Nisen, Henrik (BCG Platinion)" userId="23462ed3-8a28-48c0-b94c-224b90eb8d0a" providerId="ADAL" clId="{85BF7E29-B863-8743-821C-9B528FF1FFE4}" dt="2024-04-05T07:55:08.450" v="7919"/>
          <ac:spMkLst>
            <pc:docMk/>
            <pc:sldMk cId="2564153488" sldId="2147483607"/>
            <ac:spMk id="29" creationId="{96FA22ED-7AA3-8452-CFC2-8B966B3DFA20}"/>
          </ac:spMkLst>
        </pc:spChg>
        <pc:spChg chg="mod">
          <ac:chgData name="Nisen, Henrik (BCG Platinion)" userId="23462ed3-8a28-48c0-b94c-224b90eb8d0a" providerId="ADAL" clId="{85BF7E29-B863-8743-821C-9B528FF1FFE4}" dt="2024-04-05T07:55:08.449" v="7918"/>
          <ac:spMkLst>
            <pc:docMk/>
            <pc:sldMk cId="2564153488" sldId="2147483607"/>
            <ac:spMk id="30" creationId="{5836E5E8-31EA-E390-E90D-2CD528CFE18A}"/>
          </ac:spMkLst>
        </pc:spChg>
        <pc:spChg chg="mod">
          <ac:chgData name="Nisen, Henrik (BCG Platinion)" userId="23462ed3-8a28-48c0-b94c-224b90eb8d0a" providerId="ADAL" clId="{85BF7E29-B863-8743-821C-9B528FF1FFE4}" dt="2024-04-05T07:55:08.450" v="7921"/>
          <ac:spMkLst>
            <pc:docMk/>
            <pc:sldMk cId="2564153488" sldId="2147483607"/>
            <ac:spMk id="31" creationId="{E7D4E73E-549F-53C2-9068-778132F94CC9}"/>
          </ac:spMkLst>
        </pc:spChg>
        <pc:spChg chg="mod">
          <ac:chgData name="Nisen, Henrik (BCG Platinion)" userId="23462ed3-8a28-48c0-b94c-224b90eb8d0a" providerId="ADAL" clId="{85BF7E29-B863-8743-821C-9B528FF1FFE4}" dt="2024-04-05T07:55:08.451" v="7924"/>
          <ac:spMkLst>
            <pc:docMk/>
            <pc:sldMk cId="2564153488" sldId="2147483607"/>
            <ac:spMk id="32" creationId="{1382ECAF-E9B1-5215-D23E-460C5DADF0E7}"/>
          </ac:spMkLst>
        </pc:spChg>
        <pc:spChg chg="mod">
          <ac:chgData name="Nisen, Henrik (BCG Platinion)" userId="23462ed3-8a28-48c0-b94c-224b90eb8d0a" providerId="ADAL" clId="{85BF7E29-B863-8743-821C-9B528FF1FFE4}" dt="2024-04-05T07:55:08.452" v="7926"/>
          <ac:spMkLst>
            <pc:docMk/>
            <pc:sldMk cId="2564153488" sldId="2147483607"/>
            <ac:spMk id="33" creationId="{1AA0EBE3-61F3-8A58-5DB7-3E8EA99F3F49}"/>
          </ac:spMkLst>
        </pc:spChg>
        <pc:spChg chg="mod">
          <ac:chgData name="Nisen, Henrik (BCG Platinion)" userId="23462ed3-8a28-48c0-b94c-224b90eb8d0a" providerId="ADAL" clId="{85BF7E29-B863-8743-821C-9B528FF1FFE4}" dt="2024-04-05T07:55:08.452" v="7928"/>
          <ac:spMkLst>
            <pc:docMk/>
            <pc:sldMk cId="2564153488" sldId="2147483607"/>
            <ac:spMk id="34" creationId="{7C606394-B636-123B-6E5C-810A470D8D21}"/>
          </ac:spMkLst>
        </pc:spChg>
        <pc:spChg chg="mod">
          <ac:chgData name="Nisen, Henrik (BCG Platinion)" userId="23462ed3-8a28-48c0-b94c-224b90eb8d0a" providerId="ADAL" clId="{85BF7E29-B863-8743-821C-9B528FF1FFE4}" dt="2024-04-05T07:55:08.452" v="7927"/>
          <ac:spMkLst>
            <pc:docMk/>
            <pc:sldMk cId="2564153488" sldId="2147483607"/>
            <ac:spMk id="35" creationId="{56AD032C-21FC-3644-1DA7-407F598E87A6}"/>
          </ac:spMkLst>
        </pc:spChg>
        <pc:spChg chg="mod">
          <ac:chgData name="Nisen, Henrik (BCG Platinion)" userId="23462ed3-8a28-48c0-b94c-224b90eb8d0a" providerId="ADAL" clId="{85BF7E29-B863-8743-821C-9B528FF1FFE4}" dt="2024-04-05T07:55:08.451" v="7925"/>
          <ac:spMkLst>
            <pc:docMk/>
            <pc:sldMk cId="2564153488" sldId="2147483607"/>
            <ac:spMk id="36" creationId="{611A7901-95CE-5F34-E7C2-68D111B3FD4C}"/>
          </ac:spMkLst>
        </pc:spChg>
        <pc:spChg chg="mod">
          <ac:chgData name="Nisen, Henrik (BCG Platinion)" userId="23462ed3-8a28-48c0-b94c-224b90eb8d0a" providerId="ADAL" clId="{85BF7E29-B863-8743-821C-9B528FF1FFE4}" dt="2024-04-05T07:55:08.451" v="7923"/>
          <ac:spMkLst>
            <pc:docMk/>
            <pc:sldMk cId="2564153488" sldId="2147483607"/>
            <ac:spMk id="37" creationId="{4F03420A-CDC5-43F3-8F3F-7639F1B6C4E0}"/>
          </ac:spMkLst>
        </pc:spChg>
        <pc:spChg chg="mod">
          <ac:chgData name="Nisen, Henrik (BCG Platinion)" userId="23462ed3-8a28-48c0-b94c-224b90eb8d0a" providerId="ADAL" clId="{85BF7E29-B863-8743-821C-9B528FF1FFE4}" dt="2024-04-05T07:55:08.454" v="7933"/>
          <ac:spMkLst>
            <pc:docMk/>
            <pc:sldMk cId="2564153488" sldId="2147483607"/>
            <ac:spMk id="38" creationId="{9E1DA3FA-BCF4-C747-DEA3-AF9C10C5A30B}"/>
          </ac:spMkLst>
        </pc:spChg>
        <pc:spChg chg="mod">
          <ac:chgData name="Nisen, Henrik (BCG Platinion)" userId="23462ed3-8a28-48c0-b94c-224b90eb8d0a" providerId="ADAL" clId="{85BF7E29-B863-8743-821C-9B528FF1FFE4}" dt="2024-04-05T07:55:08.452" v="7929"/>
          <ac:spMkLst>
            <pc:docMk/>
            <pc:sldMk cId="2564153488" sldId="2147483607"/>
            <ac:spMk id="39" creationId="{1F531180-F827-488F-7157-F1DA0F62A4A8}"/>
          </ac:spMkLst>
        </pc:spChg>
        <pc:spChg chg="mod">
          <ac:chgData name="Nisen, Henrik (BCG Platinion)" userId="23462ed3-8a28-48c0-b94c-224b90eb8d0a" providerId="ADAL" clId="{85BF7E29-B863-8743-821C-9B528FF1FFE4}" dt="2024-04-05T07:55:08.453" v="7931"/>
          <ac:spMkLst>
            <pc:docMk/>
            <pc:sldMk cId="2564153488" sldId="2147483607"/>
            <ac:spMk id="40" creationId="{EE25C1F2-9258-1BE1-7E7F-C428681EDB34}"/>
          </ac:spMkLst>
        </pc:spChg>
        <pc:spChg chg="mod">
          <ac:chgData name="Nisen, Henrik (BCG Platinion)" userId="23462ed3-8a28-48c0-b94c-224b90eb8d0a" providerId="ADAL" clId="{85BF7E29-B863-8743-821C-9B528FF1FFE4}" dt="2024-04-05T07:55:08.453" v="7932"/>
          <ac:spMkLst>
            <pc:docMk/>
            <pc:sldMk cId="2564153488" sldId="2147483607"/>
            <ac:spMk id="41" creationId="{C5E616B9-1FA0-767A-AB9A-80CF8D024F3D}"/>
          </ac:spMkLst>
        </pc:spChg>
        <pc:spChg chg="mod">
          <ac:chgData name="Nisen, Henrik (BCG Platinion)" userId="23462ed3-8a28-48c0-b94c-224b90eb8d0a" providerId="ADAL" clId="{85BF7E29-B863-8743-821C-9B528FF1FFE4}" dt="2024-04-05T07:55:08.453" v="7930"/>
          <ac:spMkLst>
            <pc:docMk/>
            <pc:sldMk cId="2564153488" sldId="2147483607"/>
            <ac:spMk id="42" creationId="{A1613C35-C1C9-A480-FA5C-D982D9AF45A6}"/>
          </ac:spMkLst>
        </pc:spChg>
        <pc:spChg chg="mod">
          <ac:chgData name="Nisen, Henrik (BCG Platinion)" userId="23462ed3-8a28-48c0-b94c-224b90eb8d0a" providerId="ADAL" clId="{85BF7E29-B863-8743-821C-9B528FF1FFE4}" dt="2024-04-05T07:55:08.454" v="7934"/>
          <ac:spMkLst>
            <pc:docMk/>
            <pc:sldMk cId="2564153488" sldId="2147483607"/>
            <ac:spMk id="43" creationId="{80E3F9D9-8111-C267-D553-2CA0B85FBD61}"/>
          </ac:spMkLst>
        </pc:spChg>
        <pc:spChg chg="mod">
          <ac:chgData name="Nisen, Henrik (BCG Platinion)" userId="23462ed3-8a28-48c0-b94c-224b90eb8d0a" providerId="ADAL" clId="{85BF7E29-B863-8743-821C-9B528FF1FFE4}" dt="2024-04-05T07:55:08.454" v="7935"/>
          <ac:spMkLst>
            <pc:docMk/>
            <pc:sldMk cId="2564153488" sldId="2147483607"/>
            <ac:spMk id="49" creationId="{B5F23909-0CE2-4378-6026-F81A261AE437}"/>
          </ac:spMkLst>
        </pc:spChg>
        <pc:spChg chg="mod">
          <ac:chgData name="Nisen, Henrik (BCG Platinion)" userId="23462ed3-8a28-48c0-b94c-224b90eb8d0a" providerId="ADAL" clId="{85BF7E29-B863-8743-821C-9B528FF1FFE4}" dt="2024-04-05T07:55:08.454" v="7936"/>
          <ac:spMkLst>
            <pc:docMk/>
            <pc:sldMk cId="2564153488" sldId="2147483607"/>
            <ac:spMk id="50" creationId="{9C558A6F-2C4A-0AAE-B84A-6A68742524B8}"/>
          </ac:spMkLst>
        </pc:spChg>
        <pc:spChg chg="mod">
          <ac:chgData name="Nisen, Henrik (BCG Platinion)" userId="23462ed3-8a28-48c0-b94c-224b90eb8d0a" providerId="ADAL" clId="{85BF7E29-B863-8743-821C-9B528FF1FFE4}" dt="2024-04-05T07:55:08.456" v="7944"/>
          <ac:spMkLst>
            <pc:docMk/>
            <pc:sldMk cId="2564153488" sldId="2147483607"/>
            <ac:spMk id="80" creationId="{09006858-39EA-3372-4480-0F76CAC9BA80}"/>
          </ac:spMkLst>
        </pc:spChg>
        <pc:spChg chg="mod">
          <ac:chgData name="Nisen, Henrik (BCG Platinion)" userId="23462ed3-8a28-48c0-b94c-224b90eb8d0a" providerId="ADAL" clId="{85BF7E29-B863-8743-821C-9B528FF1FFE4}" dt="2024-04-05T07:55:08.455" v="7938"/>
          <ac:spMkLst>
            <pc:docMk/>
            <pc:sldMk cId="2564153488" sldId="2147483607"/>
            <ac:spMk id="81" creationId="{40A42BA0-2F73-96A5-726C-6B985D870710}"/>
          </ac:spMkLst>
        </pc:spChg>
        <pc:spChg chg="mod">
          <ac:chgData name="Nisen, Henrik (BCG Platinion)" userId="23462ed3-8a28-48c0-b94c-224b90eb8d0a" providerId="ADAL" clId="{85BF7E29-B863-8743-821C-9B528FF1FFE4}" dt="2024-04-05T07:55:08.455" v="7939"/>
          <ac:spMkLst>
            <pc:docMk/>
            <pc:sldMk cId="2564153488" sldId="2147483607"/>
            <ac:spMk id="82" creationId="{06C42EFD-06E9-E0A4-51B5-7C2B756498FE}"/>
          </ac:spMkLst>
        </pc:spChg>
        <pc:spChg chg="mod">
          <ac:chgData name="Nisen, Henrik (BCG Platinion)" userId="23462ed3-8a28-48c0-b94c-224b90eb8d0a" providerId="ADAL" clId="{85BF7E29-B863-8743-821C-9B528FF1FFE4}" dt="2024-04-05T07:55:08.455" v="7940"/>
          <ac:spMkLst>
            <pc:docMk/>
            <pc:sldMk cId="2564153488" sldId="2147483607"/>
            <ac:spMk id="83" creationId="{F34E02FF-3CB1-4128-1FE8-78E813E89869}"/>
          </ac:spMkLst>
        </pc:spChg>
        <pc:spChg chg="mod">
          <ac:chgData name="Nisen, Henrik (BCG Platinion)" userId="23462ed3-8a28-48c0-b94c-224b90eb8d0a" providerId="ADAL" clId="{85BF7E29-B863-8743-821C-9B528FF1FFE4}" dt="2024-04-05T07:55:08.456" v="7941"/>
          <ac:spMkLst>
            <pc:docMk/>
            <pc:sldMk cId="2564153488" sldId="2147483607"/>
            <ac:spMk id="84" creationId="{E60DE9FF-AF7B-8A3D-192C-38004CAEDB0A}"/>
          </ac:spMkLst>
        </pc:spChg>
        <pc:spChg chg="mod">
          <ac:chgData name="Nisen, Henrik (BCG Platinion)" userId="23462ed3-8a28-48c0-b94c-224b90eb8d0a" providerId="ADAL" clId="{85BF7E29-B863-8743-821C-9B528FF1FFE4}" dt="2024-04-05T07:55:08.456" v="7942"/>
          <ac:spMkLst>
            <pc:docMk/>
            <pc:sldMk cId="2564153488" sldId="2147483607"/>
            <ac:spMk id="85" creationId="{B346302F-9CB2-95EB-39B9-29DCFA8AB954}"/>
          </ac:spMkLst>
        </pc:spChg>
        <pc:spChg chg="mod">
          <ac:chgData name="Nisen, Henrik (BCG Platinion)" userId="23462ed3-8a28-48c0-b94c-224b90eb8d0a" providerId="ADAL" clId="{85BF7E29-B863-8743-821C-9B528FF1FFE4}" dt="2024-04-05T07:55:08.456" v="7943"/>
          <ac:spMkLst>
            <pc:docMk/>
            <pc:sldMk cId="2564153488" sldId="2147483607"/>
            <ac:spMk id="86" creationId="{5C961B16-EC74-CBBE-4BF3-244A30CD0E5C}"/>
          </ac:spMkLst>
        </pc:spChg>
        <pc:spChg chg="mod">
          <ac:chgData name="Nisen, Henrik (BCG Platinion)" userId="23462ed3-8a28-48c0-b94c-224b90eb8d0a" providerId="ADAL" clId="{85BF7E29-B863-8743-821C-9B528FF1FFE4}" dt="2024-04-05T07:55:08.459" v="7953"/>
          <ac:spMkLst>
            <pc:docMk/>
            <pc:sldMk cId="2564153488" sldId="2147483607"/>
            <ac:spMk id="112" creationId="{4445CFC4-7A3A-77CD-55B9-50106524C321}"/>
          </ac:spMkLst>
        </pc:spChg>
        <pc:spChg chg="mod">
          <ac:chgData name="Nisen, Henrik (BCG Platinion)" userId="23462ed3-8a28-48c0-b94c-224b90eb8d0a" providerId="ADAL" clId="{85BF7E29-B863-8743-821C-9B528FF1FFE4}" dt="2024-04-05T07:55:08.458" v="7952"/>
          <ac:spMkLst>
            <pc:docMk/>
            <pc:sldMk cId="2564153488" sldId="2147483607"/>
            <ac:spMk id="115" creationId="{632629E1-F4F8-FAF1-B86A-057578428D77}"/>
          </ac:spMkLst>
        </pc:spChg>
        <pc:spChg chg="mod">
          <ac:chgData name="Nisen, Henrik (BCG Platinion)" userId="23462ed3-8a28-48c0-b94c-224b90eb8d0a" providerId="ADAL" clId="{85BF7E29-B863-8743-821C-9B528FF1FFE4}" dt="2024-04-05T07:55:08.459" v="7955"/>
          <ac:spMkLst>
            <pc:docMk/>
            <pc:sldMk cId="2564153488" sldId="2147483607"/>
            <ac:spMk id="129" creationId="{64FB43A5-0B00-C925-639F-2ED12D753BD0}"/>
          </ac:spMkLst>
        </pc:spChg>
        <pc:graphicFrameChg chg="add del mod replST">
          <ac:chgData name="Nisen, Henrik (BCG Platinion)" userId="23462ed3-8a28-48c0-b94c-224b90eb8d0a" providerId="ADAL" clId="{85BF7E29-B863-8743-821C-9B528FF1FFE4}" dt="2024-04-05T07:55:01.864" v="7744"/>
          <ac:graphicFrameMkLst>
            <pc:docMk/>
            <pc:sldMk cId="2564153488" sldId="2147483607"/>
            <ac:graphicFrameMk id="7" creationId="{824106A1-AFB1-9588-702D-901EE47CC719}"/>
          </ac:graphicFrameMkLst>
        </pc:graphicFrameChg>
        <pc:graphicFrameChg chg="add mod replST">
          <ac:chgData name="Nisen, Henrik (BCG Platinion)" userId="23462ed3-8a28-48c0-b94c-224b90eb8d0a" providerId="ADAL" clId="{85BF7E29-B863-8743-821C-9B528FF1FFE4}" dt="2024-04-05T07:55:08.455" v="7937"/>
          <ac:graphicFrameMkLst>
            <pc:docMk/>
            <pc:sldMk cId="2564153488" sldId="2147483607"/>
            <ac:graphicFrameMk id="8" creationId="{4EDD1B49-8E52-C28B-2EC7-A48455BD70D0}"/>
          </ac:graphicFrameMkLst>
        </pc:graphicFrameChg>
        <pc:graphicFrameChg chg="del">
          <ac:chgData name="Nisen, Henrik (BCG Platinion)" userId="23462ed3-8a28-48c0-b94c-224b90eb8d0a" providerId="ADAL" clId="{85BF7E29-B863-8743-821C-9B528FF1FFE4}" dt="2024-04-05T06:15:59.022" v="1289"/>
          <ac:graphicFrameMkLst>
            <pc:docMk/>
            <pc:sldMk cId="2564153488" sldId="2147483607"/>
            <ac:graphicFrameMk id="9" creationId="{8AE3CDF9-505F-FA25-4F18-805471E6B8D9}"/>
          </ac:graphicFrameMkLst>
        </pc:graphicFrameChg>
        <pc:graphicFrameChg chg="add del mod replST">
          <ac:chgData name="Nisen, Henrik (BCG Platinion)" userId="23462ed3-8a28-48c0-b94c-224b90eb8d0a" providerId="ADAL" clId="{85BF7E29-B863-8743-821C-9B528FF1FFE4}" dt="2024-04-05T07:55:06.659" v="7824"/>
          <ac:graphicFrameMkLst>
            <pc:docMk/>
            <pc:sldMk cId="2564153488" sldId="2147483607"/>
            <ac:graphicFrameMk id="12" creationId="{15DD4897-3881-26D1-71E9-57AB3BB89D77}"/>
          </ac:graphicFrameMkLst>
        </pc:graphicFrameChg>
        <pc:graphicFrameChg chg="add del mod replST">
          <ac:chgData name="Nisen, Henrik (BCG Platinion)" userId="23462ed3-8a28-48c0-b94c-224b90eb8d0a" providerId="ADAL" clId="{85BF7E29-B863-8743-821C-9B528FF1FFE4}" dt="2024-04-05T07:55:08.432" v="7904"/>
          <ac:graphicFrameMkLst>
            <pc:docMk/>
            <pc:sldMk cId="2564153488" sldId="2147483607"/>
            <ac:graphicFrameMk id="13" creationId="{BB3669CF-EC1E-570C-FC2A-9539DD5F45AB}"/>
          </ac:graphicFrameMkLst>
        </pc:graphicFrameChg>
        <pc:graphicFrameChg chg="add mod replST">
          <ac:chgData name="Nisen, Henrik (BCG Platinion)" userId="23462ed3-8a28-48c0-b94c-224b90eb8d0a" providerId="ADAL" clId="{85BF7E29-B863-8743-821C-9B528FF1FFE4}" dt="2024-04-05T07:55:08.449" v="7917"/>
          <ac:graphicFrameMkLst>
            <pc:docMk/>
            <pc:sldMk cId="2564153488" sldId="2147483607"/>
            <ac:graphicFrameMk id="14" creationId="{70B4BC57-6188-BBEF-9455-FDF3AA31C325}"/>
          </ac:graphicFrameMkLst>
        </pc:graphicFrameChg>
        <pc:graphicFrameChg chg="del">
          <ac:chgData name="Nisen, Henrik (BCG Platinion)" userId="23462ed3-8a28-48c0-b94c-224b90eb8d0a" providerId="ADAL" clId="{85BF7E29-B863-8743-821C-9B528FF1FFE4}" dt="2024-04-05T06:15:59.098" v="1347"/>
          <ac:graphicFrameMkLst>
            <pc:docMk/>
            <pc:sldMk cId="2564153488" sldId="2147483607"/>
            <ac:graphicFrameMk id="44" creationId="{55DF9713-FA8B-23EE-327A-D9F031E91FF2}"/>
          </ac:graphicFrameMkLst>
        </pc:graphicFrameChg>
        <pc:graphicFrameChg chg="mod">
          <ac:chgData name="Nisen, Henrik (BCG Platinion)" userId="23462ed3-8a28-48c0-b94c-224b90eb8d0a" providerId="ADAL" clId="{85BF7E29-B863-8743-821C-9B528FF1FFE4}" dt="2024-04-05T07:55:08.464" v="7960"/>
          <ac:graphicFrameMkLst>
            <pc:docMk/>
            <pc:sldMk cId="2564153488" sldId="2147483607"/>
            <ac:graphicFrameMk id="46" creationId="{1146DD91-9E7D-C4AC-92B3-E70103965632}"/>
          </ac:graphicFrameMkLst>
        </pc:graphicFrameChg>
        <pc:cxnChg chg="mod">
          <ac:chgData name="Nisen, Henrik (BCG Platinion)" userId="23462ed3-8a28-48c0-b94c-224b90eb8d0a" providerId="ADAL" clId="{85BF7E29-B863-8743-821C-9B528FF1FFE4}" dt="2024-04-05T07:55:08.449" v="7914"/>
          <ac:cxnSpMkLst>
            <pc:docMk/>
            <pc:sldMk cId="2564153488" sldId="2147483607"/>
            <ac:cxnSpMk id="23" creationId="{70B41A9F-7340-FC5D-C40B-FA14321B036B}"/>
          </ac:cxnSpMkLst>
        </pc:cxnChg>
        <pc:cxnChg chg="mod">
          <ac:chgData name="Nisen, Henrik (BCG Platinion)" userId="23462ed3-8a28-48c0-b94c-224b90eb8d0a" providerId="ADAL" clId="{85BF7E29-B863-8743-821C-9B528FF1FFE4}" dt="2024-04-05T07:55:08.449" v="7916"/>
          <ac:cxnSpMkLst>
            <pc:docMk/>
            <pc:sldMk cId="2564153488" sldId="2147483607"/>
            <ac:cxnSpMk id="24" creationId="{0C914F45-F97C-8E89-92F7-EE28B26854C7}"/>
          </ac:cxnSpMkLst>
        </pc:cxnChg>
        <pc:cxnChg chg="mod">
          <ac:chgData name="Nisen, Henrik (BCG Platinion)" userId="23462ed3-8a28-48c0-b94c-224b90eb8d0a" providerId="ADAL" clId="{85BF7E29-B863-8743-821C-9B528FF1FFE4}" dt="2024-04-05T07:55:08.449" v="7915"/>
          <ac:cxnSpMkLst>
            <pc:docMk/>
            <pc:sldMk cId="2564153488" sldId="2147483607"/>
            <ac:cxnSpMk id="25" creationId="{95181FE9-6C10-2434-7A8E-26C03123F4A2}"/>
          </ac:cxnSpMkLst>
        </pc:cxnChg>
        <pc:cxnChg chg="mod">
          <ac:chgData name="Nisen, Henrik (BCG Platinion)" userId="23462ed3-8a28-48c0-b94c-224b90eb8d0a" providerId="ADAL" clId="{85BF7E29-B863-8743-821C-9B528FF1FFE4}" dt="2024-04-05T07:55:08.459" v="7954"/>
          <ac:cxnSpMkLst>
            <pc:docMk/>
            <pc:sldMk cId="2564153488" sldId="2147483607"/>
            <ac:cxnSpMk id="117" creationId="{7B20A710-EB12-88E8-A5D7-A494D6B2B3E3}"/>
          </ac:cxnSpMkLst>
        </pc:cxnChg>
      </pc:sldChg>
      <pc:sldChg chg="delSp modSp mod modTransition">
        <pc:chgData name="Nisen, Henrik (BCG Platinion)" userId="23462ed3-8a28-48c0-b94c-224b90eb8d0a" providerId="ADAL" clId="{85BF7E29-B863-8743-821C-9B528FF1FFE4}" dt="2024-04-05T08:34:44.540" v="8623"/>
        <pc:sldMkLst>
          <pc:docMk/>
          <pc:sldMk cId="1453192854" sldId="2147483608"/>
        </pc:sldMkLst>
        <pc:spChg chg="mod">
          <ac:chgData name="Nisen, Henrik (BCG Platinion)" userId="23462ed3-8a28-48c0-b94c-224b90eb8d0a" providerId="ADAL" clId="{85BF7E29-B863-8743-821C-9B528FF1FFE4}" dt="2024-04-05T06:51:54.652" v="3363" actId="207"/>
          <ac:spMkLst>
            <pc:docMk/>
            <pc:sldMk cId="1453192854" sldId="2147483608"/>
            <ac:spMk id="23" creationId="{4E3AD327-97EF-63C7-8C7C-D949812FCED6}"/>
          </ac:spMkLst>
        </pc:spChg>
        <pc:spChg chg="mod">
          <ac:chgData name="Nisen, Henrik (BCG Platinion)" userId="23462ed3-8a28-48c0-b94c-224b90eb8d0a" providerId="ADAL" clId="{85BF7E29-B863-8743-821C-9B528FF1FFE4}" dt="2024-04-05T06:51:00.245" v="3340" actId="2711"/>
          <ac:spMkLst>
            <pc:docMk/>
            <pc:sldMk cId="1453192854" sldId="2147483608"/>
            <ac:spMk id="28" creationId="{2A3CC747-D036-780D-A83D-82D19598FFFF}"/>
          </ac:spMkLst>
        </pc:spChg>
        <pc:spChg chg="mod">
          <ac:chgData name="Nisen, Henrik (BCG Platinion)" userId="23462ed3-8a28-48c0-b94c-224b90eb8d0a" providerId="ADAL" clId="{85BF7E29-B863-8743-821C-9B528FF1FFE4}" dt="2024-04-05T06:51:00.245" v="3340" actId="2711"/>
          <ac:spMkLst>
            <pc:docMk/>
            <pc:sldMk cId="1453192854" sldId="2147483608"/>
            <ac:spMk id="30" creationId="{46AE7763-FDD8-F724-7D3A-451486D85177}"/>
          </ac:spMkLst>
        </pc:spChg>
        <pc:spChg chg="mod">
          <ac:chgData name="Nisen, Henrik (BCG Platinion)" userId="23462ed3-8a28-48c0-b94c-224b90eb8d0a" providerId="ADAL" clId="{85BF7E29-B863-8743-821C-9B528FF1FFE4}" dt="2024-04-05T06:51:00.245" v="3340" actId="2711"/>
          <ac:spMkLst>
            <pc:docMk/>
            <pc:sldMk cId="1453192854" sldId="2147483608"/>
            <ac:spMk id="31" creationId="{EA792194-A2E1-C7CE-5769-3FDDE7FAC180}"/>
          </ac:spMkLst>
        </pc:spChg>
        <pc:spChg chg="mod">
          <ac:chgData name="Nisen, Henrik (BCG Platinion)" userId="23462ed3-8a28-48c0-b94c-224b90eb8d0a" providerId="ADAL" clId="{85BF7E29-B863-8743-821C-9B528FF1FFE4}" dt="2024-04-05T06:51:00.245" v="3340" actId="2711"/>
          <ac:spMkLst>
            <pc:docMk/>
            <pc:sldMk cId="1453192854" sldId="2147483608"/>
            <ac:spMk id="32" creationId="{3D80C78B-C36B-B6F3-DAB6-B246695988F7}"/>
          </ac:spMkLst>
        </pc:spChg>
        <pc:spChg chg="mod">
          <ac:chgData name="Nisen, Henrik (BCG Platinion)" userId="23462ed3-8a28-48c0-b94c-224b90eb8d0a" providerId="ADAL" clId="{85BF7E29-B863-8743-821C-9B528FF1FFE4}" dt="2024-04-05T06:52:23.736" v="3373" actId="14100"/>
          <ac:spMkLst>
            <pc:docMk/>
            <pc:sldMk cId="1453192854" sldId="2147483608"/>
            <ac:spMk id="33" creationId="{41BB3F0C-F6BF-C46F-D735-76B535428440}"/>
          </ac:spMkLst>
        </pc:spChg>
        <pc:spChg chg="mod">
          <ac:chgData name="Nisen, Henrik (BCG Platinion)" userId="23462ed3-8a28-48c0-b94c-224b90eb8d0a" providerId="ADAL" clId="{85BF7E29-B863-8743-821C-9B528FF1FFE4}" dt="2024-04-05T06:52:16.751" v="3371" actId="14100"/>
          <ac:spMkLst>
            <pc:docMk/>
            <pc:sldMk cId="1453192854" sldId="2147483608"/>
            <ac:spMk id="34" creationId="{FD6D485F-E772-FAF7-09FD-ACE19656E9D7}"/>
          </ac:spMkLst>
        </pc:spChg>
        <pc:spChg chg="mod">
          <ac:chgData name="Nisen, Henrik (BCG Platinion)" userId="23462ed3-8a28-48c0-b94c-224b90eb8d0a" providerId="ADAL" clId="{85BF7E29-B863-8743-821C-9B528FF1FFE4}" dt="2024-04-05T06:51:32.530" v="3360" actId="113"/>
          <ac:spMkLst>
            <pc:docMk/>
            <pc:sldMk cId="1453192854" sldId="2147483608"/>
            <ac:spMk id="38" creationId="{17626B5F-1F6B-90EA-490A-F19BBBF9057C}"/>
          </ac:spMkLst>
        </pc:spChg>
        <pc:spChg chg="mod">
          <ac:chgData name="Nisen, Henrik (BCG Platinion)" userId="23462ed3-8a28-48c0-b94c-224b90eb8d0a" providerId="ADAL" clId="{85BF7E29-B863-8743-821C-9B528FF1FFE4}" dt="2024-04-05T06:51:14.945" v="3343" actId="5793"/>
          <ac:spMkLst>
            <pc:docMk/>
            <pc:sldMk cId="1453192854" sldId="2147483608"/>
            <ac:spMk id="42" creationId="{9453CE2C-EF7F-6738-5358-7905570F08F4}"/>
          </ac:spMkLst>
        </pc:spChg>
        <pc:spChg chg="mod">
          <ac:chgData name="Nisen, Henrik (BCG Platinion)" userId="23462ed3-8a28-48c0-b94c-224b90eb8d0a" providerId="ADAL" clId="{85BF7E29-B863-8743-821C-9B528FF1FFE4}" dt="2024-04-05T06:51:00.245" v="3340" actId="2711"/>
          <ac:spMkLst>
            <pc:docMk/>
            <pc:sldMk cId="1453192854" sldId="2147483608"/>
            <ac:spMk id="47" creationId="{17FE95C5-608A-FB87-ABC8-2CBBC791E498}"/>
          </ac:spMkLst>
        </pc:spChg>
        <pc:spChg chg="mod">
          <ac:chgData name="Nisen, Henrik (BCG Platinion)" userId="23462ed3-8a28-48c0-b94c-224b90eb8d0a" providerId="ADAL" clId="{85BF7E29-B863-8743-821C-9B528FF1FFE4}" dt="2024-04-05T06:51:00.245" v="3340" actId="2711"/>
          <ac:spMkLst>
            <pc:docMk/>
            <pc:sldMk cId="1453192854" sldId="2147483608"/>
            <ac:spMk id="52" creationId="{F7E336FA-D192-DE4D-67A7-B7DD0629D0B2}"/>
          </ac:spMkLst>
        </pc:spChg>
        <pc:spChg chg="mod">
          <ac:chgData name="Nisen, Henrik (BCG Platinion)" userId="23462ed3-8a28-48c0-b94c-224b90eb8d0a" providerId="ADAL" clId="{85BF7E29-B863-8743-821C-9B528FF1FFE4}" dt="2024-04-05T06:51:00.245" v="3340" actId="2711"/>
          <ac:spMkLst>
            <pc:docMk/>
            <pc:sldMk cId="1453192854" sldId="2147483608"/>
            <ac:spMk id="57" creationId="{18ED3A90-883C-1E87-6519-A722E977C3ED}"/>
          </ac:spMkLst>
        </pc:spChg>
        <pc:spChg chg="mod">
          <ac:chgData name="Nisen, Henrik (BCG Platinion)" userId="23462ed3-8a28-48c0-b94c-224b90eb8d0a" providerId="ADAL" clId="{85BF7E29-B863-8743-821C-9B528FF1FFE4}" dt="2024-04-05T06:51:00.245" v="3340" actId="2711"/>
          <ac:spMkLst>
            <pc:docMk/>
            <pc:sldMk cId="1453192854" sldId="2147483608"/>
            <ac:spMk id="63" creationId="{1E3EC0DD-3116-FFA9-AB46-25AE41B92555}"/>
          </ac:spMkLst>
        </pc:spChg>
        <pc:spChg chg="mod">
          <ac:chgData name="Nisen, Henrik (BCG Platinion)" userId="23462ed3-8a28-48c0-b94c-224b90eb8d0a" providerId="ADAL" clId="{85BF7E29-B863-8743-821C-9B528FF1FFE4}" dt="2024-04-05T06:53:01.309" v="3410" actId="20577"/>
          <ac:spMkLst>
            <pc:docMk/>
            <pc:sldMk cId="1453192854" sldId="2147483608"/>
            <ac:spMk id="64" creationId="{0C69BA15-8F2C-589C-11E8-70B2E48014EC}"/>
          </ac:spMkLst>
        </pc:spChg>
        <pc:spChg chg="mod">
          <ac:chgData name="Nisen, Henrik (BCG Platinion)" userId="23462ed3-8a28-48c0-b94c-224b90eb8d0a" providerId="ADAL" clId="{85BF7E29-B863-8743-821C-9B528FF1FFE4}" dt="2024-04-05T06:51:00.245" v="3340" actId="2711"/>
          <ac:spMkLst>
            <pc:docMk/>
            <pc:sldMk cId="1453192854" sldId="2147483608"/>
            <ac:spMk id="68" creationId="{D699C75F-1C71-636D-8770-6B76A3D0AD31}"/>
          </ac:spMkLst>
        </pc:spChg>
        <pc:spChg chg="mod">
          <ac:chgData name="Nisen, Henrik (BCG Platinion)" userId="23462ed3-8a28-48c0-b94c-224b90eb8d0a" providerId="ADAL" clId="{85BF7E29-B863-8743-821C-9B528FF1FFE4}" dt="2024-04-05T06:51:00.245" v="3340" actId="2711"/>
          <ac:spMkLst>
            <pc:docMk/>
            <pc:sldMk cId="1453192854" sldId="2147483608"/>
            <ac:spMk id="69" creationId="{19999F36-5095-4B94-AC39-6B9F509E5285}"/>
          </ac:spMkLst>
        </pc:spChg>
        <pc:spChg chg="mod">
          <ac:chgData name="Nisen, Henrik (BCG Platinion)" userId="23462ed3-8a28-48c0-b94c-224b90eb8d0a" providerId="ADAL" clId="{85BF7E29-B863-8743-821C-9B528FF1FFE4}" dt="2024-04-05T06:51:00.245" v="3340" actId="2711"/>
          <ac:spMkLst>
            <pc:docMk/>
            <pc:sldMk cId="1453192854" sldId="2147483608"/>
            <ac:spMk id="70" creationId="{CDADE754-2FB6-BCBA-2738-9F4076C79ADB}"/>
          </ac:spMkLst>
        </pc:spChg>
        <pc:spChg chg="mod">
          <ac:chgData name="Nisen, Henrik (BCG Platinion)" userId="23462ed3-8a28-48c0-b94c-224b90eb8d0a" providerId="ADAL" clId="{85BF7E29-B863-8743-821C-9B528FF1FFE4}" dt="2024-04-05T06:51:39.780" v="3362" actId="207"/>
          <ac:spMkLst>
            <pc:docMk/>
            <pc:sldMk cId="1453192854" sldId="2147483608"/>
            <ac:spMk id="73" creationId="{CF77391E-C7C4-E5D9-FE10-73AC2BB03795}"/>
          </ac:spMkLst>
        </pc:spChg>
        <pc:spChg chg="mod">
          <ac:chgData name="Nisen, Henrik (BCG Platinion)" userId="23462ed3-8a28-48c0-b94c-224b90eb8d0a" providerId="ADAL" clId="{85BF7E29-B863-8743-821C-9B528FF1FFE4}" dt="2024-04-05T06:51:00.245" v="3340" actId="2711"/>
          <ac:spMkLst>
            <pc:docMk/>
            <pc:sldMk cId="1453192854" sldId="2147483608"/>
            <ac:spMk id="77" creationId="{89D3A9B3-8DE3-A4A9-089E-EEE0FBD3DD97}"/>
          </ac:spMkLst>
        </pc:spChg>
        <pc:spChg chg="mod">
          <ac:chgData name="Nisen, Henrik (BCG Platinion)" userId="23462ed3-8a28-48c0-b94c-224b90eb8d0a" providerId="ADAL" clId="{85BF7E29-B863-8743-821C-9B528FF1FFE4}" dt="2024-04-05T06:51:00.245" v="3340" actId="2711"/>
          <ac:spMkLst>
            <pc:docMk/>
            <pc:sldMk cId="1453192854" sldId="2147483608"/>
            <ac:spMk id="80" creationId="{46B8F458-819B-5313-8A47-F4A1F73A6118}"/>
          </ac:spMkLst>
        </pc:spChg>
        <pc:spChg chg="mod">
          <ac:chgData name="Nisen, Henrik (BCG Platinion)" userId="23462ed3-8a28-48c0-b94c-224b90eb8d0a" providerId="ADAL" clId="{85BF7E29-B863-8743-821C-9B528FF1FFE4}" dt="2024-04-05T06:51:54.656" v="3364" actId="207"/>
          <ac:spMkLst>
            <pc:docMk/>
            <pc:sldMk cId="1453192854" sldId="2147483608"/>
            <ac:spMk id="87" creationId="{95F1A457-B792-A971-3E7B-2E85A08031DC}"/>
          </ac:spMkLst>
        </pc:spChg>
        <pc:spChg chg="del mod">
          <ac:chgData name="Nisen, Henrik (BCG Platinion)" userId="23462ed3-8a28-48c0-b94c-224b90eb8d0a" providerId="ADAL" clId="{85BF7E29-B863-8743-821C-9B528FF1FFE4}" dt="2024-04-05T06:52:28.978" v="3374" actId="478"/>
          <ac:spMkLst>
            <pc:docMk/>
            <pc:sldMk cId="1453192854" sldId="2147483608"/>
            <ac:spMk id="88" creationId="{58E4D5D6-DAD2-6ADD-4ABC-39E51507D5A0}"/>
          </ac:spMkLst>
        </pc:spChg>
        <pc:spChg chg="mod">
          <ac:chgData name="Nisen, Henrik (BCG Platinion)" userId="23462ed3-8a28-48c0-b94c-224b90eb8d0a" providerId="ADAL" clId="{85BF7E29-B863-8743-821C-9B528FF1FFE4}" dt="2024-04-05T06:51:00.245" v="3340" actId="2711"/>
          <ac:spMkLst>
            <pc:docMk/>
            <pc:sldMk cId="1453192854" sldId="2147483608"/>
            <ac:spMk id="99" creationId="{017D0283-3141-2A72-CB3F-A6DEBA2F5922}"/>
          </ac:spMkLst>
        </pc:spChg>
        <pc:spChg chg="mod">
          <ac:chgData name="Nisen, Henrik (BCG Platinion)" userId="23462ed3-8a28-48c0-b94c-224b90eb8d0a" providerId="ADAL" clId="{85BF7E29-B863-8743-821C-9B528FF1FFE4}" dt="2024-04-05T06:51:00.245" v="3340" actId="2711"/>
          <ac:spMkLst>
            <pc:docMk/>
            <pc:sldMk cId="1453192854" sldId="2147483608"/>
            <ac:spMk id="107" creationId="{B37C8B6F-538D-458D-E841-91B566BE0280}"/>
          </ac:spMkLst>
        </pc:spChg>
        <pc:spChg chg="mod">
          <ac:chgData name="Nisen, Henrik (BCG Platinion)" userId="23462ed3-8a28-48c0-b94c-224b90eb8d0a" providerId="ADAL" clId="{85BF7E29-B863-8743-821C-9B528FF1FFE4}" dt="2024-04-05T06:51:00.245" v="3340" actId="2711"/>
          <ac:spMkLst>
            <pc:docMk/>
            <pc:sldMk cId="1453192854" sldId="2147483608"/>
            <ac:spMk id="108" creationId="{2CA2CD6C-C083-C418-ACA9-A9C5E1FEE6BC}"/>
          </ac:spMkLst>
        </pc:spChg>
        <pc:grpChg chg="mod">
          <ac:chgData name="Nisen, Henrik (BCG Platinion)" userId="23462ed3-8a28-48c0-b94c-224b90eb8d0a" providerId="ADAL" clId="{85BF7E29-B863-8743-821C-9B528FF1FFE4}" dt="2024-04-05T06:51:00.245" v="3340" actId="2711"/>
          <ac:grpSpMkLst>
            <pc:docMk/>
            <pc:sldMk cId="1453192854" sldId="2147483608"/>
            <ac:grpSpMk id="97" creationId="{07B53712-C254-1BCC-2F7F-502F37E0CAC4}"/>
          </ac:grpSpMkLst>
        </pc:grpChg>
        <pc:picChg chg="mod">
          <ac:chgData name="Nisen, Henrik (BCG Platinion)" userId="23462ed3-8a28-48c0-b94c-224b90eb8d0a" providerId="ADAL" clId="{85BF7E29-B863-8743-821C-9B528FF1FFE4}" dt="2024-04-05T06:51:00.245" v="3340" actId="2711"/>
          <ac:picMkLst>
            <pc:docMk/>
            <pc:sldMk cId="1453192854" sldId="2147483608"/>
            <ac:picMk id="4" creationId="{06DD4B91-AB4B-718C-5E20-787FC5B99891}"/>
          </ac:picMkLst>
        </pc:picChg>
        <pc:picChg chg="mod">
          <ac:chgData name="Nisen, Henrik (BCG Platinion)" userId="23462ed3-8a28-48c0-b94c-224b90eb8d0a" providerId="ADAL" clId="{85BF7E29-B863-8743-821C-9B528FF1FFE4}" dt="2024-04-05T06:51:00.245" v="3340" actId="2711"/>
          <ac:picMkLst>
            <pc:docMk/>
            <pc:sldMk cId="1453192854" sldId="2147483608"/>
            <ac:picMk id="6" creationId="{985A48A8-DD74-2513-86A0-9D708D0793B2}"/>
          </ac:picMkLst>
        </pc:picChg>
        <pc:picChg chg="mod">
          <ac:chgData name="Nisen, Henrik (BCG Platinion)" userId="23462ed3-8a28-48c0-b94c-224b90eb8d0a" providerId="ADAL" clId="{85BF7E29-B863-8743-821C-9B528FF1FFE4}" dt="2024-04-05T06:51:00.245" v="3340" actId="2711"/>
          <ac:picMkLst>
            <pc:docMk/>
            <pc:sldMk cId="1453192854" sldId="2147483608"/>
            <ac:picMk id="9" creationId="{1BBA63A1-C960-39AA-DFFC-9EBBDEFE230C}"/>
          </ac:picMkLst>
        </pc:picChg>
        <pc:picChg chg="mod">
          <ac:chgData name="Nisen, Henrik (BCG Platinion)" userId="23462ed3-8a28-48c0-b94c-224b90eb8d0a" providerId="ADAL" clId="{85BF7E29-B863-8743-821C-9B528FF1FFE4}" dt="2024-04-05T06:51:00.245" v="3340" actId="2711"/>
          <ac:picMkLst>
            <pc:docMk/>
            <pc:sldMk cId="1453192854" sldId="2147483608"/>
            <ac:picMk id="11" creationId="{8D760019-D03F-2AE0-6B8C-3242649B849F}"/>
          </ac:picMkLst>
        </pc:picChg>
        <pc:picChg chg="mod">
          <ac:chgData name="Nisen, Henrik (BCG Platinion)" userId="23462ed3-8a28-48c0-b94c-224b90eb8d0a" providerId="ADAL" clId="{85BF7E29-B863-8743-821C-9B528FF1FFE4}" dt="2024-04-05T06:51:00.245" v="3340" actId="2711"/>
          <ac:picMkLst>
            <pc:docMk/>
            <pc:sldMk cId="1453192854" sldId="2147483608"/>
            <ac:picMk id="12" creationId="{E2B8E35E-4F6F-943E-889A-4BB4B23C054F}"/>
          </ac:picMkLst>
        </pc:picChg>
        <pc:picChg chg="mod">
          <ac:chgData name="Nisen, Henrik (BCG Platinion)" userId="23462ed3-8a28-48c0-b94c-224b90eb8d0a" providerId="ADAL" clId="{85BF7E29-B863-8743-821C-9B528FF1FFE4}" dt="2024-04-05T06:51:00.245" v="3340" actId="2711"/>
          <ac:picMkLst>
            <pc:docMk/>
            <pc:sldMk cId="1453192854" sldId="2147483608"/>
            <ac:picMk id="13" creationId="{6C64928D-CFD9-89A7-4355-217023BD60CB}"/>
          </ac:picMkLst>
        </pc:picChg>
        <pc:picChg chg="mod">
          <ac:chgData name="Nisen, Henrik (BCG Platinion)" userId="23462ed3-8a28-48c0-b94c-224b90eb8d0a" providerId="ADAL" clId="{85BF7E29-B863-8743-821C-9B528FF1FFE4}" dt="2024-04-05T06:51:00.245" v="3340" actId="2711"/>
          <ac:picMkLst>
            <pc:docMk/>
            <pc:sldMk cId="1453192854" sldId="2147483608"/>
            <ac:picMk id="14" creationId="{9CF22B4D-C8A9-B64E-9DF2-B0D33B0980CB}"/>
          </ac:picMkLst>
        </pc:picChg>
        <pc:picChg chg="mod">
          <ac:chgData name="Nisen, Henrik (BCG Platinion)" userId="23462ed3-8a28-48c0-b94c-224b90eb8d0a" providerId="ADAL" clId="{85BF7E29-B863-8743-821C-9B528FF1FFE4}" dt="2024-04-05T06:51:00.245" v="3340" actId="2711"/>
          <ac:picMkLst>
            <pc:docMk/>
            <pc:sldMk cId="1453192854" sldId="2147483608"/>
            <ac:picMk id="15" creationId="{B35D99D3-3E40-7320-D0E4-3A8FD51B0AE2}"/>
          </ac:picMkLst>
        </pc:picChg>
        <pc:picChg chg="mod">
          <ac:chgData name="Nisen, Henrik (BCG Platinion)" userId="23462ed3-8a28-48c0-b94c-224b90eb8d0a" providerId="ADAL" clId="{85BF7E29-B863-8743-821C-9B528FF1FFE4}" dt="2024-04-05T06:51:00.245" v="3340" actId="2711"/>
          <ac:picMkLst>
            <pc:docMk/>
            <pc:sldMk cId="1453192854" sldId="2147483608"/>
            <ac:picMk id="16" creationId="{8266FF7A-B2FA-080D-98D4-DB1D2D2738F5}"/>
          </ac:picMkLst>
        </pc:picChg>
        <pc:picChg chg="mod">
          <ac:chgData name="Nisen, Henrik (BCG Platinion)" userId="23462ed3-8a28-48c0-b94c-224b90eb8d0a" providerId="ADAL" clId="{85BF7E29-B863-8743-821C-9B528FF1FFE4}" dt="2024-04-05T06:51:00.245" v="3340" actId="2711"/>
          <ac:picMkLst>
            <pc:docMk/>
            <pc:sldMk cId="1453192854" sldId="2147483608"/>
            <ac:picMk id="17" creationId="{BC3AA934-93A6-9CC6-0BC9-A920DCB1E17A}"/>
          </ac:picMkLst>
        </pc:picChg>
        <pc:picChg chg="mod">
          <ac:chgData name="Nisen, Henrik (BCG Platinion)" userId="23462ed3-8a28-48c0-b94c-224b90eb8d0a" providerId="ADAL" clId="{85BF7E29-B863-8743-821C-9B528FF1FFE4}" dt="2024-04-05T06:51:00.245" v="3340" actId="2711"/>
          <ac:picMkLst>
            <pc:docMk/>
            <pc:sldMk cId="1453192854" sldId="2147483608"/>
            <ac:picMk id="24" creationId="{EE3C4035-0061-920E-DD73-63432C5B04B2}"/>
          </ac:picMkLst>
        </pc:picChg>
        <pc:picChg chg="mod">
          <ac:chgData name="Nisen, Henrik (BCG Platinion)" userId="23462ed3-8a28-48c0-b94c-224b90eb8d0a" providerId="ADAL" clId="{85BF7E29-B863-8743-821C-9B528FF1FFE4}" dt="2024-04-05T06:51:00.245" v="3340" actId="2711"/>
          <ac:picMkLst>
            <pc:docMk/>
            <pc:sldMk cId="1453192854" sldId="2147483608"/>
            <ac:picMk id="29" creationId="{8F891D59-9B06-05E6-F997-237066A5828E}"/>
          </ac:picMkLst>
        </pc:picChg>
        <pc:picChg chg="mod">
          <ac:chgData name="Nisen, Henrik (BCG Platinion)" userId="23462ed3-8a28-48c0-b94c-224b90eb8d0a" providerId="ADAL" clId="{85BF7E29-B863-8743-821C-9B528FF1FFE4}" dt="2024-04-05T06:51:00.245" v="3340" actId="2711"/>
          <ac:picMkLst>
            <pc:docMk/>
            <pc:sldMk cId="1453192854" sldId="2147483608"/>
            <ac:picMk id="39" creationId="{5D4A5EB2-EB1A-40B0-7B1E-5C5B9EC75D2A}"/>
          </ac:picMkLst>
        </pc:picChg>
        <pc:picChg chg="mod">
          <ac:chgData name="Nisen, Henrik (BCG Platinion)" userId="23462ed3-8a28-48c0-b94c-224b90eb8d0a" providerId="ADAL" clId="{85BF7E29-B863-8743-821C-9B528FF1FFE4}" dt="2024-04-05T06:51:00.245" v="3340" actId="2711"/>
          <ac:picMkLst>
            <pc:docMk/>
            <pc:sldMk cId="1453192854" sldId="2147483608"/>
            <ac:picMk id="40" creationId="{EEA4DA73-6965-81DE-30E6-37835E8FBF69}"/>
          </ac:picMkLst>
        </pc:picChg>
        <pc:picChg chg="mod">
          <ac:chgData name="Nisen, Henrik (BCG Platinion)" userId="23462ed3-8a28-48c0-b94c-224b90eb8d0a" providerId="ADAL" clId="{85BF7E29-B863-8743-821C-9B528FF1FFE4}" dt="2024-04-05T06:51:00.245" v="3340" actId="2711"/>
          <ac:picMkLst>
            <pc:docMk/>
            <pc:sldMk cId="1453192854" sldId="2147483608"/>
            <ac:picMk id="41" creationId="{C8D74F5B-8408-E687-9F3B-255483CD13C9}"/>
          </ac:picMkLst>
        </pc:picChg>
        <pc:picChg chg="mod">
          <ac:chgData name="Nisen, Henrik (BCG Platinion)" userId="23462ed3-8a28-48c0-b94c-224b90eb8d0a" providerId="ADAL" clId="{85BF7E29-B863-8743-821C-9B528FF1FFE4}" dt="2024-04-05T06:51:00.245" v="3340" actId="2711"/>
          <ac:picMkLst>
            <pc:docMk/>
            <pc:sldMk cId="1453192854" sldId="2147483608"/>
            <ac:picMk id="48" creationId="{4E1027DF-D673-E7F4-C255-71640169779C}"/>
          </ac:picMkLst>
        </pc:picChg>
        <pc:picChg chg="mod">
          <ac:chgData name="Nisen, Henrik (BCG Platinion)" userId="23462ed3-8a28-48c0-b94c-224b90eb8d0a" providerId="ADAL" clId="{85BF7E29-B863-8743-821C-9B528FF1FFE4}" dt="2024-04-05T06:51:00.245" v="3340" actId="2711"/>
          <ac:picMkLst>
            <pc:docMk/>
            <pc:sldMk cId="1453192854" sldId="2147483608"/>
            <ac:picMk id="49" creationId="{BD5EC02A-9341-7DEE-480A-6EA913A5580B}"/>
          </ac:picMkLst>
        </pc:picChg>
        <pc:picChg chg="mod">
          <ac:chgData name="Nisen, Henrik (BCG Platinion)" userId="23462ed3-8a28-48c0-b94c-224b90eb8d0a" providerId="ADAL" clId="{85BF7E29-B863-8743-821C-9B528FF1FFE4}" dt="2024-04-05T06:51:00.245" v="3340" actId="2711"/>
          <ac:picMkLst>
            <pc:docMk/>
            <pc:sldMk cId="1453192854" sldId="2147483608"/>
            <ac:picMk id="53" creationId="{03D726D8-78EA-69C4-FFC0-2DC8715A42E9}"/>
          </ac:picMkLst>
        </pc:picChg>
        <pc:picChg chg="mod">
          <ac:chgData name="Nisen, Henrik (BCG Platinion)" userId="23462ed3-8a28-48c0-b94c-224b90eb8d0a" providerId="ADAL" clId="{85BF7E29-B863-8743-821C-9B528FF1FFE4}" dt="2024-04-05T06:51:00.245" v="3340" actId="2711"/>
          <ac:picMkLst>
            <pc:docMk/>
            <pc:sldMk cId="1453192854" sldId="2147483608"/>
            <ac:picMk id="55" creationId="{E6A599AF-C34F-4355-0B35-4848293F2FFA}"/>
          </ac:picMkLst>
        </pc:picChg>
        <pc:picChg chg="mod">
          <ac:chgData name="Nisen, Henrik (BCG Platinion)" userId="23462ed3-8a28-48c0-b94c-224b90eb8d0a" providerId="ADAL" clId="{85BF7E29-B863-8743-821C-9B528FF1FFE4}" dt="2024-04-05T06:51:00.245" v="3340" actId="2711"/>
          <ac:picMkLst>
            <pc:docMk/>
            <pc:sldMk cId="1453192854" sldId="2147483608"/>
            <ac:picMk id="56" creationId="{E32F7C7B-2E83-5D05-8E99-823F4A7A7FE2}"/>
          </ac:picMkLst>
        </pc:picChg>
        <pc:picChg chg="mod">
          <ac:chgData name="Nisen, Henrik (BCG Platinion)" userId="23462ed3-8a28-48c0-b94c-224b90eb8d0a" providerId="ADAL" clId="{85BF7E29-B863-8743-821C-9B528FF1FFE4}" dt="2024-04-05T06:51:00.245" v="3340" actId="2711"/>
          <ac:picMkLst>
            <pc:docMk/>
            <pc:sldMk cId="1453192854" sldId="2147483608"/>
            <ac:picMk id="59" creationId="{6763FD39-DE97-C434-B9F1-7F9BA0C6CB30}"/>
          </ac:picMkLst>
        </pc:picChg>
        <pc:picChg chg="mod">
          <ac:chgData name="Nisen, Henrik (BCG Platinion)" userId="23462ed3-8a28-48c0-b94c-224b90eb8d0a" providerId="ADAL" clId="{85BF7E29-B863-8743-821C-9B528FF1FFE4}" dt="2024-04-05T06:51:00.245" v="3340" actId="2711"/>
          <ac:picMkLst>
            <pc:docMk/>
            <pc:sldMk cId="1453192854" sldId="2147483608"/>
            <ac:picMk id="60" creationId="{CAB0F587-D7E2-AA63-6691-91D993419E2B}"/>
          </ac:picMkLst>
        </pc:picChg>
        <pc:picChg chg="mod">
          <ac:chgData name="Nisen, Henrik (BCG Platinion)" userId="23462ed3-8a28-48c0-b94c-224b90eb8d0a" providerId="ADAL" clId="{85BF7E29-B863-8743-821C-9B528FF1FFE4}" dt="2024-04-05T06:51:00.245" v="3340" actId="2711"/>
          <ac:picMkLst>
            <pc:docMk/>
            <pc:sldMk cId="1453192854" sldId="2147483608"/>
            <ac:picMk id="61" creationId="{29BDA610-6BDD-29AF-97D0-BADE4EE55ECC}"/>
          </ac:picMkLst>
        </pc:picChg>
        <pc:picChg chg="mod">
          <ac:chgData name="Nisen, Henrik (BCG Platinion)" userId="23462ed3-8a28-48c0-b94c-224b90eb8d0a" providerId="ADAL" clId="{85BF7E29-B863-8743-821C-9B528FF1FFE4}" dt="2024-04-05T06:51:00.245" v="3340" actId="2711"/>
          <ac:picMkLst>
            <pc:docMk/>
            <pc:sldMk cId="1453192854" sldId="2147483608"/>
            <ac:picMk id="62" creationId="{C9D94FDC-07A9-3C70-B0DC-F8CC8EE32AC1}"/>
          </ac:picMkLst>
        </pc:picChg>
        <pc:picChg chg="mod">
          <ac:chgData name="Nisen, Henrik (BCG Platinion)" userId="23462ed3-8a28-48c0-b94c-224b90eb8d0a" providerId="ADAL" clId="{85BF7E29-B863-8743-821C-9B528FF1FFE4}" dt="2024-04-05T06:51:00.245" v="3340" actId="2711"/>
          <ac:picMkLst>
            <pc:docMk/>
            <pc:sldMk cId="1453192854" sldId="2147483608"/>
            <ac:picMk id="67" creationId="{C81E532A-1A94-1AA7-B4B4-72DC2DB24CCE}"/>
          </ac:picMkLst>
        </pc:picChg>
        <pc:picChg chg="mod">
          <ac:chgData name="Nisen, Henrik (BCG Platinion)" userId="23462ed3-8a28-48c0-b94c-224b90eb8d0a" providerId="ADAL" clId="{85BF7E29-B863-8743-821C-9B528FF1FFE4}" dt="2024-04-05T06:51:00.245" v="3340" actId="2711"/>
          <ac:picMkLst>
            <pc:docMk/>
            <pc:sldMk cId="1453192854" sldId="2147483608"/>
            <ac:picMk id="71" creationId="{6E2CEE32-AC36-585E-B141-8F15FA3179B0}"/>
          </ac:picMkLst>
        </pc:picChg>
        <pc:picChg chg="mod">
          <ac:chgData name="Nisen, Henrik (BCG Platinion)" userId="23462ed3-8a28-48c0-b94c-224b90eb8d0a" providerId="ADAL" clId="{85BF7E29-B863-8743-821C-9B528FF1FFE4}" dt="2024-04-05T06:51:00.245" v="3340" actId="2711"/>
          <ac:picMkLst>
            <pc:docMk/>
            <pc:sldMk cId="1453192854" sldId="2147483608"/>
            <ac:picMk id="72" creationId="{61106378-5994-02C9-CFC0-F0827E845318}"/>
          </ac:picMkLst>
        </pc:picChg>
        <pc:picChg chg="mod">
          <ac:chgData name="Nisen, Henrik (BCG Platinion)" userId="23462ed3-8a28-48c0-b94c-224b90eb8d0a" providerId="ADAL" clId="{85BF7E29-B863-8743-821C-9B528FF1FFE4}" dt="2024-04-05T06:51:00.245" v="3340" actId="2711"/>
          <ac:picMkLst>
            <pc:docMk/>
            <pc:sldMk cId="1453192854" sldId="2147483608"/>
            <ac:picMk id="78" creationId="{C06B4A71-6078-6944-048B-AE0D9913446F}"/>
          </ac:picMkLst>
        </pc:picChg>
        <pc:picChg chg="mod">
          <ac:chgData name="Nisen, Henrik (BCG Platinion)" userId="23462ed3-8a28-48c0-b94c-224b90eb8d0a" providerId="ADAL" clId="{85BF7E29-B863-8743-821C-9B528FF1FFE4}" dt="2024-04-05T06:51:00.245" v="3340" actId="2711"/>
          <ac:picMkLst>
            <pc:docMk/>
            <pc:sldMk cId="1453192854" sldId="2147483608"/>
            <ac:picMk id="79" creationId="{B4E5958C-B2B0-935E-3730-9B0578D78EC8}"/>
          </ac:picMkLst>
        </pc:picChg>
        <pc:picChg chg="mod">
          <ac:chgData name="Nisen, Henrik (BCG Platinion)" userId="23462ed3-8a28-48c0-b94c-224b90eb8d0a" providerId="ADAL" clId="{85BF7E29-B863-8743-821C-9B528FF1FFE4}" dt="2024-04-05T06:51:00.245" v="3340" actId="2711"/>
          <ac:picMkLst>
            <pc:docMk/>
            <pc:sldMk cId="1453192854" sldId="2147483608"/>
            <ac:picMk id="81" creationId="{77F6C41D-47C2-947A-FA75-49E573A5E5FF}"/>
          </ac:picMkLst>
        </pc:picChg>
        <pc:picChg chg="mod">
          <ac:chgData name="Nisen, Henrik (BCG Platinion)" userId="23462ed3-8a28-48c0-b94c-224b90eb8d0a" providerId="ADAL" clId="{85BF7E29-B863-8743-821C-9B528FF1FFE4}" dt="2024-04-05T06:51:00.245" v="3340" actId="2711"/>
          <ac:picMkLst>
            <pc:docMk/>
            <pc:sldMk cId="1453192854" sldId="2147483608"/>
            <ac:picMk id="82" creationId="{A595D242-D4DA-C8CA-B6CC-01668612D56B}"/>
          </ac:picMkLst>
        </pc:picChg>
        <pc:picChg chg="mod">
          <ac:chgData name="Nisen, Henrik (BCG Platinion)" userId="23462ed3-8a28-48c0-b94c-224b90eb8d0a" providerId="ADAL" clId="{85BF7E29-B863-8743-821C-9B528FF1FFE4}" dt="2024-04-05T06:51:00.245" v="3340" actId="2711"/>
          <ac:picMkLst>
            <pc:docMk/>
            <pc:sldMk cId="1453192854" sldId="2147483608"/>
            <ac:picMk id="83" creationId="{2105F6C4-3E8F-64CC-7973-21E855A168E1}"/>
          </ac:picMkLst>
        </pc:picChg>
        <pc:picChg chg="mod">
          <ac:chgData name="Nisen, Henrik (BCG Platinion)" userId="23462ed3-8a28-48c0-b94c-224b90eb8d0a" providerId="ADAL" clId="{85BF7E29-B863-8743-821C-9B528FF1FFE4}" dt="2024-04-05T06:51:00.245" v="3340" actId="2711"/>
          <ac:picMkLst>
            <pc:docMk/>
            <pc:sldMk cId="1453192854" sldId="2147483608"/>
            <ac:picMk id="84" creationId="{0A139068-1C57-E50E-69B7-F851E4C24A11}"/>
          </ac:picMkLst>
        </pc:picChg>
        <pc:picChg chg="mod">
          <ac:chgData name="Nisen, Henrik (BCG Platinion)" userId="23462ed3-8a28-48c0-b94c-224b90eb8d0a" providerId="ADAL" clId="{85BF7E29-B863-8743-821C-9B528FF1FFE4}" dt="2024-04-05T06:51:00.245" v="3340" actId="2711"/>
          <ac:picMkLst>
            <pc:docMk/>
            <pc:sldMk cId="1453192854" sldId="2147483608"/>
            <ac:picMk id="85" creationId="{B7D7F8CB-07A1-D64A-26AD-8FD1B298D946}"/>
          </ac:picMkLst>
        </pc:picChg>
        <pc:picChg chg="mod">
          <ac:chgData name="Nisen, Henrik (BCG Platinion)" userId="23462ed3-8a28-48c0-b94c-224b90eb8d0a" providerId="ADAL" clId="{85BF7E29-B863-8743-821C-9B528FF1FFE4}" dt="2024-04-05T06:51:00.245" v="3340" actId="2711"/>
          <ac:picMkLst>
            <pc:docMk/>
            <pc:sldMk cId="1453192854" sldId="2147483608"/>
            <ac:picMk id="90" creationId="{17D685B2-BD0C-EAC7-669F-E7B8F956730B}"/>
          </ac:picMkLst>
        </pc:picChg>
        <pc:picChg chg="mod">
          <ac:chgData name="Nisen, Henrik (BCG Platinion)" userId="23462ed3-8a28-48c0-b94c-224b90eb8d0a" providerId="ADAL" clId="{85BF7E29-B863-8743-821C-9B528FF1FFE4}" dt="2024-04-05T06:51:00.245" v="3340" actId="2711"/>
          <ac:picMkLst>
            <pc:docMk/>
            <pc:sldMk cId="1453192854" sldId="2147483608"/>
            <ac:picMk id="91" creationId="{DF5B440D-26AA-058D-E22C-146D48243C22}"/>
          </ac:picMkLst>
        </pc:picChg>
        <pc:picChg chg="mod">
          <ac:chgData name="Nisen, Henrik (BCG Platinion)" userId="23462ed3-8a28-48c0-b94c-224b90eb8d0a" providerId="ADAL" clId="{85BF7E29-B863-8743-821C-9B528FF1FFE4}" dt="2024-04-05T06:51:00.245" v="3340" actId="2711"/>
          <ac:picMkLst>
            <pc:docMk/>
            <pc:sldMk cId="1453192854" sldId="2147483608"/>
            <ac:picMk id="93" creationId="{2251A654-632F-01B2-337C-98AAF4A16F8E}"/>
          </ac:picMkLst>
        </pc:picChg>
        <pc:picChg chg="mod">
          <ac:chgData name="Nisen, Henrik (BCG Platinion)" userId="23462ed3-8a28-48c0-b94c-224b90eb8d0a" providerId="ADAL" clId="{85BF7E29-B863-8743-821C-9B528FF1FFE4}" dt="2024-04-05T06:51:00.245" v="3340" actId="2711"/>
          <ac:picMkLst>
            <pc:docMk/>
            <pc:sldMk cId="1453192854" sldId="2147483608"/>
            <ac:picMk id="94" creationId="{9181011E-110A-BDA1-6220-BE150EC7A633}"/>
          </ac:picMkLst>
        </pc:picChg>
        <pc:picChg chg="mod">
          <ac:chgData name="Nisen, Henrik (BCG Platinion)" userId="23462ed3-8a28-48c0-b94c-224b90eb8d0a" providerId="ADAL" clId="{85BF7E29-B863-8743-821C-9B528FF1FFE4}" dt="2024-04-05T06:51:00.245" v="3340" actId="2711"/>
          <ac:picMkLst>
            <pc:docMk/>
            <pc:sldMk cId="1453192854" sldId="2147483608"/>
            <ac:picMk id="95" creationId="{756FA226-FBAA-1E5B-687F-57CF47651FDD}"/>
          </ac:picMkLst>
        </pc:picChg>
        <pc:picChg chg="mod">
          <ac:chgData name="Nisen, Henrik (BCG Platinion)" userId="23462ed3-8a28-48c0-b94c-224b90eb8d0a" providerId="ADAL" clId="{85BF7E29-B863-8743-821C-9B528FF1FFE4}" dt="2024-04-05T06:51:00.245" v="3340" actId="2711"/>
          <ac:picMkLst>
            <pc:docMk/>
            <pc:sldMk cId="1453192854" sldId="2147483608"/>
            <ac:picMk id="96" creationId="{B5E44FC4-7DEF-B07B-3B31-CA0180898FA2}"/>
          </ac:picMkLst>
        </pc:picChg>
        <pc:picChg chg="mod">
          <ac:chgData name="Nisen, Henrik (BCG Platinion)" userId="23462ed3-8a28-48c0-b94c-224b90eb8d0a" providerId="ADAL" clId="{85BF7E29-B863-8743-821C-9B528FF1FFE4}" dt="2024-04-05T06:51:00.245" v="3340" actId="2711"/>
          <ac:picMkLst>
            <pc:docMk/>
            <pc:sldMk cId="1453192854" sldId="2147483608"/>
            <ac:picMk id="98" creationId="{AC589EBB-2E8B-DA1A-E34E-6F8714EC2CE6}"/>
          </ac:picMkLst>
        </pc:picChg>
        <pc:picChg chg="mod">
          <ac:chgData name="Nisen, Henrik (BCG Platinion)" userId="23462ed3-8a28-48c0-b94c-224b90eb8d0a" providerId="ADAL" clId="{85BF7E29-B863-8743-821C-9B528FF1FFE4}" dt="2024-04-05T06:51:00.245" v="3340" actId="2711"/>
          <ac:picMkLst>
            <pc:docMk/>
            <pc:sldMk cId="1453192854" sldId="2147483608"/>
            <ac:picMk id="100" creationId="{4FADB4D1-3685-610F-2F29-46CBC6E39C0B}"/>
          </ac:picMkLst>
        </pc:picChg>
        <pc:picChg chg="mod">
          <ac:chgData name="Nisen, Henrik (BCG Platinion)" userId="23462ed3-8a28-48c0-b94c-224b90eb8d0a" providerId="ADAL" clId="{85BF7E29-B863-8743-821C-9B528FF1FFE4}" dt="2024-04-05T06:51:00.245" v="3340" actId="2711"/>
          <ac:picMkLst>
            <pc:docMk/>
            <pc:sldMk cId="1453192854" sldId="2147483608"/>
            <ac:picMk id="101" creationId="{FE456544-EA21-C753-A14B-DC652CCAE1F3}"/>
          </ac:picMkLst>
        </pc:picChg>
        <pc:picChg chg="mod">
          <ac:chgData name="Nisen, Henrik (BCG Platinion)" userId="23462ed3-8a28-48c0-b94c-224b90eb8d0a" providerId="ADAL" clId="{85BF7E29-B863-8743-821C-9B528FF1FFE4}" dt="2024-04-05T06:51:00.245" v="3340" actId="2711"/>
          <ac:picMkLst>
            <pc:docMk/>
            <pc:sldMk cId="1453192854" sldId="2147483608"/>
            <ac:picMk id="102" creationId="{B63D8130-783E-5510-582F-D9962491AD67}"/>
          </ac:picMkLst>
        </pc:picChg>
        <pc:picChg chg="mod">
          <ac:chgData name="Nisen, Henrik (BCG Platinion)" userId="23462ed3-8a28-48c0-b94c-224b90eb8d0a" providerId="ADAL" clId="{85BF7E29-B863-8743-821C-9B528FF1FFE4}" dt="2024-04-05T06:51:00.245" v="3340" actId="2711"/>
          <ac:picMkLst>
            <pc:docMk/>
            <pc:sldMk cId="1453192854" sldId="2147483608"/>
            <ac:picMk id="103" creationId="{07109C93-9FAB-2FE0-4EC0-7DE66CBEE10A}"/>
          </ac:picMkLst>
        </pc:picChg>
        <pc:picChg chg="mod">
          <ac:chgData name="Nisen, Henrik (BCG Platinion)" userId="23462ed3-8a28-48c0-b94c-224b90eb8d0a" providerId="ADAL" clId="{85BF7E29-B863-8743-821C-9B528FF1FFE4}" dt="2024-04-05T06:51:00.245" v="3340" actId="2711"/>
          <ac:picMkLst>
            <pc:docMk/>
            <pc:sldMk cId="1453192854" sldId="2147483608"/>
            <ac:picMk id="104" creationId="{3D6CDDE1-785B-8443-23BD-C8587C13BED9}"/>
          </ac:picMkLst>
        </pc:picChg>
        <pc:picChg chg="mod">
          <ac:chgData name="Nisen, Henrik (BCG Platinion)" userId="23462ed3-8a28-48c0-b94c-224b90eb8d0a" providerId="ADAL" clId="{85BF7E29-B863-8743-821C-9B528FF1FFE4}" dt="2024-04-05T06:51:00.245" v="3340" actId="2711"/>
          <ac:picMkLst>
            <pc:docMk/>
            <pc:sldMk cId="1453192854" sldId="2147483608"/>
            <ac:picMk id="105" creationId="{8EE4FCCA-0E99-95DC-E38F-289F50D5F156}"/>
          </ac:picMkLst>
        </pc:picChg>
        <pc:picChg chg="mod">
          <ac:chgData name="Nisen, Henrik (BCG Platinion)" userId="23462ed3-8a28-48c0-b94c-224b90eb8d0a" providerId="ADAL" clId="{85BF7E29-B863-8743-821C-9B528FF1FFE4}" dt="2024-04-05T06:51:00.245" v="3340" actId="2711"/>
          <ac:picMkLst>
            <pc:docMk/>
            <pc:sldMk cId="1453192854" sldId="2147483608"/>
            <ac:picMk id="3078" creationId="{2B2D1DEA-DF0F-37D5-A893-8DE232E97259}"/>
          </ac:picMkLst>
        </pc:picChg>
        <pc:cxnChg chg="mod">
          <ac:chgData name="Nisen, Henrik (BCG Platinion)" userId="23462ed3-8a28-48c0-b94c-224b90eb8d0a" providerId="ADAL" clId="{85BF7E29-B863-8743-821C-9B528FF1FFE4}" dt="2024-04-05T06:51:00.245" v="3340" actId="2711"/>
          <ac:cxnSpMkLst>
            <pc:docMk/>
            <pc:sldMk cId="1453192854" sldId="2147483608"/>
            <ac:cxnSpMk id="22" creationId="{E4AED9E9-D772-B9A5-2570-D860F6E0941D}"/>
          </ac:cxnSpMkLst>
        </pc:cxnChg>
        <pc:cxnChg chg="mod">
          <ac:chgData name="Nisen, Henrik (BCG Platinion)" userId="23462ed3-8a28-48c0-b94c-224b90eb8d0a" providerId="ADAL" clId="{85BF7E29-B863-8743-821C-9B528FF1FFE4}" dt="2024-04-05T06:51:00.245" v="3340" actId="2711"/>
          <ac:cxnSpMkLst>
            <pc:docMk/>
            <pc:sldMk cId="1453192854" sldId="2147483608"/>
            <ac:cxnSpMk id="35" creationId="{DFB16D3E-7CA9-5667-6DFB-41E49EFEEBD8}"/>
          </ac:cxnSpMkLst>
        </pc:cxnChg>
        <pc:cxnChg chg="mod">
          <ac:chgData name="Nisen, Henrik (BCG Platinion)" userId="23462ed3-8a28-48c0-b94c-224b90eb8d0a" providerId="ADAL" clId="{85BF7E29-B863-8743-821C-9B528FF1FFE4}" dt="2024-04-05T06:51:00.245" v="3340" actId="2711"/>
          <ac:cxnSpMkLst>
            <pc:docMk/>
            <pc:sldMk cId="1453192854" sldId="2147483608"/>
            <ac:cxnSpMk id="36" creationId="{85A11148-F63C-F35D-311E-F14B7DBEFA4D}"/>
          </ac:cxnSpMkLst>
        </pc:cxnChg>
        <pc:cxnChg chg="mod">
          <ac:chgData name="Nisen, Henrik (BCG Platinion)" userId="23462ed3-8a28-48c0-b94c-224b90eb8d0a" providerId="ADAL" clId="{85BF7E29-B863-8743-821C-9B528FF1FFE4}" dt="2024-04-05T06:51:00.245" v="3340" actId="2711"/>
          <ac:cxnSpMkLst>
            <pc:docMk/>
            <pc:sldMk cId="1453192854" sldId="2147483608"/>
            <ac:cxnSpMk id="37" creationId="{75974621-F633-8965-DE41-06CE99FF7DE3}"/>
          </ac:cxnSpMkLst>
        </pc:cxnChg>
        <pc:cxnChg chg="mod">
          <ac:chgData name="Nisen, Henrik (BCG Platinion)" userId="23462ed3-8a28-48c0-b94c-224b90eb8d0a" providerId="ADAL" clId="{85BF7E29-B863-8743-821C-9B528FF1FFE4}" dt="2024-04-05T06:51:00.245" v="3340" actId="2711"/>
          <ac:cxnSpMkLst>
            <pc:docMk/>
            <pc:sldMk cId="1453192854" sldId="2147483608"/>
            <ac:cxnSpMk id="86" creationId="{2862437A-5AEA-533C-8901-D5CD4463AB57}"/>
          </ac:cxnSpMkLst>
        </pc:cxnChg>
        <pc:cxnChg chg="del mod">
          <ac:chgData name="Nisen, Henrik (BCG Platinion)" userId="23462ed3-8a28-48c0-b94c-224b90eb8d0a" providerId="ADAL" clId="{85BF7E29-B863-8743-821C-9B528FF1FFE4}" dt="2024-04-05T06:52:28.978" v="3374" actId="478"/>
          <ac:cxnSpMkLst>
            <pc:docMk/>
            <pc:sldMk cId="1453192854" sldId="2147483608"/>
            <ac:cxnSpMk id="89" creationId="{3D1D08B6-4F37-675F-F286-2E034EC93956}"/>
          </ac:cxnSpMkLst>
        </pc:cxnChg>
      </pc:sldChg>
      <pc:sldChg chg="addSp delSp modSp mod modTransition">
        <pc:chgData name="Nisen, Henrik (BCG Platinion)" userId="23462ed3-8a28-48c0-b94c-224b90eb8d0a" providerId="ADAL" clId="{85BF7E29-B863-8743-821C-9B528FF1FFE4}" dt="2024-04-05T08:34:44.540" v="8623"/>
        <pc:sldMkLst>
          <pc:docMk/>
          <pc:sldMk cId="88510384" sldId="2147483609"/>
        </pc:sldMkLst>
        <pc:spChg chg="mod">
          <ac:chgData name="Nisen, Henrik (BCG Platinion)" userId="23462ed3-8a28-48c0-b94c-224b90eb8d0a" providerId="ADAL" clId="{85BF7E29-B863-8743-821C-9B528FF1FFE4}" dt="2024-04-05T06:45:49.242" v="3108" actId="1076"/>
          <ac:spMkLst>
            <pc:docMk/>
            <pc:sldMk cId="88510384" sldId="2147483609"/>
            <ac:spMk id="21" creationId="{D8652694-9909-0D26-B51C-FC1B9866B6EA}"/>
          </ac:spMkLst>
        </pc:spChg>
        <pc:spChg chg="del">
          <ac:chgData name="Nisen, Henrik (BCG Platinion)" userId="23462ed3-8a28-48c0-b94c-224b90eb8d0a" providerId="ADAL" clId="{85BF7E29-B863-8743-821C-9B528FF1FFE4}" dt="2024-04-05T06:38:51.839" v="2781" actId="478"/>
          <ac:spMkLst>
            <pc:docMk/>
            <pc:sldMk cId="88510384" sldId="2147483609"/>
            <ac:spMk id="55" creationId="{3A29D9B7-E72E-5D86-AB03-FD6EFF342516}"/>
          </ac:spMkLst>
        </pc:spChg>
        <pc:spChg chg="add mod">
          <ac:chgData name="Nisen, Henrik (BCG Platinion)" userId="23462ed3-8a28-48c0-b94c-224b90eb8d0a" providerId="ADAL" clId="{85BF7E29-B863-8743-821C-9B528FF1FFE4}" dt="2024-04-05T06:38:35.581" v="2780"/>
          <ac:spMkLst>
            <pc:docMk/>
            <pc:sldMk cId="88510384" sldId="2147483609"/>
            <ac:spMk id="60" creationId="{60E5FC67-E87F-43FB-E249-7A37481E8B1C}"/>
          </ac:spMkLst>
        </pc:spChg>
        <pc:spChg chg="del">
          <ac:chgData name="Nisen, Henrik (BCG Platinion)" userId="23462ed3-8a28-48c0-b94c-224b90eb8d0a" providerId="ADAL" clId="{85BF7E29-B863-8743-821C-9B528FF1FFE4}" dt="2024-04-05T06:38:59.954" v="2784" actId="478"/>
          <ac:spMkLst>
            <pc:docMk/>
            <pc:sldMk cId="88510384" sldId="2147483609"/>
            <ac:spMk id="61" creationId="{7887A407-2835-6084-2344-33F19DE886CC}"/>
          </ac:spMkLst>
        </pc:spChg>
        <pc:spChg chg="del">
          <ac:chgData name="Nisen, Henrik (BCG Platinion)" userId="23462ed3-8a28-48c0-b94c-224b90eb8d0a" providerId="ADAL" clId="{85BF7E29-B863-8743-821C-9B528FF1FFE4}" dt="2024-04-05T06:38:51.839" v="2781" actId="478"/>
          <ac:spMkLst>
            <pc:docMk/>
            <pc:sldMk cId="88510384" sldId="2147483609"/>
            <ac:spMk id="62" creationId="{243A2D2E-543B-8E06-F4F9-89F5DFA84DC9}"/>
          </ac:spMkLst>
        </pc:spChg>
        <pc:spChg chg="del">
          <ac:chgData name="Nisen, Henrik (BCG Platinion)" userId="23462ed3-8a28-48c0-b94c-224b90eb8d0a" providerId="ADAL" clId="{85BF7E29-B863-8743-821C-9B528FF1FFE4}" dt="2024-04-05T06:38:51.839" v="2781" actId="478"/>
          <ac:spMkLst>
            <pc:docMk/>
            <pc:sldMk cId="88510384" sldId="2147483609"/>
            <ac:spMk id="63" creationId="{4D235B5C-F641-8C20-BF39-A54BA7C85250}"/>
          </ac:spMkLst>
        </pc:spChg>
        <pc:spChg chg="del">
          <ac:chgData name="Nisen, Henrik (BCG Platinion)" userId="23462ed3-8a28-48c0-b94c-224b90eb8d0a" providerId="ADAL" clId="{85BF7E29-B863-8743-821C-9B528FF1FFE4}" dt="2024-04-05T06:38:51.839" v="2781" actId="478"/>
          <ac:spMkLst>
            <pc:docMk/>
            <pc:sldMk cId="88510384" sldId="2147483609"/>
            <ac:spMk id="65" creationId="{B3748619-3217-25FA-0663-12BCB9781F51}"/>
          </ac:spMkLst>
        </pc:spChg>
        <pc:spChg chg="add del mod">
          <ac:chgData name="Nisen, Henrik (BCG Platinion)" userId="23462ed3-8a28-48c0-b94c-224b90eb8d0a" providerId="ADAL" clId="{85BF7E29-B863-8743-821C-9B528FF1FFE4}" dt="2024-04-05T06:38:57.193" v="2783" actId="478"/>
          <ac:spMkLst>
            <pc:docMk/>
            <pc:sldMk cId="88510384" sldId="2147483609"/>
            <ac:spMk id="70" creationId="{1B1F62A6-D67A-70DC-156B-4B6C34A895B8}"/>
          </ac:spMkLst>
        </pc:spChg>
        <pc:spChg chg="add del mod">
          <ac:chgData name="Nisen, Henrik (BCG Platinion)" userId="23462ed3-8a28-48c0-b94c-224b90eb8d0a" providerId="ADAL" clId="{85BF7E29-B863-8743-821C-9B528FF1FFE4}" dt="2024-04-05T06:38:57.193" v="2783" actId="478"/>
          <ac:spMkLst>
            <pc:docMk/>
            <pc:sldMk cId="88510384" sldId="2147483609"/>
            <ac:spMk id="71" creationId="{3407C19B-5847-7ECC-91F1-1AB27CF1C217}"/>
          </ac:spMkLst>
        </pc:spChg>
        <pc:spChg chg="add del mod">
          <ac:chgData name="Nisen, Henrik (BCG Platinion)" userId="23462ed3-8a28-48c0-b94c-224b90eb8d0a" providerId="ADAL" clId="{85BF7E29-B863-8743-821C-9B528FF1FFE4}" dt="2024-04-05T06:38:57.193" v="2783" actId="478"/>
          <ac:spMkLst>
            <pc:docMk/>
            <pc:sldMk cId="88510384" sldId="2147483609"/>
            <ac:spMk id="72" creationId="{23CE7654-772E-6511-82F6-66153A7473A1}"/>
          </ac:spMkLst>
        </pc:spChg>
        <pc:spChg chg="add del mod">
          <ac:chgData name="Nisen, Henrik (BCG Platinion)" userId="23462ed3-8a28-48c0-b94c-224b90eb8d0a" providerId="ADAL" clId="{85BF7E29-B863-8743-821C-9B528FF1FFE4}" dt="2024-04-05T06:38:57.193" v="2783" actId="478"/>
          <ac:spMkLst>
            <pc:docMk/>
            <pc:sldMk cId="88510384" sldId="2147483609"/>
            <ac:spMk id="73" creationId="{C7B1DBF5-81B7-C445-51FE-136793C2951B}"/>
          </ac:spMkLst>
        </pc:spChg>
        <pc:spChg chg="add del mod">
          <ac:chgData name="Nisen, Henrik (BCG Platinion)" userId="23462ed3-8a28-48c0-b94c-224b90eb8d0a" providerId="ADAL" clId="{85BF7E29-B863-8743-821C-9B528FF1FFE4}" dt="2024-04-05T06:38:57.193" v="2783" actId="478"/>
          <ac:spMkLst>
            <pc:docMk/>
            <pc:sldMk cId="88510384" sldId="2147483609"/>
            <ac:spMk id="76" creationId="{94AF9947-325F-3314-5913-B0AEEB4EF182}"/>
          </ac:spMkLst>
        </pc:spChg>
        <pc:spChg chg="add del mod">
          <ac:chgData name="Nisen, Henrik (BCG Platinion)" userId="23462ed3-8a28-48c0-b94c-224b90eb8d0a" providerId="ADAL" clId="{85BF7E29-B863-8743-821C-9B528FF1FFE4}" dt="2024-04-05T06:38:57.193" v="2783" actId="478"/>
          <ac:spMkLst>
            <pc:docMk/>
            <pc:sldMk cId="88510384" sldId="2147483609"/>
            <ac:spMk id="77" creationId="{7EA8F73A-F11C-6ABC-878E-7A07CCF24CC2}"/>
          </ac:spMkLst>
        </pc:spChg>
        <pc:spChg chg="add del mod">
          <ac:chgData name="Nisen, Henrik (BCG Platinion)" userId="23462ed3-8a28-48c0-b94c-224b90eb8d0a" providerId="ADAL" clId="{85BF7E29-B863-8743-821C-9B528FF1FFE4}" dt="2024-04-05T06:38:57.193" v="2783" actId="478"/>
          <ac:spMkLst>
            <pc:docMk/>
            <pc:sldMk cId="88510384" sldId="2147483609"/>
            <ac:spMk id="78" creationId="{F4F5626F-F68F-F993-725C-D63C2691884C}"/>
          </ac:spMkLst>
        </pc:spChg>
        <pc:spChg chg="add del mod">
          <ac:chgData name="Nisen, Henrik (BCG Platinion)" userId="23462ed3-8a28-48c0-b94c-224b90eb8d0a" providerId="ADAL" clId="{85BF7E29-B863-8743-821C-9B528FF1FFE4}" dt="2024-04-05T06:38:57.193" v="2783" actId="478"/>
          <ac:spMkLst>
            <pc:docMk/>
            <pc:sldMk cId="88510384" sldId="2147483609"/>
            <ac:spMk id="79" creationId="{92974D56-F48D-6B60-B0B9-19CBF85A6EDE}"/>
          </ac:spMkLst>
        </pc:spChg>
        <pc:spChg chg="add del mod">
          <ac:chgData name="Nisen, Henrik (BCG Platinion)" userId="23462ed3-8a28-48c0-b94c-224b90eb8d0a" providerId="ADAL" clId="{85BF7E29-B863-8743-821C-9B528FF1FFE4}" dt="2024-04-05T06:38:57.193" v="2783" actId="478"/>
          <ac:spMkLst>
            <pc:docMk/>
            <pc:sldMk cId="88510384" sldId="2147483609"/>
            <ac:spMk id="80" creationId="{00F2E64D-25A6-A2A5-04B6-EFAB6BDFFAD1}"/>
          </ac:spMkLst>
        </pc:spChg>
        <pc:spChg chg="add del mod">
          <ac:chgData name="Nisen, Henrik (BCG Platinion)" userId="23462ed3-8a28-48c0-b94c-224b90eb8d0a" providerId="ADAL" clId="{85BF7E29-B863-8743-821C-9B528FF1FFE4}" dt="2024-04-05T06:38:57.193" v="2783" actId="478"/>
          <ac:spMkLst>
            <pc:docMk/>
            <pc:sldMk cId="88510384" sldId="2147483609"/>
            <ac:spMk id="81" creationId="{BC09C5B1-CD93-C91D-E126-5580EF91F757}"/>
          </ac:spMkLst>
        </pc:spChg>
        <pc:spChg chg="del">
          <ac:chgData name="Nisen, Henrik (BCG Platinion)" userId="23462ed3-8a28-48c0-b94c-224b90eb8d0a" providerId="ADAL" clId="{85BF7E29-B863-8743-821C-9B528FF1FFE4}" dt="2024-04-05T06:38:51.839" v="2781" actId="478"/>
          <ac:spMkLst>
            <pc:docMk/>
            <pc:sldMk cId="88510384" sldId="2147483609"/>
            <ac:spMk id="100" creationId="{0039313B-E0FB-413F-FC29-126839959669}"/>
          </ac:spMkLst>
        </pc:spChg>
        <pc:spChg chg="mod">
          <ac:chgData name="Nisen, Henrik (BCG Platinion)" userId="23462ed3-8a28-48c0-b94c-224b90eb8d0a" providerId="ADAL" clId="{85BF7E29-B863-8743-821C-9B528FF1FFE4}" dt="2024-04-05T06:38:52.010" v="2782"/>
          <ac:spMkLst>
            <pc:docMk/>
            <pc:sldMk cId="88510384" sldId="2147483609"/>
            <ac:spMk id="102" creationId="{6B66A66D-69A7-3410-0C35-9F65F8097341}"/>
          </ac:spMkLst>
        </pc:spChg>
        <pc:spChg chg="del">
          <ac:chgData name="Nisen, Henrik (BCG Platinion)" userId="23462ed3-8a28-48c0-b94c-224b90eb8d0a" providerId="ADAL" clId="{85BF7E29-B863-8743-821C-9B528FF1FFE4}" dt="2024-04-05T06:38:51.839" v="2781" actId="478"/>
          <ac:spMkLst>
            <pc:docMk/>
            <pc:sldMk cId="88510384" sldId="2147483609"/>
            <ac:spMk id="112" creationId="{E01CF036-FC5B-9DC1-A861-AD6376C6D595}"/>
          </ac:spMkLst>
        </pc:spChg>
        <pc:spChg chg="del">
          <ac:chgData name="Nisen, Henrik (BCG Platinion)" userId="23462ed3-8a28-48c0-b94c-224b90eb8d0a" providerId="ADAL" clId="{85BF7E29-B863-8743-821C-9B528FF1FFE4}" dt="2024-04-05T06:38:51.839" v="2781" actId="478"/>
          <ac:spMkLst>
            <pc:docMk/>
            <pc:sldMk cId="88510384" sldId="2147483609"/>
            <ac:spMk id="113" creationId="{5AE9EB04-4558-CF37-BB8C-EF754C7A228E}"/>
          </ac:spMkLst>
        </pc:spChg>
        <pc:spChg chg="del">
          <ac:chgData name="Nisen, Henrik (BCG Platinion)" userId="23462ed3-8a28-48c0-b94c-224b90eb8d0a" providerId="ADAL" clId="{85BF7E29-B863-8743-821C-9B528FF1FFE4}" dt="2024-04-05T06:38:51.839" v="2781" actId="478"/>
          <ac:spMkLst>
            <pc:docMk/>
            <pc:sldMk cId="88510384" sldId="2147483609"/>
            <ac:spMk id="115" creationId="{31F76271-CC18-804E-AFE5-356F0C6041D7}"/>
          </ac:spMkLst>
        </pc:spChg>
        <pc:spChg chg="del">
          <ac:chgData name="Nisen, Henrik (BCG Platinion)" userId="23462ed3-8a28-48c0-b94c-224b90eb8d0a" providerId="ADAL" clId="{85BF7E29-B863-8743-821C-9B528FF1FFE4}" dt="2024-04-05T06:38:51.839" v="2781" actId="478"/>
          <ac:spMkLst>
            <pc:docMk/>
            <pc:sldMk cId="88510384" sldId="2147483609"/>
            <ac:spMk id="118" creationId="{046BF868-6DA0-70AA-6DA7-2B75D668F063}"/>
          </ac:spMkLst>
        </pc:spChg>
        <pc:spChg chg="mod">
          <ac:chgData name="Nisen, Henrik (BCG Platinion)" userId="23462ed3-8a28-48c0-b94c-224b90eb8d0a" providerId="ADAL" clId="{85BF7E29-B863-8743-821C-9B528FF1FFE4}" dt="2024-04-05T06:42:54.590" v="3074" actId="1037"/>
          <ac:spMkLst>
            <pc:docMk/>
            <pc:sldMk cId="88510384" sldId="2147483609"/>
            <ac:spMk id="136" creationId="{2AB7F538-DC60-BAD2-5FBD-631C0B2B8D80}"/>
          </ac:spMkLst>
        </pc:spChg>
        <pc:spChg chg="mod">
          <ac:chgData name="Nisen, Henrik (BCG Platinion)" userId="23462ed3-8a28-48c0-b94c-224b90eb8d0a" providerId="ADAL" clId="{85BF7E29-B863-8743-821C-9B528FF1FFE4}" dt="2024-04-05T06:40:39.562" v="2797" actId="165"/>
          <ac:spMkLst>
            <pc:docMk/>
            <pc:sldMk cId="88510384" sldId="2147483609"/>
            <ac:spMk id="138" creationId="{97C5479B-7FC7-9489-47FC-68C7FACC4921}"/>
          </ac:spMkLst>
        </pc:spChg>
        <pc:spChg chg="mod">
          <ac:chgData name="Nisen, Henrik (BCG Platinion)" userId="23462ed3-8a28-48c0-b94c-224b90eb8d0a" providerId="ADAL" clId="{85BF7E29-B863-8743-821C-9B528FF1FFE4}" dt="2024-04-05T06:40:39.562" v="2797" actId="165"/>
          <ac:spMkLst>
            <pc:docMk/>
            <pc:sldMk cId="88510384" sldId="2147483609"/>
            <ac:spMk id="139" creationId="{9D5362B1-89EF-27B3-4F5A-2C81CBD6AAD7}"/>
          </ac:spMkLst>
        </pc:spChg>
        <pc:spChg chg="mod">
          <ac:chgData name="Nisen, Henrik (BCG Platinion)" userId="23462ed3-8a28-48c0-b94c-224b90eb8d0a" providerId="ADAL" clId="{85BF7E29-B863-8743-821C-9B528FF1FFE4}" dt="2024-04-05T06:40:39.562" v="2797" actId="165"/>
          <ac:spMkLst>
            <pc:docMk/>
            <pc:sldMk cId="88510384" sldId="2147483609"/>
            <ac:spMk id="140" creationId="{2FEA8DB2-A002-B372-37DF-810E88616A3F}"/>
          </ac:spMkLst>
        </pc:spChg>
        <pc:spChg chg="mod">
          <ac:chgData name="Nisen, Henrik (BCG Platinion)" userId="23462ed3-8a28-48c0-b94c-224b90eb8d0a" providerId="ADAL" clId="{85BF7E29-B863-8743-821C-9B528FF1FFE4}" dt="2024-04-05T06:40:39.562" v="2797" actId="165"/>
          <ac:spMkLst>
            <pc:docMk/>
            <pc:sldMk cId="88510384" sldId="2147483609"/>
            <ac:spMk id="141" creationId="{7F2891EC-DC0D-F5B9-5D94-11D4031C7E41}"/>
          </ac:spMkLst>
        </pc:spChg>
        <pc:spChg chg="mod">
          <ac:chgData name="Nisen, Henrik (BCG Platinion)" userId="23462ed3-8a28-48c0-b94c-224b90eb8d0a" providerId="ADAL" clId="{85BF7E29-B863-8743-821C-9B528FF1FFE4}" dt="2024-04-05T06:40:39.562" v="2797" actId="165"/>
          <ac:spMkLst>
            <pc:docMk/>
            <pc:sldMk cId="88510384" sldId="2147483609"/>
            <ac:spMk id="142" creationId="{2D049AE0-87EC-97D4-D736-9FFE5EF88D64}"/>
          </ac:spMkLst>
        </pc:spChg>
        <pc:spChg chg="mod">
          <ac:chgData name="Nisen, Henrik (BCG Platinion)" userId="23462ed3-8a28-48c0-b94c-224b90eb8d0a" providerId="ADAL" clId="{85BF7E29-B863-8743-821C-9B528FF1FFE4}" dt="2024-04-05T06:40:39.562" v="2797" actId="165"/>
          <ac:spMkLst>
            <pc:docMk/>
            <pc:sldMk cId="88510384" sldId="2147483609"/>
            <ac:spMk id="144" creationId="{E05F0E71-EFBB-9D13-7338-210D6F8319AC}"/>
          </ac:spMkLst>
        </pc:spChg>
        <pc:spChg chg="mod">
          <ac:chgData name="Nisen, Henrik (BCG Platinion)" userId="23462ed3-8a28-48c0-b94c-224b90eb8d0a" providerId="ADAL" clId="{85BF7E29-B863-8743-821C-9B528FF1FFE4}" dt="2024-04-05T06:40:39.562" v="2797" actId="165"/>
          <ac:spMkLst>
            <pc:docMk/>
            <pc:sldMk cId="88510384" sldId="2147483609"/>
            <ac:spMk id="145" creationId="{18D701A7-1D6E-D9F3-3246-4A30047A553A}"/>
          </ac:spMkLst>
        </pc:spChg>
        <pc:spChg chg="mod">
          <ac:chgData name="Nisen, Henrik (BCG Platinion)" userId="23462ed3-8a28-48c0-b94c-224b90eb8d0a" providerId="ADAL" clId="{85BF7E29-B863-8743-821C-9B528FF1FFE4}" dt="2024-04-05T06:40:39.562" v="2797" actId="165"/>
          <ac:spMkLst>
            <pc:docMk/>
            <pc:sldMk cId="88510384" sldId="2147483609"/>
            <ac:spMk id="146" creationId="{180DFA8C-D77A-E0F0-6054-D9D2C5A0A74F}"/>
          </ac:spMkLst>
        </pc:spChg>
        <pc:spChg chg="mod">
          <ac:chgData name="Nisen, Henrik (BCG Platinion)" userId="23462ed3-8a28-48c0-b94c-224b90eb8d0a" providerId="ADAL" clId="{85BF7E29-B863-8743-821C-9B528FF1FFE4}" dt="2024-04-05T06:40:39.562" v="2797" actId="165"/>
          <ac:spMkLst>
            <pc:docMk/>
            <pc:sldMk cId="88510384" sldId="2147483609"/>
            <ac:spMk id="147" creationId="{CDF148BF-5A7B-5175-B660-C3A1AC214D07}"/>
          </ac:spMkLst>
        </pc:spChg>
        <pc:spChg chg="mod">
          <ac:chgData name="Nisen, Henrik (BCG Platinion)" userId="23462ed3-8a28-48c0-b94c-224b90eb8d0a" providerId="ADAL" clId="{85BF7E29-B863-8743-821C-9B528FF1FFE4}" dt="2024-04-05T06:40:39.562" v="2797" actId="165"/>
          <ac:spMkLst>
            <pc:docMk/>
            <pc:sldMk cId="88510384" sldId="2147483609"/>
            <ac:spMk id="148" creationId="{B3BD0F1D-E5E2-4AE3-E86A-570442A1DA2B}"/>
          </ac:spMkLst>
        </pc:spChg>
        <pc:spChg chg="mod">
          <ac:chgData name="Nisen, Henrik (BCG Platinion)" userId="23462ed3-8a28-48c0-b94c-224b90eb8d0a" providerId="ADAL" clId="{85BF7E29-B863-8743-821C-9B528FF1FFE4}" dt="2024-04-05T06:40:39.562" v="2797" actId="165"/>
          <ac:spMkLst>
            <pc:docMk/>
            <pc:sldMk cId="88510384" sldId="2147483609"/>
            <ac:spMk id="149" creationId="{D332CD20-FF73-6853-A490-CE6205E337FF}"/>
          </ac:spMkLst>
        </pc:spChg>
        <pc:spChg chg="del">
          <ac:chgData name="Nisen, Henrik (BCG Platinion)" userId="23462ed3-8a28-48c0-b94c-224b90eb8d0a" providerId="ADAL" clId="{85BF7E29-B863-8743-821C-9B528FF1FFE4}" dt="2024-04-05T06:38:35.207" v="2779" actId="478"/>
          <ac:spMkLst>
            <pc:docMk/>
            <pc:sldMk cId="88510384" sldId="2147483609"/>
            <ac:spMk id="1043" creationId="{027E0443-13EA-255C-1CF7-BB6D6D75D4EE}"/>
          </ac:spMkLst>
        </pc:spChg>
        <pc:spChg chg="mod topLvl">
          <ac:chgData name="Nisen, Henrik (BCG Platinion)" userId="23462ed3-8a28-48c0-b94c-224b90eb8d0a" providerId="ADAL" clId="{85BF7E29-B863-8743-821C-9B528FF1FFE4}" dt="2024-04-05T06:46:03.398" v="3113" actId="404"/>
          <ac:spMkLst>
            <pc:docMk/>
            <pc:sldMk cId="88510384" sldId="2147483609"/>
            <ac:spMk id="1044" creationId="{38FDD428-3AEE-F1CC-75C4-4B788BE63906}"/>
          </ac:spMkLst>
        </pc:spChg>
        <pc:spChg chg="mod topLvl">
          <ac:chgData name="Nisen, Henrik (BCG Platinion)" userId="23462ed3-8a28-48c0-b94c-224b90eb8d0a" providerId="ADAL" clId="{85BF7E29-B863-8743-821C-9B528FF1FFE4}" dt="2024-04-05T06:46:00.255" v="3112" actId="404"/>
          <ac:spMkLst>
            <pc:docMk/>
            <pc:sldMk cId="88510384" sldId="2147483609"/>
            <ac:spMk id="1045" creationId="{7834CF9E-7938-9578-37E5-90D562635B74}"/>
          </ac:spMkLst>
        </pc:spChg>
        <pc:spChg chg="mod topLvl">
          <ac:chgData name="Nisen, Henrik (BCG Platinion)" userId="23462ed3-8a28-48c0-b94c-224b90eb8d0a" providerId="ADAL" clId="{85BF7E29-B863-8743-821C-9B528FF1FFE4}" dt="2024-04-05T06:42:10.596" v="2979" actId="1038"/>
          <ac:spMkLst>
            <pc:docMk/>
            <pc:sldMk cId="88510384" sldId="2147483609"/>
            <ac:spMk id="1046" creationId="{A93C1470-51B1-9436-6A03-DB9112B240E4}"/>
          </ac:spMkLst>
        </pc:spChg>
        <pc:spChg chg="mod topLvl">
          <ac:chgData name="Nisen, Henrik (BCG Platinion)" userId="23462ed3-8a28-48c0-b94c-224b90eb8d0a" providerId="ADAL" clId="{85BF7E29-B863-8743-821C-9B528FF1FFE4}" dt="2024-04-05T06:42:10.596" v="2979" actId="1038"/>
          <ac:spMkLst>
            <pc:docMk/>
            <pc:sldMk cId="88510384" sldId="2147483609"/>
            <ac:spMk id="1047" creationId="{CA7FD7C0-7B61-14BD-9951-A22F2D873991}"/>
          </ac:spMkLst>
        </pc:spChg>
        <pc:spChg chg="mod topLvl">
          <ac:chgData name="Nisen, Henrik (BCG Platinion)" userId="23462ed3-8a28-48c0-b94c-224b90eb8d0a" providerId="ADAL" clId="{85BF7E29-B863-8743-821C-9B528FF1FFE4}" dt="2024-04-05T06:42:10.596" v="2979" actId="1038"/>
          <ac:spMkLst>
            <pc:docMk/>
            <pc:sldMk cId="88510384" sldId="2147483609"/>
            <ac:spMk id="1048" creationId="{09F79E9D-5356-4194-71DF-2C593BC4544C}"/>
          </ac:spMkLst>
        </pc:spChg>
        <pc:spChg chg="mod topLvl">
          <ac:chgData name="Nisen, Henrik (BCG Platinion)" userId="23462ed3-8a28-48c0-b94c-224b90eb8d0a" providerId="ADAL" clId="{85BF7E29-B863-8743-821C-9B528FF1FFE4}" dt="2024-04-05T06:42:10.596" v="2979" actId="1038"/>
          <ac:spMkLst>
            <pc:docMk/>
            <pc:sldMk cId="88510384" sldId="2147483609"/>
            <ac:spMk id="1049" creationId="{F32CE3C8-6EF1-FB3A-1C8D-827D094D9582}"/>
          </ac:spMkLst>
        </pc:spChg>
        <pc:spChg chg="mod topLvl">
          <ac:chgData name="Nisen, Henrik (BCG Platinion)" userId="23462ed3-8a28-48c0-b94c-224b90eb8d0a" providerId="ADAL" clId="{85BF7E29-B863-8743-821C-9B528FF1FFE4}" dt="2024-04-05T06:45:54.229" v="3110" actId="404"/>
          <ac:spMkLst>
            <pc:docMk/>
            <pc:sldMk cId="88510384" sldId="2147483609"/>
            <ac:spMk id="1050" creationId="{43729751-4A47-E5DB-8ED9-093DA6A8C5D2}"/>
          </ac:spMkLst>
        </pc:spChg>
        <pc:spChg chg="mod topLvl">
          <ac:chgData name="Nisen, Henrik (BCG Platinion)" userId="23462ed3-8a28-48c0-b94c-224b90eb8d0a" providerId="ADAL" clId="{85BF7E29-B863-8743-821C-9B528FF1FFE4}" dt="2024-04-05T06:45:56.619" v="3111" actId="404"/>
          <ac:spMkLst>
            <pc:docMk/>
            <pc:sldMk cId="88510384" sldId="2147483609"/>
            <ac:spMk id="1051" creationId="{2A86486B-95A4-435D-9079-859EDB48944E}"/>
          </ac:spMkLst>
        </pc:spChg>
        <pc:spChg chg="mod topLvl">
          <ac:chgData name="Nisen, Henrik (BCG Platinion)" userId="23462ed3-8a28-48c0-b94c-224b90eb8d0a" providerId="ADAL" clId="{85BF7E29-B863-8743-821C-9B528FF1FFE4}" dt="2024-04-05T06:45:51.871" v="3109" actId="404"/>
          <ac:spMkLst>
            <pc:docMk/>
            <pc:sldMk cId="88510384" sldId="2147483609"/>
            <ac:spMk id="1052" creationId="{48EDFD6A-AA04-E229-84D4-C3E5708356CC}"/>
          </ac:spMkLst>
        </pc:spChg>
        <pc:spChg chg="mod topLvl">
          <ac:chgData name="Nisen, Henrik (BCG Platinion)" userId="23462ed3-8a28-48c0-b94c-224b90eb8d0a" providerId="ADAL" clId="{85BF7E29-B863-8743-821C-9B528FF1FFE4}" dt="2024-04-05T06:42:10.596" v="2979" actId="1038"/>
          <ac:spMkLst>
            <pc:docMk/>
            <pc:sldMk cId="88510384" sldId="2147483609"/>
            <ac:spMk id="1053" creationId="{B27AD876-986C-3B23-9620-F08349FED248}"/>
          </ac:spMkLst>
        </pc:spChg>
        <pc:spChg chg="mod">
          <ac:chgData name="Nisen, Henrik (BCG Platinion)" userId="23462ed3-8a28-48c0-b94c-224b90eb8d0a" providerId="ADAL" clId="{85BF7E29-B863-8743-821C-9B528FF1FFE4}" dt="2024-04-05T06:42:46.203" v="3048" actId="1076"/>
          <ac:spMkLst>
            <pc:docMk/>
            <pc:sldMk cId="88510384" sldId="2147483609"/>
            <ac:spMk id="1077" creationId="{E4158BB1-9CA7-0684-1C01-80D943AE767D}"/>
          </ac:spMkLst>
        </pc:spChg>
        <pc:grpChg chg="del">
          <ac:chgData name="Nisen, Henrik (BCG Platinion)" userId="23462ed3-8a28-48c0-b94c-224b90eb8d0a" providerId="ADAL" clId="{85BF7E29-B863-8743-821C-9B528FF1FFE4}" dt="2024-04-05T06:38:51.839" v="2781" actId="478"/>
          <ac:grpSpMkLst>
            <pc:docMk/>
            <pc:sldMk cId="88510384" sldId="2147483609"/>
            <ac:grpSpMk id="32" creationId="{CCC24654-BE88-4178-C6EB-0CEE12E85008}"/>
          </ac:grpSpMkLst>
        </pc:grpChg>
        <pc:grpChg chg="del">
          <ac:chgData name="Nisen, Henrik (BCG Platinion)" userId="23462ed3-8a28-48c0-b94c-224b90eb8d0a" providerId="ADAL" clId="{85BF7E29-B863-8743-821C-9B528FF1FFE4}" dt="2024-04-05T06:38:51.839" v="2781" actId="478"/>
          <ac:grpSpMkLst>
            <pc:docMk/>
            <pc:sldMk cId="88510384" sldId="2147483609"/>
            <ac:grpSpMk id="33" creationId="{9523D5D4-C8F2-E76C-089D-D52CD41DFE7F}"/>
          </ac:grpSpMkLst>
        </pc:grpChg>
        <pc:grpChg chg="del">
          <ac:chgData name="Nisen, Henrik (BCG Platinion)" userId="23462ed3-8a28-48c0-b94c-224b90eb8d0a" providerId="ADAL" clId="{85BF7E29-B863-8743-821C-9B528FF1FFE4}" dt="2024-04-05T06:39:21.353" v="2785" actId="478"/>
          <ac:grpSpMkLst>
            <pc:docMk/>
            <pc:sldMk cId="88510384" sldId="2147483609"/>
            <ac:grpSpMk id="34" creationId="{9FF788E6-5387-A2A8-0E57-012AFCD95939}"/>
          </ac:grpSpMkLst>
        </pc:grpChg>
        <pc:grpChg chg="del">
          <ac:chgData name="Nisen, Henrik (BCG Platinion)" userId="23462ed3-8a28-48c0-b94c-224b90eb8d0a" providerId="ADAL" clId="{85BF7E29-B863-8743-821C-9B528FF1FFE4}" dt="2024-04-05T06:38:51.839" v="2781" actId="478"/>
          <ac:grpSpMkLst>
            <pc:docMk/>
            <pc:sldMk cId="88510384" sldId="2147483609"/>
            <ac:grpSpMk id="35" creationId="{965CC3FD-DC19-5828-48E9-CD49A0412E5E}"/>
          </ac:grpSpMkLst>
        </pc:grpChg>
        <pc:grpChg chg="del">
          <ac:chgData name="Nisen, Henrik (BCG Platinion)" userId="23462ed3-8a28-48c0-b94c-224b90eb8d0a" providerId="ADAL" clId="{85BF7E29-B863-8743-821C-9B528FF1FFE4}" dt="2024-04-05T06:38:51.839" v="2781" actId="478"/>
          <ac:grpSpMkLst>
            <pc:docMk/>
            <pc:sldMk cId="88510384" sldId="2147483609"/>
            <ac:grpSpMk id="38" creationId="{9C037C8D-518F-52AC-0E04-9E4BCCDB466D}"/>
          </ac:grpSpMkLst>
        </pc:grpChg>
        <pc:grpChg chg="del">
          <ac:chgData name="Nisen, Henrik (BCG Platinion)" userId="23462ed3-8a28-48c0-b94c-224b90eb8d0a" providerId="ADAL" clId="{85BF7E29-B863-8743-821C-9B528FF1FFE4}" dt="2024-04-05T06:38:51.839" v="2781" actId="478"/>
          <ac:grpSpMkLst>
            <pc:docMk/>
            <pc:sldMk cId="88510384" sldId="2147483609"/>
            <ac:grpSpMk id="42" creationId="{644CEEC1-D29F-B425-E6DE-0FF5304F603E}"/>
          </ac:grpSpMkLst>
        </pc:grpChg>
        <pc:grpChg chg="add del mod">
          <ac:chgData name="Nisen, Henrik (BCG Platinion)" userId="23462ed3-8a28-48c0-b94c-224b90eb8d0a" providerId="ADAL" clId="{85BF7E29-B863-8743-821C-9B528FF1FFE4}" dt="2024-04-05T06:38:57.193" v="2783" actId="478"/>
          <ac:grpSpMkLst>
            <pc:docMk/>
            <pc:sldMk cId="88510384" sldId="2147483609"/>
            <ac:grpSpMk id="99" creationId="{CF7D30E6-12F2-D988-2189-BB8BD5891F16}"/>
          </ac:grpSpMkLst>
        </pc:grpChg>
        <pc:grpChg chg="mod">
          <ac:chgData name="Nisen, Henrik (BCG Platinion)" userId="23462ed3-8a28-48c0-b94c-224b90eb8d0a" providerId="ADAL" clId="{85BF7E29-B863-8743-821C-9B528FF1FFE4}" dt="2024-04-05T06:40:39.562" v="2797" actId="165"/>
          <ac:grpSpMkLst>
            <pc:docMk/>
            <pc:sldMk cId="88510384" sldId="2147483609"/>
            <ac:grpSpMk id="137" creationId="{76B316A7-3AE0-0110-EADF-DC0DF5DDB399}"/>
          </ac:grpSpMkLst>
        </pc:grpChg>
        <pc:grpChg chg="mod">
          <ac:chgData name="Nisen, Henrik (BCG Platinion)" userId="23462ed3-8a28-48c0-b94c-224b90eb8d0a" providerId="ADAL" clId="{85BF7E29-B863-8743-821C-9B528FF1FFE4}" dt="2024-04-05T06:40:39.562" v="2797" actId="165"/>
          <ac:grpSpMkLst>
            <pc:docMk/>
            <pc:sldMk cId="88510384" sldId="2147483609"/>
            <ac:grpSpMk id="143" creationId="{A45A45B1-0104-5285-09A4-075E19CB064A}"/>
          </ac:grpSpMkLst>
        </pc:grpChg>
        <pc:grpChg chg="add del mod">
          <ac:chgData name="Nisen, Henrik (BCG Platinion)" userId="23462ed3-8a28-48c0-b94c-224b90eb8d0a" providerId="ADAL" clId="{85BF7E29-B863-8743-821C-9B528FF1FFE4}" dt="2024-04-05T06:40:39.562" v="2797" actId="165"/>
          <ac:grpSpMkLst>
            <pc:docMk/>
            <pc:sldMk cId="88510384" sldId="2147483609"/>
            <ac:grpSpMk id="1036" creationId="{03591364-2F91-E5B6-7142-2672032A8F8F}"/>
          </ac:grpSpMkLst>
        </pc:grpChg>
        <pc:grpChg chg="mod topLvl">
          <ac:chgData name="Nisen, Henrik (BCG Platinion)" userId="23462ed3-8a28-48c0-b94c-224b90eb8d0a" providerId="ADAL" clId="{85BF7E29-B863-8743-821C-9B528FF1FFE4}" dt="2024-04-05T06:40:39.562" v="2797" actId="165"/>
          <ac:grpSpMkLst>
            <pc:docMk/>
            <pc:sldMk cId="88510384" sldId="2147483609"/>
            <ac:grpSpMk id="1042" creationId="{7F308072-347A-9295-9544-433EF484AA1C}"/>
          </ac:grpSpMkLst>
        </pc:grpChg>
        <pc:grpChg chg="mod topLvl">
          <ac:chgData name="Nisen, Henrik (BCG Platinion)" userId="23462ed3-8a28-48c0-b94c-224b90eb8d0a" providerId="ADAL" clId="{85BF7E29-B863-8743-821C-9B528FF1FFE4}" dt="2024-04-05T06:42:54.590" v="3074" actId="1037"/>
          <ac:grpSpMkLst>
            <pc:docMk/>
            <pc:sldMk cId="88510384" sldId="2147483609"/>
            <ac:grpSpMk id="1071" creationId="{7A44D71A-626E-DEDD-C91C-B085112C9116}"/>
          </ac:grpSpMkLst>
        </pc:grpChg>
        <pc:graphicFrameChg chg="add mod">
          <ac:chgData name="Nisen, Henrik (BCG Platinion)" userId="23462ed3-8a28-48c0-b94c-224b90eb8d0a" providerId="ADAL" clId="{85BF7E29-B863-8743-821C-9B528FF1FFE4}" dt="2024-04-05T06:38:35.581" v="2780"/>
          <ac:graphicFrameMkLst>
            <pc:docMk/>
            <pc:sldMk cId="88510384" sldId="2147483609"/>
            <ac:graphicFrameMk id="5" creationId="{04150007-E57E-90F4-ACA7-9561882A570C}"/>
          </ac:graphicFrameMkLst>
        </pc:graphicFrameChg>
        <pc:graphicFrameChg chg="add mod">
          <ac:chgData name="Nisen, Henrik (BCG Platinion)" userId="23462ed3-8a28-48c0-b94c-224b90eb8d0a" providerId="ADAL" clId="{85BF7E29-B863-8743-821C-9B528FF1FFE4}" dt="2024-04-05T06:38:35.581" v="2780"/>
          <ac:graphicFrameMkLst>
            <pc:docMk/>
            <pc:sldMk cId="88510384" sldId="2147483609"/>
            <ac:graphicFrameMk id="6" creationId="{93A21871-2B48-7F22-72DD-EE3DE1C5D67C}"/>
          </ac:graphicFrameMkLst>
        </pc:graphicFrameChg>
        <pc:graphicFrameChg chg="del">
          <ac:chgData name="Nisen, Henrik (BCG Platinion)" userId="23462ed3-8a28-48c0-b94c-224b90eb8d0a" providerId="ADAL" clId="{85BF7E29-B863-8743-821C-9B528FF1FFE4}" dt="2024-04-05T06:38:35.207" v="2779" actId="478"/>
          <ac:graphicFrameMkLst>
            <pc:docMk/>
            <pc:sldMk cId="88510384" sldId="2147483609"/>
            <ac:graphicFrameMk id="178" creationId="{719D8709-A3FB-C055-67F6-19E57CF7D621}"/>
          </ac:graphicFrameMkLst>
        </pc:graphicFrameChg>
        <pc:graphicFrameChg chg="del">
          <ac:chgData name="Nisen, Henrik (BCG Platinion)" userId="23462ed3-8a28-48c0-b94c-224b90eb8d0a" providerId="ADAL" clId="{85BF7E29-B863-8743-821C-9B528FF1FFE4}" dt="2024-04-05T06:38:35.207" v="2779" actId="478"/>
          <ac:graphicFrameMkLst>
            <pc:docMk/>
            <pc:sldMk cId="88510384" sldId="2147483609"/>
            <ac:graphicFrameMk id="179" creationId="{5BA53256-74D9-DB68-61EC-6D0389AD5255}"/>
          </ac:graphicFrameMkLst>
        </pc:graphicFrameChg>
        <pc:picChg chg="add mod">
          <ac:chgData name="Nisen, Henrik (BCG Platinion)" userId="23462ed3-8a28-48c0-b94c-224b90eb8d0a" providerId="ADAL" clId="{85BF7E29-B863-8743-821C-9B528FF1FFE4}" dt="2024-04-05T06:38:35.581" v="2780"/>
          <ac:picMkLst>
            <pc:docMk/>
            <pc:sldMk cId="88510384" sldId="2147483609"/>
            <ac:picMk id="7" creationId="{C5E2345B-0D97-F95A-D0F0-5C320534BDEA}"/>
          </ac:picMkLst>
        </pc:picChg>
        <pc:picChg chg="add mod">
          <ac:chgData name="Nisen, Henrik (BCG Platinion)" userId="23462ed3-8a28-48c0-b94c-224b90eb8d0a" providerId="ADAL" clId="{85BF7E29-B863-8743-821C-9B528FF1FFE4}" dt="2024-04-05T06:38:35.581" v="2780"/>
          <ac:picMkLst>
            <pc:docMk/>
            <pc:sldMk cId="88510384" sldId="2147483609"/>
            <ac:picMk id="8" creationId="{57FEE0CF-B670-2916-BECB-1F21C893FDE0}"/>
          </ac:picMkLst>
        </pc:picChg>
        <pc:picChg chg="add mod">
          <ac:chgData name="Nisen, Henrik (BCG Platinion)" userId="23462ed3-8a28-48c0-b94c-224b90eb8d0a" providerId="ADAL" clId="{85BF7E29-B863-8743-821C-9B528FF1FFE4}" dt="2024-04-05T06:38:35.581" v="2780"/>
          <ac:picMkLst>
            <pc:docMk/>
            <pc:sldMk cId="88510384" sldId="2147483609"/>
            <ac:picMk id="9" creationId="{76C36556-768C-9E47-9CBF-6C73483AFAC0}"/>
          </ac:picMkLst>
        </pc:picChg>
        <pc:picChg chg="add mod">
          <ac:chgData name="Nisen, Henrik (BCG Platinion)" userId="23462ed3-8a28-48c0-b94c-224b90eb8d0a" providerId="ADAL" clId="{85BF7E29-B863-8743-821C-9B528FF1FFE4}" dt="2024-04-05T06:38:35.581" v="2780"/>
          <ac:picMkLst>
            <pc:docMk/>
            <pc:sldMk cId="88510384" sldId="2147483609"/>
            <ac:picMk id="11" creationId="{6FF1DDAD-4C20-1340-0EF6-0CDB68B5B73A}"/>
          </ac:picMkLst>
        </pc:picChg>
        <pc:picChg chg="add mod">
          <ac:chgData name="Nisen, Henrik (BCG Platinion)" userId="23462ed3-8a28-48c0-b94c-224b90eb8d0a" providerId="ADAL" clId="{85BF7E29-B863-8743-821C-9B528FF1FFE4}" dt="2024-04-05T06:38:35.581" v="2780"/>
          <ac:picMkLst>
            <pc:docMk/>
            <pc:sldMk cId="88510384" sldId="2147483609"/>
            <ac:picMk id="13" creationId="{F2D800D5-4E63-DD4B-2E52-44C3252F530B}"/>
          </ac:picMkLst>
        </pc:picChg>
        <pc:picChg chg="add mod">
          <ac:chgData name="Nisen, Henrik (BCG Platinion)" userId="23462ed3-8a28-48c0-b94c-224b90eb8d0a" providerId="ADAL" clId="{85BF7E29-B863-8743-821C-9B528FF1FFE4}" dt="2024-04-05T06:38:35.581" v="2780"/>
          <ac:picMkLst>
            <pc:docMk/>
            <pc:sldMk cId="88510384" sldId="2147483609"/>
            <ac:picMk id="15" creationId="{93A81004-8803-5E80-3508-CEB4830FDEA7}"/>
          </ac:picMkLst>
        </pc:picChg>
        <pc:picChg chg="add mod">
          <ac:chgData name="Nisen, Henrik (BCG Platinion)" userId="23462ed3-8a28-48c0-b94c-224b90eb8d0a" providerId="ADAL" clId="{85BF7E29-B863-8743-821C-9B528FF1FFE4}" dt="2024-04-05T06:38:35.581" v="2780"/>
          <ac:picMkLst>
            <pc:docMk/>
            <pc:sldMk cId="88510384" sldId="2147483609"/>
            <ac:picMk id="16" creationId="{0064F07E-4956-01F6-1073-51B6133F8A72}"/>
          </ac:picMkLst>
        </pc:picChg>
        <pc:picChg chg="add mod">
          <ac:chgData name="Nisen, Henrik (BCG Platinion)" userId="23462ed3-8a28-48c0-b94c-224b90eb8d0a" providerId="ADAL" clId="{85BF7E29-B863-8743-821C-9B528FF1FFE4}" dt="2024-04-05T06:38:35.581" v="2780"/>
          <ac:picMkLst>
            <pc:docMk/>
            <pc:sldMk cId="88510384" sldId="2147483609"/>
            <ac:picMk id="17" creationId="{E0BD0E26-FA53-CC50-890A-63CA1BF56A76}"/>
          </ac:picMkLst>
        </pc:picChg>
        <pc:picChg chg="add mod">
          <ac:chgData name="Nisen, Henrik (BCG Platinion)" userId="23462ed3-8a28-48c0-b94c-224b90eb8d0a" providerId="ADAL" clId="{85BF7E29-B863-8743-821C-9B528FF1FFE4}" dt="2024-04-05T06:38:35.581" v="2780"/>
          <ac:picMkLst>
            <pc:docMk/>
            <pc:sldMk cId="88510384" sldId="2147483609"/>
            <ac:picMk id="18" creationId="{7CD446DB-EF56-1FF7-E7CA-116155A49B28}"/>
          </ac:picMkLst>
        </pc:picChg>
        <pc:picChg chg="add mod">
          <ac:chgData name="Nisen, Henrik (BCG Platinion)" userId="23462ed3-8a28-48c0-b94c-224b90eb8d0a" providerId="ADAL" clId="{85BF7E29-B863-8743-821C-9B528FF1FFE4}" dt="2024-04-05T06:38:35.581" v="2780"/>
          <ac:picMkLst>
            <pc:docMk/>
            <pc:sldMk cId="88510384" sldId="2147483609"/>
            <ac:picMk id="43" creationId="{3FFD8665-B2DF-4AF3-6E8D-52E84129CD0C}"/>
          </ac:picMkLst>
        </pc:picChg>
        <pc:picChg chg="add mod">
          <ac:chgData name="Nisen, Henrik (BCG Platinion)" userId="23462ed3-8a28-48c0-b94c-224b90eb8d0a" providerId="ADAL" clId="{85BF7E29-B863-8743-821C-9B528FF1FFE4}" dt="2024-04-05T06:38:35.581" v="2780"/>
          <ac:picMkLst>
            <pc:docMk/>
            <pc:sldMk cId="88510384" sldId="2147483609"/>
            <ac:picMk id="45" creationId="{52C00C2C-7595-BACE-443A-9ECE4674B6C5}"/>
          </ac:picMkLst>
        </pc:picChg>
        <pc:picChg chg="add mod">
          <ac:chgData name="Nisen, Henrik (BCG Platinion)" userId="23462ed3-8a28-48c0-b94c-224b90eb8d0a" providerId="ADAL" clId="{85BF7E29-B863-8743-821C-9B528FF1FFE4}" dt="2024-04-05T06:38:35.581" v="2780"/>
          <ac:picMkLst>
            <pc:docMk/>
            <pc:sldMk cId="88510384" sldId="2147483609"/>
            <ac:picMk id="46" creationId="{EB4BE99F-9293-A053-00CF-DBA6392C7B6C}"/>
          </ac:picMkLst>
        </pc:picChg>
        <pc:picChg chg="add mod">
          <ac:chgData name="Nisen, Henrik (BCG Platinion)" userId="23462ed3-8a28-48c0-b94c-224b90eb8d0a" providerId="ADAL" clId="{85BF7E29-B863-8743-821C-9B528FF1FFE4}" dt="2024-04-05T06:38:35.581" v="2780"/>
          <ac:picMkLst>
            <pc:docMk/>
            <pc:sldMk cId="88510384" sldId="2147483609"/>
            <ac:picMk id="47" creationId="{445EC663-9CCE-7988-A0B8-819E659844B7}"/>
          </ac:picMkLst>
        </pc:picChg>
        <pc:picChg chg="add mod">
          <ac:chgData name="Nisen, Henrik (BCG Platinion)" userId="23462ed3-8a28-48c0-b94c-224b90eb8d0a" providerId="ADAL" clId="{85BF7E29-B863-8743-821C-9B528FF1FFE4}" dt="2024-04-05T06:38:35.581" v="2780"/>
          <ac:picMkLst>
            <pc:docMk/>
            <pc:sldMk cId="88510384" sldId="2147483609"/>
            <ac:picMk id="48" creationId="{7A2F9793-A87B-9465-AFFD-B247101C318B}"/>
          </ac:picMkLst>
        </pc:picChg>
        <pc:picChg chg="add mod">
          <ac:chgData name="Nisen, Henrik (BCG Platinion)" userId="23462ed3-8a28-48c0-b94c-224b90eb8d0a" providerId="ADAL" clId="{85BF7E29-B863-8743-821C-9B528FF1FFE4}" dt="2024-04-05T06:38:35.581" v="2780"/>
          <ac:picMkLst>
            <pc:docMk/>
            <pc:sldMk cId="88510384" sldId="2147483609"/>
            <ac:picMk id="49" creationId="{12C71968-9226-3A06-DE2A-A4943B4A459C}"/>
          </ac:picMkLst>
        </pc:picChg>
        <pc:picChg chg="add mod">
          <ac:chgData name="Nisen, Henrik (BCG Platinion)" userId="23462ed3-8a28-48c0-b94c-224b90eb8d0a" providerId="ADAL" clId="{85BF7E29-B863-8743-821C-9B528FF1FFE4}" dt="2024-04-05T06:38:35.581" v="2780"/>
          <ac:picMkLst>
            <pc:docMk/>
            <pc:sldMk cId="88510384" sldId="2147483609"/>
            <ac:picMk id="50" creationId="{A0A2097F-3A29-CF38-9807-B0D8BD688562}"/>
          </ac:picMkLst>
        </pc:picChg>
        <pc:picChg chg="add mod">
          <ac:chgData name="Nisen, Henrik (BCG Platinion)" userId="23462ed3-8a28-48c0-b94c-224b90eb8d0a" providerId="ADAL" clId="{85BF7E29-B863-8743-821C-9B528FF1FFE4}" dt="2024-04-05T06:38:35.581" v="2780"/>
          <ac:picMkLst>
            <pc:docMk/>
            <pc:sldMk cId="88510384" sldId="2147483609"/>
            <ac:picMk id="51" creationId="{E9FD7ECC-520C-9557-E8AF-9C8B46E2009E}"/>
          </ac:picMkLst>
        </pc:picChg>
        <pc:picChg chg="add mod">
          <ac:chgData name="Nisen, Henrik (BCG Platinion)" userId="23462ed3-8a28-48c0-b94c-224b90eb8d0a" providerId="ADAL" clId="{85BF7E29-B863-8743-821C-9B528FF1FFE4}" dt="2024-04-05T06:38:35.581" v="2780"/>
          <ac:picMkLst>
            <pc:docMk/>
            <pc:sldMk cId="88510384" sldId="2147483609"/>
            <ac:picMk id="52" creationId="{1B8C38D5-11A6-D780-E38D-647E00F1BC7C}"/>
          </ac:picMkLst>
        </pc:picChg>
        <pc:picChg chg="add mod">
          <ac:chgData name="Nisen, Henrik (BCG Platinion)" userId="23462ed3-8a28-48c0-b94c-224b90eb8d0a" providerId="ADAL" clId="{85BF7E29-B863-8743-821C-9B528FF1FFE4}" dt="2024-04-05T06:38:35.581" v="2780"/>
          <ac:picMkLst>
            <pc:docMk/>
            <pc:sldMk cId="88510384" sldId="2147483609"/>
            <ac:picMk id="53" creationId="{1E131167-D868-D695-080A-01E09B3696EE}"/>
          </ac:picMkLst>
        </pc:picChg>
        <pc:picChg chg="add mod">
          <ac:chgData name="Nisen, Henrik (BCG Platinion)" userId="23462ed3-8a28-48c0-b94c-224b90eb8d0a" providerId="ADAL" clId="{85BF7E29-B863-8743-821C-9B528FF1FFE4}" dt="2024-04-05T06:38:35.581" v="2780"/>
          <ac:picMkLst>
            <pc:docMk/>
            <pc:sldMk cId="88510384" sldId="2147483609"/>
            <ac:picMk id="54" creationId="{B63D49D2-5C21-5888-BBF5-F447B47E2B5C}"/>
          </ac:picMkLst>
        </pc:picChg>
        <pc:picChg chg="add mod">
          <ac:chgData name="Nisen, Henrik (BCG Platinion)" userId="23462ed3-8a28-48c0-b94c-224b90eb8d0a" providerId="ADAL" clId="{85BF7E29-B863-8743-821C-9B528FF1FFE4}" dt="2024-04-05T06:38:35.581" v="2780"/>
          <ac:picMkLst>
            <pc:docMk/>
            <pc:sldMk cId="88510384" sldId="2147483609"/>
            <ac:picMk id="56" creationId="{301BC1C9-116E-C885-E70B-6E88F18BCF41}"/>
          </ac:picMkLst>
        </pc:picChg>
        <pc:picChg chg="add mod">
          <ac:chgData name="Nisen, Henrik (BCG Platinion)" userId="23462ed3-8a28-48c0-b94c-224b90eb8d0a" providerId="ADAL" clId="{85BF7E29-B863-8743-821C-9B528FF1FFE4}" dt="2024-04-05T06:38:35.581" v="2780"/>
          <ac:picMkLst>
            <pc:docMk/>
            <pc:sldMk cId="88510384" sldId="2147483609"/>
            <ac:picMk id="57" creationId="{700D66FB-D187-BC10-27C8-8679B37365BE}"/>
          </ac:picMkLst>
        </pc:picChg>
        <pc:picChg chg="add mod">
          <ac:chgData name="Nisen, Henrik (BCG Platinion)" userId="23462ed3-8a28-48c0-b94c-224b90eb8d0a" providerId="ADAL" clId="{85BF7E29-B863-8743-821C-9B528FF1FFE4}" dt="2024-04-05T06:38:35.581" v="2780"/>
          <ac:picMkLst>
            <pc:docMk/>
            <pc:sldMk cId="88510384" sldId="2147483609"/>
            <ac:picMk id="58" creationId="{4A6578E5-3098-B21D-DF4D-725D5BE65FD2}"/>
          </ac:picMkLst>
        </pc:picChg>
        <pc:picChg chg="add mod">
          <ac:chgData name="Nisen, Henrik (BCG Platinion)" userId="23462ed3-8a28-48c0-b94c-224b90eb8d0a" providerId="ADAL" clId="{85BF7E29-B863-8743-821C-9B528FF1FFE4}" dt="2024-04-05T06:38:35.581" v="2780"/>
          <ac:picMkLst>
            <pc:docMk/>
            <pc:sldMk cId="88510384" sldId="2147483609"/>
            <ac:picMk id="59" creationId="{0EFFB5FD-199E-1B7C-F392-7693715C00AE}"/>
          </ac:picMkLst>
        </pc:picChg>
        <pc:picChg chg="add mod">
          <ac:chgData name="Nisen, Henrik (BCG Platinion)" userId="23462ed3-8a28-48c0-b94c-224b90eb8d0a" providerId="ADAL" clId="{85BF7E29-B863-8743-821C-9B528FF1FFE4}" dt="2024-04-05T06:38:35.581" v="2780"/>
          <ac:picMkLst>
            <pc:docMk/>
            <pc:sldMk cId="88510384" sldId="2147483609"/>
            <ac:picMk id="66" creationId="{AA89573E-6EF9-CDD5-17ED-B691EB4F6DC8}"/>
          </ac:picMkLst>
        </pc:picChg>
        <pc:picChg chg="add mod">
          <ac:chgData name="Nisen, Henrik (BCG Platinion)" userId="23462ed3-8a28-48c0-b94c-224b90eb8d0a" providerId="ADAL" clId="{85BF7E29-B863-8743-821C-9B528FF1FFE4}" dt="2024-04-05T06:38:35.581" v="2780"/>
          <ac:picMkLst>
            <pc:docMk/>
            <pc:sldMk cId="88510384" sldId="2147483609"/>
            <ac:picMk id="67" creationId="{803120A2-B9E6-1314-12DA-10F2FB123BC7}"/>
          </ac:picMkLst>
        </pc:picChg>
        <pc:picChg chg="add mod">
          <ac:chgData name="Nisen, Henrik (BCG Platinion)" userId="23462ed3-8a28-48c0-b94c-224b90eb8d0a" providerId="ADAL" clId="{85BF7E29-B863-8743-821C-9B528FF1FFE4}" dt="2024-04-05T06:38:35.581" v="2780"/>
          <ac:picMkLst>
            <pc:docMk/>
            <pc:sldMk cId="88510384" sldId="2147483609"/>
            <ac:picMk id="68" creationId="{AEEF4D03-448C-4F91-EB07-F7E0BD051DA1}"/>
          </ac:picMkLst>
        </pc:picChg>
        <pc:picChg chg="add mod">
          <ac:chgData name="Nisen, Henrik (BCG Platinion)" userId="23462ed3-8a28-48c0-b94c-224b90eb8d0a" providerId="ADAL" clId="{85BF7E29-B863-8743-821C-9B528FF1FFE4}" dt="2024-04-05T06:38:35.581" v="2780"/>
          <ac:picMkLst>
            <pc:docMk/>
            <pc:sldMk cId="88510384" sldId="2147483609"/>
            <ac:picMk id="69" creationId="{BD3AD283-A86F-5838-29B4-82372A109731}"/>
          </ac:picMkLst>
        </pc:picChg>
        <pc:picChg chg="add del mod">
          <ac:chgData name="Nisen, Henrik (BCG Platinion)" userId="23462ed3-8a28-48c0-b94c-224b90eb8d0a" providerId="ADAL" clId="{85BF7E29-B863-8743-821C-9B528FF1FFE4}" dt="2024-04-05T06:38:57.193" v="2783" actId="478"/>
          <ac:picMkLst>
            <pc:docMk/>
            <pc:sldMk cId="88510384" sldId="2147483609"/>
            <ac:picMk id="82" creationId="{BC5C26D7-7D9F-3648-EF65-07FDA12851CA}"/>
          </ac:picMkLst>
        </pc:picChg>
        <pc:picChg chg="add del mod">
          <ac:chgData name="Nisen, Henrik (BCG Platinion)" userId="23462ed3-8a28-48c0-b94c-224b90eb8d0a" providerId="ADAL" clId="{85BF7E29-B863-8743-821C-9B528FF1FFE4}" dt="2024-04-05T06:38:57.193" v="2783" actId="478"/>
          <ac:picMkLst>
            <pc:docMk/>
            <pc:sldMk cId="88510384" sldId="2147483609"/>
            <ac:picMk id="83" creationId="{D2B1A452-8ED9-0E15-7CC1-955BA42268EB}"/>
          </ac:picMkLst>
        </pc:picChg>
        <pc:picChg chg="add del mod">
          <ac:chgData name="Nisen, Henrik (BCG Platinion)" userId="23462ed3-8a28-48c0-b94c-224b90eb8d0a" providerId="ADAL" clId="{85BF7E29-B863-8743-821C-9B528FF1FFE4}" dt="2024-04-05T06:38:57.193" v="2783" actId="478"/>
          <ac:picMkLst>
            <pc:docMk/>
            <pc:sldMk cId="88510384" sldId="2147483609"/>
            <ac:picMk id="84" creationId="{8F11A731-1273-DE54-A794-FDE35B29279E}"/>
          </ac:picMkLst>
        </pc:picChg>
        <pc:picChg chg="add del mod">
          <ac:chgData name="Nisen, Henrik (BCG Platinion)" userId="23462ed3-8a28-48c0-b94c-224b90eb8d0a" providerId="ADAL" clId="{85BF7E29-B863-8743-821C-9B528FF1FFE4}" dt="2024-04-05T06:38:57.193" v="2783" actId="478"/>
          <ac:picMkLst>
            <pc:docMk/>
            <pc:sldMk cId="88510384" sldId="2147483609"/>
            <ac:picMk id="85" creationId="{47CA18F0-96F2-D39B-9E85-B4507C0CA537}"/>
          </ac:picMkLst>
        </pc:picChg>
        <pc:picChg chg="add del mod">
          <ac:chgData name="Nisen, Henrik (BCG Platinion)" userId="23462ed3-8a28-48c0-b94c-224b90eb8d0a" providerId="ADAL" clId="{85BF7E29-B863-8743-821C-9B528FF1FFE4}" dt="2024-04-05T06:38:57.193" v="2783" actId="478"/>
          <ac:picMkLst>
            <pc:docMk/>
            <pc:sldMk cId="88510384" sldId="2147483609"/>
            <ac:picMk id="86" creationId="{41C2B91F-309C-8ABC-05C4-21BD44BA069C}"/>
          </ac:picMkLst>
        </pc:picChg>
        <pc:picChg chg="add del mod">
          <ac:chgData name="Nisen, Henrik (BCG Platinion)" userId="23462ed3-8a28-48c0-b94c-224b90eb8d0a" providerId="ADAL" clId="{85BF7E29-B863-8743-821C-9B528FF1FFE4}" dt="2024-04-05T06:38:57.193" v="2783" actId="478"/>
          <ac:picMkLst>
            <pc:docMk/>
            <pc:sldMk cId="88510384" sldId="2147483609"/>
            <ac:picMk id="87" creationId="{B4DB3E22-0889-FDEB-7759-C9C6548B2707}"/>
          </ac:picMkLst>
        </pc:picChg>
        <pc:picChg chg="add del mod">
          <ac:chgData name="Nisen, Henrik (BCG Platinion)" userId="23462ed3-8a28-48c0-b94c-224b90eb8d0a" providerId="ADAL" clId="{85BF7E29-B863-8743-821C-9B528FF1FFE4}" dt="2024-04-05T06:38:57.193" v="2783" actId="478"/>
          <ac:picMkLst>
            <pc:docMk/>
            <pc:sldMk cId="88510384" sldId="2147483609"/>
            <ac:picMk id="88" creationId="{09EB2B06-DCB4-BBC6-D960-BB4CB91CDCA6}"/>
          </ac:picMkLst>
        </pc:picChg>
        <pc:picChg chg="add del mod">
          <ac:chgData name="Nisen, Henrik (BCG Platinion)" userId="23462ed3-8a28-48c0-b94c-224b90eb8d0a" providerId="ADAL" clId="{85BF7E29-B863-8743-821C-9B528FF1FFE4}" dt="2024-04-05T06:38:57.193" v="2783" actId="478"/>
          <ac:picMkLst>
            <pc:docMk/>
            <pc:sldMk cId="88510384" sldId="2147483609"/>
            <ac:picMk id="89" creationId="{63D98442-3F66-C3D4-E839-139D68662849}"/>
          </ac:picMkLst>
        </pc:picChg>
        <pc:picChg chg="add del mod">
          <ac:chgData name="Nisen, Henrik (BCG Platinion)" userId="23462ed3-8a28-48c0-b94c-224b90eb8d0a" providerId="ADAL" clId="{85BF7E29-B863-8743-821C-9B528FF1FFE4}" dt="2024-04-05T06:38:57.193" v="2783" actId="478"/>
          <ac:picMkLst>
            <pc:docMk/>
            <pc:sldMk cId="88510384" sldId="2147483609"/>
            <ac:picMk id="90" creationId="{8D7E77B0-C26D-4DE4-FFC9-CC3ABF8927BF}"/>
          </ac:picMkLst>
        </pc:picChg>
        <pc:picChg chg="add del mod">
          <ac:chgData name="Nisen, Henrik (BCG Platinion)" userId="23462ed3-8a28-48c0-b94c-224b90eb8d0a" providerId="ADAL" clId="{85BF7E29-B863-8743-821C-9B528FF1FFE4}" dt="2024-04-05T06:38:57.193" v="2783" actId="478"/>
          <ac:picMkLst>
            <pc:docMk/>
            <pc:sldMk cId="88510384" sldId="2147483609"/>
            <ac:picMk id="91" creationId="{86203CFD-6424-DFD2-1DF3-B40EBB445BE5}"/>
          </ac:picMkLst>
        </pc:picChg>
        <pc:picChg chg="add del mod">
          <ac:chgData name="Nisen, Henrik (BCG Platinion)" userId="23462ed3-8a28-48c0-b94c-224b90eb8d0a" providerId="ADAL" clId="{85BF7E29-B863-8743-821C-9B528FF1FFE4}" dt="2024-04-05T06:38:57.193" v="2783" actId="478"/>
          <ac:picMkLst>
            <pc:docMk/>
            <pc:sldMk cId="88510384" sldId="2147483609"/>
            <ac:picMk id="92" creationId="{0E903D23-8493-EEA6-554D-07A789F4EAFB}"/>
          </ac:picMkLst>
        </pc:picChg>
        <pc:picChg chg="add del mod">
          <ac:chgData name="Nisen, Henrik (BCG Platinion)" userId="23462ed3-8a28-48c0-b94c-224b90eb8d0a" providerId="ADAL" clId="{85BF7E29-B863-8743-821C-9B528FF1FFE4}" dt="2024-04-05T06:38:57.193" v="2783" actId="478"/>
          <ac:picMkLst>
            <pc:docMk/>
            <pc:sldMk cId="88510384" sldId="2147483609"/>
            <ac:picMk id="93" creationId="{CD084336-1667-60EE-D443-DE717A6C175C}"/>
          </ac:picMkLst>
        </pc:picChg>
        <pc:picChg chg="add del mod">
          <ac:chgData name="Nisen, Henrik (BCG Platinion)" userId="23462ed3-8a28-48c0-b94c-224b90eb8d0a" providerId="ADAL" clId="{85BF7E29-B863-8743-821C-9B528FF1FFE4}" dt="2024-04-05T06:38:57.193" v="2783" actId="478"/>
          <ac:picMkLst>
            <pc:docMk/>
            <pc:sldMk cId="88510384" sldId="2147483609"/>
            <ac:picMk id="94" creationId="{A290DDC2-EC68-EF3C-FC6C-7B3F32F2BB3C}"/>
          </ac:picMkLst>
        </pc:picChg>
        <pc:picChg chg="add del mod">
          <ac:chgData name="Nisen, Henrik (BCG Platinion)" userId="23462ed3-8a28-48c0-b94c-224b90eb8d0a" providerId="ADAL" clId="{85BF7E29-B863-8743-821C-9B528FF1FFE4}" dt="2024-04-05T06:38:57.193" v="2783" actId="478"/>
          <ac:picMkLst>
            <pc:docMk/>
            <pc:sldMk cId="88510384" sldId="2147483609"/>
            <ac:picMk id="95" creationId="{DAB90845-52AA-68BD-1E3B-B407EDEBB7A4}"/>
          </ac:picMkLst>
        </pc:picChg>
        <pc:picChg chg="add del mod">
          <ac:chgData name="Nisen, Henrik (BCG Platinion)" userId="23462ed3-8a28-48c0-b94c-224b90eb8d0a" providerId="ADAL" clId="{85BF7E29-B863-8743-821C-9B528FF1FFE4}" dt="2024-04-05T06:38:57.193" v="2783" actId="478"/>
          <ac:picMkLst>
            <pc:docMk/>
            <pc:sldMk cId="88510384" sldId="2147483609"/>
            <ac:picMk id="96" creationId="{3859BA00-7B33-8843-4574-FA7C6B4A582A}"/>
          </ac:picMkLst>
        </pc:picChg>
        <pc:picChg chg="add del mod">
          <ac:chgData name="Nisen, Henrik (BCG Platinion)" userId="23462ed3-8a28-48c0-b94c-224b90eb8d0a" providerId="ADAL" clId="{85BF7E29-B863-8743-821C-9B528FF1FFE4}" dt="2024-04-05T06:38:57.193" v="2783" actId="478"/>
          <ac:picMkLst>
            <pc:docMk/>
            <pc:sldMk cId="88510384" sldId="2147483609"/>
            <ac:picMk id="97" creationId="{A9E53DD2-363A-BD30-B447-BA79D2CB1307}"/>
          </ac:picMkLst>
        </pc:picChg>
        <pc:picChg chg="add del mod">
          <ac:chgData name="Nisen, Henrik (BCG Platinion)" userId="23462ed3-8a28-48c0-b94c-224b90eb8d0a" providerId="ADAL" clId="{85BF7E29-B863-8743-821C-9B528FF1FFE4}" dt="2024-04-05T06:38:57.193" v="2783" actId="478"/>
          <ac:picMkLst>
            <pc:docMk/>
            <pc:sldMk cId="88510384" sldId="2147483609"/>
            <ac:picMk id="98" creationId="{2090E94A-7CAB-83F1-29F8-623DCC378D14}"/>
          </ac:picMkLst>
        </pc:picChg>
        <pc:picChg chg="mod">
          <ac:chgData name="Nisen, Henrik (BCG Platinion)" userId="23462ed3-8a28-48c0-b94c-224b90eb8d0a" providerId="ADAL" clId="{85BF7E29-B863-8743-821C-9B528FF1FFE4}" dt="2024-04-05T06:38:52.010" v="2782"/>
          <ac:picMkLst>
            <pc:docMk/>
            <pc:sldMk cId="88510384" sldId="2147483609"/>
            <ac:picMk id="101" creationId="{4B3F3561-0942-88EF-1137-2700B82702F9}"/>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3" creationId="{D069E4A5-D80B-49B4-D9A7-4C9B1A3DABC8}"/>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4" creationId="{E6D98723-604C-D84E-A244-EAE0C3412F09}"/>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5" creationId="{53D10748-98CC-4599-156C-1B81734ED6EA}"/>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6" creationId="{E9E5CA00-B7EC-BE93-095D-347D6A980A30}"/>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7" creationId="{873297E4-12F9-CE95-FDFF-E40FCC843098}"/>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8" creationId="{BD7093AF-8463-60FB-AC35-DA30C9E855B9}"/>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9" creationId="{39673BDD-AE19-066B-093E-0060881463C7}"/>
          </ac:picMkLst>
        </pc:picChg>
        <pc:picChg chg="add del mod">
          <ac:chgData name="Nisen, Henrik (BCG Platinion)" userId="23462ed3-8a28-48c0-b94c-224b90eb8d0a" providerId="ADAL" clId="{85BF7E29-B863-8743-821C-9B528FF1FFE4}" dt="2024-04-05T06:38:57.193" v="2783" actId="478"/>
          <ac:picMkLst>
            <pc:docMk/>
            <pc:sldMk cId="88510384" sldId="2147483609"/>
            <ac:picMk id="110" creationId="{8F0A4FEF-04F9-AA86-C8C1-CC6FE533B197}"/>
          </ac:picMkLst>
        </pc:picChg>
        <pc:picChg chg="add del mod">
          <ac:chgData name="Nisen, Henrik (BCG Platinion)" userId="23462ed3-8a28-48c0-b94c-224b90eb8d0a" providerId="ADAL" clId="{85BF7E29-B863-8743-821C-9B528FF1FFE4}" dt="2024-04-05T06:38:57.193" v="2783" actId="478"/>
          <ac:picMkLst>
            <pc:docMk/>
            <pc:sldMk cId="88510384" sldId="2147483609"/>
            <ac:picMk id="111" creationId="{19F6C3B7-291C-8F8A-0AF9-EB124F5D4F83}"/>
          </ac:picMkLst>
        </pc:picChg>
        <pc:picChg chg="add del mod">
          <ac:chgData name="Nisen, Henrik (BCG Platinion)" userId="23462ed3-8a28-48c0-b94c-224b90eb8d0a" providerId="ADAL" clId="{85BF7E29-B863-8743-821C-9B528FF1FFE4}" dt="2024-04-05T06:38:57.193" v="2783" actId="478"/>
          <ac:picMkLst>
            <pc:docMk/>
            <pc:sldMk cId="88510384" sldId="2147483609"/>
            <ac:picMk id="114" creationId="{42EC91B3-114C-E038-5E0B-E604F7CD3082}"/>
          </ac:picMkLst>
        </pc:picChg>
        <pc:picChg chg="add del mod">
          <ac:chgData name="Nisen, Henrik (BCG Platinion)" userId="23462ed3-8a28-48c0-b94c-224b90eb8d0a" providerId="ADAL" clId="{85BF7E29-B863-8743-821C-9B528FF1FFE4}" dt="2024-04-05T06:38:57.193" v="2783" actId="478"/>
          <ac:picMkLst>
            <pc:docMk/>
            <pc:sldMk cId="88510384" sldId="2147483609"/>
            <ac:picMk id="116" creationId="{AEA28414-C2E5-4E33-3B7F-2C1AAB2269EA}"/>
          </ac:picMkLst>
        </pc:picChg>
        <pc:picChg chg="add del mod">
          <ac:chgData name="Nisen, Henrik (BCG Platinion)" userId="23462ed3-8a28-48c0-b94c-224b90eb8d0a" providerId="ADAL" clId="{85BF7E29-B863-8743-821C-9B528FF1FFE4}" dt="2024-04-05T06:38:57.193" v="2783" actId="478"/>
          <ac:picMkLst>
            <pc:docMk/>
            <pc:sldMk cId="88510384" sldId="2147483609"/>
            <ac:picMk id="117" creationId="{F01CDDDC-C1EB-BEEA-D90D-A9FF22B37EBC}"/>
          </ac:picMkLst>
        </pc:picChg>
        <pc:picChg chg="add del mod">
          <ac:chgData name="Nisen, Henrik (BCG Platinion)" userId="23462ed3-8a28-48c0-b94c-224b90eb8d0a" providerId="ADAL" clId="{85BF7E29-B863-8743-821C-9B528FF1FFE4}" dt="2024-04-05T06:38:57.193" v="2783" actId="478"/>
          <ac:picMkLst>
            <pc:docMk/>
            <pc:sldMk cId="88510384" sldId="2147483609"/>
            <ac:picMk id="119" creationId="{166899C9-FDE9-C22D-F69C-CBA73B1DFEF7}"/>
          </ac:picMkLst>
        </pc:picChg>
        <pc:picChg chg="add del mod">
          <ac:chgData name="Nisen, Henrik (BCG Platinion)" userId="23462ed3-8a28-48c0-b94c-224b90eb8d0a" providerId="ADAL" clId="{85BF7E29-B863-8743-821C-9B528FF1FFE4}" dt="2024-04-05T06:38:57.193" v="2783" actId="478"/>
          <ac:picMkLst>
            <pc:docMk/>
            <pc:sldMk cId="88510384" sldId="2147483609"/>
            <ac:picMk id="120" creationId="{72BCCB4C-775C-8E95-F0F3-B68B97B1B8AA}"/>
          </ac:picMkLst>
        </pc:picChg>
        <pc:picChg chg="add del mod">
          <ac:chgData name="Nisen, Henrik (BCG Platinion)" userId="23462ed3-8a28-48c0-b94c-224b90eb8d0a" providerId="ADAL" clId="{85BF7E29-B863-8743-821C-9B528FF1FFE4}" dt="2024-04-05T06:38:57.193" v="2783" actId="478"/>
          <ac:picMkLst>
            <pc:docMk/>
            <pc:sldMk cId="88510384" sldId="2147483609"/>
            <ac:picMk id="121" creationId="{8736CF15-BB71-BCBD-1DEC-187E9D88E80A}"/>
          </ac:picMkLst>
        </pc:picChg>
        <pc:picChg chg="add del mod">
          <ac:chgData name="Nisen, Henrik (BCG Platinion)" userId="23462ed3-8a28-48c0-b94c-224b90eb8d0a" providerId="ADAL" clId="{85BF7E29-B863-8743-821C-9B528FF1FFE4}" dt="2024-04-05T06:38:57.193" v="2783" actId="478"/>
          <ac:picMkLst>
            <pc:docMk/>
            <pc:sldMk cId="88510384" sldId="2147483609"/>
            <ac:picMk id="126" creationId="{2E3A0BD3-FBBF-ED9A-1563-660765543011}"/>
          </ac:picMkLst>
        </pc:picChg>
        <pc:picChg chg="add del mod">
          <ac:chgData name="Nisen, Henrik (BCG Platinion)" userId="23462ed3-8a28-48c0-b94c-224b90eb8d0a" providerId="ADAL" clId="{85BF7E29-B863-8743-821C-9B528FF1FFE4}" dt="2024-04-05T06:38:57.193" v="2783" actId="478"/>
          <ac:picMkLst>
            <pc:docMk/>
            <pc:sldMk cId="88510384" sldId="2147483609"/>
            <ac:picMk id="127" creationId="{EE460E84-8B41-0BBB-4E79-90D730DC8B74}"/>
          </ac:picMkLst>
        </pc:picChg>
        <pc:picChg chg="mod topLvl">
          <ac:chgData name="Nisen, Henrik (BCG Platinion)" userId="23462ed3-8a28-48c0-b94c-224b90eb8d0a" providerId="ADAL" clId="{85BF7E29-B863-8743-821C-9B528FF1FFE4}" dt="2024-04-05T06:43:19.327" v="3077" actId="1076"/>
          <ac:picMkLst>
            <pc:docMk/>
            <pc:sldMk cId="88510384" sldId="2147483609"/>
            <ac:picMk id="132" creationId="{591B000C-567A-3370-E682-7940F4590A42}"/>
          </ac:picMkLst>
        </pc:picChg>
        <pc:picChg chg="mod topLvl">
          <ac:chgData name="Nisen, Henrik (BCG Platinion)" userId="23462ed3-8a28-48c0-b94c-224b90eb8d0a" providerId="ADAL" clId="{85BF7E29-B863-8743-821C-9B528FF1FFE4}" dt="2024-04-05T06:43:19.327" v="3077" actId="1076"/>
          <ac:picMkLst>
            <pc:docMk/>
            <pc:sldMk cId="88510384" sldId="2147483609"/>
            <ac:picMk id="133" creationId="{E9862367-3844-8370-D94B-9E63A88B31A3}"/>
          </ac:picMkLst>
        </pc:picChg>
        <pc:picChg chg="mod topLvl">
          <ac:chgData name="Nisen, Henrik (BCG Platinion)" userId="23462ed3-8a28-48c0-b94c-224b90eb8d0a" providerId="ADAL" clId="{85BF7E29-B863-8743-821C-9B528FF1FFE4}" dt="2024-04-05T06:43:19.327" v="3077" actId="1076"/>
          <ac:picMkLst>
            <pc:docMk/>
            <pc:sldMk cId="88510384" sldId="2147483609"/>
            <ac:picMk id="134" creationId="{F6147B45-4C63-2164-9645-1445CC4D7ACD}"/>
          </ac:picMkLst>
        </pc:picChg>
        <pc:picChg chg="mod">
          <ac:chgData name="Nisen, Henrik (BCG Platinion)" userId="23462ed3-8a28-48c0-b94c-224b90eb8d0a" providerId="ADAL" clId="{85BF7E29-B863-8743-821C-9B528FF1FFE4}" dt="2024-04-05T06:42:54.590" v="3074" actId="1037"/>
          <ac:picMkLst>
            <pc:docMk/>
            <pc:sldMk cId="88510384" sldId="2147483609"/>
            <ac:picMk id="135" creationId="{0C5F3F84-E8B1-F312-A181-09C7C8B540D9}"/>
          </ac:picMkLst>
        </pc:picChg>
        <pc:picChg chg="del">
          <ac:chgData name="Nisen, Henrik (BCG Platinion)" userId="23462ed3-8a28-48c0-b94c-224b90eb8d0a" providerId="ADAL" clId="{85BF7E29-B863-8743-821C-9B528FF1FFE4}" dt="2024-04-05T06:38:35.207" v="2779" actId="478"/>
          <ac:picMkLst>
            <pc:docMk/>
            <pc:sldMk cId="88510384" sldId="2147483609"/>
            <ac:picMk id="180" creationId="{F43FC475-BB53-F8BF-689E-C704CD25B236}"/>
          </ac:picMkLst>
        </pc:picChg>
        <pc:picChg chg="del">
          <ac:chgData name="Nisen, Henrik (BCG Platinion)" userId="23462ed3-8a28-48c0-b94c-224b90eb8d0a" providerId="ADAL" clId="{85BF7E29-B863-8743-821C-9B528FF1FFE4}" dt="2024-04-05T06:38:35.207" v="2779" actId="478"/>
          <ac:picMkLst>
            <pc:docMk/>
            <pc:sldMk cId="88510384" sldId="2147483609"/>
            <ac:picMk id="181" creationId="{47B3BABF-0C47-6E39-C10C-BC6574FC35CE}"/>
          </ac:picMkLst>
        </pc:picChg>
        <pc:picChg chg="del">
          <ac:chgData name="Nisen, Henrik (BCG Platinion)" userId="23462ed3-8a28-48c0-b94c-224b90eb8d0a" providerId="ADAL" clId="{85BF7E29-B863-8743-821C-9B528FF1FFE4}" dt="2024-04-05T06:38:35.207" v="2779" actId="478"/>
          <ac:picMkLst>
            <pc:docMk/>
            <pc:sldMk cId="88510384" sldId="2147483609"/>
            <ac:picMk id="182" creationId="{8DA283F2-C9AF-DDE5-1FF7-D4887B108B80}"/>
          </ac:picMkLst>
        </pc:picChg>
        <pc:picChg chg="del">
          <ac:chgData name="Nisen, Henrik (BCG Platinion)" userId="23462ed3-8a28-48c0-b94c-224b90eb8d0a" providerId="ADAL" clId="{85BF7E29-B863-8743-821C-9B528FF1FFE4}" dt="2024-04-05T06:38:35.207" v="2779" actId="478"/>
          <ac:picMkLst>
            <pc:docMk/>
            <pc:sldMk cId="88510384" sldId="2147483609"/>
            <ac:picMk id="183" creationId="{210F220A-6FF4-19A0-53C7-8DD9D44AC770}"/>
          </ac:picMkLst>
        </pc:picChg>
        <pc:picChg chg="del">
          <ac:chgData name="Nisen, Henrik (BCG Platinion)" userId="23462ed3-8a28-48c0-b94c-224b90eb8d0a" providerId="ADAL" clId="{85BF7E29-B863-8743-821C-9B528FF1FFE4}" dt="2024-04-05T06:38:35.207" v="2779" actId="478"/>
          <ac:picMkLst>
            <pc:docMk/>
            <pc:sldMk cId="88510384" sldId="2147483609"/>
            <ac:picMk id="184" creationId="{658BA810-6D2B-1BF3-33D3-BC7C6129CAA5}"/>
          </ac:picMkLst>
        </pc:picChg>
        <pc:picChg chg="del">
          <ac:chgData name="Nisen, Henrik (BCG Platinion)" userId="23462ed3-8a28-48c0-b94c-224b90eb8d0a" providerId="ADAL" clId="{85BF7E29-B863-8743-821C-9B528FF1FFE4}" dt="2024-04-05T06:38:35.207" v="2779" actId="478"/>
          <ac:picMkLst>
            <pc:docMk/>
            <pc:sldMk cId="88510384" sldId="2147483609"/>
            <ac:picMk id="185" creationId="{BADD0B2B-30A9-5D90-8BE9-EB3E46B8A5AD}"/>
          </ac:picMkLst>
        </pc:picChg>
        <pc:picChg chg="del">
          <ac:chgData name="Nisen, Henrik (BCG Platinion)" userId="23462ed3-8a28-48c0-b94c-224b90eb8d0a" providerId="ADAL" clId="{85BF7E29-B863-8743-821C-9B528FF1FFE4}" dt="2024-04-05T06:38:35.207" v="2779" actId="478"/>
          <ac:picMkLst>
            <pc:docMk/>
            <pc:sldMk cId="88510384" sldId="2147483609"/>
            <ac:picMk id="186" creationId="{06F27CBE-6A60-24A1-104C-AF1196CF0F66}"/>
          </ac:picMkLst>
        </pc:picChg>
        <pc:picChg chg="del">
          <ac:chgData name="Nisen, Henrik (BCG Platinion)" userId="23462ed3-8a28-48c0-b94c-224b90eb8d0a" providerId="ADAL" clId="{85BF7E29-B863-8743-821C-9B528FF1FFE4}" dt="2024-04-05T06:38:35.207" v="2779" actId="478"/>
          <ac:picMkLst>
            <pc:docMk/>
            <pc:sldMk cId="88510384" sldId="2147483609"/>
            <ac:picMk id="187" creationId="{92C2280B-5EBD-1870-2611-E3E254136224}"/>
          </ac:picMkLst>
        </pc:picChg>
        <pc:picChg chg="del">
          <ac:chgData name="Nisen, Henrik (BCG Platinion)" userId="23462ed3-8a28-48c0-b94c-224b90eb8d0a" providerId="ADAL" clId="{85BF7E29-B863-8743-821C-9B528FF1FFE4}" dt="2024-04-05T06:38:35.207" v="2779" actId="478"/>
          <ac:picMkLst>
            <pc:docMk/>
            <pc:sldMk cId="88510384" sldId="2147483609"/>
            <ac:picMk id="188" creationId="{85F2978E-AAF8-31F8-4EE5-3F33C8D13A3D}"/>
          </ac:picMkLst>
        </pc:picChg>
        <pc:picChg chg="del">
          <ac:chgData name="Nisen, Henrik (BCG Platinion)" userId="23462ed3-8a28-48c0-b94c-224b90eb8d0a" providerId="ADAL" clId="{85BF7E29-B863-8743-821C-9B528FF1FFE4}" dt="2024-04-05T06:38:35.207" v="2779" actId="478"/>
          <ac:picMkLst>
            <pc:docMk/>
            <pc:sldMk cId="88510384" sldId="2147483609"/>
            <ac:picMk id="189" creationId="{8E249FD2-2430-E52D-E35D-ADE6BFD185B5}"/>
          </ac:picMkLst>
        </pc:picChg>
        <pc:picChg chg="del">
          <ac:chgData name="Nisen, Henrik (BCG Platinion)" userId="23462ed3-8a28-48c0-b94c-224b90eb8d0a" providerId="ADAL" clId="{85BF7E29-B863-8743-821C-9B528FF1FFE4}" dt="2024-04-05T06:38:35.207" v="2779" actId="478"/>
          <ac:picMkLst>
            <pc:docMk/>
            <pc:sldMk cId="88510384" sldId="2147483609"/>
            <ac:picMk id="190" creationId="{EF897428-0CB5-6918-40AD-8520A1C596DE}"/>
          </ac:picMkLst>
        </pc:picChg>
        <pc:picChg chg="del">
          <ac:chgData name="Nisen, Henrik (BCG Platinion)" userId="23462ed3-8a28-48c0-b94c-224b90eb8d0a" providerId="ADAL" clId="{85BF7E29-B863-8743-821C-9B528FF1FFE4}" dt="2024-04-05T06:38:35.207" v="2779" actId="478"/>
          <ac:picMkLst>
            <pc:docMk/>
            <pc:sldMk cId="88510384" sldId="2147483609"/>
            <ac:picMk id="191" creationId="{9387BF19-F2DB-F34A-7C9A-DA733FF931F8}"/>
          </ac:picMkLst>
        </pc:picChg>
        <pc:picChg chg="del">
          <ac:chgData name="Nisen, Henrik (BCG Platinion)" userId="23462ed3-8a28-48c0-b94c-224b90eb8d0a" providerId="ADAL" clId="{85BF7E29-B863-8743-821C-9B528FF1FFE4}" dt="2024-04-05T06:38:35.207" v="2779" actId="478"/>
          <ac:picMkLst>
            <pc:docMk/>
            <pc:sldMk cId="88510384" sldId="2147483609"/>
            <ac:picMk id="1024" creationId="{A5D2B514-3FE0-A260-D3AB-B391C303744F}"/>
          </ac:picMkLst>
        </pc:picChg>
        <pc:picChg chg="del">
          <ac:chgData name="Nisen, Henrik (BCG Platinion)" userId="23462ed3-8a28-48c0-b94c-224b90eb8d0a" providerId="ADAL" clId="{85BF7E29-B863-8743-821C-9B528FF1FFE4}" dt="2024-04-05T06:38:35.207" v="2779" actId="478"/>
          <ac:picMkLst>
            <pc:docMk/>
            <pc:sldMk cId="88510384" sldId="2147483609"/>
            <ac:picMk id="1025" creationId="{C008FC70-C1DC-7491-3B01-2A176AF86EE2}"/>
          </ac:picMkLst>
        </pc:picChg>
        <pc:picChg chg="del">
          <ac:chgData name="Nisen, Henrik (BCG Platinion)" userId="23462ed3-8a28-48c0-b94c-224b90eb8d0a" providerId="ADAL" clId="{85BF7E29-B863-8743-821C-9B528FF1FFE4}" dt="2024-04-05T06:38:35.207" v="2779" actId="478"/>
          <ac:picMkLst>
            <pc:docMk/>
            <pc:sldMk cId="88510384" sldId="2147483609"/>
            <ac:picMk id="1026" creationId="{5E89F049-D8DD-E950-CA90-9EEE314933FE}"/>
          </ac:picMkLst>
        </pc:picChg>
        <pc:picChg chg="del">
          <ac:chgData name="Nisen, Henrik (BCG Platinion)" userId="23462ed3-8a28-48c0-b94c-224b90eb8d0a" providerId="ADAL" clId="{85BF7E29-B863-8743-821C-9B528FF1FFE4}" dt="2024-04-05T06:38:35.207" v="2779" actId="478"/>
          <ac:picMkLst>
            <pc:docMk/>
            <pc:sldMk cId="88510384" sldId="2147483609"/>
            <ac:picMk id="1027" creationId="{F5368BD3-5DE5-A04E-831F-FCC5783C294C}"/>
          </ac:picMkLst>
        </pc:picChg>
        <pc:picChg chg="del">
          <ac:chgData name="Nisen, Henrik (BCG Platinion)" userId="23462ed3-8a28-48c0-b94c-224b90eb8d0a" providerId="ADAL" clId="{85BF7E29-B863-8743-821C-9B528FF1FFE4}" dt="2024-04-05T06:38:35.207" v="2779" actId="478"/>
          <ac:picMkLst>
            <pc:docMk/>
            <pc:sldMk cId="88510384" sldId="2147483609"/>
            <ac:picMk id="1028" creationId="{EFECBA6C-5E59-24DB-8AF6-37E192B6F707}"/>
          </ac:picMkLst>
        </pc:picChg>
        <pc:picChg chg="del">
          <ac:chgData name="Nisen, Henrik (BCG Platinion)" userId="23462ed3-8a28-48c0-b94c-224b90eb8d0a" providerId="ADAL" clId="{85BF7E29-B863-8743-821C-9B528FF1FFE4}" dt="2024-04-05T06:38:35.207" v="2779" actId="478"/>
          <ac:picMkLst>
            <pc:docMk/>
            <pc:sldMk cId="88510384" sldId="2147483609"/>
            <ac:picMk id="1029" creationId="{1E5E22EC-0A55-C5F0-3260-1EDE6A3BAE51}"/>
          </ac:picMkLst>
        </pc:picChg>
        <pc:picChg chg="del">
          <ac:chgData name="Nisen, Henrik (BCG Platinion)" userId="23462ed3-8a28-48c0-b94c-224b90eb8d0a" providerId="ADAL" clId="{85BF7E29-B863-8743-821C-9B528FF1FFE4}" dt="2024-04-05T06:38:35.207" v="2779" actId="478"/>
          <ac:picMkLst>
            <pc:docMk/>
            <pc:sldMk cId="88510384" sldId="2147483609"/>
            <ac:picMk id="1030" creationId="{CD81BA52-B41D-31DB-4288-BD3F1CC5586F}"/>
          </ac:picMkLst>
        </pc:picChg>
        <pc:picChg chg="del">
          <ac:chgData name="Nisen, Henrik (BCG Platinion)" userId="23462ed3-8a28-48c0-b94c-224b90eb8d0a" providerId="ADAL" clId="{85BF7E29-B863-8743-821C-9B528FF1FFE4}" dt="2024-04-05T06:38:35.207" v="2779" actId="478"/>
          <ac:picMkLst>
            <pc:docMk/>
            <pc:sldMk cId="88510384" sldId="2147483609"/>
            <ac:picMk id="1031" creationId="{7E9DBD6A-9B10-BA37-4B37-EB846D8A956C}"/>
          </ac:picMkLst>
        </pc:picChg>
        <pc:picChg chg="del">
          <ac:chgData name="Nisen, Henrik (BCG Platinion)" userId="23462ed3-8a28-48c0-b94c-224b90eb8d0a" providerId="ADAL" clId="{85BF7E29-B863-8743-821C-9B528FF1FFE4}" dt="2024-04-05T06:38:35.207" v="2779" actId="478"/>
          <ac:picMkLst>
            <pc:docMk/>
            <pc:sldMk cId="88510384" sldId="2147483609"/>
            <ac:picMk id="1032" creationId="{EDF50F60-427E-130F-5322-280201E7EDD2}"/>
          </ac:picMkLst>
        </pc:picChg>
        <pc:picChg chg="del">
          <ac:chgData name="Nisen, Henrik (BCG Platinion)" userId="23462ed3-8a28-48c0-b94c-224b90eb8d0a" providerId="ADAL" clId="{85BF7E29-B863-8743-821C-9B528FF1FFE4}" dt="2024-04-05T06:38:35.207" v="2779" actId="478"/>
          <ac:picMkLst>
            <pc:docMk/>
            <pc:sldMk cId="88510384" sldId="2147483609"/>
            <ac:picMk id="1033" creationId="{9FD5A53D-817F-CCDC-E867-B07B65384026}"/>
          </ac:picMkLst>
        </pc:picChg>
        <pc:picChg chg="add del mod">
          <ac:chgData name="Nisen, Henrik (BCG Platinion)" userId="23462ed3-8a28-48c0-b94c-224b90eb8d0a" providerId="ADAL" clId="{85BF7E29-B863-8743-821C-9B528FF1FFE4}" dt="2024-04-05T06:38:57.193" v="2783" actId="478"/>
          <ac:picMkLst>
            <pc:docMk/>
            <pc:sldMk cId="88510384" sldId="2147483609"/>
            <ac:picMk id="1034" creationId="{B8E383D9-41C7-2FE4-4EE0-75FDB71F171B}"/>
          </ac:picMkLst>
        </pc:picChg>
        <pc:picChg chg="del">
          <ac:chgData name="Nisen, Henrik (BCG Platinion)" userId="23462ed3-8a28-48c0-b94c-224b90eb8d0a" providerId="ADAL" clId="{85BF7E29-B863-8743-821C-9B528FF1FFE4}" dt="2024-04-05T06:38:35.207" v="2779" actId="478"/>
          <ac:picMkLst>
            <pc:docMk/>
            <pc:sldMk cId="88510384" sldId="2147483609"/>
            <ac:picMk id="1035" creationId="{A61BB388-7519-CAF3-1C7D-DECB9B28B91D}"/>
          </ac:picMkLst>
        </pc:picChg>
        <pc:picChg chg="del">
          <ac:chgData name="Nisen, Henrik (BCG Platinion)" userId="23462ed3-8a28-48c0-b94c-224b90eb8d0a" providerId="ADAL" clId="{85BF7E29-B863-8743-821C-9B528FF1FFE4}" dt="2024-04-05T06:38:35.207" v="2779" actId="478"/>
          <ac:picMkLst>
            <pc:docMk/>
            <pc:sldMk cId="88510384" sldId="2147483609"/>
            <ac:picMk id="1037" creationId="{0AD20CF7-2394-2BFC-4C0F-A566AAE36387}"/>
          </ac:picMkLst>
        </pc:picChg>
        <pc:picChg chg="del">
          <ac:chgData name="Nisen, Henrik (BCG Platinion)" userId="23462ed3-8a28-48c0-b94c-224b90eb8d0a" providerId="ADAL" clId="{85BF7E29-B863-8743-821C-9B528FF1FFE4}" dt="2024-04-05T06:38:35.207" v="2779" actId="478"/>
          <ac:picMkLst>
            <pc:docMk/>
            <pc:sldMk cId="88510384" sldId="2147483609"/>
            <ac:picMk id="1038" creationId="{000BA379-AD4A-00A9-F8F5-92C1F9BF0E74}"/>
          </ac:picMkLst>
        </pc:picChg>
        <pc:picChg chg="del">
          <ac:chgData name="Nisen, Henrik (BCG Platinion)" userId="23462ed3-8a28-48c0-b94c-224b90eb8d0a" providerId="ADAL" clId="{85BF7E29-B863-8743-821C-9B528FF1FFE4}" dt="2024-04-05T06:38:35.207" v="2779" actId="478"/>
          <ac:picMkLst>
            <pc:docMk/>
            <pc:sldMk cId="88510384" sldId="2147483609"/>
            <ac:picMk id="1039" creationId="{A5DE60A2-CD9D-E24C-8370-FA9A21C373D6}"/>
          </ac:picMkLst>
        </pc:picChg>
        <pc:picChg chg="del">
          <ac:chgData name="Nisen, Henrik (BCG Platinion)" userId="23462ed3-8a28-48c0-b94c-224b90eb8d0a" providerId="ADAL" clId="{85BF7E29-B863-8743-821C-9B528FF1FFE4}" dt="2024-04-05T06:38:35.207" v="2779" actId="478"/>
          <ac:picMkLst>
            <pc:docMk/>
            <pc:sldMk cId="88510384" sldId="2147483609"/>
            <ac:picMk id="1040" creationId="{0F25EA7D-24B5-A074-6878-51B2283D366C}"/>
          </ac:picMkLst>
        </pc:picChg>
        <pc:picChg chg="del">
          <ac:chgData name="Nisen, Henrik (BCG Platinion)" userId="23462ed3-8a28-48c0-b94c-224b90eb8d0a" providerId="ADAL" clId="{85BF7E29-B863-8743-821C-9B528FF1FFE4}" dt="2024-04-05T06:38:35.207" v="2779" actId="478"/>
          <ac:picMkLst>
            <pc:docMk/>
            <pc:sldMk cId="88510384" sldId="2147483609"/>
            <ac:picMk id="1041" creationId="{248CA4A8-A539-9FF2-83B4-4D451059959F}"/>
          </ac:picMkLst>
        </pc:picChg>
        <pc:picChg chg="mod topLvl">
          <ac:chgData name="Nisen, Henrik (BCG Platinion)" userId="23462ed3-8a28-48c0-b94c-224b90eb8d0a" providerId="ADAL" clId="{85BF7E29-B863-8743-821C-9B528FF1FFE4}" dt="2024-04-05T06:43:09.912" v="3076" actId="1076"/>
          <ac:picMkLst>
            <pc:docMk/>
            <pc:sldMk cId="88510384" sldId="2147483609"/>
            <ac:picMk id="1054" creationId="{D5F3E2C1-596F-1A41-67CE-8C2D5B090324}"/>
          </ac:picMkLst>
        </pc:picChg>
        <pc:picChg chg="mod topLvl">
          <ac:chgData name="Nisen, Henrik (BCG Platinion)" userId="23462ed3-8a28-48c0-b94c-224b90eb8d0a" providerId="ADAL" clId="{85BF7E29-B863-8743-821C-9B528FF1FFE4}" dt="2024-04-05T06:43:09.912" v="3076" actId="1076"/>
          <ac:picMkLst>
            <pc:docMk/>
            <pc:sldMk cId="88510384" sldId="2147483609"/>
            <ac:picMk id="1055" creationId="{63F81F97-95F5-82F4-ED06-407DE8373BBC}"/>
          </ac:picMkLst>
        </pc:picChg>
        <pc:picChg chg="mod topLvl">
          <ac:chgData name="Nisen, Henrik (BCG Platinion)" userId="23462ed3-8a28-48c0-b94c-224b90eb8d0a" providerId="ADAL" clId="{85BF7E29-B863-8743-821C-9B528FF1FFE4}" dt="2024-04-05T06:43:09.912" v="3076" actId="1076"/>
          <ac:picMkLst>
            <pc:docMk/>
            <pc:sldMk cId="88510384" sldId="2147483609"/>
            <ac:picMk id="1056" creationId="{F80406A4-1D7D-4A75-4CEE-1B125F5A26A7}"/>
          </ac:picMkLst>
        </pc:picChg>
        <pc:picChg chg="mod topLvl">
          <ac:chgData name="Nisen, Henrik (BCG Platinion)" userId="23462ed3-8a28-48c0-b94c-224b90eb8d0a" providerId="ADAL" clId="{85BF7E29-B863-8743-821C-9B528FF1FFE4}" dt="2024-04-05T06:43:09.912" v="3076" actId="1076"/>
          <ac:picMkLst>
            <pc:docMk/>
            <pc:sldMk cId="88510384" sldId="2147483609"/>
            <ac:picMk id="1057" creationId="{C04B70D6-F235-5CAB-061A-DB6443BA585E}"/>
          </ac:picMkLst>
        </pc:picChg>
        <pc:picChg chg="mod topLvl">
          <ac:chgData name="Nisen, Henrik (BCG Platinion)" userId="23462ed3-8a28-48c0-b94c-224b90eb8d0a" providerId="ADAL" clId="{85BF7E29-B863-8743-821C-9B528FF1FFE4}" dt="2024-04-05T06:43:09.912" v="3076" actId="1076"/>
          <ac:picMkLst>
            <pc:docMk/>
            <pc:sldMk cId="88510384" sldId="2147483609"/>
            <ac:picMk id="1058" creationId="{A2C997A8-015D-0157-590B-F4D88E216629}"/>
          </ac:picMkLst>
        </pc:picChg>
        <pc:picChg chg="mod topLvl">
          <ac:chgData name="Nisen, Henrik (BCG Platinion)" userId="23462ed3-8a28-48c0-b94c-224b90eb8d0a" providerId="ADAL" clId="{85BF7E29-B863-8743-821C-9B528FF1FFE4}" dt="2024-04-05T06:42:54.590" v="3074" actId="1037"/>
          <ac:picMkLst>
            <pc:docMk/>
            <pc:sldMk cId="88510384" sldId="2147483609"/>
            <ac:picMk id="1059" creationId="{105AC460-3888-6441-AF6D-AB668FFD7DEF}"/>
          </ac:picMkLst>
        </pc:picChg>
        <pc:picChg chg="mod topLvl">
          <ac:chgData name="Nisen, Henrik (BCG Platinion)" userId="23462ed3-8a28-48c0-b94c-224b90eb8d0a" providerId="ADAL" clId="{85BF7E29-B863-8743-821C-9B528FF1FFE4}" dt="2024-04-05T06:43:01.798" v="3075" actId="1076"/>
          <ac:picMkLst>
            <pc:docMk/>
            <pc:sldMk cId="88510384" sldId="2147483609"/>
            <ac:picMk id="1060" creationId="{562843F6-77B8-CB01-2399-F3B30F131404}"/>
          </ac:picMkLst>
        </pc:picChg>
        <pc:picChg chg="mod topLvl">
          <ac:chgData name="Nisen, Henrik (BCG Platinion)" userId="23462ed3-8a28-48c0-b94c-224b90eb8d0a" providerId="ADAL" clId="{85BF7E29-B863-8743-821C-9B528FF1FFE4}" dt="2024-04-05T06:43:24.910" v="3078" actId="1076"/>
          <ac:picMkLst>
            <pc:docMk/>
            <pc:sldMk cId="88510384" sldId="2147483609"/>
            <ac:picMk id="1061" creationId="{CADAE351-648E-DBF1-A728-8414A6119ED2}"/>
          </ac:picMkLst>
        </pc:picChg>
        <pc:picChg chg="mod topLvl">
          <ac:chgData name="Nisen, Henrik (BCG Platinion)" userId="23462ed3-8a28-48c0-b94c-224b90eb8d0a" providerId="ADAL" clId="{85BF7E29-B863-8743-821C-9B528FF1FFE4}" dt="2024-04-05T06:43:24.910" v="3078" actId="1076"/>
          <ac:picMkLst>
            <pc:docMk/>
            <pc:sldMk cId="88510384" sldId="2147483609"/>
            <ac:picMk id="1062" creationId="{D4B81564-14EE-EBF5-498B-0D1F83C5763E}"/>
          </ac:picMkLst>
        </pc:picChg>
        <pc:picChg chg="mod topLvl">
          <ac:chgData name="Nisen, Henrik (BCG Platinion)" userId="23462ed3-8a28-48c0-b94c-224b90eb8d0a" providerId="ADAL" clId="{85BF7E29-B863-8743-821C-9B528FF1FFE4}" dt="2024-04-05T06:43:24.910" v="3078" actId="1076"/>
          <ac:picMkLst>
            <pc:docMk/>
            <pc:sldMk cId="88510384" sldId="2147483609"/>
            <ac:picMk id="1063" creationId="{40D7EC64-D416-2EE2-BC10-83200D27CEEE}"/>
          </ac:picMkLst>
        </pc:picChg>
        <pc:picChg chg="mod topLvl">
          <ac:chgData name="Nisen, Henrik (BCG Platinion)" userId="23462ed3-8a28-48c0-b94c-224b90eb8d0a" providerId="ADAL" clId="{85BF7E29-B863-8743-821C-9B528FF1FFE4}" dt="2024-04-05T06:43:24.910" v="3078" actId="1076"/>
          <ac:picMkLst>
            <pc:docMk/>
            <pc:sldMk cId="88510384" sldId="2147483609"/>
            <ac:picMk id="1064" creationId="{A1A08F9E-86B3-2AE1-2CA4-65D43746659E}"/>
          </ac:picMkLst>
        </pc:picChg>
        <pc:picChg chg="mod topLvl">
          <ac:chgData name="Nisen, Henrik (BCG Platinion)" userId="23462ed3-8a28-48c0-b94c-224b90eb8d0a" providerId="ADAL" clId="{85BF7E29-B863-8743-821C-9B528FF1FFE4}" dt="2024-04-05T06:42:54.590" v="3074" actId="1037"/>
          <ac:picMkLst>
            <pc:docMk/>
            <pc:sldMk cId="88510384" sldId="2147483609"/>
            <ac:picMk id="1065" creationId="{F50DD2EB-F7A8-B08C-FD73-C36DE9E477A8}"/>
          </ac:picMkLst>
        </pc:picChg>
        <pc:picChg chg="mod topLvl">
          <ac:chgData name="Nisen, Henrik (BCG Platinion)" userId="23462ed3-8a28-48c0-b94c-224b90eb8d0a" providerId="ADAL" clId="{85BF7E29-B863-8743-821C-9B528FF1FFE4}" dt="2024-04-05T06:42:54.590" v="3074" actId="1037"/>
          <ac:picMkLst>
            <pc:docMk/>
            <pc:sldMk cId="88510384" sldId="2147483609"/>
            <ac:picMk id="1066" creationId="{0E98AC09-ACA6-A113-635B-38C72D519493}"/>
          </ac:picMkLst>
        </pc:picChg>
        <pc:picChg chg="mod topLvl">
          <ac:chgData name="Nisen, Henrik (BCG Platinion)" userId="23462ed3-8a28-48c0-b94c-224b90eb8d0a" providerId="ADAL" clId="{85BF7E29-B863-8743-821C-9B528FF1FFE4}" dt="2024-04-05T06:43:01.798" v="3075" actId="1076"/>
          <ac:picMkLst>
            <pc:docMk/>
            <pc:sldMk cId="88510384" sldId="2147483609"/>
            <ac:picMk id="1067" creationId="{0B1398E8-CD7B-D600-EBC5-F35C8B7CF3C9}"/>
          </ac:picMkLst>
        </pc:picChg>
        <pc:picChg chg="mod topLvl">
          <ac:chgData name="Nisen, Henrik (BCG Platinion)" userId="23462ed3-8a28-48c0-b94c-224b90eb8d0a" providerId="ADAL" clId="{85BF7E29-B863-8743-821C-9B528FF1FFE4}" dt="2024-04-05T06:42:54.590" v="3074" actId="1037"/>
          <ac:picMkLst>
            <pc:docMk/>
            <pc:sldMk cId="88510384" sldId="2147483609"/>
            <ac:picMk id="1068" creationId="{55E81411-EF84-9482-08D5-B69D429C3AE9}"/>
          </ac:picMkLst>
        </pc:picChg>
        <pc:picChg chg="mod topLvl">
          <ac:chgData name="Nisen, Henrik (BCG Platinion)" userId="23462ed3-8a28-48c0-b94c-224b90eb8d0a" providerId="ADAL" clId="{85BF7E29-B863-8743-821C-9B528FF1FFE4}" dt="2024-04-05T06:42:54.590" v="3074" actId="1037"/>
          <ac:picMkLst>
            <pc:docMk/>
            <pc:sldMk cId="88510384" sldId="2147483609"/>
            <ac:picMk id="1069" creationId="{28E37ACD-85C7-75EE-2C8F-3B8B10E447FE}"/>
          </ac:picMkLst>
        </pc:picChg>
        <pc:picChg chg="mod topLvl">
          <ac:chgData name="Nisen, Henrik (BCG Platinion)" userId="23462ed3-8a28-48c0-b94c-224b90eb8d0a" providerId="ADAL" clId="{85BF7E29-B863-8743-821C-9B528FF1FFE4}" dt="2024-04-05T06:42:54.590" v="3074" actId="1037"/>
          <ac:picMkLst>
            <pc:docMk/>
            <pc:sldMk cId="88510384" sldId="2147483609"/>
            <ac:picMk id="1070" creationId="{1B7BC40F-D024-5ECB-CD60-BB03EE4223DF}"/>
          </ac:picMkLst>
        </pc:picChg>
        <pc:picChg chg="mod topLvl">
          <ac:chgData name="Nisen, Henrik (BCG Platinion)" userId="23462ed3-8a28-48c0-b94c-224b90eb8d0a" providerId="ADAL" clId="{85BF7E29-B863-8743-821C-9B528FF1FFE4}" dt="2024-04-05T06:43:01.798" v="3075" actId="1076"/>
          <ac:picMkLst>
            <pc:docMk/>
            <pc:sldMk cId="88510384" sldId="2147483609"/>
            <ac:picMk id="1072" creationId="{84D08A85-A65F-9D59-CF00-7653A423B4D7}"/>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73" creationId="{C7FE4E32-1568-CA31-6A19-DE2685410346}"/>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74" creationId="{0D15F598-88DE-3473-DB34-001A0E98D9AE}"/>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75" creationId="{A0D8C971-C51E-8516-5991-96832BA3119B}"/>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76" creationId="{8D380C25-82F6-AD29-F601-323088DFA47A}"/>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78" creationId="{D4FB6276-DA6E-C867-269D-E0D9765F30EF}"/>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79" creationId="{588C70CF-8427-DEDA-0B71-3E94EC794AFD}"/>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0" creationId="{24A642DD-875C-D687-DADC-747945F88BDC}"/>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1" creationId="{41EFE721-18E6-5413-8D8B-C8EDB35E833B}"/>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2" creationId="{F835CD85-D4D6-ACC5-498F-E8F729C4E461}"/>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3" creationId="{F0CE2B1E-B8AA-7605-289C-1A354F7ACAAD}"/>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4" creationId="{D3F9AC1B-C9B3-58D9-E7E1-53BFF6968D94}"/>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5" creationId="{059FD938-9FE6-B660-028C-BAE77560EB76}"/>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6" creationId="{9EC94753-AA55-59E2-F186-7964833C9261}"/>
          </ac:picMkLst>
        </pc:picChg>
        <pc:picChg chg="mod topLvl">
          <ac:chgData name="Nisen, Henrik (BCG Platinion)" userId="23462ed3-8a28-48c0-b94c-224b90eb8d0a" providerId="ADAL" clId="{85BF7E29-B863-8743-821C-9B528FF1FFE4}" dt="2024-04-05T06:43:19.327" v="3077" actId="1076"/>
          <ac:picMkLst>
            <pc:docMk/>
            <pc:sldMk cId="88510384" sldId="2147483609"/>
            <ac:picMk id="1087" creationId="{6D8FE6E8-3CA1-F6DF-4828-1B8462D163C0}"/>
          </ac:picMkLst>
        </pc:picChg>
        <pc:cxnChg chg="del">
          <ac:chgData name="Nisen, Henrik (BCG Platinion)" userId="23462ed3-8a28-48c0-b94c-224b90eb8d0a" providerId="ADAL" clId="{85BF7E29-B863-8743-821C-9B528FF1FFE4}" dt="2024-04-05T06:38:51.839" v="2781" actId="478"/>
          <ac:cxnSpMkLst>
            <pc:docMk/>
            <pc:sldMk cId="88510384" sldId="2147483609"/>
            <ac:cxnSpMk id="10" creationId="{0B16B786-373A-E2FC-3697-039FCF15CDC8}"/>
          </ac:cxnSpMkLst>
        </pc:cxnChg>
        <pc:cxnChg chg="del">
          <ac:chgData name="Nisen, Henrik (BCG Platinion)" userId="23462ed3-8a28-48c0-b94c-224b90eb8d0a" providerId="ADAL" clId="{85BF7E29-B863-8743-821C-9B528FF1FFE4}" dt="2024-04-05T06:38:51.839" v="2781" actId="478"/>
          <ac:cxnSpMkLst>
            <pc:docMk/>
            <pc:sldMk cId="88510384" sldId="2147483609"/>
            <ac:cxnSpMk id="30" creationId="{1BCAE63F-F65B-3710-B97F-26E4C739BC4C}"/>
          </ac:cxnSpMkLst>
        </pc:cxnChg>
        <pc:cxnChg chg="del">
          <ac:chgData name="Nisen, Henrik (BCG Platinion)" userId="23462ed3-8a28-48c0-b94c-224b90eb8d0a" providerId="ADAL" clId="{85BF7E29-B863-8743-821C-9B528FF1FFE4}" dt="2024-04-05T06:38:51.839" v="2781" actId="478"/>
          <ac:cxnSpMkLst>
            <pc:docMk/>
            <pc:sldMk cId="88510384" sldId="2147483609"/>
            <ac:cxnSpMk id="74" creationId="{6594F3FB-C7B6-663A-7F17-68F7B7D2ED96}"/>
          </ac:cxnSpMkLst>
        </pc:cxnChg>
        <pc:cxnChg chg="del">
          <ac:chgData name="Nisen, Henrik (BCG Platinion)" userId="23462ed3-8a28-48c0-b94c-224b90eb8d0a" providerId="ADAL" clId="{85BF7E29-B863-8743-821C-9B528FF1FFE4}" dt="2024-04-05T06:38:51.839" v="2781" actId="478"/>
          <ac:cxnSpMkLst>
            <pc:docMk/>
            <pc:sldMk cId="88510384" sldId="2147483609"/>
            <ac:cxnSpMk id="75" creationId="{E9762DC0-BA2A-4FF9-F7DF-FA815FF2D38C}"/>
          </ac:cxnSpMkLst>
        </pc:cxnChg>
        <pc:cxnChg chg="add del mod">
          <ac:chgData name="Nisen, Henrik (BCG Platinion)" userId="23462ed3-8a28-48c0-b94c-224b90eb8d0a" providerId="ADAL" clId="{85BF7E29-B863-8743-821C-9B528FF1FFE4}" dt="2024-04-05T06:38:57.193" v="2783" actId="478"/>
          <ac:cxnSpMkLst>
            <pc:docMk/>
            <pc:sldMk cId="88510384" sldId="2147483609"/>
            <ac:cxnSpMk id="122" creationId="{6F5C32ED-ABD1-9954-8311-8EA48FC20463}"/>
          </ac:cxnSpMkLst>
        </pc:cxnChg>
        <pc:cxnChg chg="add del mod">
          <ac:chgData name="Nisen, Henrik (BCG Platinion)" userId="23462ed3-8a28-48c0-b94c-224b90eb8d0a" providerId="ADAL" clId="{85BF7E29-B863-8743-821C-9B528FF1FFE4}" dt="2024-04-05T06:38:57.193" v="2783" actId="478"/>
          <ac:cxnSpMkLst>
            <pc:docMk/>
            <pc:sldMk cId="88510384" sldId="2147483609"/>
            <ac:cxnSpMk id="123" creationId="{A94DAC9B-33DC-1035-22F0-96D5A2B2CAF2}"/>
          </ac:cxnSpMkLst>
        </pc:cxnChg>
        <pc:cxnChg chg="add del mod">
          <ac:chgData name="Nisen, Henrik (BCG Platinion)" userId="23462ed3-8a28-48c0-b94c-224b90eb8d0a" providerId="ADAL" clId="{85BF7E29-B863-8743-821C-9B528FF1FFE4}" dt="2024-04-05T06:38:57.193" v="2783" actId="478"/>
          <ac:cxnSpMkLst>
            <pc:docMk/>
            <pc:sldMk cId="88510384" sldId="2147483609"/>
            <ac:cxnSpMk id="124" creationId="{17E843B5-19FC-CDBE-19CF-11F0B7F07BE8}"/>
          </ac:cxnSpMkLst>
        </pc:cxnChg>
        <pc:cxnChg chg="add del mod">
          <ac:chgData name="Nisen, Henrik (BCG Platinion)" userId="23462ed3-8a28-48c0-b94c-224b90eb8d0a" providerId="ADAL" clId="{85BF7E29-B863-8743-821C-9B528FF1FFE4}" dt="2024-04-05T06:38:57.193" v="2783" actId="478"/>
          <ac:cxnSpMkLst>
            <pc:docMk/>
            <pc:sldMk cId="88510384" sldId="2147483609"/>
            <ac:cxnSpMk id="125" creationId="{7B5E3487-3FEB-18AF-87EB-EBFB7B1F8B67}"/>
          </ac:cxnSpMkLst>
        </pc:cxnChg>
        <pc:cxnChg chg="mod topLvl">
          <ac:chgData name="Nisen, Henrik (BCG Platinion)" userId="23462ed3-8a28-48c0-b94c-224b90eb8d0a" providerId="ADAL" clId="{85BF7E29-B863-8743-821C-9B528FF1FFE4}" dt="2024-04-05T06:41:37.144" v="2848" actId="208"/>
          <ac:cxnSpMkLst>
            <pc:docMk/>
            <pc:sldMk cId="88510384" sldId="2147483609"/>
            <ac:cxnSpMk id="128" creationId="{A3545FFA-02B3-7923-B872-3DC953FD7E2A}"/>
          </ac:cxnSpMkLst>
        </pc:cxnChg>
        <pc:cxnChg chg="mod topLvl">
          <ac:chgData name="Nisen, Henrik (BCG Platinion)" userId="23462ed3-8a28-48c0-b94c-224b90eb8d0a" providerId="ADAL" clId="{85BF7E29-B863-8743-821C-9B528FF1FFE4}" dt="2024-04-05T06:41:37.144" v="2848" actId="208"/>
          <ac:cxnSpMkLst>
            <pc:docMk/>
            <pc:sldMk cId="88510384" sldId="2147483609"/>
            <ac:cxnSpMk id="129" creationId="{AE519D03-4091-AC9C-1159-E9B36EDB2B51}"/>
          </ac:cxnSpMkLst>
        </pc:cxnChg>
        <pc:cxnChg chg="mod topLvl">
          <ac:chgData name="Nisen, Henrik (BCG Platinion)" userId="23462ed3-8a28-48c0-b94c-224b90eb8d0a" providerId="ADAL" clId="{85BF7E29-B863-8743-821C-9B528FF1FFE4}" dt="2024-04-05T06:41:37.144" v="2848" actId="208"/>
          <ac:cxnSpMkLst>
            <pc:docMk/>
            <pc:sldMk cId="88510384" sldId="2147483609"/>
            <ac:cxnSpMk id="130" creationId="{56E4AE59-FFDA-4A3C-D752-4A7290CCB52C}"/>
          </ac:cxnSpMkLst>
        </pc:cxnChg>
        <pc:cxnChg chg="mod topLvl">
          <ac:chgData name="Nisen, Henrik (BCG Platinion)" userId="23462ed3-8a28-48c0-b94c-224b90eb8d0a" providerId="ADAL" clId="{85BF7E29-B863-8743-821C-9B528FF1FFE4}" dt="2024-04-05T06:41:37.144" v="2848" actId="208"/>
          <ac:cxnSpMkLst>
            <pc:docMk/>
            <pc:sldMk cId="88510384" sldId="2147483609"/>
            <ac:cxnSpMk id="131" creationId="{1A104717-07E7-A30A-0315-4C71591A9812}"/>
          </ac:cxnSpMkLst>
        </pc:cxnChg>
      </pc:sldChg>
      <pc:sldChg chg="addSp delSp modSp mod modTransition">
        <pc:chgData name="Nisen, Henrik (BCG Platinion)" userId="23462ed3-8a28-48c0-b94c-224b90eb8d0a" providerId="ADAL" clId="{85BF7E29-B863-8743-821C-9B528FF1FFE4}" dt="2024-04-05T08:34:44.540" v="8623"/>
        <pc:sldMkLst>
          <pc:docMk/>
          <pc:sldMk cId="3264993228" sldId="2147483612"/>
        </pc:sldMkLst>
        <pc:spChg chg="mod">
          <ac:chgData name="Nisen, Henrik (BCG Platinion)" userId="23462ed3-8a28-48c0-b94c-224b90eb8d0a" providerId="ADAL" clId="{85BF7E29-B863-8743-821C-9B528FF1FFE4}" dt="2024-04-05T07:00:36.282" v="4342"/>
          <ac:spMkLst>
            <pc:docMk/>
            <pc:sldMk cId="3264993228" sldId="2147483612"/>
            <ac:spMk id="2" creationId="{06AFAE7C-5F6A-B878-93B9-6DE5A9DAA9F7}"/>
          </ac:spMkLst>
        </pc:spChg>
        <pc:spChg chg="mod">
          <ac:chgData name="Nisen, Henrik (BCG Platinion)" userId="23462ed3-8a28-48c0-b94c-224b90eb8d0a" providerId="ADAL" clId="{85BF7E29-B863-8743-821C-9B528FF1FFE4}" dt="2024-04-05T07:00:36.283" v="4343"/>
          <ac:spMkLst>
            <pc:docMk/>
            <pc:sldMk cId="3264993228" sldId="2147483612"/>
            <ac:spMk id="3" creationId="{028D4B8F-B27C-53F5-451A-24CA598898DE}"/>
          </ac:spMkLst>
        </pc:spChg>
        <pc:spChg chg="mod">
          <ac:chgData name="Nisen, Henrik (BCG Platinion)" userId="23462ed3-8a28-48c0-b94c-224b90eb8d0a" providerId="ADAL" clId="{85BF7E29-B863-8743-821C-9B528FF1FFE4}" dt="2024-04-05T07:00:36.283" v="4344"/>
          <ac:spMkLst>
            <pc:docMk/>
            <pc:sldMk cId="3264993228" sldId="2147483612"/>
            <ac:spMk id="4" creationId="{1A68FC50-AA15-FC69-1AB4-767E70C870EA}"/>
          </ac:spMkLst>
        </pc:spChg>
        <pc:spChg chg="mod">
          <ac:chgData name="Nisen, Henrik (BCG Platinion)" userId="23462ed3-8a28-48c0-b94c-224b90eb8d0a" providerId="ADAL" clId="{85BF7E29-B863-8743-821C-9B528FF1FFE4}" dt="2024-04-05T07:02:04.158" v="4588" actId="27636"/>
          <ac:spMkLst>
            <pc:docMk/>
            <pc:sldMk cId="3264993228" sldId="2147483612"/>
            <ac:spMk id="5" creationId="{5F43F86A-EE19-5783-47DD-51DBCADCF320}"/>
          </ac:spMkLst>
        </pc:spChg>
        <pc:spChg chg="del mod">
          <ac:chgData name="Nisen, Henrik (BCG Platinion)" userId="23462ed3-8a28-48c0-b94c-224b90eb8d0a" providerId="ADAL" clId="{85BF7E29-B863-8743-821C-9B528FF1FFE4}" dt="2024-04-05T07:00:52.982" v="4451" actId="478"/>
          <ac:spMkLst>
            <pc:docMk/>
            <pc:sldMk cId="3264993228" sldId="2147483612"/>
            <ac:spMk id="6" creationId="{CC2F7FCE-275B-F6E1-966E-D35A5ACECE5B}"/>
          </ac:spMkLst>
        </pc:spChg>
        <pc:spChg chg="mod">
          <ac:chgData name="Nisen, Henrik (BCG Platinion)" userId="23462ed3-8a28-48c0-b94c-224b90eb8d0a" providerId="ADAL" clId="{85BF7E29-B863-8743-821C-9B528FF1FFE4}" dt="2024-04-05T07:00:36.325" v="4444"/>
          <ac:spMkLst>
            <pc:docMk/>
            <pc:sldMk cId="3264993228" sldId="2147483612"/>
            <ac:spMk id="7" creationId="{13CAEFBA-2787-3AFF-B8CD-42844596EB12}"/>
          </ac:spMkLst>
        </pc:spChg>
        <pc:spChg chg="add del mod modVis">
          <ac:chgData name="Nisen, Henrik (BCG Platinion)" userId="23462ed3-8a28-48c0-b94c-224b90eb8d0a" providerId="ADAL" clId="{85BF7E29-B863-8743-821C-9B528FF1FFE4}" dt="2024-04-05T06:15:56.245" v="1205"/>
          <ac:spMkLst>
            <pc:docMk/>
            <pc:sldMk cId="3264993228" sldId="2147483612"/>
            <ac:spMk id="59" creationId="{77148502-7A9A-D46A-6293-4F8F49EB3BED}"/>
          </ac:spMkLst>
        </pc:spChg>
        <pc:spChg chg="add del mod modVis">
          <ac:chgData name="Nisen, Henrik (BCG Platinion)" userId="23462ed3-8a28-48c0-b94c-224b90eb8d0a" providerId="ADAL" clId="{85BF7E29-B863-8743-821C-9B528FF1FFE4}" dt="2024-04-05T07:00:36.326" v="4448"/>
          <ac:spMkLst>
            <pc:docMk/>
            <pc:sldMk cId="3264993228" sldId="2147483612"/>
            <ac:spMk id="62" creationId="{4515C533-DA18-1BC2-A1CF-59A0F8251E92}"/>
          </ac:spMkLst>
        </pc:spChg>
        <pc:spChg chg="mod">
          <ac:chgData name="Nisen, Henrik (BCG Platinion)" userId="23462ed3-8a28-48c0-b94c-224b90eb8d0a" providerId="ADAL" clId="{85BF7E29-B863-8743-821C-9B528FF1FFE4}" dt="2024-04-05T07:00:36.316" v="4427"/>
          <ac:spMkLst>
            <pc:docMk/>
            <pc:sldMk cId="3264993228" sldId="2147483612"/>
            <ac:spMk id="74" creationId="{D71A5282-49F3-6764-EA72-C2877F184772}"/>
          </ac:spMkLst>
        </pc:spChg>
        <pc:spChg chg="mod">
          <ac:chgData name="Nisen, Henrik (BCG Platinion)" userId="23462ed3-8a28-48c0-b94c-224b90eb8d0a" providerId="ADAL" clId="{85BF7E29-B863-8743-821C-9B528FF1FFE4}" dt="2024-04-05T07:00:36.320" v="4435"/>
          <ac:spMkLst>
            <pc:docMk/>
            <pc:sldMk cId="3264993228" sldId="2147483612"/>
            <ac:spMk id="81" creationId="{E0163D1B-C9FA-D4C6-813D-ACDE33431878}"/>
          </ac:spMkLst>
        </pc:spChg>
        <pc:spChg chg="mod">
          <ac:chgData name="Nisen, Henrik (BCG Platinion)" userId="23462ed3-8a28-48c0-b94c-224b90eb8d0a" providerId="ADAL" clId="{85BF7E29-B863-8743-821C-9B528FF1FFE4}" dt="2024-04-05T07:00:36.318" v="4431"/>
          <ac:spMkLst>
            <pc:docMk/>
            <pc:sldMk cId="3264993228" sldId="2147483612"/>
            <ac:spMk id="82" creationId="{507125FD-ADFF-CC5A-E1C4-C23758A3B673}"/>
          </ac:spMkLst>
        </pc:spChg>
        <pc:spChg chg="mod">
          <ac:chgData name="Nisen, Henrik (BCG Platinion)" userId="23462ed3-8a28-48c0-b94c-224b90eb8d0a" providerId="ADAL" clId="{85BF7E29-B863-8743-821C-9B528FF1FFE4}" dt="2024-04-05T07:00:36.305" v="4406"/>
          <ac:spMkLst>
            <pc:docMk/>
            <pc:sldMk cId="3264993228" sldId="2147483612"/>
            <ac:spMk id="83" creationId="{AFE18B81-E7A2-F65D-4913-C241B16E5C2C}"/>
          </ac:spMkLst>
        </pc:spChg>
        <pc:spChg chg="mod">
          <ac:chgData name="Nisen, Henrik (BCG Platinion)" userId="23462ed3-8a28-48c0-b94c-224b90eb8d0a" providerId="ADAL" clId="{85BF7E29-B863-8743-821C-9B528FF1FFE4}" dt="2024-04-05T07:00:36.306" v="4409"/>
          <ac:spMkLst>
            <pc:docMk/>
            <pc:sldMk cId="3264993228" sldId="2147483612"/>
            <ac:spMk id="84" creationId="{B4B8ED13-3E08-0B69-0A42-D28F6B38D589}"/>
          </ac:spMkLst>
        </pc:spChg>
        <pc:spChg chg="mod">
          <ac:chgData name="Nisen, Henrik (BCG Platinion)" userId="23462ed3-8a28-48c0-b94c-224b90eb8d0a" providerId="ADAL" clId="{85BF7E29-B863-8743-821C-9B528FF1FFE4}" dt="2024-04-05T07:00:36.307" v="4410"/>
          <ac:spMkLst>
            <pc:docMk/>
            <pc:sldMk cId="3264993228" sldId="2147483612"/>
            <ac:spMk id="85" creationId="{54CCB771-87E0-45D8-D4E2-6C47927639D1}"/>
          </ac:spMkLst>
        </pc:spChg>
        <pc:spChg chg="mod">
          <ac:chgData name="Nisen, Henrik (BCG Platinion)" userId="23462ed3-8a28-48c0-b94c-224b90eb8d0a" providerId="ADAL" clId="{85BF7E29-B863-8743-821C-9B528FF1FFE4}" dt="2024-04-05T07:00:36.303" v="4403"/>
          <ac:spMkLst>
            <pc:docMk/>
            <pc:sldMk cId="3264993228" sldId="2147483612"/>
            <ac:spMk id="86" creationId="{EC7EAB62-937D-3E11-49E5-4416F4CA9BE4}"/>
          </ac:spMkLst>
        </pc:spChg>
        <pc:spChg chg="mod">
          <ac:chgData name="Nisen, Henrik (BCG Platinion)" userId="23462ed3-8a28-48c0-b94c-224b90eb8d0a" providerId="ADAL" clId="{85BF7E29-B863-8743-821C-9B528FF1FFE4}" dt="2024-04-05T07:00:36.308" v="4411"/>
          <ac:spMkLst>
            <pc:docMk/>
            <pc:sldMk cId="3264993228" sldId="2147483612"/>
            <ac:spMk id="87" creationId="{7E4A1DFC-1AFA-AE61-AACC-53DA0ABCD7ED}"/>
          </ac:spMkLst>
        </pc:spChg>
        <pc:spChg chg="mod">
          <ac:chgData name="Nisen, Henrik (BCG Platinion)" userId="23462ed3-8a28-48c0-b94c-224b90eb8d0a" providerId="ADAL" clId="{85BF7E29-B863-8743-821C-9B528FF1FFE4}" dt="2024-04-05T07:00:36.305" v="4407"/>
          <ac:spMkLst>
            <pc:docMk/>
            <pc:sldMk cId="3264993228" sldId="2147483612"/>
            <ac:spMk id="88" creationId="{ABEBB86A-0412-3CD5-2BD5-EE33B716C446}"/>
          </ac:spMkLst>
        </pc:spChg>
        <pc:spChg chg="mod">
          <ac:chgData name="Nisen, Henrik (BCG Platinion)" userId="23462ed3-8a28-48c0-b94c-224b90eb8d0a" providerId="ADAL" clId="{85BF7E29-B863-8743-821C-9B528FF1FFE4}" dt="2024-04-05T07:00:36.306" v="4408"/>
          <ac:spMkLst>
            <pc:docMk/>
            <pc:sldMk cId="3264993228" sldId="2147483612"/>
            <ac:spMk id="89" creationId="{6089D362-4ACA-85EF-322C-843A138C53C7}"/>
          </ac:spMkLst>
        </pc:spChg>
        <pc:spChg chg="mod">
          <ac:chgData name="Nisen, Henrik (BCG Platinion)" userId="23462ed3-8a28-48c0-b94c-224b90eb8d0a" providerId="ADAL" clId="{85BF7E29-B863-8743-821C-9B528FF1FFE4}" dt="2024-04-05T07:00:36.317" v="4429"/>
          <ac:spMkLst>
            <pc:docMk/>
            <pc:sldMk cId="3264993228" sldId="2147483612"/>
            <ac:spMk id="90" creationId="{1F8B30C0-5318-F145-2877-44CB344E4F8E}"/>
          </ac:spMkLst>
        </pc:spChg>
        <pc:spChg chg="mod">
          <ac:chgData name="Nisen, Henrik (BCG Platinion)" userId="23462ed3-8a28-48c0-b94c-224b90eb8d0a" providerId="ADAL" clId="{85BF7E29-B863-8743-821C-9B528FF1FFE4}" dt="2024-04-05T07:00:36.309" v="4414"/>
          <ac:spMkLst>
            <pc:docMk/>
            <pc:sldMk cId="3264993228" sldId="2147483612"/>
            <ac:spMk id="91" creationId="{9B303F20-AB14-267E-4385-54511A5E4EFF}"/>
          </ac:spMkLst>
        </pc:spChg>
        <pc:spChg chg="mod">
          <ac:chgData name="Nisen, Henrik (BCG Platinion)" userId="23462ed3-8a28-48c0-b94c-224b90eb8d0a" providerId="ADAL" clId="{85BF7E29-B863-8743-821C-9B528FF1FFE4}" dt="2024-04-05T07:00:36.310" v="4415"/>
          <ac:spMkLst>
            <pc:docMk/>
            <pc:sldMk cId="3264993228" sldId="2147483612"/>
            <ac:spMk id="92" creationId="{4A616973-1823-FC50-CCAD-610D0C5C8D9B}"/>
          </ac:spMkLst>
        </pc:spChg>
        <pc:spChg chg="mod">
          <ac:chgData name="Nisen, Henrik (BCG Platinion)" userId="23462ed3-8a28-48c0-b94c-224b90eb8d0a" providerId="ADAL" clId="{85BF7E29-B863-8743-821C-9B528FF1FFE4}" dt="2024-04-05T07:00:36.308" v="4412"/>
          <ac:spMkLst>
            <pc:docMk/>
            <pc:sldMk cId="3264993228" sldId="2147483612"/>
            <ac:spMk id="93" creationId="{29E4B7E5-FECA-D3FA-CA2F-AA707877C42C}"/>
          </ac:spMkLst>
        </pc:spChg>
        <pc:spChg chg="mod">
          <ac:chgData name="Nisen, Henrik (BCG Platinion)" userId="23462ed3-8a28-48c0-b94c-224b90eb8d0a" providerId="ADAL" clId="{85BF7E29-B863-8743-821C-9B528FF1FFE4}" dt="2024-04-05T07:00:36.309" v="4413"/>
          <ac:spMkLst>
            <pc:docMk/>
            <pc:sldMk cId="3264993228" sldId="2147483612"/>
            <ac:spMk id="94" creationId="{C2990678-E11F-4B33-CC12-C1CB25F727D0}"/>
          </ac:spMkLst>
        </pc:spChg>
        <pc:spChg chg="mod">
          <ac:chgData name="Nisen, Henrik (BCG Platinion)" userId="23462ed3-8a28-48c0-b94c-224b90eb8d0a" providerId="ADAL" clId="{85BF7E29-B863-8743-821C-9B528FF1FFE4}" dt="2024-04-05T07:00:36.319" v="4433"/>
          <ac:spMkLst>
            <pc:docMk/>
            <pc:sldMk cId="3264993228" sldId="2147483612"/>
            <ac:spMk id="95" creationId="{DE2F9691-C8CA-57E7-C586-64654FE2347E}"/>
          </ac:spMkLst>
        </pc:spChg>
        <pc:spChg chg="mod">
          <ac:chgData name="Nisen, Henrik (BCG Platinion)" userId="23462ed3-8a28-48c0-b94c-224b90eb8d0a" providerId="ADAL" clId="{85BF7E29-B863-8743-821C-9B528FF1FFE4}" dt="2024-04-05T07:00:36.317" v="4430"/>
          <ac:spMkLst>
            <pc:docMk/>
            <pc:sldMk cId="3264993228" sldId="2147483612"/>
            <ac:spMk id="96" creationId="{E9E385A3-6731-674A-C0FC-8164870F1C38}"/>
          </ac:spMkLst>
        </pc:spChg>
        <pc:spChg chg="mod">
          <ac:chgData name="Nisen, Henrik (BCG Platinion)" userId="23462ed3-8a28-48c0-b94c-224b90eb8d0a" providerId="ADAL" clId="{85BF7E29-B863-8743-821C-9B528FF1FFE4}" dt="2024-04-05T07:00:36.303" v="4402"/>
          <ac:spMkLst>
            <pc:docMk/>
            <pc:sldMk cId="3264993228" sldId="2147483612"/>
            <ac:spMk id="97" creationId="{0BC40D6A-F5DC-7C6F-B58A-4993CAC64FD2}"/>
          </ac:spMkLst>
        </pc:spChg>
        <pc:spChg chg="mod">
          <ac:chgData name="Nisen, Henrik (BCG Platinion)" userId="23462ed3-8a28-48c0-b94c-224b90eb8d0a" providerId="ADAL" clId="{85BF7E29-B863-8743-821C-9B528FF1FFE4}" dt="2024-04-05T07:00:36.311" v="4417"/>
          <ac:spMkLst>
            <pc:docMk/>
            <pc:sldMk cId="3264993228" sldId="2147483612"/>
            <ac:spMk id="98" creationId="{E75C7AF5-3D91-E4FC-7A99-D1E17C59A47B}"/>
          </ac:spMkLst>
        </pc:spChg>
        <pc:spChg chg="mod">
          <ac:chgData name="Nisen, Henrik (BCG Platinion)" userId="23462ed3-8a28-48c0-b94c-224b90eb8d0a" providerId="ADAL" clId="{85BF7E29-B863-8743-821C-9B528FF1FFE4}" dt="2024-04-05T07:00:36.311" v="4418"/>
          <ac:spMkLst>
            <pc:docMk/>
            <pc:sldMk cId="3264993228" sldId="2147483612"/>
            <ac:spMk id="99" creationId="{118504DE-492B-DDB6-6D40-9648EE176136}"/>
          </ac:spMkLst>
        </pc:spChg>
        <pc:spChg chg="mod">
          <ac:chgData name="Nisen, Henrik (BCG Platinion)" userId="23462ed3-8a28-48c0-b94c-224b90eb8d0a" providerId="ADAL" clId="{85BF7E29-B863-8743-821C-9B528FF1FFE4}" dt="2024-04-05T07:00:36.310" v="4416"/>
          <ac:spMkLst>
            <pc:docMk/>
            <pc:sldMk cId="3264993228" sldId="2147483612"/>
            <ac:spMk id="110" creationId="{5CEB2C8C-C89F-C1FC-1A3D-A48B69815BB1}"/>
          </ac:spMkLst>
        </pc:spChg>
        <pc:spChg chg="mod">
          <ac:chgData name="Nisen, Henrik (BCG Platinion)" userId="23462ed3-8a28-48c0-b94c-224b90eb8d0a" providerId="ADAL" clId="{85BF7E29-B863-8743-821C-9B528FF1FFE4}" dt="2024-04-05T07:00:36.312" v="4419"/>
          <ac:spMkLst>
            <pc:docMk/>
            <pc:sldMk cId="3264993228" sldId="2147483612"/>
            <ac:spMk id="113" creationId="{9C6FEE6F-91DA-C985-FBE8-19CDF3502CA5}"/>
          </ac:spMkLst>
        </pc:spChg>
        <pc:spChg chg="mod">
          <ac:chgData name="Nisen, Henrik (BCG Platinion)" userId="23462ed3-8a28-48c0-b94c-224b90eb8d0a" providerId="ADAL" clId="{85BF7E29-B863-8743-821C-9B528FF1FFE4}" dt="2024-04-05T07:00:36.315" v="4426"/>
          <ac:spMkLst>
            <pc:docMk/>
            <pc:sldMk cId="3264993228" sldId="2147483612"/>
            <ac:spMk id="114" creationId="{59D227CC-4EC7-86E2-2687-3A8018192320}"/>
          </ac:spMkLst>
        </pc:spChg>
        <pc:spChg chg="mod">
          <ac:chgData name="Nisen, Henrik (BCG Platinion)" userId="23462ed3-8a28-48c0-b94c-224b90eb8d0a" providerId="ADAL" clId="{85BF7E29-B863-8743-821C-9B528FF1FFE4}" dt="2024-04-05T07:00:36.315" v="4425"/>
          <ac:spMkLst>
            <pc:docMk/>
            <pc:sldMk cId="3264993228" sldId="2147483612"/>
            <ac:spMk id="115" creationId="{C700AA40-7F42-2ADF-363B-BC79AF8D3E07}"/>
          </ac:spMkLst>
        </pc:spChg>
        <pc:spChg chg="mod">
          <ac:chgData name="Nisen, Henrik (BCG Platinion)" userId="23462ed3-8a28-48c0-b94c-224b90eb8d0a" providerId="ADAL" clId="{85BF7E29-B863-8743-821C-9B528FF1FFE4}" dt="2024-04-05T07:00:36.314" v="4423"/>
          <ac:spMkLst>
            <pc:docMk/>
            <pc:sldMk cId="3264993228" sldId="2147483612"/>
            <ac:spMk id="117" creationId="{C3A50482-98EC-FD1A-1B25-6F7CE1421A70}"/>
          </ac:spMkLst>
        </pc:spChg>
        <pc:spChg chg="mod">
          <ac:chgData name="Nisen, Henrik (BCG Platinion)" userId="23462ed3-8a28-48c0-b94c-224b90eb8d0a" providerId="ADAL" clId="{85BF7E29-B863-8743-821C-9B528FF1FFE4}" dt="2024-04-05T07:00:36.322" v="4439"/>
          <ac:spMkLst>
            <pc:docMk/>
            <pc:sldMk cId="3264993228" sldId="2147483612"/>
            <ac:spMk id="118" creationId="{055340C3-B0BD-D375-8267-A580647F1211}"/>
          </ac:spMkLst>
        </pc:spChg>
        <pc:spChg chg="mod">
          <ac:chgData name="Nisen, Henrik (BCG Platinion)" userId="23462ed3-8a28-48c0-b94c-224b90eb8d0a" providerId="ADAL" clId="{85BF7E29-B863-8743-821C-9B528FF1FFE4}" dt="2024-04-05T07:00:36.320" v="4434"/>
          <ac:spMkLst>
            <pc:docMk/>
            <pc:sldMk cId="3264993228" sldId="2147483612"/>
            <ac:spMk id="119" creationId="{D2ABD258-FEDA-94F7-AA1F-4925B495117C}"/>
          </ac:spMkLst>
        </pc:spChg>
        <pc:spChg chg="mod">
          <ac:chgData name="Nisen, Henrik (BCG Platinion)" userId="23462ed3-8a28-48c0-b94c-224b90eb8d0a" providerId="ADAL" clId="{85BF7E29-B863-8743-821C-9B528FF1FFE4}" dt="2024-04-05T07:00:36.312" v="4420"/>
          <ac:spMkLst>
            <pc:docMk/>
            <pc:sldMk cId="3264993228" sldId="2147483612"/>
            <ac:spMk id="120" creationId="{E7FB1C86-891D-6859-417F-B38A1BC2EE84}"/>
          </ac:spMkLst>
        </pc:spChg>
        <pc:spChg chg="mod">
          <ac:chgData name="Nisen, Henrik (BCG Platinion)" userId="23462ed3-8a28-48c0-b94c-224b90eb8d0a" providerId="ADAL" clId="{85BF7E29-B863-8743-821C-9B528FF1FFE4}" dt="2024-04-05T07:00:36.316" v="4428"/>
          <ac:spMkLst>
            <pc:docMk/>
            <pc:sldMk cId="3264993228" sldId="2147483612"/>
            <ac:spMk id="121" creationId="{DE2B9B86-4C9A-DE4E-7AEF-46F79FEE04E6}"/>
          </ac:spMkLst>
        </pc:spChg>
        <pc:spChg chg="mod">
          <ac:chgData name="Nisen, Henrik (BCG Platinion)" userId="23462ed3-8a28-48c0-b94c-224b90eb8d0a" providerId="ADAL" clId="{85BF7E29-B863-8743-821C-9B528FF1FFE4}" dt="2024-04-05T07:00:36.313" v="4421"/>
          <ac:spMkLst>
            <pc:docMk/>
            <pc:sldMk cId="3264993228" sldId="2147483612"/>
            <ac:spMk id="122" creationId="{501E721F-2C1F-A5D8-35EF-70633179749E}"/>
          </ac:spMkLst>
        </pc:spChg>
        <pc:spChg chg="mod">
          <ac:chgData name="Nisen, Henrik (BCG Platinion)" userId="23462ed3-8a28-48c0-b94c-224b90eb8d0a" providerId="ADAL" clId="{85BF7E29-B863-8743-821C-9B528FF1FFE4}" dt="2024-04-05T07:00:36.313" v="4422"/>
          <ac:spMkLst>
            <pc:docMk/>
            <pc:sldMk cId="3264993228" sldId="2147483612"/>
            <ac:spMk id="123" creationId="{19E8D635-381D-1681-4B0C-FCD896AE3742}"/>
          </ac:spMkLst>
        </pc:spChg>
        <pc:spChg chg="mod">
          <ac:chgData name="Nisen, Henrik (BCG Platinion)" userId="23462ed3-8a28-48c0-b94c-224b90eb8d0a" providerId="ADAL" clId="{85BF7E29-B863-8743-821C-9B528FF1FFE4}" dt="2024-04-05T07:00:36.319" v="4432"/>
          <ac:spMkLst>
            <pc:docMk/>
            <pc:sldMk cId="3264993228" sldId="2147483612"/>
            <ac:spMk id="124" creationId="{E40D43E1-166E-AFE3-64C0-CAE5E4C75659}"/>
          </ac:spMkLst>
        </pc:spChg>
        <pc:spChg chg="mod">
          <ac:chgData name="Nisen, Henrik (BCG Platinion)" userId="23462ed3-8a28-48c0-b94c-224b90eb8d0a" providerId="ADAL" clId="{85BF7E29-B863-8743-821C-9B528FF1FFE4}" dt="2024-04-05T07:00:36.304" v="4404"/>
          <ac:spMkLst>
            <pc:docMk/>
            <pc:sldMk cId="3264993228" sldId="2147483612"/>
            <ac:spMk id="125" creationId="{185F15C4-4260-29DB-91DB-F79B686A726C}"/>
          </ac:spMkLst>
        </pc:spChg>
        <pc:spChg chg="mod">
          <ac:chgData name="Nisen, Henrik (BCG Platinion)" userId="23462ed3-8a28-48c0-b94c-224b90eb8d0a" providerId="ADAL" clId="{85BF7E29-B863-8743-821C-9B528FF1FFE4}" dt="2024-04-05T07:00:36.304" v="4405"/>
          <ac:spMkLst>
            <pc:docMk/>
            <pc:sldMk cId="3264993228" sldId="2147483612"/>
            <ac:spMk id="126" creationId="{E0B7402E-676B-2F43-74BE-9E83AF213B36}"/>
          </ac:spMkLst>
        </pc:spChg>
        <pc:spChg chg="mod">
          <ac:chgData name="Nisen, Henrik (BCG Platinion)" userId="23462ed3-8a28-48c0-b94c-224b90eb8d0a" providerId="ADAL" clId="{85BF7E29-B863-8743-821C-9B528FF1FFE4}" dt="2024-04-05T07:00:36.321" v="4436"/>
          <ac:spMkLst>
            <pc:docMk/>
            <pc:sldMk cId="3264993228" sldId="2147483612"/>
            <ac:spMk id="151" creationId="{9B9E6101-D212-03D3-571C-E5AC64661FDE}"/>
          </ac:spMkLst>
        </pc:spChg>
        <pc:spChg chg="mod">
          <ac:chgData name="Nisen, Henrik (BCG Platinion)" userId="23462ed3-8a28-48c0-b94c-224b90eb8d0a" providerId="ADAL" clId="{85BF7E29-B863-8743-821C-9B528FF1FFE4}" dt="2024-04-05T07:00:36.321" v="4437"/>
          <ac:spMkLst>
            <pc:docMk/>
            <pc:sldMk cId="3264993228" sldId="2147483612"/>
            <ac:spMk id="152" creationId="{16F4A0E5-CCC4-4BF5-60DD-C10945B3E3A8}"/>
          </ac:spMkLst>
        </pc:spChg>
        <pc:spChg chg="mod">
          <ac:chgData name="Nisen, Henrik (BCG Platinion)" userId="23462ed3-8a28-48c0-b94c-224b90eb8d0a" providerId="ADAL" clId="{85BF7E29-B863-8743-821C-9B528FF1FFE4}" dt="2024-04-05T07:00:36.322" v="4438"/>
          <ac:spMkLst>
            <pc:docMk/>
            <pc:sldMk cId="3264993228" sldId="2147483612"/>
            <ac:spMk id="153" creationId="{A13A7F6E-4FEA-CC0B-94FE-02F163A6E7B0}"/>
          </ac:spMkLst>
        </pc:spChg>
        <pc:spChg chg="mod">
          <ac:chgData name="Nisen, Henrik (BCG Platinion)" userId="23462ed3-8a28-48c0-b94c-224b90eb8d0a" providerId="ADAL" clId="{85BF7E29-B863-8743-821C-9B528FF1FFE4}" dt="2024-04-05T07:00:36.314" v="4424"/>
          <ac:spMkLst>
            <pc:docMk/>
            <pc:sldMk cId="3264993228" sldId="2147483612"/>
            <ac:spMk id="160" creationId="{16EF51DD-7098-48EE-B026-42CA8A745259}"/>
          </ac:spMkLst>
        </pc:spChg>
        <pc:spChg chg="mod">
          <ac:chgData name="Nisen, Henrik (BCG Platinion)" userId="23462ed3-8a28-48c0-b94c-224b90eb8d0a" providerId="ADAL" clId="{85BF7E29-B863-8743-821C-9B528FF1FFE4}" dt="2024-04-05T07:01:01.154" v="4478" actId="1036"/>
          <ac:spMkLst>
            <pc:docMk/>
            <pc:sldMk cId="3264993228" sldId="2147483612"/>
            <ac:spMk id="187" creationId="{85E730FD-E453-68E3-722F-CCAAEAB0AEED}"/>
          </ac:spMkLst>
        </pc:spChg>
        <pc:spChg chg="mod">
          <ac:chgData name="Nisen, Henrik (BCG Platinion)" userId="23462ed3-8a28-48c0-b94c-224b90eb8d0a" providerId="ADAL" clId="{85BF7E29-B863-8743-821C-9B528FF1FFE4}" dt="2024-04-05T07:01:01.154" v="4478" actId="1036"/>
          <ac:spMkLst>
            <pc:docMk/>
            <pc:sldMk cId="3264993228" sldId="2147483612"/>
            <ac:spMk id="197" creationId="{ADF2F934-6591-2F6E-1F3D-480D71F6BD5C}"/>
          </ac:spMkLst>
        </pc:spChg>
        <pc:spChg chg="mod">
          <ac:chgData name="Nisen, Henrik (BCG Platinion)" userId="23462ed3-8a28-48c0-b94c-224b90eb8d0a" providerId="ADAL" clId="{85BF7E29-B863-8743-821C-9B528FF1FFE4}" dt="2024-04-05T07:01:24.992" v="4518"/>
          <ac:spMkLst>
            <pc:docMk/>
            <pc:sldMk cId="3264993228" sldId="2147483612"/>
            <ac:spMk id="198" creationId="{0883DDED-8DB4-020D-EC2D-ADACCBBD9F28}"/>
          </ac:spMkLst>
        </pc:spChg>
        <pc:spChg chg="mod">
          <ac:chgData name="Nisen, Henrik (BCG Platinion)" userId="23462ed3-8a28-48c0-b94c-224b90eb8d0a" providerId="ADAL" clId="{85BF7E29-B863-8743-821C-9B528FF1FFE4}" dt="2024-04-05T07:01:01.154" v="4478" actId="1036"/>
          <ac:spMkLst>
            <pc:docMk/>
            <pc:sldMk cId="3264993228" sldId="2147483612"/>
            <ac:spMk id="199" creationId="{AC34FE67-2EB8-6262-0C1A-96B8DCCDDD31}"/>
          </ac:spMkLst>
        </pc:spChg>
        <pc:spChg chg="mod">
          <ac:chgData name="Nisen, Henrik (BCG Platinion)" userId="23462ed3-8a28-48c0-b94c-224b90eb8d0a" providerId="ADAL" clId="{85BF7E29-B863-8743-821C-9B528FF1FFE4}" dt="2024-04-05T07:01:01.154" v="4478" actId="1036"/>
          <ac:spMkLst>
            <pc:docMk/>
            <pc:sldMk cId="3264993228" sldId="2147483612"/>
            <ac:spMk id="200" creationId="{B027357E-F42B-D19B-10F1-456D65B8C5C3}"/>
          </ac:spMkLst>
        </pc:spChg>
        <pc:spChg chg="mod">
          <ac:chgData name="Nisen, Henrik (BCG Platinion)" userId="23462ed3-8a28-48c0-b94c-224b90eb8d0a" providerId="ADAL" clId="{85BF7E29-B863-8743-821C-9B528FF1FFE4}" dt="2024-04-05T07:01:01.154" v="4478" actId="1036"/>
          <ac:spMkLst>
            <pc:docMk/>
            <pc:sldMk cId="3264993228" sldId="2147483612"/>
            <ac:spMk id="201" creationId="{5D1A2B97-9CDB-B845-93A3-B70BD5B51614}"/>
          </ac:spMkLst>
        </pc:spChg>
        <pc:spChg chg="mod">
          <ac:chgData name="Nisen, Henrik (BCG Platinion)" userId="23462ed3-8a28-48c0-b94c-224b90eb8d0a" providerId="ADAL" clId="{85BF7E29-B863-8743-821C-9B528FF1FFE4}" dt="2024-04-05T07:01:22.111" v="4517" actId="20577"/>
          <ac:spMkLst>
            <pc:docMk/>
            <pc:sldMk cId="3264993228" sldId="2147483612"/>
            <ac:spMk id="202" creationId="{7C5FFB9D-5967-0F66-0EB5-DE79EF938D64}"/>
          </ac:spMkLst>
        </pc:spChg>
        <pc:spChg chg="mod">
          <ac:chgData name="Nisen, Henrik (BCG Platinion)" userId="23462ed3-8a28-48c0-b94c-224b90eb8d0a" providerId="ADAL" clId="{85BF7E29-B863-8743-821C-9B528FF1FFE4}" dt="2024-04-05T07:01:01.154" v="4478" actId="1036"/>
          <ac:spMkLst>
            <pc:docMk/>
            <pc:sldMk cId="3264993228" sldId="2147483612"/>
            <ac:spMk id="203" creationId="{48F27D47-8974-6403-180E-CE138DC23E40}"/>
          </ac:spMkLst>
        </pc:spChg>
        <pc:spChg chg="mod">
          <ac:chgData name="Nisen, Henrik (BCG Platinion)" userId="23462ed3-8a28-48c0-b94c-224b90eb8d0a" providerId="ADAL" clId="{85BF7E29-B863-8743-821C-9B528FF1FFE4}" dt="2024-04-05T07:01:29.830" v="4519" actId="20577"/>
          <ac:spMkLst>
            <pc:docMk/>
            <pc:sldMk cId="3264993228" sldId="2147483612"/>
            <ac:spMk id="204" creationId="{FE104843-CCE5-6140-A539-B090271BD5C9}"/>
          </ac:spMkLst>
        </pc:spChg>
        <pc:spChg chg="mod">
          <ac:chgData name="Nisen, Henrik (BCG Platinion)" userId="23462ed3-8a28-48c0-b94c-224b90eb8d0a" providerId="ADAL" clId="{85BF7E29-B863-8743-821C-9B528FF1FFE4}" dt="2024-04-05T07:01:01.154" v="4478" actId="1036"/>
          <ac:spMkLst>
            <pc:docMk/>
            <pc:sldMk cId="3264993228" sldId="2147483612"/>
            <ac:spMk id="205" creationId="{6A10F23C-4006-A109-015F-66C6882DD8CD}"/>
          </ac:spMkLst>
        </pc:spChg>
        <pc:spChg chg="mod">
          <ac:chgData name="Nisen, Henrik (BCG Platinion)" userId="23462ed3-8a28-48c0-b94c-224b90eb8d0a" providerId="ADAL" clId="{85BF7E29-B863-8743-821C-9B528FF1FFE4}" dt="2024-04-05T07:01:10.629" v="4514" actId="20577"/>
          <ac:spMkLst>
            <pc:docMk/>
            <pc:sldMk cId="3264993228" sldId="2147483612"/>
            <ac:spMk id="206" creationId="{86606C3A-50A6-4C8F-79C2-FBC4BDDFB756}"/>
          </ac:spMkLst>
        </pc:spChg>
        <pc:spChg chg="mod">
          <ac:chgData name="Nisen, Henrik (BCG Platinion)" userId="23462ed3-8a28-48c0-b94c-224b90eb8d0a" providerId="ADAL" clId="{85BF7E29-B863-8743-821C-9B528FF1FFE4}" dt="2024-04-05T07:01:01.154" v="4478" actId="1036"/>
          <ac:spMkLst>
            <pc:docMk/>
            <pc:sldMk cId="3264993228" sldId="2147483612"/>
            <ac:spMk id="207" creationId="{F344CE1C-B874-581A-C366-4FA25D0ED4FD}"/>
          </ac:spMkLst>
        </pc:spChg>
        <pc:spChg chg="mod">
          <ac:chgData name="Nisen, Henrik (BCG Platinion)" userId="23462ed3-8a28-48c0-b94c-224b90eb8d0a" providerId="ADAL" clId="{85BF7E29-B863-8743-821C-9B528FF1FFE4}" dt="2024-04-05T07:01:01.154" v="4478" actId="1036"/>
          <ac:spMkLst>
            <pc:docMk/>
            <pc:sldMk cId="3264993228" sldId="2147483612"/>
            <ac:spMk id="208" creationId="{D7B42D78-754A-2F65-DED2-4FFA522DE97A}"/>
          </ac:spMkLst>
        </pc:spChg>
        <pc:spChg chg="mod">
          <ac:chgData name="Nisen, Henrik (BCG Platinion)" userId="23462ed3-8a28-48c0-b94c-224b90eb8d0a" providerId="ADAL" clId="{85BF7E29-B863-8743-821C-9B528FF1FFE4}" dt="2024-04-05T07:01:01.154" v="4478" actId="1036"/>
          <ac:spMkLst>
            <pc:docMk/>
            <pc:sldMk cId="3264993228" sldId="2147483612"/>
            <ac:spMk id="209" creationId="{5AA2CC4E-5A5F-3C79-0F67-C767CF5A78D0}"/>
          </ac:spMkLst>
        </pc:spChg>
        <pc:spChg chg="mod">
          <ac:chgData name="Nisen, Henrik (BCG Platinion)" userId="23462ed3-8a28-48c0-b94c-224b90eb8d0a" providerId="ADAL" clId="{85BF7E29-B863-8743-821C-9B528FF1FFE4}" dt="2024-04-05T07:01:01.154" v="4478" actId="1036"/>
          <ac:spMkLst>
            <pc:docMk/>
            <pc:sldMk cId="3264993228" sldId="2147483612"/>
            <ac:spMk id="210" creationId="{672A9B01-8AAB-25ED-EF9D-1BDA291BE007}"/>
          </ac:spMkLst>
        </pc:spChg>
        <pc:spChg chg="mod">
          <ac:chgData name="Nisen, Henrik (BCG Platinion)" userId="23462ed3-8a28-48c0-b94c-224b90eb8d0a" providerId="ADAL" clId="{85BF7E29-B863-8743-821C-9B528FF1FFE4}" dt="2024-04-05T07:01:01.154" v="4478" actId="1036"/>
          <ac:spMkLst>
            <pc:docMk/>
            <pc:sldMk cId="3264993228" sldId="2147483612"/>
            <ac:spMk id="211" creationId="{C6A55512-24BD-C770-F53B-C9453E4B3E5B}"/>
          </ac:spMkLst>
        </pc:spChg>
        <pc:spChg chg="mod">
          <ac:chgData name="Nisen, Henrik (BCG Platinion)" userId="23462ed3-8a28-48c0-b94c-224b90eb8d0a" providerId="ADAL" clId="{85BF7E29-B863-8743-821C-9B528FF1FFE4}" dt="2024-04-05T07:01:01.154" v="4478" actId="1036"/>
          <ac:spMkLst>
            <pc:docMk/>
            <pc:sldMk cId="3264993228" sldId="2147483612"/>
            <ac:spMk id="212" creationId="{B941C0B2-48B0-3BEA-B8B2-0D4A8660665C}"/>
          </ac:spMkLst>
        </pc:spChg>
        <pc:spChg chg="mod">
          <ac:chgData name="Nisen, Henrik (BCG Platinion)" userId="23462ed3-8a28-48c0-b94c-224b90eb8d0a" providerId="ADAL" clId="{85BF7E29-B863-8743-821C-9B528FF1FFE4}" dt="2024-04-05T07:00:36.324" v="4442"/>
          <ac:spMkLst>
            <pc:docMk/>
            <pc:sldMk cId="3264993228" sldId="2147483612"/>
            <ac:spMk id="244" creationId="{1D74A072-9F09-2A0D-7DB0-06E199DC2306}"/>
          </ac:spMkLst>
        </pc:spChg>
        <pc:spChg chg="mod">
          <ac:chgData name="Nisen, Henrik (BCG Platinion)" userId="23462ed3-8a28-48c0-b94c-224b90eb8d0a" providerId="ADAL" clId="{85BF7E29-B863-8743-821C-9B528FF1FFE4}" dt="2024-04-05T07:00:36.324" v="4443"/>
          <ac:spMkLst>
            <pc:docMk/>
            <pc:sldMk cId="3264993228" sldId="2147483612"/>
            <ac:spMk id="245" creationId="{0E871521-D876-97AE-880B-04E53B46C4C4}"/>
          </ac:spMkLst>
        </pc:spChg>
        <pc:grpChg chg="mod">
          <ac:chgData name="Nisen, Henrik (BCG Platinion)" userId="23462ed3-8a28-48c0-b94c-224b90eb8d0a" providerId="ADAL" clId="{85BF7E29-B863-8743-821C-9B528FF1FFE4}" dt="2024-04-05T07:01:01.154" v="4478" actId="1036"/>
          <ac:grpSpMkLst>
            <pc:docMk/>
            <pc:sldMk cId="3264993228" sldId="2147483612"/>
            <ac:grpSpMk id="189" creationId="{B7D0D2ED-EE4B-5A05-C98C-6DE983A9C445}"/>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0" creationId="{0E4F23FF-6B02-076D-94DE-85690D154868}"/>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1" creationId="{71FBD336-2E8D-680E-A03B-BC92B3B606E9}"/>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2" creationId="{0ADDEF58-71A1-7B2C-2907-3087332F2596}"/>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3" creationId="{DF3C0077-16A2-DB43-713F-B9DA97DA557A}"/>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4" creationId="{28B164E3-2B11-FA44-2A27-23274421E614}"/>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5" creationId="{5ECD1E0C-19D5-AAAF-146E-EEC65050581D}"/>
          </ac:grpSpMkLst>
        </pc:grpChg>
        <pc:grpChg chg="mod">
          <ac:chgData name="Nisen, Henrik (BCG Platinion)" userId="23462ed3-8a28-48c0-b94c-224b90eb8d0a" providerId="ADAL" clId="{85BF7E29-B863-8743-821C-9B528FF1FFE4}" dt="2024-04-05T07:01:01.154" v="4478" actId="1036"/>
          <ac:grpSpMkLst>
            <pc:docMk/>
            <pc:sldMk cId="3264993228" sldId="2147483612"/>
            <ac:grpSpMk id="196" creationId="{8335295C-AC33-43BB-AD80-572CAC58B86D}"/>
          </ac:grpSpMkLst>
        </pc:grpChg>
        <pc:grpChg chg="mod">
          <ac:chgData name="Nisen, Henrik (BCG Platinion)" userId="23462ed3-8a28-48c0-b94c-224b90eb8d0a" providerId="ADAL" clId="{85BF7E29-B863-8743-821C-9B528FF1FFE4}" dt="2024-04-05T07:01:01.154" v="4478" actId="1036"/>
          <ac:grpSpMkLst>
            <pc:docMk/>
            <pc:sldMk cId="3264993228" sldId="2147483612"/>
            <ac:grpSpMk id="215" creationId="{A7DDEF73-46C6-4455-411B-DC2649E31C04}"/>
          </ac:grpSpMkLst>
        </pc:grpChg>
        <pc:graphicFrameChg chg="mod">
          <ac:chgData name="Nisen, Henrik (BCG Platinion)" userId="23462ed3-8a28-48c0-b94c-224b90eb8d0a" providerId="ADAL" clId="{85BF7E29-B863-8743-821C-9B528FF1FFE4}" dt="2024-04-05T07:00:36.331" v="4450"/>
          <ac:graphicFrameMkLst>
            <pc:docMk/>
            <pc:sldMk cId="3264993228" sldId="2147483612"/>
            <ac:graphicFrameMk id="18" creationId="{B1F93F93-8617-34BA-4FE5-87FF8058C959}"/>
          </ac:graphicFrameMkLst>
        </pc:graphicFrameChg>
        <pc:graphicFrameChg chg="add del mod replST">
          <ac:chgData name="Nisen, Henrik (BCG Platinion)" userId="23462ed3-8a28-48c0-b94c-224b90eb8d0a" providerId="ADAL" clId="{85BF7E29-B863-8743-821C-9B528FF1FFE4}" dt="2024-04-05T07:00:36.267" v="4335"/>
          <ac:graphicFrameMkLst>
            <pc:docMk/>
            <pc:sldMk cId="3264993228" sldId="2147483612"/>
            <ac:graphicFrameMk id="60" creationId="{37105F43-2DC4-71D3-4762-1AC06D81417D}"/>
          </ac:graphicFrameMkLst>
        </pc:graphicFrameChg>
        <pc:graphicFrameChg chg="del">
          <ac:chgData name="Nisen, Henrik (BCG Platinion)" userId="23462ed3-8a28-48c0-b94c-224b90eb8d0a" providerId="ADAL" clId="{85BF7E29-B863-8743-821C-9B528FF1FFE4}" dt="2024-04-05T06:15:56.160" v="1092"/>
          <ac:graphicFrameMkLst>
            <pc:docMk/>
            <pc:sldMk cId="3264993228" sldId="2147483612"/>
            <ac:graphicFrameMk id="61" creationId="{3A2E8A2D-EE1E-F2BA-19B0-DA6F73EFCEC2}"/>
          </ac:graphicFrameMkLst>
        </pc:graphicFrameChg>
        <pc:graphicFrameChg chg="add mod replST">
          <ac:chgData name="Nisen, Henrik (BCG Platinion)" userId="23462ed3-8a28-48c0-b94c-224b90eb8d0a" providerId="ADAL" clId="{85BF7E29-B863-8743-821C-9B528FF1FFE4}" dt="2024-04-05T07:00:36.285" v="4347"/>
          <ac:graphicFrameMkLst>
            <pc:docMk/>
            <pc:sldMk cId="3264993228" sldId="2147483612"/>
            <ac:graphicFrameMk id="63" creationId="{B7A5BC09-7EBC-3551-A6B1-9B9D5A446445}"/>
          </ac:graphicFrameMkLst>
        </pc:graphicFrameChg>
        <pc:cxnChg chg="mod">
          <ac:chgData name="Nisen, Henrik (BCG Platinion)" userId="23462ed3-8a28-48c0-b94c-224b90eb8d0a" providerId="ADAL" clId="{85BF7E29-B863-8743-821C-9B528FF1FFE4}" dt="2024-04-05T07:00:36.285" v="4348"/>
          <ac:cxnSpMkLst>
            <pc:docMk/>
            <pc:sldMk cId="3264993228" sldId="2147483612"/>
            <ac:cxnSpMk id="8" creationId="{CB101BB2-1DD9-D2E7-DE9E-243AA1C490F6}"/>
          </ac:cxnSpMkLst>
        </pc:cxnChg>
        <pc:cxnChg chg="mod">
          <ac:chgData name="Nisen, Henrik (BCG Platinion)" userId="23462ed3-8a28-48c0-b94c-224b90eb8d0a" providerId="ADAL" clId="{85BF7E29-B863-8743-821C-9B528FF1FFE4}" dt="2024-04-05T07:00:36.285" v="4349"/>
          <ac:cxnSpMkLst>
            <pc:docMk/>
            <pc:sldMk cId="3264993228" sldId="2147483612"/>
            <ac:cxnSpMk id="9" creationId="{DC916649-BE79-0916-997C-1E9A9C67FFBD}"/>
          </ac:cxnSpMkLst>
        </pc:cxnChg>
        <pc:cxnChg chg="mod">
          <ac:chgData name="Nisen, Henrik (BCG Platinion)" userId="23462ed3-8a28-48c0-b94c-224b90eb8d0a" providerId="ADAL" clId="{85BF7E29-B863-8743-821C-9B528FF1FFE4}" dt="2024-04-05T07:00:36.286" v="4350"/>
          <ac:cxnSpMkLst>
            <pc:docMk/>
            <pc:sldMk cId="3264993228" sldId="2147483612"/>
            <ac:cxnSpMk id="10" creationId="{DE1668FF-B385-E8D0-7E4F-845E9BA2B386}"/>
          </ac:cxnSpMkLst>
        </pc:cxnChg>
        <pc:cxnChg chg="mod">
          <ac:chgData name="Nisen, Henrik (BCG Platinion)" userId="23462ed3-8a28-48c0-b94c-224b90eb8d0a" providerId="ADAL" clId="{85BF7E29-B863-8743-821C-9B528FF1FFE4}" dt="2024-04-05T07:00:36.286" v="4351"/>
          <ac:cxnSpMkLst>
            <pc:docMk/>
            <pc:sldMk cId="3264993228" sldId="2147483612"/>
            <ac:cxnSpMk id="11" creationId="{34D7FB03-B29D-2854-22C8-8E82FCB53072}"/>
          </ac:cxnSpMkLst>
        </pc:cxnChg>
        <pc:cxnChg chg="mod">
          <ac:chgData name="Nisen, Henrik (BCG Platinion)" userId="23462ed3-8a28-48c0-b94c-224b90eb8d0a" providerId="ADAL" clId="{85BF7E29-B863-8743-821C-9B528FF1FFE4}" dt="2024-04-05T07:00:36.286" v="4352"/>
          <ac:cxnSpMkLst>
            <pc:docMk/>
            <pc:sldMk cId="3264993228" sldId="2147483612"/>
            <ac:cxnSpMk id="12" creationId="{56B21ECE-5BFF-2624-A9D3-7DCC8628FB67}"/>
          </ac:cxnSpMkLst>
        </pc:cxnChg>
        <pc:cxnChg chg="mod">
          <ac:chgData name="Nisen, Henrik (BCG Platinion)" userId="23462ed3-8a28-48c0-b94c-224b90eb8d0a" providerId="ADAL" clId="{85BF7E29-B863-8743-821C-9B528FF1FFE4}" dt="2024-04-05T07:00:36.287" v="4353"/>
          <ac:cxnSpMkLst>
            <pc:docMk/>
            <pc:sldMk cId="3264993228" sldId="2147483612"/>
            <ac:cxnSpMk id="13" creationId="{C4AA725F-B581-5FF3-E09C-E2367C21EFE6}"/>
          </ac:cxnSpMkLst>
        </pc:cxnChg>
        <pc:cxnChg chg="mod">
          <ac:chgData name="Nisen, Henrik (BCG Platinion)" userId="23462ed3-8a28-48c0-b94c-224b90eb8d0a" providerId="ADAL" clId="{85BF7E29-B863-8743-821C-9B528FF1FFE4}" dt="2024-04-05T07:00:36.287" v="4354"/>
          <ac:cxnSpMkLst>
            <pc:docMk/>
            <pc:sldMk cId="3264993228" sldId="2147483612"/>
            <ac:cxnSpMk id="14" creationId="{4E005F48-A73C-B787-B7E2-A1B31CF5C47F}"/>
          </ac:cxnSpMkLst>
        </pc:cxnChg>
        <pc:cxnChg chg="mod">
          <ac:chgData name="Nisen, Henrik (BCG Platinion)" userId="23462ed3-8a28-48c0-b94c-224b90eb8d0a" providerId="ADAL" clId="{85BF7E29-B863-8743-821C-9B528FF1FFE4}" dt="2024-04-05T07:00:36.288" v="4357"/>
          <ac:cxnSpMkLst>
            <pc:docMk/>
            <pc:sldMk cId="3264993228" sldId="2147483612"/>
            <ac:cxnSpMk id="15" creationId="{78325BB2-9DB9-F93B-F781-E35910F73BE5}"/>
          </ac:cxnSpMkLst>
        </pc:cxnChg>
        <pc:cxnChg chg="mod">
          <ac:chgData name="Nisen, Henrik (BCG Platinion)" userId="23462ed3-8a28-48c0-b94c-224b90eb8d0a" providerId="ADAL" clId="{85BF7E29-B863-8743-821C-9B528FF1FFE4}" dt="2024-04-05T07:00:36.288" v="4356"/>
          <ac:cxnSpMkLst>
            <pc:docMk/>
            <pc:sldMk cId="3264993228" sldId="2147483612"/>
            <ac:cxnSpMk id="16" creationId="{780C3784-D567-1669-06AF-CC26B2FBF6D1}"/>
          </ac:cxnSpMkLst>
        </pc:cxnChg>
        <pc:cxnChg chg="mod">
          <ac:chgData name="Nisen, Henrik (BCG Platinion)" userId="23462ed3-8a28-48c0-b94c-224b90eb8d0a" providerId="ADAL" clId="{85BF7E29-B863-8743-821C-9B528FF1FFE4}" dt="2024-04-05T07:00:36.287" v="4355"/>
          <ac:cxnSpMkLst>
            <pc:docMk/>
            <pc:sldMk cId="3264993228" sldId="2147483612"/>
            <ac:cxnSpMk id="17" creationId="{F42EDAA8-1DEE-E253-43EB-17A816D3BB83}"/>
          </ac:cxnSpMkLst>
        </pc:cxnChg>
        <pc:cxnChg chg="mod">
          <ac:chgData name="Nisen, Henrik (BCG Platinion)" userId="23462ed3-8a28-48c0-b94c-224b90eb8d0a" providerId="ADAL" clId="{85BF7E29-B863-8743-821C-9B528FF1FFE4}" dt="2024-04-05T07:00:36.288" v="4358"/>
          <ac:cxnSpMkLst>
            <pc:docMk/>
            <pc:sldMk cId="3264993228" sldId="2147483612"/>
            <ac:cxnSpMk id="19" creationId="{5987A039-FD10-ADE1-6010-CE5A53B7F21D}"/>
          </ac:cxnSpMkLst>
        </pc:cxnChg>
        <pc:cxnChg chg="mod">
          <ac:chgData name="Nisen, Henrik (BCG Platinion)" userId="23462ed3-8a28-48c0-b94c-224b90eb8d0a" providerId="ADAL" clId="{85BF7E29-B863-8743-821C-9B528FF1FFE4}" dt="2024-04-05T07:00:36.289" v="4359"/>
          <ac:cxnSpMkLst>
            <pc:docMk/>
            <pc:sldMk cId="3264993228" sldId="2147483612"/>
            <ac:cxnSpMk id="20" creationId="{08171B52-CE2F-90AE-71FC-7745EDB3D03B}"/>
          </ac:cxnSpMkLst>
        </pc:cxnChg>
        <pc:cxnChg chg="mod">
          <ac:chgData name="Nisen, Henrik (BCG Platinion)" userId="23462ed3-8a28-48c0-b94c-224b90eb8d0a" providerId="ADAL" clId="{85BF7E29-B863-8743-821C-9B528FF1FFE4}" dt="2024-04-05T07:00:36.289" v="4360"/>
          <ac:cxnSpMkLst>
            <pc:docMk/>
            <pc:sldMk cId="3264993228" sldId="2147483612"/>
            <ac:cxnSpMk id="21" creationId="{834471C1-79BA-6428-5B6A-87DAF5335028}"/>
          </ac:cxnSpMkLst>
        </pc:cxnChg>
        <pc:cxnChg chg="mod">
          <ac:chgData name="Nisen, Henrik (BCG Platinion)" userId="23462ed3-8a28-48c0-b94c-224b90eb8d0a" providerId="ADAL" clId="{85BF7E29-B863-8743-821C-9B528FF1FFE4}" dt="2024-04-05T07:00:36.290" v="4362"/>
          <ac:cxnSpMkLst>
            <pc:docMk/>
            <pc:sldMk cId="3264993228" sldId="2147483612"/>
            <ac:cxnSpMk id="22" creationId="{B45D840F-D4F0-AC55-9F76-A10417065DAD}"/>
          </ac:cxnSpMkLst>
        </pc:cxnChg>
        <pc:cxnChg chg="mod">
          <ac:chgData name="Nisen, Henrik (BCG Platinion)" userId="23462ed3-8a28-48c0-b94c-224b90eb8d0a" providerId="ADAL" clId="{85BF7E29-B863-8743-821C-9B528FF1FFE4}" dt="2024-04-05T07:00:36.290" v="4363"/>
          <ac:cxnSpMkLst>
            <pc:docMk/>
            <pc:sldMk cId="3264993228" sldId="2147483612"/>
            <ac:cxnSpMk id="23" creationId="{10CCA6FF-CF9B-CFF3-B03A-5F7879539A31}"/>
          </ac:cxnSpMkLst>
        </pc:cxnChg>
        <pc:cxnChg chg="mod">
          <ac:chgData name="Nisen, Henrik (BCG Platinion)" userId="23462ed3-8a28-48c0-b94c-224b90eb8d0a" providerId="ADAL" clId="{85BF7E29-B863-8743-821C-9B528FF1FFE4}" dt="2024-04-05T07:00:36.289" v="4361"/>
          <ac:cxnSpMkLst>
            <pc:docMk/>
            <pc:sldMk cId="3264993228" sldId="2147483612"/>
            <ac:cxnSpMk id="24" creationId="{DBBB8302-2E6B-B9F5-4BEE-A358C422D8B9}"/>
          </ac:cxnSpMkLst>
        </pc:cxnChg>
        <pc:cxnChg chg="mod">
          <ac:chgData name="Nisen, Henrik (BCG Platinion)" userId="23462ed3-8a28-48c0-b94c-224b90eb8d0a" providerId="ADAL" clId="{85BF7E29-B863-8743-821C-9B528FF1FFE4}" dt="2024-04-05T07:00:36.290" v="4364"/>
          <ac:cxnSpMkLst>
            <pc:docMk/>
            <pc:sldMk cId="3264993228" sldId="2147483612"/>
            <ac:cxnSpMk id="25" creationId="{C16ED6B2-6200-BE92-1C61-7C064385A6DB}"/>
          </ac:cxnSpMkLst>
        </pc:cxnChg>
        <pc:cxnChg chg="mod">
          <ac:chgData name="Nisen, Henrik (BCG Platinion)" userId="23462ed3-8a28-48c0-b94c-224b90eb8d0a" providerId="ADAL" clId="{85BF7E29-B863-8743-821C-9B528FF1FFE4}" dt="2024-04-05T07:00:36.291" v="4366"/>
          <ac:cxnSpMkLst>
            <pc:docMk/>
            <pc:sldMk cId="3264993228" sldId="2147483612"/>
            <ac:cxnSpMk id="26" creationId="{7532D461-A228-DF33-4BEE-FAB3CC8879E9}"/>
          </ac:cxnSpMkLst>
        </pc:cxnChg>
        <pc:cxnChg chg="mod">
          <ac:chgData name="Nisen, Henrik (BCG Platinion)" userId="23462ed3-8a28-48c0-b94c-224b90eb8d0a" providerId="ADAL" clId="{85BF7E29-B863-8743-821C-9B528FF1FFE4}" dt="2024-04-05T07:00:36.291" v="4365"/>
          <ac:cxnSpMkLst>
            <pc:docMk/>
            <pc:sldMk cId="3264993228" sldId="2147483612"/>
            <ac:cxnSpMk id="27" creationId="{EE1CC03E-FCFB-5A49-E5BC-8837A3DC2DF2}"/>
          </ac:cxnSpMkLst>
        </pc:cxnChg>
        <pc:cxnChg chg="mod">
          <ac:chgData name="Nisen, Henrik (BCG Platinion)" userId="23462ed3-8a28-48c0-b94c-224b90eb8d0a" providerId="ADAL" clId="{85BF7E29-B863-8743-821C-9B528FF1FFE4}" dt="2024-04-05T07:00:36.292" v="4368"/>
          <ac:cxnSpMkLst>
            <pc:docMk/>
            <pc:sldMk cId="3264993228" sldId="2147483612"/>
            <ac:cxnSpMk id="28" creationId="{4564507F-4F35-081B-8470-E2893F8BF21A}"/>
          </ac:cxnSpMkLst>
        </pc:cxnChg>
        <pc:cxnChg chg="mod">
          <ac:chgData name="Nisen, Henrik (BCG Platinion)" userId="23462ed3-8a28-48c0-b94c-224b90eb8d0a" providerId="ADAL" clId="{85BF7E29-B863-8743-821C-9B528FF1FFE4}" dt="2024-04-05T07:00:36.292" v="4369"/>
          <ac:cxnSpMkLst>
            <pc:docMk/>
            <pc:sldMk cId="3264993228" sldId="2147483612"/>
            <ac:cxnSpMk id="29" creationId="{9D4CE214-7D40-9425-5D65-D34575C7B343}"/>
          </ac:cxnSpMkLst>
        </pc:cxnChg>
        <pc:cxnChg chg="mod">
          <ac:chgData name="Nisen, Henrik (BCG Platinion)" userId="23462ed3-8a28-48c0-b94c-224b90eb8d0a" providerId="ADAL" clId="{85BF7E29-B863-8743-821C-9B528FF1FFE4}" dt="2024-04-05T07:00:36.291" v="4367"/>
          <ac:cxnSpMkLst>
            <pc:docMk/>
            <pc:sldMk cId="3264993228" sldId="2147483612"/>
            <ac:cxnSpMk id="30" creationId="{31155AC3-64CB-8436-5B8F-62CDC1D2BC07}"/>
          </ac:cxnSpMkLst>
        </pc:cxnChg>
        <pc:cxnChg chg="mod">
          <ac:chgData name="Nisen, Henrik (BCG Platinion)" userId="23462ed3-8a28-48c0-b94c-224b90eb8d0a" providerId="ADAL" clId="{85BF7E29-B863-8743-821C-9B528FF1FFE4}" dt="2024-04-05T07:00:36.292" v="4370"/>
          <ac:cxnSpMkLst>
            <pc:docMk/>
            <pc:sldMk cId="3264993228" sldId="2147483612"/>
            <ac:cxnSpMk id="31" creationId="{64F30394-3700-69ED-54BD-9EB787A68245}"/>
          </ac:cxnSpMkLst>
        </pc:cxnChg>
        <pc:cxnChg chg="mod">
          <ac:chgData name="Nisen, Henrik (BCG Platinion)" userId="23462ed3-8a28-48c0-b94c-224b90eb8d0a" providerId="ADAL" clId="{85BF7E29-B863-8743-821C-9B528FF1FFE4}" dt="2024-04-05T07:00:36.293" v="4371"/>
          <ac:cxnSpMkLst>
            <pc:docMk/>
            <pc:sldMk cId="3264993228" sldId="2147483612"/>
            <ac:cxnSpMk id="32" creationId="{E7E0E9AE-2417-69EC-509C-031F0C4681A5}"/>
          </ac:cxnSpMkLst>
        </pc:cxnChg>
        <pc:cxnChg chg="mod">
          <ac:chgData name="Nisen, Henrik (BCG Platinion)" userId="23462ed3-8a28-48c0-b94c-224b90eb8d0a" providerId="ADAL" clId="{85BF7E29-B863-8743-821C-9B528FF1FFE4}" dt="2024-04-05T07:00:36.293" v="4374"/>
          <ac:cxnSpMkLst>
            <pc:docMk/>
            <pc:sldMk cId="3264993228" sldId="2147483612"/>
            <ac:cxnSpMk id="33" creationId="{D86343AC-4F54-0047-8AA2-B59575F34CDB}"/>
          </ac:cxnSpMkLst>
        </pc:cxnChg>
        <pc:cxnChg chg="mod">
          <ac:chgData name="Nisen, Henrik (BCG Platinion)" userId="23462ed3-8a28-48c0-b94c-224b90eb8d0a" providerId="ADAL" clId="{85BF7E29-B863-8743-821C-9B528FF1FFE4}" dt="2024-04-05T07:00:36.293" v="4372"/>
          <ac:cxnSpMkLst>
            <pc:docMk/>
            <pc:sldMk cId="3264993228" sldId="2147483612"/>
            <ac:cxnSpMk id="34" creationId="{1780A85B-BEE4-A815-284D-5F638E4658A1}"/>
          </ac:cxnSpMkLst>
        </pc:cxnChg>
        <pc:cxnChg chg="mod">
          <ac:chgData name="Nisen, Henrik (BCG Platinion)" userId="23462ed3-8a28-48c0-b94c-224b90eb8d0a" providerId="ADAL" clId="{85BF7E29-B863-8743-821C-9B528FF1FFE4}" dt="2024-04-05T07:00:36.293" v="4373"/>
          <ac:cxnSpMkLst>
            <pc:docMk/>
            <pc:sldMk cId="3264993228" sldId="2147483612"/>
            <ac:cxnSpMk id="35" creationId="{37AB657F-BD56-BDBF-734A-A2439B2BB7F2}"/>
          </ac:cxnSpMkLst>
        </pc:cxnChg>
        <pc:cxnChg chg="mod">
          <ac:chgData name="Nisen, Henrik (BCG Platinion)" userId="23462ed3-8a28-48c0-b94c-224b90eb8d0a" providerId="ADAL" clId="{85BF7E29-B863-8743-821C-9B528FF1FFE4}" dt="2024-04-05T07:00:36.294" v="4377"/>
          <ac:cxnSpMkLst>
            <pc:docMk/>
            <pc:sldMk cId="3264993228" sldId="2147483612"/>
            <ac:cxnSpMk id="36" creationId="{BC5D919A-DAA9-03F4-CCE3-49F6BAFEC69F}"/>
          </ac:cxnSpMkLst>
        </pc:cxnChg>
        <pc:cxnChg chg="mod">
          <ac:chgData name="Nisen, Henrik (BCG Platinion)" userId="23462ed3-8a28-48c0-b94c-224b90eb8d0a" providerId="ADAL" clId="{85BF7E29-B863-8743-821C-9B528FF1FFE4}" dt="2024-04-05T07:00:36.294" v="4375"/>
          <ac:cxnSpMkLst>
            <pc:docMk/>
            <pc:sldMk cId="3264993228" sldId="2147483612"/>
            <ac:cxnSpMk id="37" creationId="{22395034-C814-D6D8-FC24-616EFC857245}"/>
          </ac:cxnSpMkLst>
        </pc:cxnChg>
        <pc:cxnChg chg="mod">
          <ac:chgData name="Nisen, Henrik (BCG Platinion)" userId="23462ed3-8a28-48c0-b94c-224b90eb8d0a" providerId="ADAL" clId="{85BF7E29-B863-8743-821C-9B528FF1FFE4}" dt="2024-04-05T07:00:36.294" v="4376"/>
          <ac:cxnSpMkLst>
            <pc:docMk/>
            <pc:sldMk cId="3264993228" sldId="2147483612"/>
            <ac:cxnSpMk id="38" creationId="{16136DAE-2209-D0AE-5FAA-915D0495EF69}"/>
          </ac:cxnSpMkLst>
        </pc:cxnChg>
        <pc:cxnChg chg="mod">
          <ac:chgData name="Nisen, Henrik (BCG Platinion)" userId="23462ed3-8a28-48c0-b94c-224b90eb8d0a" providerId="ADAL" clId="{85BF7E29-B863-8743-821C-9B528FF1FFE4}" dt="2024-04-05T07:00:36.295" v="4380"/>
          <ac:cxnSpMkLst>
            <pc:docMk/>
            <pc:sldMk cId="3264993228" sldId="2147483612"/>
            <ac:cxnSpMk id="39" creationId="{4989D6F6-272D-214A-FC93-A3663B027D30}"/>
          </ac:cxnSpMkLst>
        </pc:cxnChg>
        <pc:cxnChg chg="mod">
          <ac:chgData name="Nisen, Henrik (BCG Platinion)" userId="23462ed3-8a28-48c0-b94c-224b90eb8d0a" providerId="ADAL" clId="{85BF7E29-B863-8743-821C-9B528FF1FFE4}" dt="2024-04-05T07:00:36.295" v="4378"/>
          <ac:cxnSpMkLst>
            <pc:docMk/>
            <pc:sldMk cId="3264993228" sldId="2147483612"/>
            <ac:cxnSpMk id="40" creationId="{3A461933-EC3D-9826-8DE6-DBE360CE61CD}"/>
          </ac:cxnSpMkLst>
        </pc:cxnChg>
        <pc:cxnChg chg="mod">
          <ac:chgData name="Nisen, Henrik (BCG Platinion)" userId="23462ed3-8a28-48c0-b94c-224b90eb8d0a" providerId="ADAL" clId="{85BF7E29-B863-8743-821C-9B528FF1FFE4}" dt="2024-04-05T07:00:36.295" v="4379"/>
          <ac:cxnSpMkLst>
            <pc:docMk/>
            <pc:sldMk cId="3264993228" sldId="2147483612"/>
            <ac:cxnSpMk id="41" creationId="{05904A67-F535-CA2B-11F8-711D494E15CB}"/>
          </ac:cxnSpMkLst>
        </pc:cxnChg>
        <pc:cxnChg chg="mod">
          <ac:chgData name="Nisen, Henrik (BCG Platinion)" userId="23462ed3-8a28-48c0-b94c-224b90eb8d0a" providerId="ADAL" clId="{85BF7E29-B863-8743-821C-9B528FF1FFE4}" dt="2024-04-05T07:00:36.296" v="4382"/>
          <ac:cxnSpMkLst>
            <pc:docMk/>
            <pc:sldMk cId="3264993228" sldId="2147483612"/>
            <ac:cxnSpMk id="42" creationId="{25187C55-80AE-5FF3-D4AB-20D2A3163FC1}"/>
          </ac:cxnSpMkLst>
        </pc:cxnChg>
        <pc:cxnChg chg="mod">
          <ac:chgData name="Nisen, Henrik (BCG Platinion)" userId="23462ed3-8a28-48c0-b94c-224b90eb8d0a" providerId="ADAL" clId="{85BF7E29-B863-8743-821C-9B528FF1FFE4}" dt="2024-04-05T07:00:36.297" v="4383"/>
          <ac:cxnSpMkLst>
            <pc:docMk/>
            <pc:sldMk cId="3264993228" sldId="2147483612"/>
            <ac:cxnSpMk id="43" creationId="{85B04080-5BDF-394C-25D1-6D397A1E68B3}"/>
          </ac:cxnSpMkLst>
        </pc:cxnChg>
        <pc:cxnChg chg="mod">
          <ac:chgData name="Nisen, Henrik (BCG Platinion)" userId="23462ed3-8a28-48c0-b94c-224b90eb8d0a" providerId="ADAL" clId="{85BF7E29-B863-8743-821C-9B528FF1FFE4}" dt="2024-04-05T07:00:36.296" v="4381"/>
          <ac:cxnSpMkLst>
            <pc:docMk/>
            <pc:sldMk cId="3264993228" sldId="2147483612"/>
            <ac:cxnSpMk id="44" creationId="{5A554B0E-F4A1-7A8E-97E4-C0257381C25B}"/>
          </ac:cxnSpMkLst>
        </pc:cxnChg>
        <pc:cxnChg chg="mod">
          <ac:chgData name="Nisen, Henrik (BCG Platinion)" userId="23462ed3-8a28-48c0-b94c-224b90eb8d0a" providerId="ADAL" clId="{85BF7E29-B863-8743-821C-9B528FF1FFE4}" dt="2024-04-05T07:00:36.297" v="4385"/>
          <ac:cxnSpMkLst>
            <pc:docMk/>
            <pc:sldMk cId="3264993228" sldId="2147483612"/>
            <ac:cxnSpMk id="45" creationId="{4937A4A1-074E-7D0F-12E4-1C4F80B8FDBF}"/>
          </ac:cxnSpMkLst>
        </pc:cxnChg>
        <pc:cxnChg chg="mod">
          <ac:chgData name="Nisen, Henrik (BCG Platinion)" userId="23462ed3-8a28-48c0-b94c-224b90eb8d0a" providerId="ADAL" clId="{85BF7E29-B863-8743-821C-9B528FF1FFE4}" dt="2024-04-05T07:00:36.297" v="4386"/>
          <ac:cxnSpMkLst>
            <pc:docMk/>
            <pc:sldMk cId="3264993228" sldId="2147483612"/>
            <ac:cxnSpMk id="46" creationId="{348C3654-4E0C-83CB-0723-6F6D1771236A}"/>
          </ac:cxnSpMkLst>
        </pc:cxnChg>
        <pc:cxnChg chg="mod">
          <ac:chgData name="Nisen, Henrik (BCG Platinion)" userId="23462ed3-8a28-48c0-b94c-224b90eb8d0a" providerId="ADAL" clId="{85BF7E29-B863-8743-821C-9B528FF1FFE4}" dt="2024-04-05T07:00:36.297" v="4384"/>
          <ac:cxnSpMkLst>
            <pc:docMk/>
            <pc:sldMk cId="3264993228" sldId="2147483612"/>
            <ac:cxnSpMk id="47" creationId="{81529735-0891-005E-170B-1CD56658A7F0}"/>
          </ac:cxnSpMkLst>
        </pc:cxnChg>
        <pc:cxnChg chg="mod">
          <ac:chgData name="Nisen, Henrik (BCG Platinion)" userId="23462ed3-8a28-48c0-b94c-224b90eb8d0a" providerId="ADAL" clId="{85BF7E29-B863-8743-821C-9B528FF1FFE4}" dt="2024-04-05T07:00:36.298" v="4388"/>
          <ac:cxnSpMkLst>
            <pc:docMk/>
            <pc:sldMk cId="3264993228" sldId="2147483612"/>
            <ac:cxnSpMk id="48" creationId="{8D40EDDF-96D8-9E39-8AB3-2684BD359FE8}"/>
          </ac:cxnSpMkLst>
        </pc:cxnChg>
        <pc:cxnChg chg="mod">
          <ac:chgData name="Nisen, Henrik (BCG Platinion)" userId="23462ed3-8a28-48c0-b94c-224b90eb8d0a" providerId="ADAL" clId="{85BF7E29-B863-8743-821C-9B528FF1FFE4}" dt="2024-04-05T07:00:36.298" v="4387"/>
          <ac:cxnSpMkLst>
            <pc:docMk/>
            <pc:sldMk cId="3264993228" sldId="2147483612"/>
            <ac:cxnSpMk id="49" creationId="{605FD5B3-CE24-DCF8-18F8-32D653539833}"/>
          </ac:cxnSpMkLst>
        </pc:cxnChg>
        <pc:cxnChg chg="mod">
          <ac:chgData name="Nisen, Henrik (BCG Platinion)" userId="23462ed3-8a28-48c0-b94c-224b90eb8d0a" providerId="ADAL" clId="{85BF7E29-B863-8743-821C-9B528FF1FFE4}" dt="2024-04-05T07:00:36.299" v="4390"/>
          <ac:cxnSpMkLst>
            <pc:docMk/>
            <pc:sldMk cId="3264993228" sldId="2147483612"/>
            <ac:cxnSpMk id="50" creationId="{AF8A5EE0-C97C-7077-2236-8D2C06200986}"/>
          </ac:cxnSpMkLst>
        </pc:cxnChg>
        <pc:cxnChg chg="mod">
          <ac:chgData name="Nisen, Henrik (BCG Platinion)" userId="23462ed3-8a28-48c0-b94c-224b90eb8d0a" providerId="ADAL" clId="{85BF7E29-B863-8743-821C-9B528FF1FFE4}" dt="2024-04-05T07:00:36.299" v="4391"/>
          <ac:cxnSpMkLst>
            <pc:docMk/>
            <pc:sldMk cId="3264993228" sldId="2147483612"/>
            <ac:cxnSpMk id="51" creationId="{F0CFA4FC-21DA-A4C4-DA81-D0D69497B02C}"/>
          </ac:cxnSpMkLst>
        </pc:cxnChg>
        <pc:cxnChg chg="mod">
          <ac:chgData name="Nisen, Henrik (BCG Platinion)" userId="23462ed3-8a28-48c0-b94c-224b90eb8d0a" providerId="ADAL" clId="{85BF7E29-B863-8743-821C-9B528FF1FFE4}" dt="2024-04-05T07:00:36.298" v="4389"/>
          <ac:cxnSpMkLst>
            <pc:docMk/>
            <pc:sldMk cId="3264993228" sldId="2147483612"/>
            <ac:cxnSpMk id="52" creationId="{85DE3CEA-5898-AFA4-9090-BA168A6BAC04}"/>
          </ac:cxnSpMkLst>
        </pc:cxnChg>
        <pc:cxnChg chg="mod">
          <ac:chgData name="Nisen, Henrik (BCG Platinion)" userId="23462ed3-8a28-48c0-b94c-224b90eb8d0a" providerId="ADAL" clId="{85BF7E29-B863-8743-821C-9B528FF1FFE4}" dt="2024-04-05T07:00:36.299" v="4392"/>
          <ac:cxnSpMkLst>
            <pc:docMk/>
            <pc:sldMk cId="3264993228" sldId="2147483612"/>
            <ac:cxnSpMk id="53" creationId="{CE3F733B-5FE0-EC6E-184B-A0E64B971CE0}"/>
          </ac:cxnSpMkLst>
        </pc:cxnChg>
        <pc:cxnChg chg="mod">
          <ac:chgData name="Nisen, Henrik (BCG Platinion)" userId="23462ed3-8a28-48c0-b94c-224b90eb8d0a" providerId="ADAL" clId="{85BF7E29-B863-8743-821C-9B528FF1FFE4}" dt="2024-04-05T07:00:36.300" v="4393"/>
          <ac:cxnSpMkLst>
            <pc:docMk/>
            <pc:sldMk cId="3264993228" sldId="2147483612"/>
            <ac:cxnSpMk id="54" creationId="{CAE2D1CA-96A2-1BC5-5442-49F3B25654B2}"/>
          </ac:cxnSpMkLst>
        </pc:cxnChg>
        <pc:cxnChg chg="mod">
          <ac:chgData name="Nisen, Henrik (BCG Platinion)" userId="23462ed3-8a28-48c0-b94c-224b90eb8d0a" providerId="ADAL" clId="{85BF7E29-B863-8743-821C-9B528FF1FFE4}" dt="2024-04-05T07:00:36.300" v="4394"/>
          <ac:cxnSpMkLst>
            <pc:docMk/>
            <pc:sldMk cId="3264993228" sldId="2147483612"/>
            <ac:cxnSpMk id="55" creationId="{C2D4A6B8-27E8-E478-4E7A-9C253F38A66E}"/>
          </ac:cxnSpMkLst>
        </pc:cxnChg>
        <pc:cxnChg chg="mod">
          <ac:chgData name="Nisen, Henrik (BCG Platinion)" userId="23462ed3-8a28-48c0-b94c-224b90eb8d0a" providerId="ADAL" clId="{85BF7E29-B863-8743-821C-9B528FF1FFE4}" dt="2024-04-05T07:00:36.301" v="4396"/>
          <ac:cxnSpMkLst>
            <pc:docMk/>
            <pc:sldMk cId="3264993228" sldId="2147483612"/>
            <ac:cxnSpMk id="56" creationId="{0E9DC064-0A06-3CCE-B86B-8AF459599894}"/>
          </ac:cxnSpMkLst>
        </pc:cxnChg>
        <pc:cxnChg chg="mod">
          <ac:chgData name="Nisen, Henrik (BCG Platinion)" userId="23462ed3-8a28-48c0-b94c-224b90eb8d0a" providerId="ADAL" clId="{85BF7E29-B863-8743-821C-9B528FF1FFE4}" dt="2024-04-05T07:00:36.301" v="4397"/>
          <ac:cxnSpMkLst>
            <pc:docMk/>
            <pc:sldMk cId="3264993228" sldId="2147483612"/>
            <ac:cxnSpMk id="57" creationId="{3FCD2D52-9711-65F8-FF1C-5B4AAEF6EE9F}"/>
          </ac:cxnSpMkLst>
        </pc:cxnChg>
        <pc:cxnChg chg="mod">
          <ac:chgData name="Nisen, Henrik (BCG Platinion)" userId="23462ed3-8a28-48c0-b94c-224b90eb8d0a" providerId="ADAL" clId="{85BF7E29-B863-8743-821C-9B528FF1FFE4}" dt="2024-04-05T07:00:36.300" v="4395"/>
          <ac:cxnSpMkLst>
            <pc:docMk/>
            <pc:sldMk cId="3264993228" sldId="2147483612"/>
            <ac:cxnSpMk id="58" creationId="{6F9DCD36-1591-8CC9-D260-8C35E550E14B}"/>
          </ac:cxnSpMkLst>
        </pc:cxnChg>
        <pc:cxnChg chg="mod">
          <ac:chgData name="Nisen, Henrik (BCG Platinion)" userId="23462ed3-8a28-48c0-b94c-224b90eb8d0a" providerId="ADAL" clId="{85BF7E29-B863-8743-821C-9B528FF1FFE4}" dt="2024-04-05T07:00:36.302" v="4399"/>
          <ac:cxnSpMkLst>
            <pc:docMk/>
            <pc:sldMk cId="3264993228" sldId="2147483612"/>
            <ac:cxnSpMk id="79" creationId="{B1B2495B-F0D9-C40F-79D0-105A1852D8B3}"/>
          </ac:cxnSpMkLst>
        </pc:cxnChg>
        <pc:cxnChg chg="mod">
          <ac:chgData name="Nisen, Henrik (BCG Platinion)" userId="23462ed3-8a28-48c0-b94c-224b90eb8d0a" providerId="ADAL" clId="{85BF7E29-B863-8743-821C-9B528FF1FFE4}" dt="2024-04-05T07:00:36.301" v="4398"/>
          <ac:cxnSpMkLst>
            <pc:docMk/>
            <pc:sldMk cId="3264993228" sldId="2147483612"/>
            <ac:cxnSpMk id="80" creationId="{C3C56690-C04E-90A4-F885-C8CB23656AFE}"/>
          </ac:cxnSpMkLst>
        </pc:cxnChg>
        <pc:cxnChg chg="mod">
          <ac:chgData name="Nisen, Henrik (BCG Platinion)" userId="23462ed3-8a28-48c0-b94c-224b90eb8d0a" providerId="ADAL" clId="{85BF7E29-B863-8743-821C-9B528FF1FFE4}" dt="2024-04-05T07:00:36.302" v="4401"/>
          <ac:cxnSpMkLst>
            <pc:docMk/>
            <pc:sldMk cId="3264993228" sldId="2147483612"/>
            <ac:cxnSpMk id="167" creationId="{E2021158-26D7-3555-5ED4-AB86BD52BC30}"/>
          </ac:cxnSpMkLst>
        </pc:cxnChg>
        <pc:cxnChg chg="mod">
          <ac:chgData name="Nisen, Henrik (BCG Platinion)" userId="23462ed3-8a28-48c0-b94c-224b90eb8d0a" providerId="ADAL" clId="{85BF7E29-B863-8743-821C-9B528FF1FFE4}" dt="2024-04-05T07:00:36.302" v="4400"/>
          <ac:cxnSpMkLst>
            <pc:docMk/>
            <pc:sldMk cId="3264993228" sldId="2147483612"/>
            <ac:cxnSpMk id="168" creationId="{FEA8F081-1E2B-7F4F-46E1-E7FAC08DFB19}"/>
          </ac:cxnSpMkLst>
        </pc:cxnChg>
      </pc:sldChg>
      <pc:sldChg chg="modSp mod modTransition">
        <pc:chgData name="Nisen, Henrik (BCG Platinion)" userId="23462ed3-8a28-48c0-b94c-224b90eb8d0a" providerId="ADAL" clId="{85BF7E29-B863-8743-821C-9B528FF1FFE4}" dt="2024-04-05T08:34:44.540" v="8623"/>
        <pc:sldMkLst>
          <pc:docMk/>
          <pc:sldMk cId="643489597" sldId="2147483613"/>
        </pc:sldMkLst>
        <pc:spChg chg="mod">
          <ac:chgData name="Nisen, Henrik (BCG Platinion)" userId="23462ed3-8a28-48c0-b94c-224b90eb8d0a" providerId="ADAL" clId="{85BF7E29-B863-8743-821C-9B528FF1FFE4}" dt="2024-04-05T08:24:58.950" v="8422" actId="20577"/>
          <ac:spMkLst>
            <pc:docMk/>
            <pc:sldMk cId="643489597" sldId="2147483613"/>
            <ac:spMk id="8" creationId="{B7D8C3E2-37A0-C53F-D7ED-A1EBBE495C04}"/>
          </ac:spMkLst>
        </pc:spChg>
      </pc:sldChg>
      <pc:sldChg chg="del">
        <pc:chgData name="Nisen, Henrik (BCG Platinion)" userId="23462ed3-8a28-48c0-b94c-224b90eb8d0a" providerId="ADAL" clId="{85BF7E29-B863-8743-821C-9B528FF1FFE4}" dt="2024-04-05T06:16:10.246" v="1476" actId="2696"/>
        <pc:sldMkLst>
          <pc:docMk/>
          <pc:sldMk cId="934607398" sldId="2147483614"/>
        </pc:sldMkLst>
      </pc:sldChg>
      <pc:sldChg chg="del">
        <pc:chgData name="Nisen, Henrik (BCG Platinion)" userId="23462ed3-8a28-48c0-b94c-224b90eb8d0a" providerId="ADAL" clId="{85BF7E29-B863-8743-821C-9B528FF1FFE4}" dt="2024-04-05T06:16:10.178" v="1473" actId="2696"/>
        <pc:sldMkLst>
          <pc:docMk/>
          <pc:sldMk cId="4171510167" sldId="2147483615"/>
        </pc:sldMkLst>
      </pc:sldChg>
      <pc:sldChg chg="addSp delSp modSp mod ord modTransition">
        <pc:chgData name="Nisen, Henrik (BCG Platinion)" userId="23462ed3-8a28-48c0-b94c-224b90eb8d0a" providerId="ADAL" clId="{85BF7E29-B863-8743-821C-9B528FF1FFE4}" dt="2024-04-05T08:35:21.559" v="8624" actId="20578"/>
        <pc:sldMkLst>
          <pc:docMk/>
          <pc:sldMk cId="4205166027" sldId="2147483616"/>
        </pc:sldMkLst>
        <pc:spChg chg="mod">
          <ac:chgData name="Nisen, Henrik (BCG Platinion)" userId="23462ed3-8a28-48c0-b94c-224b90eb8d0a" providerId="ADAL" clId="{85BF7E29-B863-8743-821C-9B528FF1FFE4}" dt="2024-04-05T07:34:31.062" v="6533" actId="14100"/>
          <ac:spMkLst>
            <pc:docMk/>
            <pc:sldMk cId="4205166027" sldId="2147483616"/>
            <ac:spMk id="5" creationId="{38AD75EA-8C8C-60FA-AEBD-BC4729D23AF0}"/>
          </ac:spMkLst>
        </pc:spChg>
        <pc:spChg chg="add mod topLvl">
          <ac:chgData name="Nisen, Henrik (BCG Platinion)" userId="23462ed3-8a28-48c0-b94c-224b90eb8d0a" providerId="ADAL" clId="{85BF7E29-B863-8743-821C-9B528FF1FFE4}" dt="2024-04-05T07:33:30.194" v="6506"/>
          <ac:spMkLst>
            <pc:docMk/>
            <pc:sldMk cId="4205166027" sldId="2147483616"/>
            <ac:spMk id="7" creationId="{01B5B5C7-D71D-509F-97AC-D918F9BF78A6}"/>
          </ac:spMkLst>
        </pc:spChg>
        <pc:spChg chg="add mod topLvl">
          <ac:chgData name="Nisen, Henrik (BCG Platinion)" userId="23462ed3-8a28-48c0-b94c-224b90eb8d0a" providerId="ADAL" clId="{85BF7E29-B863-8743-821C-9B528FF1FFE4}" dt="2024-04-05T07:33:33.207" v="6508"/>
          <ac:spMkLst>
            <pc:docMk/>
            <pc:sldMk cId="4205166027" sldId="2147483616"/>
            <ac:spMk id="8" creationId="{FD43C108-832B-9534-6541-EC3E71B4F390}"/>
          </ac:spMkLst>
        </pc:spChg>
        <pc:spChg chg="add mod topLvl">
          <ac:chgData name="Nisen, Henrik (BCG Platinion)" userId="23462ed3-8a28-48c0-b94c-224b90eb8d0a" providerId="ADAL" clId="{85BF7E29-B863-8743-821C-9B528FF1FFE4}" dt="2024-04-05T07:33:36.051" v="6510"/>
          <ac:spMkLst>
            <pc:docMk/>
            <pc:sldMk cId="4205166027" sldId="2147483616"/>
            <ac:spMk id="11" creationId="{0AACC3E9-427E-A7BC-F87F-13C5D9EF1D9F}"/>
          </ac:spMkLst>
        </pc:spChg>
        <pc:spChg chg="add del mod">
          <ac:chgData name="Nisen, Henrik (BCG Platinion)" userId="23462ed3-8a28-48c0-b94c-224b90eb8d0a" providerId="ADAL" clId="{85BF7E29-B863-8743-821C-9B528FF1FFE4}" dt="2024-04-05T07:19:18.442" v="5737" actId="478"/>
          <ac:spMkLst>
            <pc:docMk/>
            <pc:sldMk cId="4205166027" sldId="2147483616"/>
            <ac:spMk id="12" creationId="{3BD816BC-298E-0E0C-F741-EC77DC209E21}"/>
          </ac:spMkLst>
        </pc:spChg>
        <pc:spChg chg="add mod topLvl">
          <ac:chgData name="Nisen, Henrik (BCG Platinion)" userId="23462ed3-8a28-48c0-b94c-224b90eb8d0a" providerId="ADAL" clId="{85BF7E29-B863-8743-821C-9B528FF1FFE4}" dt="2024-04-05T07:33:38.528" v="6512"/>
          <ac:spMkLst>
            <pc:docMk/>
            <pc:sldMk cId="4205166027" sldId="2147483616"/>
            <ac:spMk id="13" creationId="{BCBD0213-85D5-4227-527F-F975C0902B1F}"/>
          </ac:spMkLst>
        </pc:spChg>
        <pc:spChg chg="add mod topLvl">
          <ac:chgData name="Nisen, Henrik (BCG Platinion)" userId="23462ed3-8a28-48c0-b94c-224b90eb8d0a" providerId="ADAL" clId="{85BF7E29-B863-8743-821C-9B528FF1FFE4}" dt="2024-04-05T07:22:58.721" v="5873" actId="165"/>
          <ac:spMkLst>
            <pc:docMk/>
            <pc:sldMk cId="4205166027" sldId="2147483616"/>
            <ac:spMk id="14" creationId="{2A580079-F2CF-6BB1-0B0B-B614111176A6}"/>
          </ac:spMkLst>
        </pc:spChg>
        <pc:spChg chg="add mod topLvl">
          <ac:chgData name="Nisen, Henrik (BCG Platinion)" userId="23462ed3-8a28-48c0-b94c-224b90eb8d0a" providerId="ADAL" clId="{85BF7E29-B863-8743-821C-9B528FF1FFE4}" dt="2024-04-05T07:33:23.930" v="6504"/>
          <ac:spMkLst>
            <pc:docMk/>
            <pc:sldMk cId="4205166027" sldId="2147483616"/>
            <ac:spMk id="15" creationId="{74BEE305-4132-3F5C-CD00-789BF9BDCEAC}"/>
          </ac:spMkLst>
        </pc:spChg>
        <pc:spChg chg="add del mod">
          <ac:chgData name="Nisen, Henrik (BCG Platinion)" userId="23462ed3-8a28-48c0-b94c-224b90eb8d0a" providerId="ADAL" clId="{85BF7E29-B863-8743-821C-9B528FF1FFE4}" dt="2024-04-05T07:39:54.412" v="6857" actId="478"/>
          <ac:spMkLst>
            <pc:docMk/>
            <pc:sldMk cId="4205166027" sldId="2147483616"/>
            <ac:spMk id="26" creationId="{0B1DFED0-62A8-B62E-E215-25F8174040CB}"/>
          </ac:spMkLst>
        </pc:spChg>
        <pc:spChg chg="add del mod">
          <ac:chgData name="Nisen, Henrik (BCG Platinion)" userId="23462ed3-8a28-48c0-b94c-224b90eb8d0a" providerId="ADAL" clId="{85BF7E29-B863-8743-821C-9B528FF1FFE4}" dt="2024-04-05T07:39:54.412" v="6857" actId="478"/>
          <ac:spMkLst>
            <pc:docMk/>
            <pc:sldMk cId="4205166027" sldId="2147483616"/>
            <ac:spMk id="27" creationId="{ECE785E8-5C5C-191E-1268-14D5D5F88B2F}"/>
          </ac:spMkLst>
        </pc:spChg>
        <pc:spChg chg="add mod">
          <ac:chgData name="Nisen, Henrik (BCG Platinion)" userId="23462ed3-8a28-48c0-b94c-224b90eb8d0a" providerId="ADAL" clId="{85BF7E29-B863-8743-821C-9B528FF1FFE4}" dt="2024-04-05T07:40:29.226" v="6900" actId="20577"/>
          <ac:spMkLst>
            <pc:docMk/>
            <pc:sldMk cId="4205166027" sldId="2147483616"/>
            <ac:spMk id="28" creationId="{BE63950E-C190-07EB-D418-53FB322145B3}"/>
          </ac:spMkLst>
        </pc:spChg>
        <pc:spChg chg="mod">
          <ac:chgData name="Nisen, Henrik (BCG Platinion)" userId="23462ed3-8a28-48c0-b94c-224b90eb8d0a" providerId="ADAL" clId="{85BF7E29-B863-8743-821C-9B528FF1FFE4}" dt="2024-04-05T07:40:50.047" v="6940" actId="20577"/>
          <ac:spMkLst>
            <pc:docMk/>
            <pc:sldMk cId="4205166027" sldId="2147483616"/>
            <ac:spMk id="32" creationId="{04D39CB0-5BF7-65B5-7F02-F231E3AC1080}"/>
          </ac:spMkLst>
        </pc:spChg>
        <pc:spChg chg="mod topLvl">
          <ac:chgData name="Nisen, Henrik (BCG Platinion)" userId="23462ed3-8a28-48c0-b94c-224b90eb8d0a" providerId="ADAL" clId="{85BF7E29-B863-8743-821C-9B528FF1FFE4}" dt="2024-04-05T07:38:03.451" v="6702" actId="20577"/>
          <ac:spMkLst>
            <pc:docMk/>
            <pc:sldMk cId="4205166027" sldId="2147483616"/>
            <ac:spMk id="45" creationId="{4657879F-3BC5-6301-1001-5ED1AEE61328}"/>
          </ac:spMkLst>
        </pc:spChg>
        <pc:spChg chg="mod topLvl">
          <ac:chgData name="Nisen, Henrik (BCG Platinion)" userId="23462ed3-8a28-48c0-b94c-224b90eb8d0a" providerId="ADAL" clId="{85BF7E29-B863-8743-821C-9B528FF1FFE4}" dt="2024-04-05T07:39:01.507" v="6807" actId="20577"/>
          <ac:spMkLst>
            <pc:docMk/>
            <pc:sldMk cId="4205166027" sldId="2147483616"/>
            <ac:spMk id="47" creationId="{C5496458-A953-531B-05A4-F5CC4D44D01C}"/>
          </ac:spMkLst>
        </pc:spChg>
        <pc:spChg chg="mod topLvl">
          <ac:chgData name="Nisen, Henrik (BCG Platinion)" userId="23462ed3-8a28-48c0-b94c-224b90eb8d0a" providerId="ADAL" clId="{85BF7E29-B863-8743-821C-9B528FF1FFE4}" dt="2024-04-05T07:39:37.055" v="6855" actId="20577"/>
          <ac:spMkLst>
            <pc:docMk/>
            <pc:sldMk cId="4205166027" sldId="2147483616"/>
            <ac:spMk id="49" creationId="{DC3A8934-BC51-C1BD-9E37-3C01E30634A5}"/>
          </ac:spMkLst>
        </pc:spChg>
        <pc:spChg chg="mod topLvl">
          <ac:chgData name="Nisen, Henrik (BCG Platinion)" userId="23462ed3-8a28-48c0-b94c-224b90eb8d0a" providerId="ADAL" clId="{85BF7E29-B863-8743-821C-9B528FF1FFE4}" dt="2024-04-05T07:34:53.203" v="6552" actId="20577"/>
          <ac:spMkLst>
            <pc:docMk/>
            <pc:sldMk cId="4205166027" sldId="2147483616"/>
            <ac:spMk id="51" creationId="{D19B4448-A9F7-C160-12D9-32F81019B264}"/>
          </ac:spMkLst>
        </pc:spChg>
        <pc:spChg chg="mod topLvl">
          <ac:chgData name="Nisen, Henrik (BCG Platinion)" userId="23462ed3-8a28-48c0-b94c-224b90eb8d0a" providerId="ADAL" clId="{85BF7E29-B863-8743-821C-9B528FF1FFE4}" dt="2024-04-05T07:36:42.925" v="6645" actId="20577"/>
          <ac:spMkLst>
            <pc:docMk/>
            <pc:sldMk cId="4205166027" sldId="2147483616"/>
            <ac:spMk id="53" creationId="{A6F89742-99AE-4CE2-861F-863085C718ED}"/>
          </ac:spMkLst>
        </pc:spChg>
        <pc:spChg chg="mod topLvl">
          <ac:chgData name="Nisen, Henrik (BCG Platinion)" userId="23462ed3-8a28-48c0-b94c-224b90eb8d0a" providerId="ADAL" clId="{85BF7E29-B863-8743-821C-9B528FF1FFE4}" dt="2024-04-05T07:37:20.650" v="6651" actId="20577"/>
          <ac:spMkLst>
            <pc:docMk/>
            <pc:sldMk cId="4205166027" sldId="2147483616"/>
            <ac:spMk id="85" creationId="{60BECB16-66DC-ED92-B420-482909299A4E}"/>
          </ac:spMkLst>
        </pc:spChg>
        <pc:spChg chg="mod topLvl">
          <ac:chgData name="Nisen, Henrik (BCG Platinion)" userId="23462ed3-8a28-48c0-b94c-224b90eb8d0a" providerId="ADAL" clId="{85BF7E29-B863-8743-821C-9B528FF1FFE4}" dt="2024-04-05T07:25:09.251" v="6017" actId="1036"/>
          <ac:spMkLst>
            <pc:docMk/>
            <pc:sldMk cId="4205166027" sldId="2147483616"/>
            <ac:spMk id="123" creationId="{488D5A92-DDD7-DC0C-12A3-67E844C1EAAA}"/>
          </ac:spMkLst>
        </pc:spChg>
        <pc:spChg chg="mod topLvl">
          <ac:chgData name="Nisen, Henrik (BCG Platinion)" userId="23462ed3-8a28-48c0-b94c-224b90eb8d0a" providerId="ADAL" clId="{85BF7E29-B863-8743-821C-9B528FF1FFE4}" dt="2024-04-05T07:25:09.251" v="6017" actId="1036"/>
          <ac:spMkLst>
            <pc:docMk/>
            <pc:sldMk cId="4205166027" sldId="2147483616"/>
            <ac:spMk id="124" creationId="{B3AB5812-AFAF-BA1D-A45A-34AB4E61D0B1}"/>
          </ac:spMkLst>
        </pc:spChg>
        <pc:spChg chg="mod topLvl">
          <ac:chgData name="Nisen, Henrik (BCG Platinion)" userId="23462ed3-8a28-48c0-b94c-224b90eb8d0a" providerId="ADAL" clId="{85BF7E29-B863-8743-821C-9B528FF1FFE4}" dt="2024-04-05T07:25:09.251" v="6017" actId="1036"/>
          <ac:spMkLst>
            <pc:docMk/>
            <pc:sldMk cId="4205166027" sldId="2147483616"/>
            <ac:spMk id="125" creationId="{2A47D68E-7632-E269-C462-053214A6BADB}"/>
          </ac:spMkLst>
        </pc:spChg>
        <pc:spChg chg="mod topLvl">
          <ac:chgData name="Nisen, Henrik (BCG Platinion)" userId="23462ed3-8a28-48c0-b94c-224b90eb8d0a" providerId="ADAL" clId="{85BF7E29-B863-8743-821C-9B528FF1FFE4}" dt="2024-04-05T07:25:09.251" v="6017" actId="1036"/>
          <ac:spMkLst>
            <pc:docMk/>
            <pc:sldMk cId="4205166027" sldId="2147483616"/>
            <ac:spMk id="126" creationId="{77CBCD88-F46F-F7B6-7DED-70CC83903EA1}"/>
          </ac:spMkLst>
        </pc:spChg>
        <pc:spChg chg="mod topLvl">
          <ac:chgData name="Nisen, Henrik (BCG Platinion)" userId="23462ed3-8a28-48c0-b94c-224b90eb8d0a" providerId="ADAL" clId="{85BF7E29-B863-8743-821C-9B528FF1FFE4}" dt="2024-04-05T07:25:09.251" v="6017" actId="1036"/>
          <ac:spMkLst>
            <pc:docMk/>
            <pc:sldMk cId="4205166027" sldId="2147483616"/>
            <ac:spMk id="127" creationId="{73B863C3-D621-5C94-C8F4-62322391F49C}"/>
          </ac:spMkLst>
        </pc:spChg>
        <pc:spChg chg="mod topLvl">
          <ac:chgData name="Nisen, Henrik (BCG Platinion)" userId="23462ed3-8a28-48c0-b94c-224b90eb8d0a" providerId="ADAL" clId="{85BF7E29-B863-8743-821C-9B528FF1FFE4}" dt="2024-04-05T07:25:09.251" v="6017" actId="1036"/>
          <ac:spMkLst>
            <pc:docMk/>
            <pc:sldMk cId="4205166027" sldId="2147483616"/>
            <ac:spMk id="128" creationId="{0B5A4D5A-F9C7-7DE5-6872-98B3631F2115}"/>
          </ac:spMkLst>
        </pc:spChg>
        <pc:spChg chg="del mod">
          <ac:chgData name="Nisen, Henrik (BCG Platinion)" userId="23462ed3-8a28-48c0-b94c-224b90eb8d0a" providerId="ADAL" clId="{85BF7E29-B863-8743-821C-9B528FF1FFE4}" dt="2024-04-05T07:18:44.172" v="5408" actId="478"/>
          <ac:spMkLst>
            <pc:docMk/>
            <pc:sldMk cId="4205166027" sldId="2147483616"/>
            <ac:spMk id="144" creationId="{585C2921-D54B-6459-D57A-BE7FC3A1E194}"/>
          </ac:spMkLst>
        </pc:spChg>
        <pc:spChg chg="del mod">
          <ac:chgData name="Nisen, Henrik (BCG Platinion)" userId="23462ed3-8a28-48c0-b94c-224b90eb8d0a" providerId="ADAL" clId="{85BF7E29-B863-8743-821C-9B528FF1FFE4}" dt="2024-04-05T07:19:18.442" v="5737" actId="478"/>
          <ac:spMkLst>
            <pc:docMk/>
            <pc:sldMk cId="4205166027" sldId="2147483616"/>
            <ac:spMk id="145" creationId="{C1828352-0B8A-B262-B6D9-72BC2346331D}"/>
          </ac:spMkLst>
        </pc:spChg>
        <pc:spChg chg="del mod">
          <ac:chgData name="Nisen, Henrik (BCG Platinion)" userId="23462ed3-8a28-48c0-b94c-224b90eb8d0a" providerId="ADAL" clId="{85BF7E29-B863-8743-821C-9B528FF1FFE4}" dt="2024-04-05T07:19:18.442" v="5737" actId="478"/>
          <ac:spMkLst>
            <pc:docMk/>
            <pc:sldMk cId="4205166027" sldId="2147483616"/>
            <ac:spMk id="146" creationId="{2B885522-D562-99C4-7CEA-884456B277D6}"/>
          </ac:spMkLst>
        </pc:spChg>
        <pc:spChg chg="del mod">
          <ac:chgData name="Nisen, Henrik (BCG Platinion)" userId="23462ed3-8a28-48c0-b94c-224b90eb8d0a" providerId="ADAL" clId="{85BF7E29-B863-8743-821C-9B528FF1FFE4}" dt="2024-04-05T07:19:18.442" v="5737" actId="478"/>
          <ac:spMkLst>
            <pc:docMk/>
            <pc:sldMk cId="4205166027" sldId="2147483616"/>
            <ac:spMk id="147" creationId="{B1EA97D1-161A-4F9A-A01E-0DEE447537A8}"/>
          </ac:spMkLst>
        </pc:spChg>
        <pc:spChg chg="del mod">
          <ac:chgData name="Nisen, Henrik (BCG Platinion)" userId="23462ed3-8a28-48c0-b94c-224b90eb8d0a" providerId="ADAL" clId="{85BF7E29-B863-8743-821C-9B528FF1FFE4}" dt="2024-04-05T07:19:18.442" v="5737" actId="478"/>
          <ac:spMkLst>
            <pc:docMk/>
            <pc:sldMk cId="4205166027" sldId="2147483616"/>
            <ac:spMk id="148" creationId="{B87B077D-3F25-4113-1D8A-43E8A26F4A30}"/>
          </ac:spMkLst>
        </pc:spChg>
        <pc:spChg chg="del mod">
          <ac:chgData name="Nisen, Henrik (BCG Platinion)" userId="23462ed3-8a28-48c0-b94c-224b90eb8d0a" providerId="ADAL" clId="{85BF7E29-B863-8743-821C-9B528FF1FFE4}" dt="2024-04-05T07:19:18.442" v="5737" actId="478"/>
          <ac:spMkLst>
            <pc:docMk/>
            <pc:sldMk cId="4205166027" sldId="2147483616"/>
            <ac:spMk id="149" creationId="{F366B6E6-75E8-37FB-DAD8-9620FAA010AF}"/>
          </ac:spMkLst>
        </pc:spChg>
        <pc:spChg chg="del mod topLvl">
          <ac:chgData name="Nisen, Henrik (BCG Platinion)" userId="23462ed3-8a28-48c0-b94c-224b90eb8d0a" providerId="ADAL" clId="{85BF7E29-B863-8743-821C-9B528FF1FFE4}" dt="2024-04-05T07:26:06.077" v="6434" actId="478"/>
          <ac:spMkLst>
            <pc:docMk/>
            <pc:sldMk cId="4205166027" sldId="2147483616"/>
            <ac:spMk id="159" creationId="{4CB969B4-BCCD-8357-268A-42B2483DE1FD}"/>
          </ac:spMkLst>
        </pc:spChg>
        <pc:spChg chg="del mod topLvl">
          <ac:chgData name="Nisen, Henrik (BCG Platinion)" userId="23462ed3-8a28-48c0-b94c-224b90eb8d0a" providerId="ADAL" clId="{85BF7E29-B863-8743-821C-9B528FF1FFE4}" dt="2024-04-05T07:26:06.077" v="6434" actId="478"/>
          <ac:spMkLst>
            <pc:docMk/>
            <pc:sldMk cId="4205166027" sldId="2147483616"/>
            <ac:spMk id="160" creationId="{737D5EB8-7E8A-25D9-E663-EE3A835665C3}"/>
          </ac:spMkLst>
        </pc:spChg>
        <pc:spChg chg="del mod topLvl">
          <ac:chgData name="Nisen, Henrik (BCG Platinion)" userId="23462ed3-8a28-48c0-b94c-224b90eb8d0a" providerId="ADAL" clId="{85BF7E29-B863-8743-821C-9B528FF1FFE4}" dt="2024-04-05T07:26:06.077" v="6434" actId="478"/>
          <ac:spMkLst>
            <pc:docMk/>
            <pc:sldMk cId="4205166027" sldId="2147483616"/>
            <ac:spMk id="161" creationId="{26DF77BC-495B-6CC0-135E-56F2F8D5E883}"/>
          </ac:spMkLst>
        </pc:spChg>
        <pc:spChg chg="del mod topLvl">
          <ac:chgData name="Nisen, Henrik (BCG Platinion)" userId="23462ed3-8a28-48c0-b94c-224b90eb8d0a" providerId="ADAL" clId="{85BF7E29-B863-8743-821C-9B528FF1FFE4}" dt="2024-04-05T07:26:06.077" v="6434" actId="478"/>
          <ac:spMkLst>
            <pc:docMk/>
            <pc:sldMk cId="4205166027" sldId="2147483616"/>
            <ac:spMk id="162" creationId="{952B5413-4A04-3F97-B903-BA6C10ECC22A}"/>
          </ac:spMkLst>
        </pc:spChg>
        <pc:spChg chg="del mod topLvl">
          <ac:chgData name="Nisen, Henrik (BCG Platinion)" userId="23462ed3-8a28-48c0-b94c-224b90eb8d0a" providerId="ADAL" clId="{85BF7E29-B863-8743-821C-9B528FF1FFE4}" dt="2024-04-05T07:26:06.077" v="6434" actId="478"/>
          <ac:spMkLst>
            <pc:docMk/>
            <pc:sldMk cId="4205166027" sldId="2147483616"/>
            <ac:spMk id="163" creationId="{C2BB9DA9-9A66-609A-AA01-86617CC687CC}"/>
          </ac:spMkLst>
        </pc:spChg>
        <pc:spChg chg="del mod topLvl">
          <ac:chgData name="Nisen, Henrik (BCG Platinion)" userId="23462ed3-8a28-48c0-b94c-224b90eb8d0a" providerId="ADAL" clId="{85BF7E29-B863-8743-821C-9B528FF1FFE4}" dt="2024-04-05T07:26:06.077" v="6434" actId="478"/>
          <ac:spMkLst>
            <pc:docMk/>
            <pc:sldMk cId="4205166027" sldId="2147483616"/>
            <ac:spMk id="164" creationId="{4C14A481-D19D-CB2E-372C-87B6EF9F18F1}"/>
          </ac:spMkLst>
        </pc:spChg>
        <pc:spChg chg="mod topLvl">
          <ac:chgData name="Nisen, Henrik (BCG Platinion)" userId="23462ed3-8a28-48c0-b94c-224b90eb8d0a" providerId="ADAL" clId="{85BF7E29-B863-8743-821C-9B528FF1FFE4}" dt="2024-04-05T07:24:29.487" v="5985"/>
          <ac:spMkLst>
            <pc:docMk/>
            <pc:sldMk cId="4205166027" sldId="2147483616"/>
            <ac:spMk id="171" creationId="{6FA24F68-9266-B3DF-8A62-EDE790A60EC4}"/>
          </ac:spMkLst>
        </pc:spChg>
        <pc:spChg chg="mod topLvl">
          <ac:chgData name="Nisen, Henrik (BCG Platinion)" userId="23462ed3-8a28-48c0-b94c-224b90eb8d0a" providerId="ADAL" clId="{85BF7E29-B863-8743-821C-9B528FF1FFE4}" dt="2024-04-05T07:24:32.359" v="5987"/>
          <ac:spMkLst>
            <pc:docMk/>
            <pc:sldMk cId="4205166027" sldId="2147483616"/>
            <ac:spMk id="173" creationId="{365FFD61-F1FA-94E8-D81A-5D80F71E5C59}"/>
          </ac:spMkLst>
        </pc:spChg>
        <pc:spChg chg="mod topLvl">
          <ac:chgData name="Nisen, Henrik (BCG Platinion)" userId="23462ed3-8a28-48c0-b94c-224b90eb8d0a" providerId="ADAL" clId="{85BF7E29-B863-8743-821C-9B528FF1FFE4}" dt="2024-04-05T07:24:35.254" v="5989"/>
          <ac:spMkLst>
            <pc:docMk/>
            <pc:sldMk cId="4205166027" sldId="2147483616"/>
            <ac:spMk id="174" creationId="{88D20422-445D-B25A-3B86-AAB9546772E7}"/>
          </ac:spMkLst>
        </pc:spChg>
        <pc:spChg chg="mod topLvl">
          <ac:chgData name="Nisen, Henrik (BCG Platinion)" userId="23462ed3-8a28-48c0-b94c-224b90eb8d0a" providerId="ADAL" clId="{85BF7E29-B863-8743-821C-9B528FF1FFE4}" dt="2024-04-05T07:24:38.599" v="5991"/>
          <ac:spMkLst>
            <pc:docMk/>
            <pc:sldMk cId="4205166027" sldId="2147483616"/>
            <ac:spMk id="175" creationId="{0FA37D84-DDD5-AF3B-454D-ADD1A11929B4}"/>
          </ac:spMkLst>
        </pc:spChg>
        <pc:spChg chg="del mod topLvl">
          <ac:chgData name="Nisen, Henrik (BCG Platinion)" userId="23462ed3-8a28-48c0-b94c-224b90eb8d0a" providerId="ADAL" clId="{85BF7E29-B863-8743-821C-9B528FF1FFE4}" dt="2024-04-05T07:24:07.436" v="5968" actId="478"/>
          <ac:spMkLst>
            <pc:docMk/>
            <pc:sldMk cId="4205166027" sldId="2147483616"/>
            <ac:spMk id="176" creationId="{0636EC69-8F12-067D-8E1E-59A54F4A8DFB}"/>
          </ac:spMkLst>
        </pc:spChg>
        <pc:spChg chg="mod topLvl">
          <ac:chgData name="Nisen, Henrik (BCG Platinion)" userId="23462ed3-8a28-48c0-b94c-224b90eb8d0a" providerId="ADAL" clId="{85BF7E29-B863-8743-821C-9B528FF1FFE4}" dt="2024-04-05T07:24:15.493" v="5971"/>
          <ac:spMkLst>
            <pc:docMk/>
            <pc:sldMk cId="4205166027" sldId="2147483616"/>
            <ac:spMk id="177" creationId="{B425E9E1-6311-6B7E-D6F0-0DEE242B0415}"/>
          </ac:spMkLst>
        </pc:spChg>
        <pc:grpChg chg="add del mod">
          <ac:chgData name="Nisen, Henrik (BCG Platinion)" userId="23462ed3-8a28-48c0-b94c-224b90eb8d0a" providerId="ADAL" clId="{85BF7E29-B863-8743-821C-9B528FF1FFE4}" dt="2024-04-05T07:22:58.721" v="5873" actId="165"/>
          <ac:grpSpMkLst>
            <pc:docMk/>
            <pc:sldMk cId="4205166027" sldId="2147483616"/>
            <ac:grpSpMk id="16" creationId="{F405AE69-4FD6-AB40-007E-A31EE48C38F9}"/>
          </ac:grpSpMkLst>
        </pc:grpChg>
        <pc:grpChg chg="add del mod">
          <ac:chgData name="Nisen, Henrik (BCG Platinion)" userId="23462ed3-8a28-48c0-b94c-224b90eb8d0a" providerId="ADAL" clId="{85BF7E29-B863-8743-821C-9B528FF1FFE4}" dt="2024-04-05T07:22:58.721" v="5873" actId="165"/>
          <ac:grpSpMkLst>
            <pc:docMk/>
            <pc:sldMk cId="4205166027" sldId="2147483616"/>
            <ac:grpSpMk id="17" creationId="{063FA465-CE98-E0F6-DC2B-6B11BE48D4B5}"/>
          </ac:grpSpMkLst>
        </pc:grpChg>
        <pc:grpChg chg="add del mod">
          <ac:chgData name="Nisen, Henrik (BCG Platinion)" userId="23462ed3-8a28-48c0-b94c-224b90eb8d0a" providerId="ADAL" clId="{85BF7E29-B863-8743-821C-9B528FF1FFE4}" dt="2024-04-05T07:22:58.721" v="5873" actId="165"/>
          <ac:grpSpMkLst>
            <pc:docMk/>
            <pc:sldMk cId="4205166027" sldId="2147483616"/>
            <ac:grpSpMk id="18" creationId="{5E988BFE-F053-4851-C53A-0E8FD95A5D27}"/>
          </ac:grpSpMkLst>
        </pc:grpChg>
        <pc:grpChg chg="add del mod">
          <ac:chgData name="Nisen, Henrik (BCG Platinion)" userId="23462ed3-8a28-48c0-b94c-224b90eb8d0a" providerId="ADAL" clId="{85BF7E29-B863-8743-821C-9B528FF1FFE4}" dt="2024-04-05T07:22:58.721" v="5873" actId="165"/>
          <ac:grpSpMkLst>
            <pc:docMk/>
            <pc:sldMk cId="4205166027" sldId="2147483616"/>
            <ac:grpSpMk id="19" creationId="{C27B0ED6-7295-9F4A-C3D2-9B2E670CC924}"/>
          </ac:grpSpMkLst>
        </pc:grpChg>
        <pc:grpChg chg="add del mod">
          <ac:chgData name="Nisen, Henrik (BCG Platinion)" userId="23462ed3-8a28-48c0-b94c-224b90eb8d0a" providerId="ADAL" clId="{85BF7E29-B863-8743-821C-9B528FF1FFE4}" dt="2024-04-05T07:22:58.721" v="5873" actId="165"/>
          <ac:grpSpMkLst>
            <pc:docMk/>
            <pc:sldMk cId="4205166027" sldId="2147483616"/>
            <ac:grpSpMk id="20" creationId="{862AFFEF-F790-F0E0-55D6-51352E944E4E}"/>
          </ac:grpSpMkLst>
        </pc:grpChg>
        <pc:grpChg chg="add del mod">
          <ac:chgData name="Nisen, Henrik (BCG Platinion)" userId="23462ed3-8a28-48c0-b94c-224b90eb8d0a" providerId="ADAL" clId="{85BF7E29-B863-8743-821C-9B528FF1FFE4}" dt="2024-04-05T07:22:58.721" v="5873" actId="165"/>
          <ac:grpSpMkLst>
            <pc:docMk/>
            <pc:sldMk cId="4205166027" sldId="2147483616"/>
            <ac:grpSpMk id="21" creationId="{BA4014EC-802F-13D0-30BA-21600D4623B5}"/>
          </ac:grpSpMkLst>
        </pc:grpChg>
        <pc:grpChg chg="add mod">
          <ac:chgData name="Nisen, Henrik (BCG Platinion)" userId="23462ed3-8a28-48c0-b94c-224b90eb8d0a" providerId="ADAL" clId="{85BF7E29-B863-8743-821C-9B528FF1FFE4}" dt="2024-04-05T07:40:24.794" v="6873" actId="1036"/>
          <ac:grpSpMkLst>
            <pc:docMk/>
            <pc:sldMk cId="4205166027" sldId="2147483616"/>
            <ac:grpSpMk id="30" creationId="{3FA127D7-96D7-4D3D-F4CF-89BA952AD3E5}"/>
          </ac:grpSpMkLst>
        </pc:grpChg>
        <pc:grpChg chg="add mod">
          <ac:chgData name="Nisen, Henrik (BCG Platinion)" userId="23462ed3-8a28-48c0-b94c-224b90eb8d0a" providerId="ADAL" clId="{85BF7E29-B863-8743-821C-9B528FF1FFE4}" dt="2024-04-05T07:40:37.645" v="6903" actId="14100"/>
          <ac:grpSpMkLst>
            <pc:docMk/>
            <pc:sldMk cId="4205166027" sldId="2147483616"/>
            <ac:grpSpMk id="31" creationId="{88855BFC-0897-400D-12D8-018E00A27966}"/>
          </ac:grpSpMkLst>
        </pc:grpChg>
        <pc:picChg chg="mod topLvl">
          <ac:chgData name="Nisen, Henrik (BCG Platinion)" userId="23462ed3-8a28-48c0-b94c-224b90eb8d0a" providerId="ADAL" clId="{85BF7E29-B863-8743-821C-9B528FF1FFE4}" dt="2024-04-05T07:23:18.802" v="5886" actId="408"/>
          <ac:picMkLst>
            <pc:docMk/>
            <pc:sldMk cId="4205166027" sldId="2147483616"/>
            <ac:picMk id="137" creationId="{527F7124-6950-9FB7-D1A1-D696ADA945D0}"/>
          </ac:picMkLst>
        </pc:picChg>
        <pc:picChg chg="mod topLvl">
          <ac:chgData name="Nisen, Henrik (BCG Platinion)" userId="23462ed3-8a28-48c0-b94c-224b90eb8d0a" providerId="ADAL" clId="{85BF7E29-B863-8743-821C-9B528FF1FFE4}" dt="2024-04-05T07:23:18.802" v="5886" actId="408"/>
          <ac:picMkLst>
            <pc:docMk/>
            <pc:sldMk cId="4205166027" sldId="2147483616"/>
            <ac:picMk id="150" creationId="{0FC92CCE-1BB0-AA76-9B0C-6F4C3A9DE997}"/>
          </ac:picMkLst>
        </pc:picChg>
        <pc:picChg chg="mod topLvl">
          <ac:chgData name="Nisen, Henrik (BCG Platinion)" userId="23462ed3-8a28-48c0-b94c-224b90eb8d0a" providerId="ADAL" clId="{85BF7E29-B863-8743-821C-9B528FF1FFE4}" dt="2024-04-05T07:23:18.802" v="5886" actId="408"/>
          <ac:picMkLst>
            <pc:docMk/>
            <pc:sldMk cId="4205166027" sldId="2147483616"/>
            <ac:picMk id="151" creationId="{126CFF9B-946D-C268-D174-D3A82F8A545A}"/>
          </ac:picMkLst>
        </pc:picChg>
        <pc:picChg chg="mod topLvl">
          <ac:chgData name="Nisen, Henrik (BCG Platinion)" userId="23462ed3-8a28-48c0-b94c-224b90eb8d0a" providerId="ADAL" clId="{85BF7E29-B863-8743-821C-9B528FF1FFE4}" dt="2024-04-05T07:23:18.802" v="5886" actId="408"/>
          <ac:picMkLst>
            <pc:docMk/>
            <pc:sldMk cId="4205166027" sldId="2147483616"/>
            <ac:picMk id="152" creationId="{CC97601C-DBF1-C5BA-291C-961C903BBF2C}"/>
          </ac:picMkLst>
        </pc:picChg>
        <pc:picChg chg="mod topLvl">
          <ac:chgData name="Nisen, Henrik (BCG Platinion)" userId="23462ed3-8a28-48c0-b94c-224b90eb8d0a" providerId="ADAL" clId="{85BF7E29-B863-8743-821C-9B528FF1FFE4}" dt="2024-04-05T07:23:18.802" v="5886" actId="408"/>
          <ac:picMkLst>
            <pc:docMk/>
            <pc:sldMk cId="4205166027" sldId="2147483616"/>
            <ac:picMk id="153" creationId="{DDFEF92C-DBB7-975A-8BB6-DB5ADCFAD09C}"/>
          </ac:picMkLst>
        </pc:picChg>
        <pc:picChg chg="mod topLvl">
          <ac:chgData name="Nisen, Henrik (BCG Platinion)" userId="23462ed3-8a28-48c0-b94c-224b90eb8d0a" providerId="ADAL" clId="{85BF7E29-B863-8743-821C-9B528FF1FFE4}" dt="2024-04-05T07:23:18.802" v="5886" actId="408"/>
          <ac:picMkLst>
            <pc:docMk/>
            <pc:sldMk cId="4205166027" sldId="2147483616"/>
            <ac:picMk id="178" creationId="{E8EFCBE3-1176-04E7-1096-1C5FFA455A78}"/>
          </ac:picMkLst>
        </pc:picChg>
        <pc:cxnChg chg="mod topLvl">
          <ac:chgData name="Nisen, Henrik (BCG Platinion)" userId="23462ed3-8a28-48c0-b94c-224b90eb8d0a" providerId="ADAL" clId="{85BF7E29-B863-8743-821C-9B528FF1FFE4}" dt="2024-04-05T07:23:18.802" v="5886" actId="408"/>
          <ac:cxnSpMkLst>
            <pc:docMk/>
            <pc:sldMk cId="4205166027" sldId="2147483616"/>
            <ac:cxnSpMk id="6" creationId="{A09EF56E-9608-350C-914B-254CC14B6286}"/>
          </ac:cxnSpMkLst>
        </pc:cxnChg>
        <pc:cxnChg chg="add mod">
          <ac:chgData name="Nisen, Henrik (BCG Platinion)" userId="23462ed3-8a28-48c0-b94c-224b90eb8d0a" providerId="ADAL" clId="{85BF7E29-B863-8743-821C-9B528FF1FFE4}" dt="2024-04-05T07:23:18.802" v="5886" actId="408"/>
          <ac:cxnSpMkLst>
            <pc:docMk/>
            <pc:sldMk cId="4205166027" sldId="2147483616"/>
            <ac:cxnSpMk id="22" creationId="{2AB7B13D-C545-0F3A-0A46-51EDCCA2D1EE}"/>
          </ac:cxnSpMkLst>
        </pc:cxnChg>
        <pc:cxnChg chg="add mod">
          <ac:chgData name="Nisen, Henrik (BCG Platinion)" userId="23462ed3-8a28-48c0-b94c-224b90eb8d0a" providerId="ADAL" clId="{85BF7E29-B863-8743-821C-9B528FF1FFE4}" dt="2024-04-05T07:23:18.802" v="5886" actId="408"/>
          <ac:cxnSpMkLst>
            <pc:docMk/>
            <pc:sldMk cId="4205166027" sldId="2147483616"/>
            <ac:cxnSpMk id="23" creationId="{C8BD4259-B5BF-5748-D504-44C53FE3F7ED}"/>
          </ac:cxnSpMkLst>
        </pc:cxnChg>
        <pc:cxnChg chg="add mod">
          <ac:chgData name="Nisen, Henrik (BCG Platinion)" userId="23462ed3-8a28-48c0-b94c-224b90eb8d0a" providerId="ADAL" clId="{85BF7E29-B863-8743-821C-9B528FF1FFE4}" dt="2024-04-05T07:23:18.802" v="5886" actId="408"/>
          <ac:cxnSpMkLst>
            <pc:docMk/>
            <pc:sldMk cId="4205166027" sldId="2147483616"/>
            <ac:cxnSpMk id="24" creationId="{663A9B04-36ED-B881-D05F-CB3F50A5532D}"/>
          </ac:cxnSpMkLst>
        </pc:cxnChg>
        <pc:cxnChg chg="add mod">
          <ac:chgData name="Nisen, Henrik (BCG Platinion)" userId="23462ed3-8a28-48c0-b94c-224b90eb8d0a" providerId="ADAL" clId="{85BF7E29-B863-8743-821C-9B528FF1FFE4}" dt="2024-04-05T07:23:18.802" v="5886" actId="408"/>
          <ac:cxnSpMkLst>
            <pc:docMk/>
            <pc:sldMk cId="4205166027" sldId="2147483616"/>
            <ac:cxnSpMk id="25" creationId="{413CB64B-D2E0-53A6-C73A-ED7A1B23BE84}"/>
          </ac:cxnSpMkLst>
        </pc:cxnChg>
        <pc:cxnChg chg="add mod">
          <ac:chgData name="Nisen, Henrik (BCG Platinion)" userId="23462ed3-8a28-48c0-b94c-224b90eb8d0a" providerId="ADAL" clId="{85BF7E29-B863-8743-821C-9B528FF1FFE4}" dt="2024-04-05T07:40:24.794" v="6873" actId="1036"/>
          <ac:cxnSpMkLst>
            <pc:docMk/>
            <pc:sldMk cId="4205166027" sldId="2147483616"/>
            <ac:cxnSpMk id="29" creationId="{BCF10936-A99F-DD3B-099E-CCF03DD993DF}"/>
          </ac:cxnSpMkLst>
        </pc:cxnChg>
        <pc:cxnChg chg="mod">
          <ac:chgData name="Nisen, Henrik (BCG Platinion)" userId="23462ed3-8a28-48c0-b94c-224b90eb8d0a" providerId="ADAL" clId="{85BF7E29-B863-8743-821C-9B528FF1FFE4}" dt="2024-04-05T07:40:37.645" v="6903" actId="14100"/>
          <ac:cxnSpMkLst>
            <pc:docMk/>
            <pc:sldMk cId="4205166027" sldId="2147483616"/>
            <ac:cxnSpMk id="33" creationId="{B4755645-BE19-E752-1E0B-48F1DCE75BD7}"/>
          </ac:cxnSpMkLst>
        </pc:cxnChg>
        <pc:cxnChg chg="mod topLvl">
          <ac:chgData name="Nisen, Henrik (BCG Platinion)" userId="23462ed3-8a28-48c0-b94c-224b90eb8d0a" providerId="ADAL" clId="{85BF7E29-B863-8743-821C-9B528FF1FFE4}" dt="2024-04-05T07:23:40.863" v="5921"/>
          <ac:cxnSpMkLst>
            <pc:docMk/>
            <pc:sldMk cId="4205166027" sldId="2147483616"/>
            <ac:cxnSpMk id="86" creationId="{FFF5CB0D-A2E1-B2B0-4E2D-9AD92449820C}"/>
          </ac:cxnSpMkLst>
        </pc:cxnChg>
        <pc:cxnChg chg="mod topLvl">
          <ac:chgData name="Nisen, Henrik (BCG Platinion)" userId="23462ed3-8a28-48c0-b94c-224b90eb8d0a" providerId="ADAL" clId="{85BF7E29-B863-8743-821C-9B528FF1FFE4}" dt="2024-04-05T07:23:53.481" v="5942"/>
          <ac:cxnSpMkLst>
            <pc:docMk/>
            <pc:sldMk cId="4205166027" sldId="2147483616"/>
            <ac:cxnSpMk id="166" creationId="{46A93D87-B412-819F-712F-6E004866FA35}"/>
          </ac:cxnSpMkLst>
        </pc:cxnChg>
        <pc:cxnChg chg="mod topLvl">
          <ac:chgData name="Nisen, Henrik (BCG Platinion)" userId="23462ed3-8a28-48c0-b94c-224b90eb8d0a" providerId="ADAL" clId="{85BF7E29-B863-8743-821C-9B528FF1FFE4}" dt="2024-04-05T07:23:59.119" v="5954"/>
          <ac:cxnSpMkLst>
            <pc:docMk/>
            <pc:sldMk cId="4205166027" sldId="2147483616"/>
            <ac:cxnSpMk id="167" creationId="{53B44BE2-9B69-40DA-D693-45DFB53DA678}"/>
          </ac:cxnSpMkLst>
        </pc:cxnChg>
        <pc:cxnChg chg="mod topLvl">
          <ac:chgData name="Nisen, Henrik (BCG Platinion)" userId="23462ed3-8a28-48c0-b94c-224b90eb8d0a" providerId="ADAL" clId="{85BF7E29-B863-8743-821C-9B528FF1FFE4}" dt="2024-04-05T07:24:04.840" v="5966"/>
          <ac:cxnSpMkLst>
            <pc:docMk/>
            <pc:sldMk cId="4205166027" sldId="2147483616"/>
            <ac:cxnSpMk id="168" creationId="{94B3EEBE-311D-A777-FB77-949B535B1B4B}"/>
          </ac:cxnSpMkLst>
        </pc:cxnChg>
        <pc:cxnChg chg="mod topLvl">
          <ac:chgData name="Nisen, Henrik (BCG Platinion)" userId="23462ed3-8a28-48c0-b94c-224b90eb8d0a" providerId="ADAL" clId="{85BF7E29-B863-8743-821C-9B528FF1FFE4}" dt="2024-04-05T07:23:27.452" v="5897"/>
          <ac:cxnSpMkLst>
            <pc:docMk/>
            <pc:sldMk cId="4205166027" sldId="2147483616"/>
            <ac:cxnSpMk id="169" creationId="{29F7AC04-702E-E1D0-B236-1DD8F24D723C}"/>
          </ac:cxnSpMkLst>
        </pc:cxnChg>
        <pc:cxnChg chg="mod topLvl">
          <ac:chgData name="Nisen, Henrik (BCG Platinion)" userId="23462ed3-8a28-48c0-b94c-224b90eb8d0a" providerId="ADAL" clId="{85BF7E29-B863-8743-821C-9B528FF1FFE4}" dt="2024-04-05T07:23:34.119" v="5909"/>
          <ac:cxnSpMkLst>
            <pc:docMk/>
            <pc:sldMk cId="4205166027" sldId="2147483616"/>
            <ac:cxnSpMk id="170" creationId="{56ADE1F7-F101-FD1C-402D-CE9F77533349}"/>
          </ac:cxnSpMkLst>
        </pc:cxnChg>
      </pc:sldChg>
      <pc:sldChg chg="addSp delSp modSp mod modTransition">
        <pc:chgData name="Nisen, Henrik (BCG Platinion)" userId="23462ed3-8a28-48c0-b94c-224b90eb8d0a" providerId="ADAL" clId="{85BF7E29-B863-8743-821C-9B528FF1FFE4}" dt="2024-04-05T08:34:44.540" v="8623"/>
        <pc:sldMkLst>
          <pc:docMk/>
          <pc:sldMk cId="3540406656" sldId="2147483617"/>
        </pc:sldMkLst>
        <pc:spChg chg="mod">
          <ac:chgData name="Nisen, Henrik (BCG Platinion)" userId="23462ed3-8a28-48c0-b94c-224b90eb8d0a" providerId="ADAL" clId="{85BF7E29-B863-8743-821C-9B528FF1FFE4}" dt="2024-04-05T06:15:00.233" v="113"/>
          <ac:spMkLst>
            <pc:docMk/>
            <pc:sldMk cId="3540406656" sldId="2147483617"/>
            <ac:spMk id="2" creationId="{EB2E9218-CB60-9600-B3E9-6E5A1FD345D3}"/>
          </ac:spMkLst>
        </pc:spChg>
        <pc:spChg chg="mod">
          <ac:chgData name="Nisen, Henrik (BCG Platinion)" userId="23462ed3-8a28-48c0-b94c-224b90eb8d0a" providerId="ADAL" clId="{85BF7E29-B863-8743-821C-9B528FF1FFE4}" dt="2024-04-05T06:15:00.234" v="114"/>
          <ac:spMkLst>
            <pc:docMk/>
            <pc:sldMk cId="3540406656" sldId="2147483617"/>
            <ac:spMk id="3" creationId="{82671AEF-4E73-A754-FBBE-DE6BBB308B6B}"/>
          </ac:spMkLst>
        </pc:spChg>
        <pc:spChg chg="mod">
          <ac:chgData name="Nisen, Henrik (BCG Platinion)" userId="23462ed3-8a28-48c0-b94c-224b90eb8d0a" providerId="ADAL" clId="{85BF7E29-B863-8743-821C-9B528FF1FFE4}" dt="2024-04-05T06:15:00.235" v="115"/>
          <ac:spMkLst>
            <pc:docMk/>
            <pc:sldMk cId="3540406656" sldId="2147483617"/>
            <ac:spMk id="4" creationId="{02A718DA-5930-258E-7B27-FBC80A8DC238}"/>
          </ac:spMkLst>
        </pc:spChg>
        <pc:spChg chg="add del mod modVis">
          <ac:chgData name="Nisen, Henrik (BCG Platinion)" userId="23462ed3-8a28-48c0-b94c-224b90eb8d0a" providerId="ADAL" clId="{85BF7E29-B863-8743-821C-9B528FF1FFE4}" dt="2024-04-05T06:15:00.261" v="155"/>
          <ac:spMkLst>
            <pc:docMk/>
            <pc:sldMk cId="3540406656" sldId="2147483617"/>
            <ac:spMk id="5" creationId="{25D721C1-6C08-B974-B6AE-798F9B953F67}"/>
          </ac:spMkLst>
        </pc:spChg>
        <pc:spChg chg="mod">
          <ac:chgData name="Nisen, Henrik (BCG Platinion)" userId="23462ed3-8a28-48c0-b94c-224b90eb8d0a" providerId="ADAL" clId="{85BF7E29-B863-8743-821C-9B528FF1FFE4}" dt="2024-04-05T06:15:00.236" v="116"/>
          <ac:spMkLst>
            <pc:docMk/>
            <pc:sldMk cId="3540406656" sldId="2147483617"/>
            <ac:spMk id="13" creationId="{AFFF1BD5-08F8-9EEC-22D7-CEBF26E0F90F}"/>
          </ac:spMkLst>
        </pc:spChg>
        <pc:spChg chg="mod">
          <ac:chgData name="Nisen, Henrik (BCG Platinion)" userId="23462ed3-8a28-48c0-b94c-224b90eb8d0a" providerId="ADAL" clId="{85BF7E29-B863-8743-821C-9B528FF1FFE4}" dt="2024-04-05T06:15:00.240" v="124"/>
          <ac:spMkLst>
            <pc:docMk/>
            <pc:sldMk cId="3540406656" sldId="2147483617"/>
            <ac:spMk id="18" creationId="{DA67438F-6D79-736F-49FB-308EA5BBA8EE}"/>
          </ac:spMkLst>
        </pc:spChg>
        <pc:spChg chg="mod">
          <ac:chgData name="Nisen, Henrik (BCG Platinion)" userId="23462ed3-8a28-48c0-b94c-224b90eb8d0a" providerId="ADAL" clId="{85BF7E29-B863-8743-821C-9B528FF1FFE4}" dt="2024-04-05T06:15:00.244" v="129"/>
          <ac:spMkLst>
            <pc:docMk/>
            <pc:sldMk cId="3540406656" sldId="2147483617"/>
            <ac:spMk id="21" creationId="{6062892B-8947-21A6-6D21-1D4B26D833FE}"/>
          </ac:spMkLst>
        </pc:spChg>
        <pc:spChg chg="mod">
          <ac:chgData name="Nisen, Henrik (BCG Platinion)" userId="23462ed3-8a28-48c0-b94c-224b90eb8d0a" providerId="ADAL" clId="{85BF7E29-B863-8743-821C-9B528FF1FFE4}" dt="2024-04-05T06:15:00.245" v="130"/>
          <ac:spMkLst>
            <pc:docMk/>
            <pc:sldMk cId="3540406656" sldId="2147483617"/>
            <ac:spMk id="22" creationId="{9749088D-3808-94B6-332F-E8DA1ECDF3FB}"/>
          </ac:spMkLst>
        </pc:spChg>
        <pc:spChg chg="mod">
          <ac:chgData name="Nisen, Henrik (BCG Platinion)" userId="23462ed3-8a28-48c0-b94c-224b90eb8d0a" providerId="ADAL" clId="{85BF7E29-B863-8743-821C-9B528FF1FFE4}" dt="2024-04-05T06:15:00.246" v="131"/>
          <ac:spMkLst>
            <pc:docMk/>
            <pc:sldMk cId="3540406656" sldId="2147483617"/>
            <ac:spMk id="23" creationId="{440C9793-8B38-C632-8A71-63811F7254A7}"/>
          </ac:spMkLst>
        </pc:spChg>
        <pc:spChg chg="mod">
          <ac:chgData name="Nisen, Henrik (BCG Platinion)" userId="23462ed3-8a28-48c0-b94c-224b90eb8d0a" providerId="ADAL" clId="{85BF7E29-B863-8743-821C-9B528FF1FFE4}" dt="2024-04-05T06:15:00.247" v="132"/>
          <ac:spMkLst>
            <pc:docMk/>
            <pc:sldMk cId="3540406656" sldId="2147483617"/>
            <ac:spMk id="24" creationId="{4BCED682-F630-C427-44A2-605E2D21E78C}"/>
          </ac:spMkLst>
        </pc:spChg>
        <pc:spChg chg="mod">
          <ac:chgData name="Nisen, Henrik (BCG Platinion)" userId="23462ed3-8a28-48c0-b94c-224b90eb8d0a" providerId="ADAL" clId="{85BF7E29-B863-8743-821C-9B528FF1FFE4}" dt="2024-04-05T06:15:00.248" v="133"/>
          <ac:spMkLst>
            <pc:docMk/>
            <pc:sldMk cId="3540406656" sldId="2147483617"/>
            <ac:spMk id="25" creationId="{DC2441AD-9C16-1DCE-AD00-E826014D3311}"/>
          </ac:spMkLst>
        </pc:spChg>
        <pc:spChg chg="mod">
          <ac:chgData name="Nisen, Henrik (BCG Platinion)" userId="23462ed3-8a28-48c0-b94c-224b90eb8d0a" providerId="ADAL" clId="{85BF7E29-B863-8743-821C-9B528FF1FFE4}" dt="2024-04-05T06:15:00.251" v="137"/>
          <ac:spMkLst>
            <pc:docMk/>
            <pc:sldMk cId="3540406656" sldId="2147483617"/>
            <ac:spMk id="26" creationId="{A51F07DB-9A38-9C6C-7DF5-BF961A3D3A22}"/>
          </ac:spMkLst>
        </pc:spChg>
        <pc:spChg chg="mod">
          <ac:chgData name="Nisen, Henrik (BCG Platinion)" userId="23462ed3-8a28-48c0-b94c-224b90eb8d0a" providerId="ADAL" clId="{85BF7E29-B863-8743-821C-9B528FF1FFE4}" dt="2024-04-05T06:15:00.250" v="135"/>
          <ac:spMkLst>
            <pc:docMk/>
            <pc:sldMk cId="3540406656" sldId="2147483617"/>
            <ac:spMk id="27" creationId="{10558318-9A5B-129E-6F44-B6EAB5BBAED5}"/>
          </ac:spMkLst>
        </pc:spChg>
        <pc:spChg chg="mod">
          <ac:chgData name="Nisen, Henrik (BCG Platinion)" userId="23462ed3-8a28-48c0-b94c-224b90eb8d0a" providerId="ADAL" clId="{85BF7E29-B863-8743-821C-9B528FF1FFE4}" dt="2024-04-05T06:15:00.250" v="136"/>
          <ac:spMkLst>
            <pc:docMk/>
            <pc:sldMk cId="3540406656" sldId="2147483617"/>
            <ac:spMk id="28" creationId="{CCC872DC-4193-117D-1D2B-782704246CFA}"/>
          </ac:spMkLst>
        </pc:spChg>
        <pc:spChg chg="mod">
          <ac:chgData name="Nisen, Henrik (BCG Platinion)" userId="23462ed3-8a28-48c0-b94c-224b90eb8d0a" providerId="ADAL" clId="{85BF7E29-B863-8743-821C-9B528FF1FFE4}" dt="2024-04-05T06:15:00.252" v="138"/>
          <ac:spMkLst>
            <pc:docMk/>
            <pc:sldMk cId="3540406656" sldId="2147483617"/>
            <ac:spMk id="71" creationId="{EE992E18-1609-A45F-C55E-2F8EB9B43B4F}"/>
          </ac:spMkLst>
        </pc:spChg>
        <pc:spChg chg="mod">
          <ac:chgData name="Nisen, Henrik (BCG Platinion)" userId="23462ed3-8a28-48c0-b94c-224b90eb8d0a" providerId="ADAL" clId="{85BF7E29-B863-8743-821C-9B528FF1FFE4}" dt="2024-04-05T06:15:00.243" v="127"/>
          <ac:spMkLst>
            <pc:docMk/>
            <pc:sldMk cId="3540406656" sldId="2147483617"/>
            <ac:spMk id="110" creationId="{38943964-F61D-F32E-B560-07010A69F31B}"/>
          </ac:spMkLst>
        </pc:spChg>
        <pc:spChg chg="mod">
          <ac:chgData name="Nisen, Henrik (BCG Platinion)" userId="23462ed3-8a28-48c0-b94c-224b90eb8d0a" providerId="ADAL" clId="{85BF7E29-B863-8743-821C-9B528FF1FFE4}" dt="2024-04-05T06:15:00.244" v="128"/>
          <ac:spMkLst>
            <pc:docMk/>
            <pc:sldMk cId="3540406656" sldId="2147483617"/>
            <ac:spMk id="111" creationId="{4829619A-C091-1060-0081-09BA7F24A7A5}"/>
          </ac:spMkLst>
        </pc:spChg>
        <pc:spChg chg="mod">
          <ac:chgData name="Nisen, Henrik (BCG Platinion)" userId="23462ed3-8a28-48c0-b94c-224b90eb8d0a" providerId="ADAL" clId="{85BF7E29-B863-8743-821C-9B528FF1FFE4}" dt="2024-04-05T06:15:00.242" v="126"/>
          <ac:spMkLst>
            <pc:docMk/>
            <pc:sldMk cId="3540406656" sldId="2147483617"/>
            <ac:spMk id="112" creationId="{7CD8E8D5-F06F-655B-5493-4110B566CDDB}"/>
          </ac:spMkLst>
        </pc:spChg>
        <pc:spChg chg="mod">
          <ac:chgData name="Nisen, Henrik (BCG Platinion)" userId="23462ed3-8a28-48c0-b94c-224b90eb8d0a" providerId="ADAL" clId="{85BF7E29-B863-8743-821C-9B528FF1FFE4}" dt="2024-04-05T06:15:00.241" v="125"/>
          <ac:spMkLst>
            <pc:docMk/>
            <pc:sldMk cId="3540406656" sldId="2147483617"/>
            <ac:spMk id="113" creationId="{FCD65EA2-3170-BB6E-B692-ADCABB1D69B0}"/>
          </ac:spMkLst>
        </pc:spChg>
        <pc:spChg chg="mod">
          <ac:chgData name="Nisen, Henrik (BCG Platinion)" userId="23462ed3-8a28-48c0-b94c-224b90eb8d0a" providerId="ADAL" clId="{85BF7E29-B863-8743-821C-9B528FF1FFE4}" dt="2024-04-05T06:15:00.249" v="134"/>
          <ac:spMkLst>
            <pc:docMk/>
            <pc:sldMk cId="3540406656" sldId="2147483617"/>
            <ac:spMk id="114" creationId="{649107F8-7132-1F71-1CED-83957C024B8C}"/>
          </ac:spMkLst>
        </pc:spChg>
        <pc:spChg chg="mod">
          <ac:chgData name="Nisen, Henrik (BCG Platinion)" userId="23462ed3-8a28-48c0-b94c-224b90eb8d0a" providerId="ADAL" clId="{85BF7E29-B863-8743-821C-9B528FF1FFE4}" dt="2024-04-05T06:15:00.253" v="139"/>
          <ac:spMkLst>
            <pc:docMk/>
            <pc:sldMk cId="3540406656" sldId="2147483617"/>
            <ac:spMk id="163" creationId="{56AFCB97-D87A-64F7-138A-00AD64EFEA83}"/>
          </ac:spMkLst>
        </pc:spChg>
        <pc:spChg chg="mod">
          <ac:chgData name="Nisen, Henrik (BCG Platinion)" userId="23462ed3-8a28-48c0-b94c-224b90eb8d0a" providerId="ADAL" clId="{85BF7E29-B863-8743-821C-9B528FF1FFE4}" dt="2024-04-05T06:15:00.254" v="141"/>
          <ac:spMkLst>
            <pc:docMk/>
            <pc:sldMk cId="3540406656" sldId="2147483617"/>
            <ac:spMk id="180" creationId="{9248F7DF-EA88-DC15-52A0-3A9B216E4EFB}"/>
          </ac:spMkLst>
        </pc:spChg>
        <pc:spChg chg="mod">
          <ac:chgData name="Nisen, Henrik (BCG Platinion)" userId="23462ed3-8a28-48c0-b94c-224b90eb8d0a" providerId="ADAL" clId="{85BF7E29-B863-8743-821C-9B528FF1FFE4}" dt="2024-04-05T06:25:51.164" v="2278" actId="20577"/>
          <ac:spMkLst>
            <pc:docMk/>
            <pc:sldMk cId="3540406656" sldId="2147483617"/>
            <ac:spMk id="181" creationId="{B90C14F6-DF1B-367D-C3FC-557A2E26378E}"/>
          </ac:spMkLst>
        </pc:spChg>
        <pc:grpChg chg="mod">
          <ac:chgData name="Nisen, Henrik (BCG Platinion)" userId="23462ed3-8a28-48c0-b94c-224b90eb8d0a" providerId="ADAL" clId="{85BF7E29-B863-8743-821C-9B528FF1FFE4}" dt="2024-04-05T06:15:00.254" v="140"/>
          <ac:grpSpMkLst>
            <pc:docMk/>
            <pc:sldMk cId="3540406656" sldId="2147483617"/>
            <ac:grpSpMk id="11" creationId="{7B2C3B70-A9DD-70AA-6AED-58910B5724CA}"/>
          </ac:grpSpMkLst>
        </pc:grpChg>
        <pc:graphicFrameChg chg="del">
          <ac:chgData name="Nisen, Henrik (BCG Platinion)" userId="23462ed3-8a28-48c0-b94c-224b90eb8d0a" providerId="ADAL" clId="{85BF7E29-B863-8743-821C-9B528FF1FFE4}" dt="2024-04-05T06:15:00.198" v="106"/>
          <ac:graphicFrameMkLst>
            <pc:docMk/>
            <pc:sldMk cId="3540406656" sldId="2147483617"/>
            <ac:graphicFrameMk id="6" creationId="{7461BF12-C3A3-DC7F-7E7A-E75B6283A908}"/>
          </ac:graphicFrameMkLst>
        </pc:graphicFrameChg>
        <pc:graphicFrameChg chg="add mod replST">
          <ac:chgData name="Nisen, Henrik (BCG Platinion)" userId="23462ed3-8a28-48c0-b94c-224b90eb8d0a" providerId="ADAL" clId="{85BF7E29-B863-8743-821C-9B528FF1FFE4}" dt="2024-04-05T06:15:00.239" v="123"/>
          <ac:graphicFrameMkLst>
            <pc:docMk/>
            <pc:sldMk cId="3540406656" sldId="2147483617"/>
            <ac:graphicFrameMk id="7" creationId="{8D26F8FA-B951-ED02-FA88-AA1CF441024D}"/>
          </ac:graphicFrameMkLst>
        </pc:graphicFrameChg>
        <pc:graphicFrameChg chg="mod">
          <ac:chgData name="Nisen, Henrik (BCG Platinion)" userId="23462ed3-8a28-48c0-b94c-224b90eb8d0a" providerId="ADAL" clId="{85BF7E29-B863-8743-821C-9B528FF1FFE4}" dt="2024-04-05T06:15:00.375" v="157"/>
          <ac:graphicFrameMkLst>
            <pc:docMk/>
            <pc:sldMk cId="3540406656" sldId="2147483617"/>
            <ac:graphicFrameMk id="37" creationId="{F5F07971-76A7-DD18-A5BE-9C7ED42D9A89}"/>
          </ac:graphicFrameMkLst>
        </pc:graphicFrameChg>
        <pc:picChg chg="mod">
          <ac:chgData name="Nisen, Henrik (BCG Platinion)" userId="23462ed3-8a28-48c0-b94c-224b90eb8d0a" providerId="ADAL" clId="{85BF7E29-B863-8743-821C-9B528FF1FFE4}" dt="2024-04-05T06:15:00.259" v="149"/>
          <ac:picMkLst>
            <pc:docMk/>
            <pc:sldMk cId="3540406656" sldId="2147483617"/>
            <ac:picMk id="17" creationId="{FBFFC2F6-8B2C-95E6-A6E5-73A135480EE1}"/>
          </ac:picMkLst>
        </pc:picChg>
        <pc:picChg chg="mod">
          <ac:chgData name="Nisen, Henrik (BCG Platinion)" userId="23462ed3-8a28-48c0-b94c-224b90eb8d0a" providerId="ADAL" clId="{85BF7E29-B863-8743-821C-9B528FF1FFE4}" dt="2024-04-05T06:15:00.259" v="150"/>
          <ac:picMkLst>
            <pc:docMk/>
            <pc:sldMk cId="3540406656" sldId="2147483617"/>
            <ac:picMk id="20" creationId="{AE8465C6-C16E-06B0-C1C0-884CCA13A707}"/>
          </ac:picMkLst>
        </pc:picChg>
        <pc:picChg chg="mod">
          <ac:chgData name="Nisen, Henrik (BCG Platinion)" userId="23462ed3-8a28-48c0-b94c-224b90eb8d0a" providerId="ADAL" clId="{85BF7E29-B863-8743-821C-9B528FF1FFE4}" dt="2024-04-05T06:15:00.257" v="145"/>
          <ac:picMkLst>
            <pc:docMk/>
            <pc:sldMk cId="3540406656" sldId="2147483617"/>
            <ac:picMk id="36" creationId="{0E628D8B-9407-9955-1ED8-41E9AACED384}"/>
          </ac:picMkLst>
        </pc:picChg>
        <pc:picChg chg="mod">
          <ac:chgData name="Nisen, Henrik (BCG Platinion)" userId="23462ed3-8a28-48c0-b94c-224b90eb8d0a" providerId="ADAL" clId="{85BF7E29-B863-8743-821C-9B528FF1FFE4}" dt="2024-04-05T06:15:00.256" v="144"/>
          <ac:picMkLst>
            <pc:docMk/>
            <pc:sldMk cId="3540406656" sldId="2147483617"/>
            <ac:picMk id="161" creationId="{A28D1A19-22B7-EFA3-EECE-29B7E50A72EB}"/>
          </ac:picMkLst>
        </pc:picChg>
        <pc:picChg chg="mod">
          <ac:chgData name="Nisen, Henrik (BCG Platinion)" userId="23462ed3-8a28-48c0-b94c-224b90eb8d0a" providerId="ADAL" clId="{85BF7E29-B863-8743-821C-9B528FF1FFE4}" dt="2024-04-05T06:15:00.256" v="143"/>
          <ac:picMkLst>
            <pc:docMk/>
            <pc:sldMk cId="3540406656" sldId="2147483617"/>
            <ac:picMk id="171" creationId="{C07D1D16-E76B-0685-C3EF-5FEF48FDFC47}"/>
          </ac:picMkLst>
        </pc:picChg>
        <pc:picChg chg="mod">
          <ac:chgData name="Nisen, Henrik (BCG Platinion)" userId="23462ed3-8a28-48c0-b94c-224b90eb8d0a" providerId="ADAL" clId="{85BF7E29-B863-8743-821C-9B528FF1FFE4}" dt="2024-04-05T06:15:00.260" v="151"/>
          <ac:picMkLst>
            <pc:docMk/>
            <pc:sldMk cId="3540406656" sldId="2147483617"/>
            <ac:picMk id="206" creationId="{D647D978-AD6A-425D-40D2-A88D899E5A37}"/>
          </ac:picMkLst>
        </pc:picChg>
        <pc:picChg chg="mod">
          <ac:chgData name="Nisen, Henrik (BCG Platinion)" userId="23462ed3-8a28-48c0-b94c-224b90eb8d0a" providerId="ADAL" clId="{85BF7E29-B863-8743-821C-9B528FF1FFE4}" dt="2024-04-05T06:15:00.257" v="146"/>
          <ac:picMkLst>
            <pc:docMk/>
            <pc:sldMk cId="3540406656" sldId="2147483617"/>
            <ac:picMk id="208" creationId="{DBE0DB47-862F-3E1E-C625-7A05D8AE23EF}"/>
          </ac:picMkLst>
        </pc:picChg>
        <pc:picChg chg="mod">
          <ac:chgData name="Nisen, Henrik (BCG Platinion)" userId="23462ed3-8a28-48c0-b94c-224b90eb8d0a" providerId="ADAL" clId="{85BF7E29-B863-8743-821C-9B528FF1FFE4}" dt="2024-04-05T06:15:00.258" v="147"/>
          <ac:picMkLst>
            <pc:docMk/>
            <pc:sldMk cId="3540406656" sldId="2147483617"/>
            <ac:picMk id="217" creationId="{35FE682E-4D09-15A2-A337-3A3DDB651BBF}"/>
          </ac:picMkLst>
        </pc:picChg>
        <pc:picChg chg="mod">
          <ac:chgData name="Nisen, Henrik (BCG Platinion)" userId="23462ed3-8a28-48c0-b94c-224b90eb8d0a" providerId="ADAL" clId="{85BF7E29-B863-8743-821C-9B528FF1FFE4}" dt="2024-04-05T06:15:00.258" v="148"/>
          <ac:picMkLst>
            <pc:docMk/>
            <pc:sldMk cId="3540406656" sldId="2147483617"/>
            <ac:picMk id="218" creationId="{999C99B5-CA09-304D-085F-700465424DC0}"/>
          </ac:picMkLst>
        </pc:picChg>
        <pc:cxnChg chg="mod">
          <ac:chgData name="Nisen, Henrik (BCG Platinion)" userId="23462ed3-8a28-48c0-b94c-224b90eb8d0a" providerId="ADAL" clId="{85BF7E29-B863-8743-821C-9B528FF1FFE4}" dt="2024-04-05T06:15:00.238" v="120"/>
          <ac:cxnSpMkLst>
            <pc:docMk/>
            <pc:sldMk cId="3540406656" sldId="2147483617"/>
            <ac:cxnSpMk id="9" creationId="{BECD55D3-BF0D-15A9-7584-9D17CCF535F3}"/>
          </ac:cxnSpMkLst>
        </pc:cxnChg>
        <pc:cxnChg chg="mod">
          <ac:chgData name="Nisen, Henrik (BCG Platinion)" userId="23462ed3-8a28-48c0-b94c-224b90eb8d0a" providerId="ADAL" clId="{85BF7E29-B863-8743-821C-9B528FF1FFE4}" dt="2024-04-05T06:15:00.237" v="118"/>
          <ac:cxnSpMkLst>
            <pc:docMk/>
            <pc:sldMk cId="3540406656" sldId="2147483617"/>
            <ac:cxnSpMk id="116" creationId="{CABE946D-7716-DA15-3A3F-9453F27B40D5}"/>
          </ac:cxnSpMkLst>
        </pc:cxnChg>
        <pc:cxnChg chg="mod">
          <ac:chgData name="Nisen, Henrik (BCG Platinion)" userId="23462ed3-8a28-48c0-b94c-224b90eb8d0a" providerId="ADAL" clId="{85BF7E29-B863-8743-821C-9B528FF1FFE4}" dt="2024-04-05T06:15:00.236" v="117"/>
          <ac:cxnSpMkLst>
            <pc:docMk/>
            <pc:sldMk cId="3540406656" sldId="2147483617"/>
            <ac:cxnSpMk id="117" creationId="{EE7FBFFD-57FA-103C-4AA2-8CF4BBBDB3D8}"/>
          </ac:cxnSpMkLst>
        </pc:cxnChg>
        <pc:cxnChg chg="mod">
          <ac:chgData name="Nisen, Henrik (BCG Platinion)" userId="23462ed3-8a28-48c0-b94c-224b90eb8d0a" providerId="ADAL" clId="{85BF7E29-B863-8743-821C-9B528FF1FFE4}" dt="2024-04-05T06:15:00.239" v="122"/>
          <ac:cxnSpMkLst>
            <pc:docMk/>
            <pc:sldMk cId="3540406656" sldId="2147483617"/>
            <ac:cxnSpMk id="118" creationId="{247E4565-28A3-288C-F4B5-5FC70D430C02}"/>
          </ac:cxnSpMkLst>
        </pc:cxnChg>
        <pc:cxnChg chg="mod">
          <ac:chgData name="Nisen, Henrik (BCG Platinion)" userId="23462ed3-8a28-48c0-b94c-224b90eb8d0a" providerId="ADAL" clId="{85BF7E29-B863-8743-821C-9B528FF1FFE4}" dt="2024-04-05T06:15:00.238" v="121"/>
          <ac:cxnSpMkLst>
            <pc:docMk/>
            <pc:sldMk cId="3540406656" sldId="2147483617"/>
            <ac:cxnSpMk id="119" creationId="{CBFE325D-8382-BC92-11D1-EC49C84B6543}"/>
          </ac:cxnSpMkLst>
        </pc:cxnChg>
        <pc:cxnChg chg="mod">
          <ac:chgData name="Nisen, Henrik (BCG Platinion)" userId="23462ed3-8a28-48c0-b94c-224b90eb8d0a" providerId="ADAL" clId="{85BF7E29-B863-8743-821C-9B528FF1FFE4}" dt="2024-04-05T06:15:00.237" v="119"/>
          <ac:cxnSpMkLst>
            <pc:docMk/>
            <pc:sldMk cId="3540406656" sldId="2147483617"/>
            <ac:cxnSpMk id="120" creationId="{8264C9C8-1F16-D427-D063-7AE172AA9EE8}"/>
          </ac:cxnSpMkLst>
        </pc:cxnChg>
      </pc:sldChg>
      <pc:sldChg chg="addSp delSp modSp mod modTransition">
        <pc:chgData name="Nisen, Henrik (BCG Platinion)" userId="23462ed3-8a28-48c0-b94c-224b90eb8d0a" providerId="ADAL" clId="{85BF7E29-B863-8743-821C-9B528FF1FFE4}" dt="2024-04-05T08:34:44.540" v="8623"/>
        <pc:sldMkLst>
          <pc:docMk/>
          <pc:sldMk cId="195621216" sldId="2147483619"/>
        </pc:sldMkLst>
        <pc:spChg chg="mod">
          <ac:chgData name="Nisen, Henrik (BCG Platinion)" userId="23462ed3-8a28-48c0-b94c-224b90eb8d0a" providerId="ADAL" clId="{85BF7E29-B863-8743-821C-9B528FF1FFE4}" dt="2024-04-05T06:15:04.818" v="500"/>
          <ac:spMkLst>
            <pc:docMk/>
            <pc:sldMk cId="195621216" sldId="2147483619"/>
            <ac:spMk id="2" creationId="{551A0760-76B6-B0DA-473F-4F9BCE390A30}"/>
          </ac:spMkLst>
        </pc:spChg>
        <pc:spChg chg="mod">
          <ac:chgData name="Nisen, Henrik (BCG Platinion)" userId="23462ed3-8a28-48c0-b94c-224b90eb8d0a" providerId="ADAL" clId="{85BF7E29-B863-8743-821C-9B528FF1FFE4}" dt="2024-04-05T06:15:04.819" v="501"/>
          <ac:spMkLst>
            <pc:docMk/>
            <pc:sldMk cId="195621216" sldId="2147483619"/>
            <ac:spMk id="3" creationId="{18FF0807-DAF8-B85E-04CD-C4F80F1262E3}"/>
          </ac:spMkLst>
        </pc:spChg>
        <pc:spChg chg="mod">
          <ac:chgData name="Nisen, Henrik (BCG Platinion)" userId="23462ed3-8a28-48c0-b94c-224b90eb8d0a" providerId="ADAL" clId="{85BF7E29-B863-8743-821C-9B528FF1FFE4}" dt="2024-04-05T06:15:04.906" v="606"/>
          <ac:spMkLst>
            <pc:docMk/>
            <pc:sldMk cId="195621216" sldId="2147483619"/>
            <ac:spMk id="4" creationId="{624E4400-E51F-503F-8733-CAB0AC9C1593}"/>
          </ac:spMkLst>
        </pc:spChg>
        <pc:spChg chg="mod">
          <ac:chgData name="Nisen, Henrik (BCG Platinion)" userId="23462ed3-8a28-48c0-b94c-224b90eb8d0a" providerId="ADAL" clId="{85BF7E29-B863-8743-821C-9B528FF1FFE4}" dt="2024-04-05T06:26:38.011" v="2316" actId="20577"/>
          <ac:spMkLst>
            <pc:docMk/>
            <pc:sldMk cId="195621216" sldId="2147483619"/>
            <ac:spMk id="5" creationId="{904AF0DD-C736-641B-E724-FB2A35E7801D}"/>
          </ac:spMkLst>
        </pc:spChg>
        <pc:spChg chg="mod">
          <ac:chgData name="Nisen, Henrik (BCG Platinion)" userId="23462ed3-8a28-48c0-b94c-224b90eb8d0a" providerId="ADAL" clId="{85BF7E29-B863-8743-821C-9B528FF1FFE4}" dt="2024-04-05T06:15:04.820" v="503"/>
          <ac:spMkLst>
            <pc:docMk/>
            <pc:sldMk cId="195621216" sldId="2147483619"/>
            <ac:spMk id="6" creationId="{7E624B2B-6B3A-A95A-9FB1-955A0F155E43}"/>
          </ac:spMkLst>
        </pc:spChg>
        <pc:spChg chg="mod">
          <ac:chgData name="Nisen, Henrik (BCG Platinion)" userId="23462ed3-8a28-48c0-b94c-224b90eb8d0a" providerId="ADAL" clId="{85BF7E29-B863-8743-821C-9B528FF1FFE4}" dt="2024-04-05T06:15:04.821" v="504"/>
          <ac:spMkLst>
            <pc:docMk/>
            <pc:sldMk cId="195621216" sldId="2147483619"/>
            <ac:spMk id="7" creationId="{C7EBDFB9-CDDA-A163-084A-A2FDD8481202}"/>
          </ac:spMkLst>
        </pc:spChg>
        <pc:spChg chg="mod">
          <ac:chgData name="Nisen, Henrik (BCG Platinion)" userId="23462ed3-8a28-48c0-b94c-224b90eb8d0a" providerId="ADAL" clId="{85BF7E29-B863-8743-821C-9B528FF1FFE4}" dt="2024-04-05T06:15:04.822" v="505"/>
          <ac:spMkLst>
            <pc:docMk/>
            <pc:sldMk cId="195621216" sldId="2147483619"/>
            <ac:spMk id="8" creationId="{509CA467-F98E-715A-FF85-069C4B346E94}"/>
          </ac:spMkLst>
        </pc:spChg>
        <pc:spChg chg="mod">
          <ac:chgData name="Nisen, Henrik (BCG Platinion)" userId="23462ed3-8a28-48c0-b94c-224b90eb8d0a" providerId="ADAL" clId="{85BF7E29-B863-8743-821C-9B528FF1FFE4}" dt="2024-04-05T06:15:04.823" v="506"/>
          <ac:spMkLst>
            <pc:docMk/>
            <pc:sldMk cId="195621216" sldId="2147483619"/>
            <ac:spMk id="9" creationId="{AC40E903-33AA-3C51-F348-AF542B46194F}"/>
          </ac:spMkLst>
        </pc:spChg>
        <pc:spChg chg="mod">
          <ac:chgData name="Nisen, Henrik (BCG Platinion)" userId="23462ed3-8a28-48c0-b94c-224b90eb8d0a" providerId="ADAL" clId="{85BF7E29-B863-8743-821C-9B528FF1FFE4}" dt="2024-04-05T06:15:04.824" v="507"/>
          <ac:spMkLst>
            <pc:docMk/>
            <pc:sldMk cId="195621216" sldId="2147483619"/>
            <ac:spMk id="10" creationId="{AED3C9AB-BB1A-A2BF-2DCF-C7B8E59ED87A}"/>
          </ac:spMkLst>
        </pc:spChg>
        <pc:spChg chg="add del mod modVis">
          <ac:chgData name="Nisen, Henrik (BCG Platinion)" userId="23462ed3-8a28-48c0-b94c-224b90eb8d0a" providerId="ADAL" clId="{85BF7E29-B863-8743-821C-9B528FF1FFE4}" dt="2024-04-05T06:15:04.907" v="610"/>
          <ac:spMkLst>
            <pc:docMk/>
            <pc:sldMk cId="195621216" sldId="2147483619"/>
            <ac:spMk id="11" creationId="{204853D2-363C-E3FA-7EC9-45AA6CF602EA}"/>
          </ac:spMkLst>
        </pc:spChg>
        <pc:spChg chg="mod">
          <ac:chgData name="Nisen, Henrik (BCG Platinion)" userId="23462ed3-8a28-48c0-b94c-224b90eb8d0a" providerId="ADAL" clId="{85BF7E29-B863-8743-821C-9B528FF1FFE4}" dt="2024-04-05T06:26:47.932" v="2322" actId="20577"/>
          <ac:spMkLst>
            <pc:docMk/>
            <pc:sldMk cId="195621216" sldId="2147483619"/>
            <ac:spMk id="12" creationId="{0F6EC2C8-148E-08D4-83D4-9AA37827B597}"/>
          </ac:spMkLst>
        </pc:spChg>
        <pc:spChg chg="mod">
          <ac:chgData name="Nisen, Henrik (BCG Platinion)" userId="23462ed3-8a28-48c0-b94c-224b90eb8d0a" providerId="ADAL" clId="{85BF7E29-B863-8743-821C-9B528FF1FFE4}" dt="2024-04-05T06:15:04.830" v="514"/>
          <ac:spMkLst>
            <pc:docMk/>
            <pc:sldMk cId="195621216" sldId="2147483619"/>
            <ac:spMk id="14" creationId="{042DD343-6B62-B921-B582-087610584A52}"/>
          </ac:spMkLst>
        </pc:spChg>
        <pc:spChg chg="mod">
          <ac:chgData name="Nisen, Henrik (BCG Platinion)" userId="23462ed3-8a28-48c0-b94c-224b90eb8d0a" providerId="ADAL" clId="{85BF7E29-B863-8743-821C-9B528FF1FFE4}" dt="2024-04-05T06:15:04.826" v="510"/>
          <ac:spMkLst>
            <pc:docMk/>
            <pc:sldMk cId="195621216" sldId="2147483619"/>
            <ac:spMk id="15" creationId="{7D9C0861-AE06-53FA-92EC-0BEFE2F70AFE}"/>
          </ac:spMkLst>
        </pc:spChg>
        <pc:spChg chg="mod">
          <ac:chgData name="Nisen, Henrik (BCG Platinion)" userId="23462ed3-8a28-48c0-b94c-224b90eb8d0a" providerId="ADAL" clId="{85BF7E29-B863-8743-821C-9B528FF1FFE4}" dt="2024-04-05T06:15:04.827" v="511"/>
          <ac:spMkLst>
            <pc:docMk/>
            <pc:sldMk cId="195621216" sldId="2147483619"/>
            <ac:spMk id="16" creationId="{7EE98975-ACF9-60EA-7A8D-4F86FAC6CC37}"/>
          </ac:spMkLst>
        </pc:spChg>
        <pc:spChg chg="mod">
          <ac:chgData name="Nisen, Henrik (BCG Platinion)" userId="23462ed3-8a28-48c0-b94c-224b90eb8d0a" providerId="ADAL" clId="{85BF7E29-B863-8743-821C-9B528FF1FFE4}" dt="2024-04-05T06:15:04.828" v="512"/>
          <ac:spMkLst>
            <pc:docMk/>
            <pc:sldMk cId="195621216" sldId="2147483619"/>
            <ac:spMk id="17" creationId="{20CBCBEC-C02C-210C-82F7-12C0821CC5C4}"/>
          </ac:spMkLst>
        </pc:spChg>
        <pc:spChg chg="mod">
          <ac:chgData name="Nisen, Henrik (BCG Platinion)" userId="23462ed3-8a28-48c0-b94c-224b90eb8d0a" providerId="ADAL" clId="{85BF7E29-B863-8743-821C-9B528FF1FFE4}" dt="2024-04-05T06:15:04.829" v="513"/>
          <ac:spMkLst>
            <pc:docMk/>
            <pc:sldMk cId="195621216" sldId="2147483619"/>
            <ac:spMk id="18" creationId="{21296A22-1473-7F56-FACA-1CB8E5B11E4C}"/>
          </ac:spMkLst>
        </pc:spChg>
        <pc:spChg chg="mod">
          <ac:chgData name="Nisen, Henrik (BCG Platinion)" userId="23462ed3-8a28-48c0-b94c-224b90eb8d0a" providerId="ADAL" clId="{85BF7E29-B863-8743-821C-9B528FF1FFE4}" dt="2024-04-05T06:15:04.833" v="518"/>
          <ac:spMkLst>
            <pc:docMk/>
            <pc:sldMk cId="195621216" sldId="2147483619"/>
            <ac:spMk id="19" creationId="{6FA4D75D-36C1-157A-E638-34FA99E7A321}"/>
          </ac:spMkLst>
        </pc:spChg>
        <pc:spChg chg="mod">
          <ac:chgData name="Nisen, Henrik (BCG Platinion)" userId="23462ed3-8a28-48c0-b94c-224b90eb8d0a" providerId="ADAL" clId="{85BF7E29-B863-8743-821C-9B528FF1FFE4}" dt="2024-04-05T06:15:04.830" v="515"/>
          <ac:spMkLst>
            <pc:docMk/>
            <pc:sldMk cId="195621216" sldId="2147483619"/>
            <ac:spMk id="20" creationId="{53EB66FB-5A6E-BD62-2F8B-104E969CA30A}"/>
          </ac:spMkLst>
        </pc:spChg>
        <pc:spChg chg="mod">
          <ac:chgData name="Nisen, Henrik (BCG Platinion)" userId="23462ed3-8a28-48c0-b94c-224b90eb8d0a" providerId="ADAL" clId="{85BF7E29-B863-8743-821C-9B528FF1FFE4}" dt="2024-04-05T06:15:04.831" v="516"/>
          <ac:spMkLst>
            <pc:docMk/>
            <pc:sldMk cId="195621216" sldId="2147483619"/>
            <ac:spMk id="21" creationId="{0075642A-7690-EDE1-68F7-01C3C22FA03C}"/>
          </ac:spMkLst>
        </pc:spChg>
        <pc:spChg chg="mod">
          <ac:chgData name="Nisen, Henrik (BCG Platinion)" userId="23462ed3-8a28-48c0-b94c-224b90eb8d0a" providerId="ADAL" clId="{85BF7E29-B863-8743-821C-9B528FF1FFE4}" dt="2024-04-05T06:15:04.832" v="517"/>
          <ac:spMkLst>
            <pc:docMk/>
            <pc:sldMk cId="195621216" sldId="2147483619"/>
            <ac:spMk id="22" creationId="{7DF98394-00F8-44C9-554D-90022B99CCD5}"/>
          </ac:spMkLst>
        </pc:spChg>
        <pc:spChg chg="mod">
          <ac:chgData name="Nisen, Henrik (BCG Platinion)" userId="23462ed3-8a28-48c0-b94c-224b90eb8d0a" providerId="ADAL" clId="{85BF7E29-B863-8743-821C-9B528FF1FFE4}" dt="2024-04-05T06:15:04.834" v="520"/>
          <ac:spMkLst>
            <pc:docMk/>
            <pc:sldMk cId="195621216" sldId="2147483619"/>
            <ac:spMk id="24" creationId="{A45F945A-6A24-C366-4F58-34061E6914B7}"/>
          </ac:spMkLst>
        </pc:spChg>
        <pc:spChg chg="add mod replST">
          <ac:chgData name="Nisen, Henrik (BCG Platinion)" userId="23462ed3-8a28-48c0-b94c-224b90eb8d0a" providerId="ADAL" clId="{85BF7E29-B863-8743-821C-9B528FF1FFE4}" dt="2024-04-05T06:15:04.848" v="535"/>
          <ac:spMkLst>
            <pc:docMk/>
            <pc:sldMk cId="195621216" sldId="2147483619"/>
            <ac:spMk id="25" creationId="{A7A0A106-DF70-9870-3EF3-3D233ED67A84}"/>
          </ac:spMkLst>
        </pc:spChg>
        <pc:spChg chg="mod">
          <ac:chgData name="Nisen, Henrik (BCG Platinion)" userId="23462ed3-8a28-48c0-b94c-224b90eb8d0a" providerId="ADAL" clId="{85BF7E29-B863-8743-821C-9B528FF1FFE4}" dt="2024-04-05T06:15:04.845" v="532"/>
          <ac:spMkLst>
            <pc:docMk/>
            <pc:sldMk cId="195621216" sldId="2147483619"/>
            <ac:spMk id="26" creationId="{DE7E6193-0153-E1A0-489A-602DAA1F76BA}"/>
          </ac:spMkLst>
        </pc:spChg>
        <pc:spChg chg="mod">
          <ac:chgData name="Nisen, Henrik (BCG Platinion)" userId="23462ed3-8a28-48c0-b94c-224b90eb8d0a" providerId="ADAL" clId="{85BF7E29-B863-8743-821C-9B528FF1FFE4}" dt="2024-04-05T06:15:04.836" v="522"/>
          <ac:spMkLst>
            <pc:docMk/>
            <pc:sldMk cId="195621216" sldId="2147483619"/>
            <ac:spMk id="27" creationId="{1AD693D0-35F9-41A2-BC6D-7EC121F69963}"/>
          </ac:spMkLst>
        </pc:spChg>
        <pc:spChg chg="mod">
          <ac:chgData name="Nisen, Henrik (BCG Platinion)" userId="23462ed3-8a28-48c0-b94c-224b90eb8d0a" providerId="ADAL" clId="{85BF7E29-B863-8743-821C-9B528FF1FFE4}" dt="2024-04-05T06:15:04.837" v="523"/>
          <ac:spMkLst>
            <pc:docMk/>
            <pc:sldMk cId="195621216" sldId="2147483619"/>
            <ac:spMk id="28" creationId="{BBADFD8D-4D40-7D6D-5429-A631B375E464}"/>
          </ac:spMkLst>
        </pc:spChg>
        <pc:spChg chg="mod">
          <ac:chgData name="Nisen, Henrik (BCG Platinion)" userId="23462ed3-8a28-48c0-b94c-224b90eb8d0a" providerId="ADAL" clId="{85BF7E29-B863-8743-821C-9B528FF1FFE4}" dt="2024-04-05T06:15:04.838" v="524"/>
          <ac:spMkLst>
            <pc:docMk/>
            <pc:sldMk cId="195621216" sldId="2147483619"/>
            <ac:spMk id="29" creationId="{C8BCCA10-D4A7-8D35-8411-7BFA4512619D}"/>
          </ac:spMkLst>
        </pc:spChg>
        <pc:spChg chg="mod">
          <ac:chgData name="Nisen, Henrik (BCG Platinion)" userId="23462ed3-8a28-48c0-b94c-224b90eb8d0a" providerId="ADAL" clId="{85BF7E29-B863-8743-821C-9B528FF1FFE4}" dt="2024-04-05T06:15:04.838" v="525"/>
          <ac:spMkLst>
            <pc:docMk/>
            <pc:sldMk cId="195621216" sldId="2147483619"/>
            <ac:spMk id="30" creationId="{981184D8-D7DD-E55C-E318-91D5BA7615E9}"/>
          </ac:spMkLst>
        </pc:spChg>
        <pc:spChg chg="mod">
          <ac:chgData name="Nisen, Henrik (BCG Platinion)" userId="23462ed3-8a28-48c0-b94c-224b90eb8d0a" providerId="ADAL" clId="{85BF7E29-B863-8743-821C-9B528FF1FFE4}" dt="2024-04-05T06:15:04.840" v="526"/>
          <ac:spMkLst>
            <pc:docMk/>
            <pc:sldMk cId="195621216" sldId="2147483619"/>
            <ac:spMk id="31" creationId="{6B27CC7B-ED07-71A5-912F-1A8560921E65}"/>
          </ac:spMkLst>
        </pc:spChg>
        <pc:spChg chg="mod">
          <ac:chgData name="Nisen, Henrik (BCG Platinion)" userId="23462ed3-8a28-48c0-b94c-224b90eb8d0a" providerId="ADAL" clId="{85BF7E29-B863-8743-821C-9B528FF1FFE4}" dt="2024-04-05T06:15:04.841" v="527"/>
          <ac:spMkLst>
            <pc:docMk/>
            <pc:sldMk cId="195621216" sldId="2147483619"/>
            <ac:spMk id="32" creationId="{30BFB511-3FE8-5200-979E-3C4AD1BB2FB4}"/>
          </ac:spMkLst>
        </pc:spChg>
        <pc:spChg chg="mod">
          <ac:chgData name="Nisen, Henrik (BCG Platinion)" userId="23462ed3-8a28-48c0-b94c-224b90eb8d0a" providerId="ADAL" clId="{85BF7E29-B863-8743-821C-9B528FF1FFE4}" dt="2024-04-05T06:15:04.842" v="528"/>
          <ac:spMkLst>
            <pc:docMk/>
            <pc:sldMk cId="195621216" sldId="2147483619"/>
            <ac:spMk id="33" creationId="{2E9EF003-9908-D7E6-D0D3-91EAB0667C3E}"/>
          </ac:spMkLst>
        </pc:spChg>
        <pc:spChg chg="mod">
          <ac:chgData name="Nisen, Henrik (BCG Platinion)" userId="23462ed3-8a28-48c0-b94c-224b90eb8d0a" providerId="ADAL" clId="{85BF7E29-B863-8743-821C-9B528FF1FFE4}" dt="2024-04-05T06:15:04.843" v="529"/>
          <ac:spMkLst>
            <pc:docMk/>
            <pc:sldMk cId="195621216" sldId="2147483619"/>
            <ac:spMk id="34" creationId="{6A1C4E45-74E8-6558-3070-8A1BB63E7B63}"/>
          </ac:spMkLst>
        </pc:spChg>
        <pc:spChg chg="mod">
          <ac:chgData name="Nisen, Henrik (BCG Platinion)" userId="23462ed3-8a28-48c0-b94c-224b90eb8d0a" providerId="ADAL" clId="{85BF7E29-B863-8743-821C-9B528FF1FFE4}" dt="2024-04-05T06:15:04.843" v="530"/>
          <ac:spMkLst>
            <pc:docMk/>
            <pc:sldMk cId="195621216" sldId="2147483619"/>
            <ac:spMk id="35" creationId="{2DB89FBB-1679-B05B-3118-780FABA99724}"/>
          </ac:spMkLst>
        </pc:spChg>
        <pc:spChg chg="mod">
          <ac:chgData name="Nisen, Henrik (BCG Platinion)" userId="23462ed3-8a28-48c0-b94c-224b90eb8d0a" providerId="ADAL" clId="{85BF7E29-B863-8743-821C-9B528FF1FFE4}" dt="2024-04-05T06:15:04.844" v="531"/>
          <ac:spMkLst>
            <pc:docMk/>
            <pc:sldMk cId="195621216" sldId="2147483619"/>
            <ac:spMk id="36" creationId="{4AC12EE4-AAE0-600C-5B34-A2D1A5622BAE}"/>
          </ac:spMkLst>
        </pc:spChg>
        <pc:spChg chg="add mod replST">
          <ac:chgData name="Nisen, Henrik (BCG Platinion)" userId="23462ed3-8a28-48c0-b94c-224b90eb8d0a" providerId="ADAL" clId="{85BF7E29-B863-8743-821C-9B528FF1FFE4}" dt="2024-04-05T06:15:04.847" v="534"/>
          <ac:spMkLst>
            <pc:docMk/>
            <pc:sldMk cId="195621216" sldId="2147483619"/>
            <ac:spMk id="37" creationId="{6BB1ABD0-4042-A5C4-F01A-D11F70D74201}"/>
          </ac:spMkLst>
        </pc:spChg>
        <pc:spChg chg="add mod replST">
          <ac:chgData name="Nisen, Henrik (BCG Platinion)" userId="23462ed3-8a28-48c0-b94c-224b90eb8d0a" providerId="ADAL" clId="{85BF7E29-B863-8743-821C-9B528FF1FFE4}" dt="2024-04-05T06:15:04.846" v="533"/>
          <ac:spMkLst>
            <pc:docMk/>
            <pc:sldMk cId="195621216" sldId="2147483619"/>
            <ac:spMk id="39" creationId="{B6E2D4B8-ACD8-D66E-C01A-15484A87A448}"/>
          </ac:spMkLst>
        </pc:spChg>
        <pc:spChg chg="del">
          <ac:chgData name="Nisen, Henrik (BCG Platinion)" userId="23462ed3-8a28-48c0-b94c-224b90eb8d0a" providerId="ADAL" clId="{85BF7E29-B863-8743-821C-9B528FF1FFE4}" dt="2024-04-05T06:15:04.771" v="448"/>
          <ac:spMkLst>
            <pc:docMk/>
            <pc:sldMk cId="195621216" sldId="2147483619"/>
            <ac:spMk id="40" creationId="{0E36E4FE-BCFC-7C5C-D00F-331EE220EAFF}"/>
          </ac:spMkLst>
        </pc:spChg>
        <pc:spChg chg="mod">
          <ac:chgData name="Nisen, Henrik (BCG Platinion)" userId="23462ed3-8a28-48c0-b94c-224b90eb8d0a" providerId="ADAL" clId="{85BF7E29-B863-8743-821C-9B528FF1FFE4}" dt="2024-04-05T06:15:04.866" v="558"/>
          <ac:spMkLst>
            <pc:docMk/>
            <pc:sldMk cId="195621216" sldId="2147483619"/>
            <ac:spMk id="43" creationId="{0554625D-7C6E-62D2-65F3-422532503E2B}"/>
          </ac:spMkLst>
        </pc:spChg>
        <pc:spChg chg="mod">
          <ac:chgData name="Nisen, Henrik (BCG Platinion)" userId="23462ed3-8a28-48c0-b94c-224b90eb8d0a" providerId="ADAL" clId="{85BF7E29-B863-8743-821C-9B528FF1FFE4}" dt="2024-04-05T06:15:04.849" v="538"/>
          <ac:spMkLst>
            <pc:docMk/>
            <pc:sldMk cId="195621216" sldId="2147483619"/>
            <ac:spMk id="44" creationId="{2F53C558-95A0-4A38-769F-47657E73CFAB}"/>
          </ac:spMkLst>
        </pc:spChg>
        <pc:spChg chg="mod">
          <ac:chgData name="Nisen, Henrik (BCG Platinion)" userId="23462ed3-8a28-48c0-b94c-224b90eb8d0a" providerId="ADAL" clId="{85BF7E29-B863-8743-821C-9B528FF1FFE4}" dt="2024-04-05T06:15:04.850" v="539"/>
          <ac:spMkLst>
            <pc:docMk/>
            <pc:sldMk cId="195621216" sldId="2147483619"/>
            <ac:spMk id="45" creationId="{805A1461-642D-563D-1518-A73DC58BC6A5}"/>
          </ac:spMkLst>
        </pc:spChg>
        <pc:spChg chg="mod">
          <ac:chgData name="Nisen, Henrik (BCG Platinion)" userId="23462ed3-8a28-48c0-b94c-224b90eb8d0a" providerId="ADAL" clId="{85BF7E29-B863-8743-821C-9B528FF1FFE4}" dt="2024-04-05T06:15:04.851" v="540"/>
          <ac:spMkLst>
            <pc:docMk/>
            <pc:sldMk cId="195621216" sldId="2147483619"/>
            <ac:spMk id="46" creationId="{5EED3477-B67B-0FA6-E0C6-CA3B4D5561A4}"/>
          </ac:spMkLst>
        </pc:spChg>
        <pc:spChg chg="mod">
          <ac:chgData name="Nisen, Henrik (BCG Platinion)" userId="23462ed3-8a28-48c0-b94c-224b90eb8d0a" providerId="ADAL" clId="{85BF7E29-B863-8743-821C-9B528FF1FFE4}" dt="2024-04-05T06:15:04.852" v="541"/>
          <ac:spMkLst>
            <pc:docMk/>
            <pc:sldMk cId="195621216" sldId="2147483619"/>
            <ac:spMk id="47" creationId="{A3D86680-6949-E7B7-69B6-D46C6E9BFA1F}"/>
          </ac:spMkLst>
        </pc:spChg>
        <pc:spChg chg="mod">
          <ac:chgData name="Nisen, Henrik (BCG Platinion)" userId="23462ed3-8a28-48c0-b94c-224b90eb8d0a" providerId="ADAL" clId="{85BF7E29-B863-8743-821C-9B528FF1FFE4}" dt="2024-04-05T06:15:04.853" v="542"/>
          <ac:spMkLst>
            <pc:docMk/>
            <pc:sldMk cId="195621216" sldId="2147483619"/>
            <ac:spMk id="48" creationId="{9D1EB512-173B-BEA9-1C49-3647099823AD}"/>
          </ac:spMkLst>
        </pc:spChg>
        <pc:spChg chg="mod">
          <ac:chgData name="Nisen, Henrik (BCG Platinion)" userId="23462ed3-8a28-48c0-b94c-224b90eb8d0a" providerId="ADAL" clId="{85BF7E29-B863-8743-821C-9B528FF1FFE4}" dt="2024-04-05T06:15:04.854" v="543"/>
          <ac:spMkLst>
            <pc:docMk/>
            <pc:sldMk cId="195621216" sldId="2147483619"/>
            <ac:spMk id="49" creationId="{98BDB999-CE36-81D6-39F9-75631658FF89}"/>
          </ac:spMkLst>
        </pc:spChg>
        <pc:spChg chg="mod">
          <ac:chgData name="Nisen, Henrik (BCG Platinion)" userId="23462ed3-8a28-48c0-b94c-224b90eb8d0a" providerId="ADAL" clId="{85BF7E29-B863-8743-821C-9B528FF1FFE4}" dt="2024-04-05T06:15:04.854" v="544"/>
          <ac:spMkLst>
            <pc:docMk/>
            <pc:sldMk cId="195621216" sldId="2147483619"/>
            <ac:spMk id="50" creationId="{BA4CA0EB-846C-78CD-0FC5-4BC4385A1732}"/>
          </ac:spMkLst>
        </pc:spChg>
        <pc:spChg chg="mod">
          <ac:chgData name="Nisen, Henrik (BCG Platinion)" userId="23462ed3-8a28-48c0-b94c-224b90eb8d0a" providerId="ADAL" clId="{85BF7E29-B863-8743-821C-9B528FF1FFE4}" dt="2024-04-05T06:15:04.855" v="545"/>
          <ac:spMkLst>
            <pc:docMk/>
            <pc:sldMk cId="195621216" sldId="2147483619"/>
            <ac:spMk id="51" creationId="{6A4480EA-0783-867A-F314-2FB3F2334C1C}"/>
          </ac:spMkLst>
        </pc:spChg>
        <pc:spChg chg="mod">
          <ac:chgData name="Nisen, Henrik (BCG Platinion)" userId="23462ed3-8a28-48c0-b94c-224b90eb8d0a" providerId="ADAL" clId="{85BF7E29-B863-8743-821C-9B528FF1FFE4}" dt="2024-04-05T06:15:04.856" v="546"/>
          <ac:spMkLst>
            <pc:docMk/>
            <pc:sldMk cId="195621216" sldId="2147483619"/>
            <ac:spMk id="52" creationId="{7B80E7D0-3786-ECDC-3BDE-52E7D73BC0FB}"/>
          </ac:spMkLst>
        </pc:spChg>
        <pc:spChg chg="mod">
          <ac:chgData name="Nisen, Henrik (BCG Platinion)" userId="23462ed3-8a28-48c0-b94c-224b90eb8d0a" providerId="ADAL" clId="{85BF7E29-B863-8743-821C-9B528FF1FFE4}" dt="2024-04-05T06:15:04.857" v="547"/>
          <ac:spMkLst>
            <pc:docMk/>
            <pc:sldMk cId="195621216" sldId="2147483619"/>
            <ac:spMk id="53" creationId="{549FE3A0-1B08-7B40-A513-38052FF461ED}"/>
          </ac:spMkLst>
        </pc:spChg>
        <pc:spChg chg="mod">
          <ac:chgData name="Nisen, Henrik (BCG Platinion)" userId="23462ed3-8a28-48c0-b94c-224b90eb8d0a" providerId="ADAL" clId="{85BF7E29-B863-8743-821C-9B528FF1FFE4}" dt="2024-04-05T06:15:04.858" v="548"/>
          <ac:spMkLst>
            <pc:docMk/>
            <pc:sldMk cId="195621216" sldId="2147483619"/>
            <ac:spMk id="54" creationId="{FEFCCCDD-77E0-5253-0C42-7BD199E9B215}"/>
          </ac:spMkLst>
        </pc:spChg>
        <pc:spChg chg="mod">
          <ac:chgData name="Nisen, Henrik (BCG Platinion)" userId="23462ed3-8a28-48c0-b94c-224b90eb8d0a" providerId="ADAL" clId="{85BF7E29-B863-8743-821C-9B528FF1FFE4}" dt="2024-04-05T06:15:04.859" v="549"/>
          <ac:spMkLst>
            <pc:docMk/>
            <pc:sldMk cId="195621216" sldId="2147483619"/>
            <ac:spMk id="55" creationId="{443C3E15-0B2D-3F9E-0829-060167045147}"/>
          </ac:spMkLst>
        </pc:spChg>
        <pc:spChg chg="mod">
          <ac:chgData name="Nisen, Henrik (BCG Platinion)" userId="23462ed3-8a28-48c0-b94c-224b90eb8d0a" providerId="ADAL" clId="{85BF7E29-B863-8743-821C-9B528FF1FFE4}" dt="2024-04-05T06:15:04.859" v="550"/>
          <ac:spMkLst>
            <pc:docMk/>
            <pc:sldMk cId="195621216" sldId="2147483619"/>
            <ac:spMk id="56" creationId="{DEB97388-511B-BB6F-8086-930880E5F1BE}"/>
          </ac:spMkLst>
        </pc:spChg>
        <pc:spChg chg="mod">
          <ac:chgData name="Nisen, Henrik (BCG Platinion)" userId="23462ed3-8a28-48c0-b94c-224b90eb8d0a" providerId="ADAL" clId="{85BF7E29-B863-8743-821C-9B528FF1FFE4}" dt="2024-04-05T06:15:04.860" v="551"/>
          <ac:spMkLst>
            <pc:docMk/>
            <pc:sldMk cId="195621216" sldId="2147483619"/>
            <ac:spMk id="57" creationId="{A40C8CF1-2AA1-25BD-B394-4905BDD9FD53}"/>
          </ac:spMkLst>
        </pc:spChg>
        <pc:spChg chg="mod">
          <ac:chgData name="Nisen, Henrik (BCG Platinion)" userId="23462ed3-8a28-48c0-b94c-224b90eb8d0a" providerId="ADAL" clId="{85BF7E29-B863-8743-821C-9B528FF1FFE4}" dt="2024-04-05T06:15:04.861" v="552"/>
          <ac:spMkLst>
            <pc:docMk/>
            <pc:sldMk cId="195621216" sldId="2147483619"/>
            <ac:spMk id="58" creationId="{7ADEA06C-B3C7-CB0F-9763-70EFF2C73B76}"/>
          </ac:spMkLst>
        </pc:spChg>
        <pc:spChg chg="mod">
          <ac:chgData name="Nisen, Henrik (BCG Platinion)" userId="23462ed3-8a28-48c0-b94c-224b90eb8d0a" providerId="ADAL" clId="{85BF7E29-B863-8743-821C-9B528FF1FFE4}" dt="2024-04-05T06:15:04.862" v="553"/>
          <ac:spMkLst>
            <pc:docMk/>
            <pc:sldMk cId="195621216" sldId="2147483619"/>
            <ac:spMk id="59" creationId="{E2F34B3D-B50C-7A29-A411-FBABA2897AF0}"/>
          </ac:spMkLst>
        </pc:spChg>
        <pc:spChg chg="mod">
          <ac:chgData name="Nisen, Henrik (BCG Platinion)" userId="23462ed3-8a28-48c0-b94c-224b90eb8d0a" providerId="ADAL" clId="{85BF7E29-B863-8743-821C-9B528FF1FFE4}" dt="2024-04-05T06:15:04.863" v="554"/>
          <ac:spMkLst>
            <pc:docMk/>
            <pc:sldMk cId="195621216" sldId="2147483619"/>
            <ac:spMk id="60" creationId="{09118D09-58EB-9742-A59F-1204757A54FB}"/>
          </ac:spMkLst>
        </pc:spChg>
        <pc:spChg chg="mod">
          <ac:chgData name="Nisen, Henrik (BCG Platinion)" userId="23462ed3-8a28-48c0-b94c-224b90eb8d0a" providerId="ADAL" clId="{85BF7E29-B863-8743-821C-9B528FF1FFE4}" dt="2024-04-05T06:15:04.863" v="555"/>
          <ac:spMkLst>
            <pc:docMk/>
            <pc:sldMk cId="195621216" sldId="2147483619"/>
            <ac:spMk id="61" creationId="{7883F257-DF5A-B4EE-54BF-53387BE32A8D}"/>
          </ac:spMkLst>
        </pc:spChg>
        <pc:spChg chg="mod">
          <ac:chgData name="Nisen, Henrik (BCG Platinion)" userId="23462ed3-8a28-48c0-b94c-224b90eb8d0a" providerId="ADAL" clId="{85BF7E29-B863-8743-821C-9B528FF1FFE4}" dt="2024-04-05T06:15:04.864" v="556"/>
          <ac:spMkLst>
            <pc:docMk/>
            <pc:sldMk cId="195621216" sldId="2147483619"/>
            <ac:spMk id="62" creationId="{8C941C6D-E56B-D8FD-F36F-F3E2EECCF26C}"/>
          </ac:spMkLst>
        </pc:spChg>
        <pc:spChg chg="mod">
          <ac:chgData name="Nisen, Henrik (BCG Platinion)" userId="23462ed3-8a28-48c0-b94c-224b90eb8d0a" providerId="ADAL" clId="{85BF7E29-B863-8743-821C-9B528FF1FFE4}" dt="2024-04-05T06:15:04.865" v="557"/>
          <ac:spMkLst>
            <pc:docMk/>
            <pc:sldMk cId="195621216" sldId="2147483619"/>
            <ac:spMk id="63" creationId="{F6DD9591-4703-CCB7-8215-052A8F1E50C8}"/>
          </ac:spMkLst>
        </pc:spChg>
        <pc:spChg chg="mod">
          <ac:chgData name="Nisen, Henrik (BCG Platinion)" userId="23462ed3-8a28-48c0-b94c-224b90eb8d0a" providerId="ADAL" clId="{85BF7E29-B863-8743-821C-9B528FF1FFE4}" dt="2024-04-05T06:15:04.885" v="581"/>
          <ac:spMkLst>
            <pc:docMk/>
            <pc:sldMk cId="195621216" sldId="2147483619"/>
            <ac:spMk id="64" creationId="{34306094-62E5-4A20-4861-F13203EFFF6B}"/>
          </ac:spMkLst>
        </pc:spChg>
        <pc:spChg chg="mod">
          <ac:chgData name="Nisen, Henrik (BCG Platinion)" userId="23462ed3-8a28-48c0-b94c-224b90eb8d0a" providerId="ADAL" clId="{85BF7E29-B863-8743-821C-9B528FF1FFE4}" dt="2024-04-05T06:15:04.867" v="559"/>
          <ac:spMkLst>
            <pc:docMk/>
            <pc:sldMk cId="195621216" sldId="2147483619"/>
            <ac:spMk id="65" creationId="{A6BECFA4-9E16-920C-6956-A69A4FC03220}"/>
          </ac:spMkLst>
        </pc:spChg>
        <pc:spChg chg="mod">
          <ac:chgData name="Nisen, Henrik (BCG Platinion)" userId="23462ed3-8a28-48c0-b94c-224b90eb8d0a" providerId="ADAL" clId="{85BF7E29-B863-8743-821C-9B528FF1FFE4}" dt="2024-04-05T06:15:04.868" v="560"/>
          <ac:spMkLst>
            <pc:docMk/>
            <pc:sldMk cId="195621216" sldId="2147483619"/>
            <ac:spMk id="66" creationId="{5B624E33-F6A0-C26B-F725-3E2B37742EE0}"/>
          </ac:spMkLst>
        </pc:spChg>
        <pc:spChg chg="mod">
          <ac:chgData name="Nisen, Henrik (BCG Platinion)" userId="23462ed3-8a28-48c0-b94c-224b90eb8d0a" providerId="ADAL" clId="{85BF7E29-B863-8743-821C-9B528FF1FFE4}" dt="2024-04-05T06:15:04.868" v="561"/>
          <ac:spMkLst>
            <pc:docMk/>
            <pc:sldMk cId="195621216" sldId="2147483619"/>
            <ac:spMk id="67" creationId="{C263D87A-6899-553D-DE5E-7E7FF095FACB}"/>
          </ac:spMkLst>
        </pc:spChg>
        <pc:spChg chg="mod">
          <ac:chgData name="Nisen, Henrik (BCG Platinion)" userId="23462ed3-8a28-48c0-b94c-224b90eb8d0a" providerId="ADAL" clId="{85BF7E29-B863-8743-821C-9B528FF1FFE4}" dt="2024-04-05T06:15:04.869" v="562"/>
          <ac:spMkLst>
            <pc:docMk/>
            <pc:sldMk cId="195621216" sldId="2147483619"/>
            <ac:spMk id="68" creationId="{60A6EDEB-79C2-8D39-2A76-E3D80831AA9D}"/>
          </ac:spMkLst>
        </pc:spChg>
        <pc:spChg chg="mod">
          <ac:chgData name="Nisen, Henrik (BCG Platinion)" userId="23462ed3-8a28-48c0-b94c-224b90eb8d0a" providerId="ADAL" clId="{85BF7E29-B863-8743-821C-9B528FF1FFE4}" dt="2024-04-05T06:15:04.870" v="563"/>
          <ac:spMkLst>
            <pc:docMk/>
            <pc:sldMk cId="195621216" sldId="2147483619"/>
            <ac:spMk id="69" creationId="{520F6DB1-F836-692D-CECD-F4B7B29CB482}"/>
          </ac:spMkLst>
        </pc:spChg>
        <pc:spChg chg="mod">
          <ac:chgData name="Nisen, Henrik (BCG Platinion)" userId="23462ed3-8a28-48c0-b94c-224b90eb8d0a" providerId="ADAL" clId="{85BF7E29-B863-8743-821C-9B528FF1FFE4}" dt="2024-04-05T06:15:04.871" v="564"/>
          <ac:spMkLst>
            <pc:docMk/>
            <pc:sldMk cId="195621216" sldId="2147483619"/>
            <ac:spMk id="70" creationId="{C2C8256C-C46C-3C97-88D1-942A72D1CBF9}"/>
          </ac:spMkLst>
        </pc:spChg>
        <pc:spChg chg="mod">
          <ac:chgData name="Nisen, Henrik (BCG Platinion)" userId="23462ed3-8a28-48c0-b94c-224b90eb8d0a" providerId="ADAL" clId="{85BF7E29-B863-8743-821C-9B528FF1FFE4}" dt="2024-04-05T06:15:04.872" v="565"/>
          <ac:spMkLst>
            <pc:docMk/>
            <pc:sldMk cId="195621216" sldId="2147483619"/>
            <ac:spMk id="71" creationId="{9534C55F-0096-111B-010E-6DAD16F3FED8}"/>
          </ac:spMkLst>
        </pc:spChg>
        <pc:spChg chg="mod">
          <ac:chgData name="Nisen, Henrik (BCG Platinion)" userId="23462ed3-8a28-48c0-b94c-224b90eb8d0a" providerId="ADAL" clId="{85BF7E29-B863-8743-821C-9B528FF1FFE4}" dt="2024-04-05T06:15:04.872" v="566"/>
          <ac:spMkLst>
            <pc:docMk/>
            <pc:sldMk cId="195621216" sldId="2147483619"/>
            <ac:spMk id="72" creationId="{94FCB038-9062-C84A-8F51-59989B819371}"/>
          </ac:spMkLst>
        </pc:spChg>
        <pc:spChg chg="mod">
          <ac:chgData name="Nisen, Henrik (BCG Platinion)" userId="23462ed3-8a28-48c0-b94c-224b90eb8d0a" providerId="ADAL" clId="{85BF7E29-B863-8743-821C-9B528FF1FFE4}" dt="2024-04-05T06:15:04.873" v="567"/>
          <ac:spMkLst>
            <pc:docMk/>
            <pc:sldMk cId="195621216" sldId="2147483619"/>
            <ac:spMk id="73" creationId="{4FBC1306-2951-E284-FB2C-0534E16488E5}"/>
          </ac:spMkLst>
        </pc:spChg>
        <pc:spChg chg="mod">
          <ac:chgData name="Nisen, Henrik (BCG Platinion)" userId="23462ed3-8a28-48c0-b94c-224b90eb8d0a" providerId="ADAL" clId="{85BF7E29-B863-8743-821C-9B528FF1FFE4}" dt="2024-04-05T06:15:04.874" v="568"/>
          <ac:spMkLst>
            <pc:docMk/>
            <pc:sldMk cId="195621216" sldId="2147483619"/>
            <ac:spMk id="74" creationId="{95C366A9-6862-81B5-088F-6F57D48E9E3D}"/>
          </ac:spMkLst>
        </pc:spChg>
        <pc:spChg chg="mod">
          <ac:chgData name="Nisen, Henrik (BCG Platinion)" userId="23462ed3-8a28-48c0-b94c-224b90eb8d0a" providerId="ADAL" clId="{85BF7E29-B863-8743-821C-9B528FF1FFE4}" dt="2024-04-05T06:15:04.875" v="569"/>
          <ac:spMkLst>
            <pc:docMk/>
            <pc:sldMk cId="195621216" sldId="2147483619"/>
            <ac:spMk id="75" creationId="{DB9B4F68-D404-BE3D-5C0A-7D527B76FD5F}"/>
          </ac:spMkLst>
        </pc:spChg>
        <pc:spChg chg="mod">
          <ac:chgData name="Nisen, Henrik (BCG Platinion)" userId="23462ed3-8a28-48c0-b94c-224b90eb8d0a" providerId="ADAL" clId="{85BF7E29-B863-8743-821C-9B528FF1FFE4}" dt="2024-04-05T06:15:04.876" v="570"/>
          <ac:spMkLst>
            <pc:docMk/>
            <pc:sldMk cId="195621216" sldId="2147483619"/>
            <ac:spMk id="76" creationId="{0391D58F-BB98-6FE8-9975-4F9960B975FB}"/>
          </ac:spMkLst>
        </pc:spChg>
        <pc:spChg chg="mod">
          <ac:chgData name="Nisen, Henrik (BCG Platinion)" userId="23462ed3-8a28-48c0-b94c-224b90eb8d0a" providerId="ADAL" clId="{85BF7E29-B863-8743-821C-9B528FF1FFE4}" dt="2024-04-05T06:15:04.877" v="571"/>
          <ac:spMkLst>
            <pc:docMk/>
            <pc:sldMk cId="195621216" sldId="2147483619"/>
            <ac:spMk id="77" creationId="{59F25E7F-1FFB-7230-7A20-6524FC236038}"/>
          </ac:spMkLst>
        </pc:spChg>
        <pc:spChg chg="mod">
          <ac:chgData name="Nisen, Henrik (BCG Platinion)" userId="23462ed3-8a28-48c0-b94c-224b90eb8d0a" providerId="ADAL" clId="{85BF7E29-B863-8743-821C-9B528FF1FFE4}" dt="2024-04-05T06:15:04.877" v="572"/>
          <ac:spMkLst>
            <pc:docMk/>
            <pc:sldMk cId="195621216" sldId="2147483619"/>
            <ac:spMk id="78" creationId="{02A37BCD-B733-06C0-AB78-B5B1CC7C4A0E}"/>
          </ac:spMkLst>
        </pc:spChg>
        <pc:spChg chg="mod">
          <ac:chgData name="Nisen, Henrik (BCG Platinion)" userId="23462ed3-8a28-48c0-b94c-224b90eb8d0a" providerId="ADAL" clId="{85BF7E29-B863-8743-821C-9B528FF1FFE4}" dt="2024-04-05T06:15:04.878" v="573"/>
          <ac:spMkLst>
            <pc:docMk/>
            <pc:sldMk cId="195621216" sldId="2147483619"/>
            <ac:spMk id="79" creationId="{529E8FB9-6374-32E5-1A95-F0A0F5760D0C}"/>
          </ac:spMkLst>
        </pc:spChg>
        <pc:spChg chg="mod">
          <ac:chgData name="Nisen, Henrik (BCG Platinion)" userId="23462ed3-8a28-48c0-b94c-224b90eb8d0a" providerId="ADAL" clId="{85BF7E29-B863-8743-821C-9B528FF1FFE4}" dt="2024-04-05T06:15:04.879" v="574"/>
          <ac:spMkLst>
            <pc:docMk/>
            <pc:sldMk cId="195621216" sldId="2147483619"/>
            <ac:spMk id="80" creationId="{BC68EAE7-8F55-2729-8CCB-2E42DFC2335F}"/>
          </ac:spMkLst>
        </pc:spChg>
        <pc:spChg chg="mod">
          <ac:chgData name="Nisen, Henrik (BCG Platinion)" userId="23462ed3-8a28-48c0-b94c-224b90eb8d0a" providerId="ADAL" clId="{85BF7E29-B863-8743-821C-9B528FF1FFE4}" dt="2024-04-05T06:15:04.880" v="575"/>
          <ac:spMkLst>
            <pc:docMk/>
            <pc:sldMk cId="195621216" sldId="2147483619"/>
            <ac:spMk id="81" creationId="{95E316D7-F5CE-B329-E73F-8BCABCE2AB46}"/>
          </ac:spMkLst>
        </pc:spChg>
        <pc:spChg chg="mod">
          <ac:chgData name="Nisen, Henrik (BCG Platinion)" userId="23462ed3-8a28-48c0-b94c-224b90eb8d0a" providerId="ADAL" clId="{85BF7E29-B863-8743-821C-9B528FF1FFE4}" dt="2024-04-05T06:15:04.881" v="576"/>
          <ac:spMkLst>
            <pc:docMk/>
            <pc:sldMk cId="195621216" sldId="2147483619"/>
            <ac:spMk id="82" creationId="{1762F242-28CC-C769-6395-5B36FEE9D5FD}"/>
          </ac:spMkLst>
        </pc:spChg>
        <pc:spChg chg="mod">
          <ac:chgData name="Nisen, Henrik (BCG Platinion)" userId="23462ed3-8a28-48c0-b94c-224b90eb8d0a" providerId="ADAL" clId="{85BF7E29-B863-8743-821C-9B528FF1FFE4}" dt="2024-04-05T06:15:04.882" v="577"/>
          <ac:spMkLst>
            <pc:docMk/>
            <pc:sldMk cId="195621216" sldId="2147483619"/>
            <ac:spMk id="83" creationId="{6A517DB3-A259-ACF8-5ACD-A483AEBDD5B5}"/>
          </ac:spMkLst>
        </pc:spChg>
        <pc:spChg chg="mod">
          <ac:chgData name="Nisen, Henrik (BCG Platinion)" userId="23462ed3-8a28-48c0-b94c-224b90eb8d0a" providerId="ADAL" clId="{85BF7E29-B863-8743-821C-9B528FF1FFE4}" dt="2024-04-05T06:15:04.882" v="578"/>
          <ac:spMkLst>
            <pc:docMk/>
            <pc:sldMk cId="195621216" sldId="2147483619"/>
            <ac:spMk id="84" creationId="{CA243931-827C-0B6C-D517-00B7512CB0F0}"/>
          </ac:spMkLst>
        </pc:spChg>
        <pc:spChg chg="mod">
          <ac:chgData name="Nisen, Henrik (BCG Platinion)" userId="23462ed3-8a28-48c0-b94c-224b90eb8d0a" providerId="ADAL" clId="{85BF7E29-B863-8743-821C-9B528FF1FFE4}" dt="2024-04-05T06:15:04.883" v="579"/>
          <ac:spMkLst>
            <pc:docMk/>
            <pc:sldMk cId="195621216" sldId="2147483619"/>
            <ac:spMk id="85" creationId="{77475196-C8D5-E87F-1DA6-17578D3009FB}"/>
          </ac:spMkLst>
        </pc:spChg>
        <pc:spChg chg="mod">
          <ac:chgData name="Nisen, Henrik (BCG Platinion)" userId="23462ed3-8a28-48c0-b94c-224b90eb8d0a" providerId="ADAL" clId="{85BF7E29-B863-8743-821C-9B528FF1FFE4}" dt="2024-04-05T06:15:04.884" v="580"/>
          <ac:spMkLst>
            <pc:docMk/>
            <pc:sldMk cId="195621216" sldId="2147483619"/>
            <ac:spMk id="86" creationId="{8B5E83E2-378A-6D21-2DFF-90909FEA66E4}"/>
          </ac:spMkLst>
        </pc:spChg>
        <pc:spChg chg="mod">
          <ac:chgData name="Nisen, Henrik (BCG Platinion)" userId="23462ed3-8a28-48c0-b94c-224b90eb8d0a" providerId="ADAL" clId="{85BF7E29-B863-8743-821C-9B528FF1FFE4}" dt="2024-04-05T06:15:04.896" v="594"/>
          <ac:spMkLst>
            <pc:docMk/>
            <pc:sldMk cId="195621216" sldId="2147483619"/>
            <ac:spMk id="87" creationId="{8BB88D57-110F-971E-4158-171CD829D728}"/>
          </ac:spMkLst>
        </pc:spChg>
        <pc:spChg chg="mod">
          <ac:chgData name="Nisen, Henrik (BCG Platinion)" userId="23462ed3-8a28-48c0-b94c-224b90eb8d0a" providerId="ADAL" clId="{85BF7E29-B863-8743-821C-9B528FF1FFE4}" dt="2024-04-05T06:15:04.895" v="593"/>
          <ac:spMkLst>
            <pc:docMk/>
            <pc:sldMk cId="195621216" sldId="2147483619"/>
            <ac:spMk id="88" creationId="{BDF5670E-C596-ECFC-D41B-130E719A3AE2}"/>
          </ac:spMkLst>
        </pc:spChg>
        <pc:spChg chg="mod">
          <ac:chgData name="Nisen, Henrik (BCG Platinion)" userId="23462ed3-8a28-48c0-b94c-224b90eb8d0a" providerId="ADAL" clId="{85BF7E29-B863-8743-821C-9B528FF1FFE4}" dt="2024-04-05T06:15:04.887" v="584"/>
          <ac:spMkLst>
            <pc:docMk/>
            <pc:sldMk cId="195621216" sldId="2147483619"/>
            <ac:spMk id="89" creationId="{D38B9884-44EC-93E5-2C0F-2A565EC41283}"/>
          </ac:spMkLst>
        </pc:spChg>
        <pc:spChg chg="mod">
          <ac:chgData name="Nisen, Henrik (BCG Platinion)" userId="23462ed3-8a28-48c0-b94c-224b90eb8d0a" providerId="ADAL" clId="{85BF7E29-B863-8743-821C-9B528FF1FFE4}" dt="2024-04-05T06:15:04.888" v="585"/>
          <ac:spMkLst>
            <pc:docMk/>
            <pc:sldMk cId="195621216" sldId="2147483619"/>
            <ac:spMk id="90" creationId="{78863797-8572-5656-F97C-61776E4FAAAD}"/>
          </ac:spMkLst>
        </pc:spChg>
        <pc:spChg chg="mod">
          <ac:chgData name="Nisen, Henrik (BCG Platinion)" userId="23462ed3-8a28-48c0-b94c-224b90eb8d0a" providerId="ADAL" clId="{85BF7E29-B863-8743-821C-9B528FF1FFE4}" dt="2024-04-05T06:15:04.889" v="586"/>
          <ac:spMkLst>
            <pc:docMk/>
            <pc:sldMk cId="195621216" sldId="2147483619"/>
            <ac:spMk id="91" creationId="{E39B64DF-EE1E-07A4-2BCF-2B36A0D0B117}"/>
          </ac:spMkLst>
        </pc:spChg>
        <pc:spChg chg="mod">
          <ac:chgData name="Nisen, Henrik (BCG Platinion)" userId="23462ed3-8a28-48c0-b94c-224b90eb8d0a" providerId="ADAL" clId="{85BF7E29-B863-8743-821C-9B528FF1FFE4}" dt="2024-04-05T06:15:04.890" v="587"/>
          <ac:spMkLst>
            <pc:docMk/>
            <pc:sldMk cId="195621216" sldId="2147483619"/>
            <ac:spMk id="92" creationId="{4D2B1ED1-0296-2E94-9463-D7AB4904761C}"/>
          </ac:spMkLst>
        </pc:spChg>
        <pc:spChg chg="mod">
          <ac:chgData name="Nisen, Henrik (BCG Platinion)" userId="23462ed3-8a28-48c0-b94c-224b90eb8d0a" providerId="ADAL" clId="{85BF7E29-B863-8743-821C-9B528FF1FFE4}" dt="2024-04-05T06:15:04.891" v="588"/>
          <ac:spMkLst>
            <pc:docMk/>
            <pc:sldMk cId="195621216" sldId="2147483619"/>
            <ac:spMk id="93" creationId="{4FB86E16-4977-20EA-6FF5-1CC61313937F}"/>
          </ac:spMkLst>
        </pc:spChg>
        <pc:spChg chg="mod">
          <ac:chgData name="Nisen, Henrik (BCG Platinion)" userId="23462ed3-8a28-48c0-b94c-224b90eb8d0a" providerId="ADAL" clId="{85BF7E29-B863-8743-821C-9B528FF1FFE4}" dt="2024-04-05T06:15:04.892" v="589"/>
          <ac:spMkLst>
            <pc:docMk/>
            <pc:sldMk cId="195621216" sldId="2147483619"/>
            <ac:spMk id="94" creationId="{68AB1EB9-144C-DEDB-E0C8-FF7A25DF6427}"/>
          </ac:spMkLst>
        </pc:spChg>
        <pc:spChg chg="mod">
          <ac:chgData name="Nisen, Henrik (BCG Platinion)" userId="23462ed3-8a28-48c0-b94c-224b90eb8d0a" providerId="ADAL" clId="{85BF7E29-B863-8743-821C-9B528FF1FFE4}" dt="2024-04-05T06:15:04.894" v="592"/>
          <ac:spMkLst>
            <pc:docMk/>
            <pc:sldMk cId="195621216" sldId="2147483619"/>
            <ac:spMk id="95" creationId="{D092AD21-9F4F-3DFD-20D2-2437D082C016}"/>
          </ac:spMkLst>
        </pc:spChg>
        <pc:spChg chg="mod">
          <ac:chgData name="Nisen, Henrik (BCG Platinion)" userId="23462ed3-8a28-48c0-b94c-224b90eb8d0a" providerId="ADAL" clId="{85BF7E29-B863-8743-821C-9B528FF1FFE4}" dt="2024-04-05T06:15:04.887" v="583"/>
          <ac:spMkLst>
            <pc:docMk/>
            <pc:sldMk cId="195621216" sldId="2147483619"/>
            <ac:spMk id="96" creationId="{65A5F7AD-DDD2-7CAA-532A-2E2A3507F048}"/>
          </ac:spMkLst>
        </pc:spChg>
        <pc:spChg chg="mod">
          <ac:chgData name="Nisen, Henrik (BCG Platinion)" userId="23462ed3-8a28-48c0-b94c-224b90eb8d0a" providerId="ADAL" clId="{85BF7E29-B863-8743-821C-9B528FF1FFE4}" dt="2024-04-05T06:15:04.886" v="582"/>
          <ac:spMkLst>
            <pc:docMk/>
            <pc:sldMk cId="195621216" sldId="2147483619"/>
            <ac:spMk id="97" creationId="{0A6CF955-9201-909D-9DA8-B29C814A9082}"/>
          </ac:spMkLst>
        </pc:spChg>
        <pc:spChg chg="mod">
          <ac:chgData name="Nisen, Henrik (BCG Platinion)" userId="23462ed3-8a28-48c0-b94c-224b90eb8d0a" providerId="ADAL" clId="{85BF7E29-B863-8743-821C-9B528FF1FFE4}" dt="2024-04-05T06:15:04.892" v="590"/>
          <ac:spMkLst>
            <pc:docMk/>
            <pc:sldMk cId="195621216" sldId="2147483619"/>
            <ac:spMk id="98" creationId="{24173BF2-CAF8-4D1D-BE61-65C3A91DFAEA}"/>
          </ac:spMkLst>
        </pc:spChg>
        <pc:spChg chg="mod">
          <ac:chgData name="Nisen, Henrik (BCG Platinion)" userId="23462ed3-8a28-48c0-b94c-224b90eb8d0a" providerId="ADAL" clId="{85BF7E29-B863-8743-821C-9B528FF1FFE4}" dt="2024-04-05T06:15:04.893" v="591"/>
          <ac:spMkLst>
            <pc:docMk/>
            <pc:sldMk cId="195621216" sldId="2147483619"/>
            <ac:spMk id="99" creationId="{15B2BE1D-7D8D-F3FB-893C-8643964E3964}"/>
          </ac:spMkLst>
        </pc:spChg>
        <pc:spChg chg="mod">
          <ac:chgData name="Nisen, Henrik (BCG Platinion)" userId="23462ed3-8a28-48c0-b94c-224b90eb8d0a" providerId="ADAL" clId="{85BF7E29-B863-8743-821C-9B528FF1FFE4}" dt="2024-04-05T06:15:04.897" v="595"/>
          <ac:spMkLst>
            <pc:docMk/>
            <pc:sldMk cId="195621216" sldId="2147483619"/>
            <ac:spMk id="100" creationId="{361F27D7-FB91-4C86-5FC6-7FEF9706C429}"/>
          </ac:spMkLst>
        </pc:spChg>
        <pc:spChg chg="mod">
          <ac:chgData name="Nisen, Henrik (BCG Platinion)" userId="23462ed3-8a28-48c0-b94c-224b90eb8d0a" providerId="ADAL" clId="{85BF7E29-B863-8743-821C-9B528FF1FFE4}" dt="2024-04-05T06:15:04.897" v="596"/>
          <ac:spMkLst>
            <pc:docMk/>
            <pc:sldMk cId="195621216" sldId="2147483619"/>
            <ac:spMk id="101" creationId="{40CAAA70-F467-0126-1C4B-55F8FF0D3C11}"/>
          </ac:spMkLst>
        </pc:spChg>
        <pc:spChg chg="mod">
          <ac:chgData name="Nisen, Henrik (BCG Platinion)" userId="23462ed3-8a28-48c0-b94c-224b90eb8d0a" providerId="ADAL" clId="{85BF7E29-B863-8743-821C-9B528FF1FFE4}" dt="2024-04-05T06:15:04.898" v="597"/>
          <ac:spMkLst>
            <pc:docMk/>
            <pc:sldMk cId="195621216" sldId="2147483619"/>
            <ac:spMk id="102" creationId="{A4F5A3E5-16B2-EF77-F554-DF0EBF9AEF3B}"/>
          </ac:spMkLst>
        </pc:spChg>
        <pc:spChg chg="mod">
          <ac:chgData name="Nisen, Henrik (BCG Platinion)" userId="23462ed3-8a28-48c0-b94c-224b90eb8d0a" providerId="ADAL" clId="{85BF7E29-B863-8743-821C-9B528FF1FFE4}" dt="2024-04-05T06:15:04.899" v="598"/>
          <ac:spMkLst>
            <pc:docMk/>
            <pc:sldMk cId="195621216" sldId="2147483619"/>
            <ac:spMk id="103" creationId="{43FCD4BF-8D6E-C310-ADD5-80F92CEFAC3A}"/>
          </ac:spMkLst>
        </pc:spChg>
        <pc:spChg chg="mod">
          <ac:chgData name="Nisen, Henrik (BCG Platinion)" userId="23462ed3-8a28-48c0-b94c-224b90eb8d0a" providerId="ADAL" clId="{85BF7E29-B863-8743-821C-9B528FF1FFE4}" dt="2024-04-05T06:15:04.900" v="599"/>
          <ac:spMkLst>
            <pc:docMk/>
            <pc:sldMk cId="195621216" sldId="2147483619"/>
            <ac:spMk id="104" creationId="{0C98A232-B4DD-E488-7027-CDEB1A73A5EA}"/>
          </ac:spMkLst>
        </pc:spChg>
        <pc:spChg chg="mod">
          <ac:chgData name="Nisen, Henrik (BCG Platinion)" userId="23462ed3-8a28-48c0-b94c-224b90eb8d0a" providerId="ADAL" clId="{85BF7E29-B863-8743-821C-9B528FF1FFE4}" dt="2024-04-05T06:15:04.901" v="600"/>
          <ac:spMkLst>
            <pc:docMk/>
            <pc:sldMk cId="195621216" sldId="2147483619"/>
            <ac:spMk id="105" creationId="{E36E6096-926D-AB85-19AD-9CA74FB3A36A}"/>
          </ac:spMkLst>
        </pc:spChg>
        <pc:spChg chg="mod">
          <ac:chgData name="Nisen, Henrik (BCG Platinion)" userId="23462ed3-8a28-48c0-b94c-224b90eb8d0a" providerId="ADAL" clId="{85BF7E29-B863-8743-821C-9B528FF1FFE4}" dt="2024-04-05T06:15:04.901" v="601"/>
          <ac:spMkLst>
            <pc:docMk/>
            <pc:sldMk cId="195621216" sldId="2147483619"/>
            <ac:spMk id="106" creationId="{4A377679-16C9-B091-3292-41B0BEB8FAFA}"/>
          </ac:spMkLst>
        </pc:spChg>
        <pc:spChg chg="mod">
          <ac:chgData name="Nisen, Henrik (BCG Platinion)" userId="23462ed3-8a28-48c0-b94c-224b90eb8d0a" providerId="ADAL" clId="{85BF7E29-B863-8743-821C-9B528FF1FFE4}" dt="2024-04-05T06:15:04.902" v="602"/>
          <ac:spMkLst>
            <pc:docMk/>
            <pc:sldMk cId="195621216" sldId="2147483619"/>
            <ac:spMk id="107" creationId="{9D58C52E-06D1-2D2E-0FFE-57463B8BE400}"/>
          </ac:spMkLst>
        </pc:spChg>
        <pc:spChg chg="mod">
          <ac:chgData name="Nisen, Henrik (BCG Platinion)" userId="23462ed3-8a28-48c0-b94c-224b90eb8d0a" providerId="ADAL" clId="{85BF7E29-B863-8743-821C-9B528FF1FFE4}" dt="2024-04-05T06:15:04.903" v="603"/>
          <ac:spMkLst>
            <pc:docMk/>
            <pc:sldMk cId="195621216" sldId="2147483619"/>
            <ac:spMk id="108" creationId="{728407F1-35EC-F8C6-DC9A-207C5C61E3DB}"/>
          </ac:spMkLst>
        </pc:spChg>
        <pc:spChg chg="mod">
          <ac:chgData name="Nisen, Henrik (BCG Platinion)" userId="23462ed3-8a28-48c0-b94c-224b90eb8d0a" providerId="ADAL" clId="{85BF7E29-B863-8743-821C-9B528FF1FFE4}" dt="2024-04-05T06:26:15.322" v="2301" actId="20577"/>
          <ac:spMkLst>
            <pc:docMk/>
            <pc:sldMk cId="195621216" sldId="2147483619"/>
            <ac:spMk id="109" creationId="{FEFDDD24-76A9-BDB0-95FB-5D787D61631F}"/>
          </ac:spMkLst>
        </pc:spChg>
        <pc:spChg chg="del">
          <ac:chgData name="Nisen, Henrik (BCG Platinion)" userId="23462ed3-8a28-48c0-b94c-224b90eb8d0a" providerId="ADAL" clId="{85BF7E29-B863-8743-821C-9B528FF1FFE4}" dt="2024-04-05T06:15:04.780" v="463"/>
          <ac:spMkLst>
            <pc:docMk/>
            <pc:sldMk cId="195621216" sldId="2147483619"/>
            <ac:spMk id="110" creationId="{733C4ADC-BA87-4986-5343-1409D3390157}"/>
          </ac:spMkLst>
        </pc:spChg>
        <pc:spChg chg="del">
          <ac:chgData name="Nisen, Henrik (BCG Platinion)" userId="23462ed3-8a28-48c0-b94c-224b90eb8d0a" providerId="ADAL" clId="{85BF7E29-B863-8743-821C-9B528FF1FFE4}" dt="2024-04-05T06:15:04.790" v="478"/>
          <ac:spMkLst>
            <pc:docMk/>
            <pc:sldMk cId="195621216" sldId="2147483619"/>
            <ac:spMk id="111" creationId="{C535E8F6-29E1-78DA-466F-F9EB18B93F1A}"/>
          </ac:spMkLst>
        </pc:spChg>
        <pc:spChg chg="mod">
          <ac:chgData name="Nisen, Henrik (BCG Platinion)" userId="23462ed3-8a28-48c0-b94c-224b90eb8d0a" providerId="ADAL" clId="{85BF7E29-B863-8743-821C-9B528FF1FFE4}" dt="2024-04-05T06:15:04.905" v="605"/>
          <ac:spMkLst>
            <pc:docMk/>
            <pc:sldMk cId="195621216" sldId="2147483619"/>
            <ac:spMk id="117" creationId="{0E6AD056-2923-FF2A-C0FD-8AB2C6E62685}"/>
          </ac:spMkLst>
        </pc:spChg>
        <pc:graphicFrameChg chg="add mod replST">
          <ac:chgData name="Nisen, Henrik (BCG Platinion)" userId="23462ed3-8a28-48c0-b94c-224b90eb8d0a" providerId="ADAL" clId="{85BF7E29-B863-8743-821C-9B528FF1FFE4}" dt="2024-04-05T06:15:04.825" v="509"/>
          <ac:graphicFrameMkLst>
            <pc:docMk/>
            <pc:sldMk cId="195621216" sldId="2147483619"/>
            <ac:graphicFrameMk id="13" creationId="{EDF715E0-FED9-2C5A-E580-0FA66292886A}"/>
          </ac:graphicFrameMkLst>
        </pc:graphicFrameChg>
        <pc:graphicFrameChg chg="del">
          <ac:chgData name="Nisen, Henrik (BCG Platinion)" userId="23462ed3-8a28-48c0-b94c-224b90eb8d0a" providerId="ADAL" clId="{85BF7E29-B863-8743-821C-9B528FF1FFE4}" dt="2024-04-05T06:15:04.500" v="238"/>
          <ac:graphicFrameMkLst>
            <pc:docMk/>
            <pc:sldMk cId="195621216" sldId="2147483619"/>
            <ac:graphicFrameMk id="38" creationId="{33B70A34-727B-E513-AED0-360B0005EF79}"/>
          </ac:graphicFrameMkLst>
        </pc:graphicFrameChg>
        <pc:graphicFrameChg chg="add mod replST">
          <ac:chgData name="Nisen, Henrik (BCG Platinion)" userId="23462ed3-8a28-48c0-b94c-224b90eb8d0a" providerId="ADAL" clId="{85BF7E29-B863-8743-821C-9B528FF1FFE4}" dt="2024-04-05T06:15:04.835" v="521"/>
          <ac:graphicFrameMkLst>
            <pc:docMk/>
            <pc:sldMk cId="195621216" sldId="2147483619"/>
            <ac:graphicFrameMk id="112" creationId="{7C562420-FB18-6FF1-DE68-900219FDB7F3}"/>
          </ac:graphicFrameMkLst>
        </pc:graphicFrameChg>
        <pc:graphicFrameChg chg="del">
          <ac:chgData name="Nisen, Henrik (BCG Platinion)" userId="23462ed3-8a28-48c0-b94c-224b90eb8d0a" providerId="ADAL" clId="{85BF7E29-B863-8743-821C-9B528FF1FFE4}" dt="2024-04-05T06:15:04.800" v="493"/>
          <ac:graphicFrameMkLst>
            <pc:docMk/>
            <pc:sldMk cId="195621216" sldId="2147483619"/>
            <ac:graphicFrameMk id="113" creationId="{6880E135-88E8-07C0-2A8E-24FF6F031D86}"/>
          </ac:graphicFrameMkLst>
        </pc:graphicFrameChg>
        <pc:graphicFrameChg chg="mod">
          <ac:chgData name="Nisen, Henrik (BCG Platinion)" userId="23462ed3-8a28-48c0-b94c-224b90eb8d0a" providerId="ADAL" clId="{85BF7E29-B863-8743-821C-9B528FF1FFE4}" dt="2024-04-05T06:15:04.913" v="612"/>
          <ac:graphicFrameMkLst>
            <pc:docMk/>
            <pc:sldMk cId="195621216" sldId="2147483619"/>
            <ac:graphicFrameMk id="114" creationId="{E2D98394-C65C-A290-5DA9-6A9FB98B123B}"/>
          </ac:graphicFrameMkLst>
        </pc:graphicFrameChg>
        <pc:cxnChg chg="mod">
          <ac:chgData name="Nisen, Henrik (BCG Platinion)" userId="23462ed3-8a28-48c0-b94c-224b90eb8d0a" providerId="ADAL" clId="{85BF7E29-B863-8743-821C-9B528FF1FFE4}" dt="2024-04-05T06:15:04.833" v="519"/>
          <ac:cxnSpMkLst>
            <pc:docMk/>
            <pc:sldMk cId="195621216" sldId="2147483619"/>
            <ac:cxnSpMk id="23" creationId="{002FE36B-C6D1-798C-E926-2E8B3CFB926D}"/>
          </ac:cxnSpMkLst>
        </pc:cxnChg>
        <pc:cxnChg chg="mod">
          <ac:chgData name="Nisen, Henrik (BCG Platinion)" userId="23462ed3-8a28-48c0-b94c-224b90eb8d0a" providerId="ADAL" clId="{85BF7E29-B863-8743-821C-9B528FF1FFE4}" dt="2024-04-05T06:15:04.849" v="537"/>
          <ac:cxnSpMkLst>
            <pc:docMk/>
            <pc:sldMk cId="195621216" sldId="2147483619"/>
            <ac:cxnSpMk id="41" creationId="{FEDE17CA-9AEE-5D92-9727-EE284FD05B14}"/>
          </ac:cxnSpMkLst>
        </pc:cxnChg>
        <pc:cxnChg chg="mod">
          <ac:chgData name="Nisen, Henrik (BCG Platinion)" userId="23462ed3-8a28-48c0-b94c-224b90eb8d0a" providerId="ADAL" clId="{85BF7E29-B863-8743-821C-9B528FF1FFE4}" dt="2024-04-05T06:15:04.848" v="536"/>
          <ac:cxnSpMkLst>
            <pc:docMk/>
            <pc:sldMk cId="195621216" sldId="2147483619"/>
            <ac:cxnSpMk id="42" creationId="{A195E535-01DA-1C6E-2AAF-F66406850CEF}"/>
          </ac:cxnSpMkLst>
        </pc:cxnChg>
      </pc:sldChg>
      <pc:sldChg chg="del">
        <pc:chgData name="Nisen, Henrik (BCG Platinion)" userId="23462ed3-8a28-48c0-b94c-224b90eb8d0a" providerId="ADAL" clId="{85BF7E29-B863-8743-821C-9B528FF1FFE4}" dt="2024-04-05T06:16:10.242" v="1475" actId="2696"/>
        <pc:sldMkLst>
          <pc:docMk/>
          <pc:sldMk cId="2276466764" sldId="2147483620"/>
        </pc:sldMkLst>
      </pc:sldChg>
      <pc:sldChg chg="addSp delSp modSp mod modTransition">
        <pc:chgData name="Nisen, Henrik (BCG Platinion)" userId="23462ed3-8a28-48c0-b94c-224b90eb8d0a" providerId="ADAL" clId="{85BF7E29-B863-8743-821C-9B528FF1FFE4}" dt="2024-04-05T08:34:44.540" v="8623"/>
        <pc:sldMkLst>
          <pc:docMk/>
          <pc:sldMk cId="3103856749" sldId="2147483621"/>
        </pc:sldMkLst>
        <pc:spChg chg="mod">
          <ac:chgData name="Nisen, Henrik (BCG Platinion)" userId="23462ed3-8a28-48c0-b94c-224b90eb8d0a" providerId="ADAL" clId="{85BF7E29-B863-8743-821C-9B528FF1FFE4}" dt="2024-04-05T06:15:05.574" v="621"/>
          <ac:spMkLst>
            <pc:docMk/>
            <pc:sldMk cId="3103856749" sldId="2147483621"/>
            <ac:spMk id="2" creationId="{3D276EDA-45C9-60D6-7BB0-61EE15635B23}"/>
          </ac:spMkLst>
        </pc:spChg>
        <pc:spChg chg="mod">
          <ac:chgData name="Nisen, Henrik (BCG Platinion)" userId="23462ed3-8a28-48c0-b94c-224b90eb8d0a" providerId="ADAL" clId="{85BF7E29-B863-8743-821C-9B528FF1FFE4}" dt="2024-04-05T06:15:05.575" v="622"/>
          <ac:spMkLst>
            <pc:docMk/>
            <pc:sldMk cId="3103856749" sldId="2147483621"/>
            <ac:spMk id="3" creationId="{522AC60D-FE96-2546-F27F-FF49D8F5A326}"/>
          </ac:spMkLst>
        </pc:spChg>
        <pc:spChg chg="mod">
          <ac:chgData name="Nisen, Henrik (BCG Platinion)" userId="23462ed3-8a28-48c0-b94c-224b90eb8d0a" providerId="ADAL" clId="{85BF7E29-B863-8743-821C-9B528FF1FFE4}" dt="2024-04-05T06:15:05.576" v="623"/>
          <ac:spMkLst>
            <pc:docMk/>
            <pc:sldMk cId="3103856749" sldId="2147483621"/>
            <ac:spMk id="4" creationId="{7DAD173B-050D-ADC2-C16D-F8C1AF4A1564}"/>
          </ac:spMkLst>
        </pc:spChg>
        <pc:spChg chg="mod">
          <ac:chgData name="Nisen, Henrik (BCG Platinion)" userId="23462ed3-8a28-48c0-b94c-224b90eb8d0a" providerId="ADAL" clId="{85BF7E29-B863-8743-821C-9B528FF1FFE4}" dt="2024-04-05T06:30:48.439" v="2395" actId="20577"/>
          <ac:spMkLst>
            <pc:docMk/>
            <pc:sldMk cId="3103856749" sldId="2147483621"/>
            <ac:spMk id="8" creationId="{9806F401-BD29-CD8B-DF35-C83F70109977}"/>
          </ac:spMkLst>
        </pc:spChg>
        <pc:spChg chg="mod">
          <ac:chgData name="Nisen, Henrik (BCG Platinion)" userId="23462ed3-8a28-48c0-b94c-224b90eb8d0a" providerId="ADAL" clId="{85BF7E29-B863-8743-821C-9B528FF1FFE4}" dt="2024-04-05T06:15:05.578" v="626"/>
          <ac:spMkLst>
            <pc:docMk/>
            <pc:sldMk cId="3103856749" sldId="2147483621"/>
            <ac:spMk id="10" creationId="{1F785D3F-109F-A5E1-5CBB-62E16FFAD99C}"/>
          </ac:spMkLst>
        </pc:spChg>
        <pc:spChg chg="mod">
          <ac:chgData name="Nisen, Henrik (BCG Platinion)" userId="23462ed3-8a28-48c0-b94c-224b90eb8d0a" providerId="ADAL" clId="{85BF7E29-B863-8743-821C-9B528FF1FFE4}" dt="2024-04-05T06:15:05.579" v="627"/>
          <ac:spMkLst>
            <pc:docMk/>
            <pc:sldMk cId="3103856749" sldId="2147483621"/>
            <ac:spMk id="12" creationId="{5DE12A3F-197C-4896-AE32-E7F7F65A4FBF}"/>
          </ac:spMkLst>
        </pc:spChg>
        <pc:spChg chg="mod">
          <ac:chgData name="Nisen, Henrik (BCG Platinion)" userId="23462ed3-8a28-48c0-b94c-224b90eb8d0a" providerId="ADAL" clId="{85BF7E29-B863-8743-821C-9B528FF1FFE4}" dt="2024-04-05T06:15:05.581" v="629"/>
          <ac:spMkLst>
            <pc:docMk/>
            <pc:sldMk cId="3103856749" sldId="2147483621"/>
            <ac:spMk id="15" creationId="{7401882C-0FC8-C3C9-764A-50F6C6C1CD15}"/>
          </ac:spMkLst>
        </pc:spChg>
        <pc:spChg chg="mod">
          <ac:chgData name="Nisen, Henrik (BCG Platinion)" userId="23462ed3-8a28-48c0-b94c-224b90eb8d0a" providerId="ADAL" clId="{85BF7E29-B863-8743-821C-9B528FF1FFE4}" dt="2024-04-05T06:15:05.584" v="632"/>
          <ac:spMkLst>
            <pc:docMk/>
            <pc:sldMk cId="3103856749" sldId="2147483621"/>
            <ac:spMk id="16" creationId="{3A1324D6-A7A5-F4E6-42D0-0CF65D3D8624}"/>
          </ac:spMkLst>
        </pc:spChg>
        <pc:spChg chg="mod">
          <ac:chgData name="Nisen, Henrik (BCG Platinion)" userId="23462ed3-8a28-48c0-b94c-224b90eb8d0a" providerId="ADAL" clId="{85BF7E29-B863-8743-821C-9B528FF1FFE4}" dt="2024-04-05T06:15:05.585" v="633"/>
          <ac:spMkLst>
            <pc:docMk/>
            <pc:sldMk cId="3103856749" sldId="2147483621"/>
            <ac:spMk id="17" creationId="{8E6D5BF3-9530-C112-DF33-12A77A6F1FE9}"/>
          </ac:spMkLst>
        </pc:spChg>
        <pc:spChg chg="mod">
          <ac:chgData name="Nisen, Henrik (BCG Platinion)" userId="23462ed3-8a28-48c0-b94c-224b90eb8d0a" providerId="ADAL" clId="{85BF7E29-B863-8743-821C-9B528FF1FFE4}" dt="2024-04-05T06:15:05.582" v="630"/>
          <ac:spMkLst>
            <pc:docMk/>
            <pc:sldMk cId="3103856749" sldId="2147483621"/>
            <ac:spMk id="18" creationId="{1E5C105C-7FB0-FFEF-0CF3-B10F28A5C194}"/>
          </ac:spMkLst>
        </pc:spChg>
        <pc:spChg chg="mod">
          <ac:chgData name="Nisen, Henrik (BCG Platinion)" userId="23462ed3-8a28-48c0-b94c-224b90eb8d0a" providerId="ADAL" clId="{85BF7E29-B863-8743-821C-9B528FF1FFE4}" dt="2024-04-05T06:15:05.583" v="631"/>
          <ac:spMkLst>
            <pc:docMk/>
            <pc:sldMk cId="3103856749" sldId="2147483621"/>
            <ac:spMk id="19" creationId="{F8DC370C-F68E-0C82-FDE1-01E2F1E46CDF}"/>
          </ac:spMkLst>
        </pc:spChg>
        <pc:spChg chg="mod">
          <ac:chgData name="Nisen, Henrik (BCG Platinion)" userId="23462ed3-8a28-48c0-b94c-224b90eb8d0a" providerId="ADAL" clId="{85BF7E29-B863-8743-821C-9B528FF1FFE4}" dt="2024-04-05T06:15:05.586" v="634"/>
          <ac:spMkLst>
            <pc:docMk/>
            <pc:sldMk cId="3103856749" sldId="2147483621"/>
            <ac:spMk id="20" creationId="{CA816FF0-4593-4490-B043-75A97697C067}"/>
          </ac:spMkLst>
        </pc:spChg>
        <pc:spChg chg="mod">
          <ac:chgData name="Nisen, Henrik (BCG Platinion)" userId="23462ed3-8a28-48c0-b94c-224b90eb8d0a" providerId="ADAL" clId="{85BF7E29-B863-8743-821C-9B528FF1FFE4}" dt="2024-04-05T06:15:05.587" v="635"/>
          <ac:spMkLst>
            <pc:docMk/>
            <pc:sldMk cId="3103856749" sldId="2147483621"/>
            <ac:spMk id="21" creationId="{AF6C42F1-0A0A-654F-B94A-A32ECBEB0AE2}"/>
          </ac:spMkLst>
        </pc:spChg>
        <pc:spChg chg="mod">
          <ac:chgData name="Nisen, Henrik (BCG Platinion)" userId="23462ed3-8a28-48c0-b94c-224b90eb8d0a" providerId="ADAL" clId="{85BF7E29-B863-8743-821C-9B528FF1FFE4}" dt="2024-04-05T06:15:05.588" v="636"/>
          <ac:spMkLst>
            <pc:docMk/>
            <pc:sldMk cId="3103856749" sldId="2147483621"/>
            <ac:spMk id="22" creationId="{0C68B494-FF7D-74F5-A641-619AF3387052}"/>
          </ac:spMkLst>
        </pc:spChg>
        <pc:spChg chg="mod">
          <ac:chgData name="Nisen, Henrik (BCG Platinion)" userId="23462ed3-8a28-48c0-b94c-224b90eb8d0a" providerId="ADAL" clId="{85BF7E29-B863-8743-821C-9B528FF1FFE4}" dt="2024-04-05T06:15:05.589" v="637"/>
          <ac:spMkLst>
            <pc:docMk/>
            <pc:sldMk cId="3103856749" sldId="2147483621"/>
            <ac:spMk id="23" creationId="{752977E1-34EF-1C47-EC81-F0BC8BC4993C}"/>
          </ac:spMkLst>
        </pc:spChg>
        <pc:spChg chg="mod">
          <ac:chgData name="Nisen, Henrik (BCG Platinion)" userId="23462ed3-8a28-48c0-b94c-224b90eb8d0a" providerId="ADAL" clId="{85BF7E29-B863-8743-821C-9B528FF1FFE4}" dt="2024-04-05T06:15:05.590" v="638"/>
          <ac:spMkLst>
            <pc:docMk/>
            <pc:sldMk cId="3103856749" sldId="2147483621"/>
            <ac:spMk id="24" creationId="{FD32732E-BA07-A446-1F8B-49A27F0D7E71}"/>
          </ac:spMkLst>
        </pc:spChg>
        <pc:spChg chg="mod">
          <ac:chgData name="Nisen, Henrik (BCG Platinion)" userId="23462ed3-8a28-48c0-b94c-224b90eb8d0a" providerId="ADAL" clId="{85BF7E29-B863-8743-821C-9B528FF1FFE4}" dt="2024-04-05T06:15:05.591" v="639"/>
          <ac:spMkLst>
            <pc:docMk/>
            <pc:sldMk cId="3103856749" sldId="2147483621"/>
            <ac:spMk id="25" creationId="{6E6A7902-B5ED-7879-2904-2F4F7B823878}"/>
          </ac:spMkLst>
        </pc:spChg>
        <pc:spChg chg="mod">
          <ac:chgData name="Nisen, Henrik (BCG Platinion)" userId="23462ed3-8a28-48c0-b94c-224b90eb8d0a" providerId="ADAL" clId="{85BF7E29-B863-8743-821C-9B528FF1FFE4}" dt="2024-04-05T06:15:05.592" v="640"/>
          <ac:spMkLst>
            <pc:docMk/>
            <pc:sldMk cId="3103856749" sldId="2147483621"/>
            <ac:spMk id="26" creationId="{1C423085-878A-BE2C-534A-3E5DE531065F}"/>
          </ac:spMkLst>
        </pc:spChg>
        <pc:spChg chg="mod">
          <ac:chgData name="Nisen, Henrik (BCG Platinion)" userId="23462ed3-8a28-48c0-b94c-224b90eb8d0a" providerId="ADAL" clId="{85BF7E29-B863-8743-821C-9B528FF1FFE4}" dt="2024-04-05T06:15:05.593" v="641"/>
          <ac:spMkLst>
            <pc:docMk/>
            <pc:sldMk cId="3103856749" sldId="2147483621"/>
            <ac:spMk id="27" creationId="{11F9DEA9-0AE1-B1EC-9C00-B9CE096FF815}"/>
          </ac:spMkLst>
        </pc:spChg>
        <pc:spChg chg="mod">
          <ac:chgData name="Nisen, Henrik (BCG Platinion)" userId="23462ed3-8a28-48c0-b94c-224b90eb8d0a" providerId="ADAL" clId="{85BF7E29-B863-8743-821C-9B528FF1FFE4}" dt="2024-04-05T06:15:05.594" v="642"/>
          <ac:spMkLst>
            <pc:docMk/>
            <pc:sldMk cId="3103856749" sldId="2147483621"/>
            <ac:spMk id="28" creationId="{38E12450-6CCA-A3A6-1CAD-9A2D37F20E34}"/>
          </ac:spMkLst>
        </pc:spChg>
        <pc:spChg chg="mod">
          <ac:chgData name="Nisen, Henrik (BCG Platinion)" userId="23462ed3-8a28-48c0-b94c-224b90eb8d0a" providerId="ADAL" clId="{85BF7E29-B863-8743-821C-9B528FF1FFE4}" dt="2024-04-05T06:15:05.594" v="643"/>
          <ac:spMkLst>
            <pc:docMk/>
            <pc:sldMk cId="3103856749" sldId="2147483621"/>
            <ac:spMk id="29" creationId="{D45E247E-9A6C-3DE7-72EF-1D070D368BDD}"/>
          </ac:spMkLst>
        </pc:spChg>
        <pc:spChg chg="mod">
          <ac:chgData name="Nisen, Henrik (BCG Platinion)" userId="23462ed3-8a28-48c0-b94c-224b90eb8d0a" providerId="ADAL" clId="{85BF7E29-B863-8743-821C-9B528FF1FFE4}" dt="2024-04-05T06:15:05.595" v="644"/>
          <ac:spMkLst>
            <pc:docMk/>
            <pc:sldMk cId="3103856749" sldId="2147483621"/>
            <ac:spMk id="30" creationId="{7BF34145-C6C4-065E-C019-78A220F9EAA2}"/>
          </ac:spMkLst>
        </pc:spChg>
        <pc:spChg chg="mod">
          <ac:chgData name="Nisen, Henrik (BCG Platinion)" userId="23462ed3-8a28-48c0-b94c-224b90eb8d0a" providerId="ADAL" clId="{85BF7E29-B863-8743-821C-9B528FF1FFE4}" dt="2024-04-05T06:15:05.596" v="645"/>
          <ac:spMkLst>
            <pc:docMk/>
            <pc:sldMk cId="3103856749" sldId="2147483621"/>
            <ac:spMk id="31" creationId="{AACA09E4-06E1-74BF-8C5D-7B8B4C5E34DA}"/>
          </ac:spMkLst>
        </pc:spChg>
        <pc:spChg chg="mod">
          <ac:chgData name="Nisen, Henrik (BCG Platinion)" userId="23462ed3-8a28-48c0-b94c-224b90eb8d0a" providerId="ADAL" clId="{85BF7E29-B863-8743-821C-9B528FF1FFE4}" dt="2024-04-05T06:15:05.597" v="646"/>
          <ac:spMkLst>
            <pc:docMk/>
            <pc:sldMk cId="3103856749" sldId="2147483621"/>
            <ac:spMk id="32" creationId="{36316487-72CB-EE66-7730-E094E070DF52}"/>
          </ac:spMkLst>
        </pc:spChg>
        <pc:spChg chg="mod">
          <ac:chgData name="Nisen, Henrik (BCG Platinion)" userId="23462ed3-8a28-48c0-b94c-224b90eb8d0a" providerId="ADAL" clId="{85BF7E29-B863-8743-821C-9B528FF1FFE4}" dt="2024-04-05T06:15:05.598" v="647"/>
          <ac:spMkLst>
            <pc:docMk/>
            <pc:sldMk cId="3103856749" sldId="2147483621"/>
            <ac:spMk id="33" creationId="{27E1480E-F722-C391-9DFF-CAA22A8F59F9}"/>
          </ac:spMkLst>
        </pc:spChg>
        <pc:spChg chg="mod">
          <ac:chgData name="Nisen, Henrik (BCG Platinion)" userId="23462ed3-8a28-48c0-b94c-224b90eb8d0a" providerId="ADAL" clId="{85BF7E29-B863-8743-821C-9B528FF1FFE4}" dt="2024-04-05T06:15:05.599" v="648"/>
          <ac:spMkLst>
            <pc:docMk/>
            <pc:sldMk cId="3103856749" sldId="2147483621"/>
            <ac:spMk id="34" creationId="{C1E80E5D-16CF-4E90-DC49-CA194E023031}"/>
          </ac:spMkLst>
        </pc:spChg>
        <pc:spChg chg="mod">
          <ac:chgData name="Nisen, Henrik (BCG Platinion)" userId="23462ed3-8a28-48c0-b94c-224b90eb8d0a" providerId="ADAL" clId="{85BF7E29-B863-8743-821C-9B528FF1FFE4}" dt="2024-04-05T06:15:05.600" v="649"/>
          <ac:spMkLst>
            <pc:docMk/>
            <pc:sldMk cId="3103856749" sldId="2147483621"/>
            <ac:spMk id="35" creationId="{ED1469CC-CEDF-0F51-174A-16056B67A8B2}"/>
          </ac:spMkLst>
        </pc:spChg>
        <pc:spChg chg="mod">
          <ac:chgData name="Nisen, Henrik (BCG Platinion)" userId="23462ed3-8a28-48c0-b94c-224b90eb8d0a" providerId="ADAL" clId="{85BF7E29-B863-8743-821C-9B528FF1FFE4}" dt="2024-04-05T06:15:05.601" v="650"/>
          <ac:spMkLst>
            <pc:docMk/>
            <pc:sldMk cId="3103856749" sldId="2147483621"/>
            <ac:spMk id="36" creationId="{F95ACB3C-C490-7AC3-F728-F51C6A035A48}"/>
          </ac:spMkLst>
        </pc:spChg>
        <pc:spChg chg="mod">
          <ac:chgData name="Nisen, Henrik (BCG Platinion)" userId="23462ed3-8a28-48c0-b94c-224b90eb8d0a" providerId="ADAL" clId="{85BF7E29-B863-8743-821C-9B528FF1FFE4}" dt="2024-04-05T06:15:05.602" v="651"/>
          <ac:spMkLst>
            <pc:docMk/>
            <pc:sldMk cId="3103856749" sldId="2147483621"/>
            <ac:spMk id="37" creationId="{728421F0-E587-F7F2-9ADE-C8EA4211A239}"/>
          </ac:spMkLst>
        </pc:spChg>
        <pc:spChg chg="mod">
          <ac:chgData name="Nisen, Henrik (BCG Platinion)" userId="23462ed3-8a28-48c0-b94c-224b90eb8d0a" providerId="ADAL" clId="{85BF7E29-B863-8743-821C-9B528FF1FFE4}" dt="2024-04-05T06:15:05.602" v="652"/>
          <ac:spMkLst>
            <pc:docMk/>
            <pc:sldMk cId="3103856749" sldId="2147483621"/>
            <ac:spMk id="38" creationId="{AF4C27CD-192E-813A-48DC-F3E793A828BA}"/>
          </ac:spMkLst>
        </pc:spChg>
        <pc:spChg chg="mod">
          <ac:chgData name="Nisen, Henrik (BCG Platinion)" userId="23462ed3-8a28-48c0-b94c-224b90eb8d0a" providerId="ADAL" clId="{85BF7E29-B863-8743-821C-9B528FF1FFE4}" dt="2024-04-05T06:15:05.603" v="653"/>
          <ac:spMkLst>
            <pc:docMk/>
            <pc:sldMk cId="3103856749" sldId="2147483621"/>
            <ac:spMk id="39" creationId="{01032468-CFDE-00B2-11EB-9BF3DC3CDB53}"/>
          </ac:spMkLst>
        </pc:spChg>
        <pc:spChg chg="mod">
          <ac:chgData name="Nisen, Henrik (BCG Platinion)" userId="23462ed3-8a28-48c0-b94c-224b90eb8d0a" providerId="ADAL" clId="{85BF7E29-B863-8743-821C-9B528FF1FFE4}" dt="2024-04-05T06:15:05.604" v="654"/>
          <ac:spMkLst>
            <pc:docMk/>
            <pc:sldMk cId="3103856749" sldId="2147483621"/>
            <ac:spMk id="40" creationId="{413E66E8-263C-DDBF-6E0C-4F4ACA7E5255}"/>
          </ac:spMkLst>
        </pc:spChg>
        <pc:spChg chg="mod">
          <ac:chgData name="Nisen, Henrik (BCG Platinion)" userId="23462ed3-8a28-48c0-b94c-224b90eb8d0a" providerId="ADAL" clId="{85BF7E29-B863-8743-821C-9B528FF1FFE4}" dt="2024-04-05T06:15:05.605" v="655"/>
          <ac:spMkLst>
            <pc:docMk/>
            <pc:sldMk cId="3103856749" sldId="2147483621"/>
            <ac:spMk id="41" creationId="{8836F41A-9C45-B99F-841D-0F0C00A919BA}"/>
          </ac:spMkLst>
        </pc:spChg>
        <pc:spChg chg="mod">
          <ac:chgData name="Nisen, Henrik (BCG Platinion)" userId="23462ed3-8a28-48c0-b94c-224b90eb8d0a" providerId="ADAL" clId="{85BF7E29-B863-8743-821C-9B528FF1FFE4}" dt="2024-04-05T06:15:05.606" v="656"/>
          <ac:spMkLst>
            <pc:docMk/>
            <pc:sldMk cId="3103856749" sldId="2147483621"/>
            <ac:spMk id="42" creationId="{870C4CD2-0373-CF14-C4DA-525816A6211E}"/>
          </ac:spMkLst>
        </pc:spChg>
        <pc:spChg chg="mod">
          <ac:chgData name="Nisen, Henrik (BCG Platinion)" userId="23462ed3-8a28-48c0-b94c-224b90eb8d0a" providerId="ADAL" clId="{85BF7E29-B863-8743-821C-9B528FF1FFE4}" dt="2024-04-05T06:15:05.607" v="657"/>
          <ac:spMkLst>
            <pc:docMk/>
            <pc:sldMk cId="3103856749" sldId="2147483621"/>
            <ac:spMk id="43" creationId="{98EB1A6E-A021-7AE6-EA6F-2FBF402E5A36}"/>
          </ac:spMkLst>
        </pc:spChg>
        <pc:spChg chg="mod">
          <ac:chgData name="Nisen, Henrik (BCG Platinion)" userId="23462ed3-8a28-48c0-b94c-224b90eb8d0a" providerId="ADAL" clId="{85BF7E29-B863-8743-821C-9B528FF1FFE4}" dt="2024-04-05T06:15:05.608" v="658"/>
          <ac:spMkLst>
            <pc:docMk/>
            <pc:sldMk cId="3103856749" sldId="2147483621"/>
            <ac:spMk id="44" creationId="{86341E98-075E-F6EF-8D70-083638FB5ECD}"/>
          </ac:spMkLst>
        </pc:spChg>
        <pc:spChg chg="mod">
          <ac:chgData name="Nisen, Henrik (BCG Platinion)" userId="23462ed3-8a28-48c0-b94c-224b90eb8d0a" providerId="ADAL" clId="{85BF7E29-B863-8743-821C-9B528FF1FFE4}" dt="2024-04-05T06:15:05.609" v="659"/>
          <ac:spMkLst>
            <pc:docMk/>
            <pc:sldMk cId="3103856749" sldId="2147483621"/>
            <ac:spMk id="45" creationId="{47E64E72-2E93-DAEA-680B-850F96E5612F}"/>
          </ac:spMkLst>
        </pc:spChg>
        <pc:spChg chg="mod">
          <ac:chgData name="Nisen, Henrik (BCG Platinion)" userId="23462ed3-8a28-48c0-b94c-224b90eb8d0a" providerId="ADAL" clId="{85BF7E29-B863-8743-821C-9B528FF1FFE4}" dt="2024-04-05T06:15:05.609" v="660"/>
          <ac:spMkLst>
            <pc:docMk/>
            <pc:sldMk cId="3103856749" sldId="2147483621"/>
            <ac:spMk id="46" creationId="{E0C8F4D1-BF6A-AE86-B603-A97171603F63}"/>
          </ac:spMkLst>
        </pc:spChg>
        <pc:spChg chg="mod">
          <ac:chgData name="Nisen, Henrik (BCG Platinion)" userId="23462ed3-8a28-48c0-b94c-224b90eb8d0a" providerId="ADAL" clId="{85BF7E29-B863-8743-821C-9B528FF1FFE4}" dt="2024-04-05T06:15:05.610" v="661"/>
          <ac:spMkLst>
            <pc:docMk/>
            <pc:sldMk cId="3103856749" sldId="2147483621"/>
            <ac:spMk id="47" creationId="{67C14584-D255-2353-AE8E-B5BE82BE5CD6}"/>
          </ac:spMkLst>
        </pc:spChg>
        <pc:spChg chg="mod">
          <ac:chgData name="Nisen, Henrik (BCG Platinion)" userId="23462ed3-8a28-48c0-b94c-224b90eb8d0a" providerId="ADAL" clId="{85BF7E29-B863-8743-821C-9B528FF1FFE4}" dt="2024-04-05T06:15:05.611" v="662"/>
          <ac:spMkLst>
            <pc:docMk/>
            <pc:sldMk cId="3103856749" sldId="2147483621"/>
            <ac:spMk id="48" creationId="{AE71FF3B-A6A3-A358-A012-A70511E4B77B}"/>
          </ac:spMkLst>
        </pc:spChg>
        <pc:spChg chg="mod">
          <ac:chgData name="Nisen, Henrik (BCG Platinion)" userId="23462ed3-8a28-48c0-b94c-224b90eb8d0a" providerId="ADAL" clId="{85BF7E29-B863-8743-821C-9B528FF1FFE4}" dt="2024-04-05T06:15:05.612" v="663"/>
          <ac:spMkLst>
            <pc:docMk/>
            <pc:sldMk cId="3103856749" sldId="2147483621"/>
            <ac:spMk id="49" creationId="{A2011173-4073-1364-AB99-9C1F71630D89}"/>
          </ac:spMkLst>
        </pc:spChg>
        <pc:spChg chg="mod">
          <ac:chgData name="Nisen, Henrik (BCG Platinion)" userId="23462ed3-8a28-48c0-b94c-224b90eb8d0a" providerId="ADAL" clId="{85BF7E29-B863-8743-821C-9B528FF1FFE4}" dt="2024-04-05T06:15:05.613" v="664"/>
          <ac:spMkLst>
            <pc:docMk/>
            <pc:sldMk cId="3103856749" sldId="2147483621"/>
            <ac:spMk id="50" creationId="{0648BAF4-8FFF-2ABB-24C2-ACDC3CDA9E9B}"/>
          </ac:spMkLst>
        </pc:spChg>
        <pc:spChg chg="mod">
          <ac:chgData name="Nisen, Henrik (BCG Platinion)" userId="23462ed3-8a28-48c0-b94c-224b90eb8d0a" providerId="ADAL" clId="{85BF7E29-B863-8743-821C-9B528FF1FFE4}" dt="2024-04-05T06:15:05.614" v="665"/>
          <ac:spMkLst>
            <pc:docMk/>
            <pc:sldMk cId="3103856749" sldId="2147483621"/>
            <ac:spMk id="51" creationId="{91C02490-4429-2FDB-0C02-29CBD6ABFB9A}"/>
          </ac:spMkLst>
        </pc:spChg>
        <pc:spChg chg="mod">
          <ac:chgData name="Nisen, Henrik (BCG Platinion)" userId="23462ed3-8a28-48c0-b94c-224b90eb8d0a" providerId="ADAL" clId="{85BF7E29-B863-8743-821C-9B528FF1FFE4}" dt="2024-04-05T06:15:05.615" v="666"/>
          <ac:spMkLst>
            <pc:docMk/>
            <pc:sldMk cId="3103856749" sldId="2147483621"/>
            <ac:spMk id="52" creationId="{8BB4BDC5-CDF1-9FC1-CA83-8BC8F0553DD6}"/>
          </ac:spMkLst>
        </pc:spChg>
        <pc:spChg chg="mod">
          <ac:chgData name="Nisen, Henrik (BCG Platinion)" userId="23462ed3-8a28-48c0-b94c-224b90eb8d0a" providerId="ADAL" clId="{85BF7E29-B863-8743-821C-9B528FF1FFE4}" dt="2024-04-05T06:15:05.615" v="667"/>
          <ac:spMkLst>
            <pc:docMk/>
            <pc:sldMk cId="3103856749" sldId="2147483621"/>
            <ac:spMk id="53" creationId="{E52486E8-3A13-5DE8-61E9-9ED900BA5D4E}"/>
          </ac:spMkLst>
        </pc:spChg>
        <pc:spChg chg="mod">
          <ac:chgData name="Nisen, Henrik (BCG Platinion)" userId="23462ed3-8a28-48c0-b94c-224b90eb8d0a" providerId="ADAL" clId="{85BF7E29-B863-8743-821C-9B528FF1FFE4}" dt="2024-04-05T06:15:05.616" v="668"/>
          <ac:spMkLst>
            <pc:docMk/>
            <pc:sldMk cId="3103856749" sldId="2147483621"/>
            <ac:spMk id="54" creationId="{488FCF46-7EE0-68A5-7F7A-BB5340A048FD}"/>
          </ac:spMkLst>
        </pc:spChg>
        <pc:spChg chg="mod">
          <ac:chgData name="Nisen, Henrik (BCG Platinion)" userId="23462ed3-8a28-48c0-b94c-224b90eb8d0a" providerId="ADAL" clId="{85BF7E29-B863-8743-821C-9B528FF1FFE4}" dt="2024-04-05T06:15:05.617" v="669"/>
          <ac:spMkLst>
            <pc:docMk/>
            <pc:sldMk cId="3103856749" sldId="2147483621"/>
            <ac:spMk id="55" creationId="{D6BF1236-7915-54E0-7C33-929D0379B7DB}"/>
          </ac:spMkLst>
        </pc:spChg>
        <pc:graphicFrameChg chg="add mod replST">
          <ac:chgData name="Nisen, Henrik (BCG Platinion)" userId="23462ed3-8a28-48c0-b94c-224b90eb8d0a" providerId="ADAL" clId="{85BF7E29-B863-8743-821C-9B528FF1FFE4}" dt="2024-04-05T06:15:05.580" v="628"/>
          <ac:graphicFrameMkLst>
            <pc:docMk/>
            <pc:sldMk cId="3103856749" sldId="2147483621"/>
            <ac:graphicFrameMk id="5" creationId="{2CBDDA2A-F096-B59F-BCE5-6219AA13DEB6}"/>
          </ac:graphicFrameMkLst>
        </pc:graphicFrameChg>
        <pc:graphicFrameChg chg="del">
          <ac:chgData name="Nisen, Henrik (BCG Platinion)" userId="23462ed3-8a28-48c0-b94c-224b90eb8d0a" providerId="ADAL" clId="{85BF7E29-B863-8743-821C-9B528FF1FFE4}" dt="2024-04-05T06:15:05.547" v="614"/>
          <ac:graphicFrameMkLst>
            <pc:docMk/>
            <pc:sldMk cId="3103856749" sldId="2147483621"/>
            <ac:graphicFrameMk id="6" creationId="{4799F5B0-1A70-1263-9F0C-3FCC9B5F8E90}"/>
          </ac:graphicFrameMkLst>
        </pc:graphicFrameChg>
        <pc:graphicFrameChg chg="mod">
          <ac:chgData name="Nisen, Henrik (BCG Platinion)" userId="23462ed3-8a28-48c0-b94c-224b90eb8d0a" providerId="ADAL" clId="{85BF7E29-B863-8743-821C-9B528FF1FFE4}" dt="2024-04-05T06:15:05.577" v="625"/>
          <ac:graphicFrameMkLst>
            <pc:docMk/>
            <pc:sldMk cId="3103856749" sldId="2147483621"/>
            <ac:graphicFrameMk id="9" creationId="{8DED4956-6027-EA3D-52B0-1344BC7B73FE}"/>
          </ac:graphicFrameMkLst>
        </pc:graphicFrameChg>
        <pc:graphicFrameChg chg="mod">
          <ac:chgData name="Nisen, Henrik (BCG Platinion)" userId="23462ed3-8a28-48c0-b94c-224b90eb8d0a" providerId="ADAL" clId="{85BF7E29-B863-8743-821C-9B528FF1FFE4}" dt="2024-04-05T06:15:05.622" v="675"/>
          <ac:graphicFrameMkLst>
            <pc:docMk/>
            <pc:sldMk cId="3103856749" sldId="2147483621"/>
            <ac:graphicFrameMk id="57" creationId="{745B1105-B840-B99A-7C1D-6569D6060CCD}"/>
          </ac:graphicFrameMkLst>
        </pc:graphicFrameChg>
        <pc:cxnChg chg="mod">
          <ac:chgData name="Nisen, Henrik (BCG Platinion)" userId="23462ed3-8a28-48c0-b94c-224b90eb8d0a" providerId="ADAL" clId="{85BF7E29-B863-8743-821C-9B528FF1FFE4}" dt="2024-04-05T06:15:05.618" v="670"/>
          <ac:cxnSpMkLst>
            <pc:docMk/>
            <pc:sldMk cId="3103856749" sldId="2147483621"/>
            <ac:cxnSpMk id="72" creationId="{1194051A-5FB9-E3C6-B0BD-A96098D48CEF}"/>
          </ac:cxnSpMkLst>
        </pc:cxnChg>
        <pc:cxnChg chg="mod">
          <ac:chgData name="Nisen, Henrik (BCG Platinion)" userId="23462ed3-8a28-48c0-b94c-224b90eb8d0a" providerId="ADAL" clId="{85BF7E29-B863-8743-821C-9B528FF1FFE4}" dt="2024-04-05T06:15:05.618" v="671"/>
          <ac:cxnSpMkLst>
            <pc:docMk/>
            <pc:sldMk cId="3103856749" sldId="2147483621"/>
            <ac:cxnSpMk id="73" creationId="{885899E0-700B-BD20-6865-A99FEA4B64F0}"/>
          </ac:cxnSpMkLst>
        </pc:cxnChg>
      </pc:sldChg>
      <pc:sldChg chg="add del">
        <pc:chgData name="Nisen, Henrik (BCG Platinion)" userId="23462ed3-8a28-48c0-b94c-224b90eb8d0a" providerId="ADAL" clId="{85BF7E29-B863-8743-821C-9B528FF1FFE4}" dt="2024-04-05T07:13:33.732" v="5304" actId="2696"/>
        <pc:sldMkLst>
          <pc:docMk/>
          <pc:sldMk cId="177908636" sldId="2147483622"/>
        </pc:sldMkLst>
      </pc:sldChg>
      <pc:sldChg chg="addSp delSp modSp add del">
        <pc:chgData name="Nisen, Henrik (BCG Platinion)" userId="23462ed3-8a28-48c0-b94c-224b90eb8d0a" providerId="ADAL" clId="{85BF7E29-B863-8743-821C-9B528FF1FFE4}" dt="2024-04-05T07:13:04.272" v="5300" actId="2696"/>
        <pc:sldMkLst>
          <pc:docMk/>
          <pc:sldMk cId="394487290" sldId="2147483622"/>
        </pc:sldMkLst>
        <pc:spChg chg="mod">
          <ac:chgData name="Nisen, Henrik (BCG Platinion)" userId="23462ed3-8a28-48c0-b94c-224b90eb8d0a" providerId="ADAL" clId="{85BF7E29-B863-8743-821C-9B528FF1FFE4}" dt="2024-04-05T07:12:58.112" v="5298"/>
          <ac:spMkLst>
            <pc:docMk/>
            <pc:sldMk cId="394487290" sldId="2147483622"/>
            <ac:spMk id="13" creationId="{754AA82F-D290-06FA-A1FD-AAECCE3C1F60}"/>
          </ac:spMkLst>
        </pc:spChg>
        <pc:spChg chg="mod">
          <ac:chgData name="Nisen, Henrik (BCG Platinion)" userId="23462ed3-8a28-48c0-b94c-224b90eb8d0a" providerId="ADAL" clId="{85BF7E29-B863-8743-821C-9B528FF1FFE4}" dt="2024-04-05T07:12:58.112" v="5298"/>
          <ac:spMkLst>
            <pc:docMk/>
            <pc:sldMk cId="394487290" sldId="2147483622"/>
            <ac:spMk id="15" creationId="{C45F595B-ED42-53BB-A6DE-177ED7F079BD}"/>
          </ac:spMkLst>
        </pc:spChg>
        <pc:spChg chg="mod">
          <ac:chgData name="Nisen, Henrik (BCG Platinion)" userId="23462ed3-8a28-48c0-b94c-224b90eb8d0a" providerId="ADAL" clId="{85BF7E29-B863-8743-821C-9B528FF1FFE4}" dt="2024-04-05T07:12:58.112" v="5298"/>
          <ac:spMkLst>
            <pc:docMk/>
            <pc:sldMk cId="394487290" sldId="2147483622"/>
            <ac:spMk id="16" creationId="{AC2818F4-AD80-62F8-A146-47FC13BBE749}"/>
          </ac:spMkLst>
        </pc:spChg>
        <pc:spChg chg="del">
          <ac:chgData name="Nisen, Henrik (BCG Platinion)" userId="23462ed3-8a28-48c0-b94c-224b90eb8d0a" providerId="ADAL" clId="{85BF7E29-B863-8743-821C-9B528FF1FFE4}" dt="2024-04-05T07:12:57.893" v="5297" actId="478"/>
          <ac:spMkLst>
            <pc:docMk/>
            <pc:sldMk cId="394487290" sldId="2147483622"/>
            <ac:spMk id="17" creationId="{5D032489-1BBB-E4F7-5285-B410D7059C7C}"/>
          </ac:spMkLst>
        </pc:spChg>
        <pc:spChg chg="del">
          <ac:chgData name="Nisen, Henrik (BCG Platinion)" userId="23462ed3-8a28-48c0-b94c-224b90eb8d0a" providerId="ADAL" clId="{85BF7E29-B863-8743-821C-9B528FF1FFE4}" dt="2024-04-05T07:12:57.893" v="5297" actId="478"/>
          <ac:spMkLst>
            <pc:docMk/>
            <pc:sldMk cId="394487290" sldId="2147483622"/>
            <ac:spMk id="18" creationId="{BF63875F-2D12-E9E3-7824-161DB2C63E1A}"/>
          </ac:spMkLst>
        </pc:spChg>
        <pc:spChg chg="del">
          <ac:chgData name="Nisen, Henrik (BCG Platinion)" userId="23462ed3-8a28-48c0-b94c-224b90eb8d0a" providerId="ADAL" clId="{85BF7E29-B863-8743-821C-9B528FF1FFE4}" dt="2024-04-05T07:12:57.893" v="5297" actId="478"/>
          <ac:spMkLst>
            <pc:docMk/>
            <pc:sldMk cId="394487290" sldId="2147483622"/>
            <ac:spMk id="19" creationId="{BD980CA6-9B97-AB30-1E33-270903BE508F}"/>
          </ac:spMkLst>
        </pc:spChg>
        <pc:spChg chg="del">
          <ac:chgData name="Nisen, Henrik (BCG Platinion)" userId="23462ed3-8a28-48c0-b94c-224b90eb8d0a" providerId="ADAL" clId="{85BF7E29-B863-8743-821C-9B528FF1FFE4}" dt="2024-04-05T07:12:57.893" v="5297" actId="478"/>
          <ac:spMkLst>
            <pc:docMk/>
            <pc:sldMk cId="394487290" sldId="2147483622"/>
            <ac:spMk id="20" creationId="{7EA63EBC-D01D-EBF1-DB30-49D14859FDC4}"/>
          </ac:spMkLst>
        </pc:spChg>
        <pc:spChg chg="del">
          <ac:chgData name="Nisen, Henrik (BCG Platinion)" userId="23462ed3-8a28-48c0-b94c-224b90eb8d0a" providerId="ADAL" clId="{85BF7E29-B863-8743-821C-9B528FF1FFE4}" dt="2024-04-05T07:12:57.893" v="5297" actId="478"/>
          <ac:spMkLst>
            <pc:docMk/>
            <pc:sldMk cId="394487290" sldId="2147483622"/>
            <ac:spMk id="21" creationId="{928CAAB9-9E74-A297-CCEB-5920A7C515BA}"/>
          </ac:spMkLst>
        </pc:spChg>
        <pc:spChg chg="mod">
          <ac:chgData name="Nisen, Henrik (BCG Platinion)" userId="23462ed3-8a28-48c0-b94c-224b90eb8d0a" providerId="ADAL" clId="{85BF7E29-B863-8743-821C-9B528FF1FFE4}" dt="2024-04-05T07:12:58.112" v="5298"/>
          <ac:spMkLst>
            <pc:docMk/>
            <pc:sldMk cId="394487290" sldId="2147483622"/>
            <ac:spMk id="23" creationId="{8CCE3F04-4F62-5014-9060-6A5EF52C4C5C}"/>
          </ac:spMkLst>
        </pc:spChg>
        <pc:spChg chg="mod">
          <ac:chgData name="Nisen, Henrik (BCG Platinion)" userId="23462ed3-8a28-48c0-b94c-224b90eb8d0a" providerId="ADAL" clId="{85BF7E29-B863-8743-821C-9B528FF1FFE4}" dt="2024-04-05T07:12:58.112" v="5298"/>
          <ac:spMkLst>
            <pc:docMk/>
            <pc:sldMk cId="394487290" sldId="2147483622"/>
            <ac:spMk id="24" creationId="{18BA9B63-D31D-6334-A43A-F904A4F9788D}"/>
          </ac:spMkLst>
        </pc:spChg>
        <pc:spChg chg="add mod">
          <ac:chgData name="Nisen, Henrik (BCG Platinion)" userId="23462ed3-8a28-48c0-b94c-224b90eb8d0a" providerId="ADAL" clId="{85BF7E29-B863-8743-821C-9B528FF1FFE4}" dt="2024-04-05T07:12:58.112" v="5298"/>
          <ac:spMkLst>
            <pc:docMk/>
            <pc:sldMk cId="394487290" sldId="2147483622"/>
            <ac:spMk id="27" creationId="{3CB101D0-9694-3956-DA30-9B9CD46D4A2A}"/>
          </ac:spMkLst>
        </pc:spChg>
        <pc:spChg chg="add mod">
          <ac:chgData name="Nisen, Henrik (BCG Platinion)" userId="23462ed3-8a28-48c0-b94c-224b90eb8d0a" providerId="ADAL" clId="{85BF7E29-B863-8743-821C-9B528FF1FFE4}" dt="2024-04-05T07:12:58.112" v="5298"/>
          <ac:spMkLst>
            <pc:docMk/>
            <pc:sldMk cId="394487290" sldId="2147483622"/>
            <ac:spMk id="28" creationId="{001F8C0D-56CE-F5C9-AD97-3934420BA72F}"/>
          </ac:spMkLst>
        </pc:spChg>
        <pc:spChg chg="add mod">
          <ac:chgData name="Nisen, Henrik (BCG Platinion)" userId="23462ed3-8a28-48c0-b94c-224b90eb8d0a" providerId="ADAL" clId="{85BF7E29-B863-8743-821C-9B528FF1FFE4}" dt="2024-04-05T07:12:58.112" v="5298"/>
          <ac:spMkLst>
            <pc:docMk/>
            <pc:sldMk cId="394487290" sldId="2147483622"/>
            <ac:spMk id="29" creationId="{B34AD3C7-8EE2-B1E6-9575-4BB79FC7043E}"/>
          </ac:spMkLst>
        </pc:spChg>
        <pc:spChg chg="add mod">
          <ac:chgData name="Nisen, Henrik (BCG Platinion)" userId="23462ed3-8a28-48c0-b94c-224b90eb8d0a" providerId="ADAL" clId="{85BF7E29-B863-8743-821C-9B528FF1FFE4}" dt="2024-04-05T07:12:58.112" v="5298"/>
          <ac:spMkLst>
            <pc:docMk/>
            <pc:sldMk cId="394487290" sldId="2147483622"/>
            <ac:spMk id="31" creationId="{CF077A1D-7D2C-9249-F3B9-BB2C28E1E6C2}"/>
          </ac:spMkLst>
        </pc:spChg>
        <pc:spChg chg="add mod">
          <ac:chgData name="Nisen, Henrik (BCG Platinion)" userId="23462ed3-8a28-48c0-b94c-224b90eb8d0a" providerId="ADAL" clId="{85BF7E29-B863-8743-821C-9B528FF1FFE4}" dt="2024-04-05T07:12:58.112" v="5298"/>
          <ac:spMkLst>
            <pc:docMk/>
            <pc:sldMk cId="394487290" sldId="2147483622"/>
            <ac:spMk id="32" creationId="{0FC9740A-5105-B3B0-337E-B096B15DCB80}"/>
          </ac:spMkLst>
        </pc:spChg>
        <pc:spChg chg="add mod">
          <ac:chgData name="Nisen, Henrik (BCG Platinion)" userId="23462ed3-8a28-48c0-b94c-224b90eb8d0a" providerId="ADAL" clId="{85BF7E29-B863-8743-821C-9B528FF1FFE4}" dt="2024-04-05T07:13:01.678" v="5299" actId="767"/>
          <ac:spMkLst>
            <pc:docMk/>
            <pc:sldMk cId="394487290" sldId="2147483622"/>
            <ac:spMk id="60" creationId="{34C16329-39B9-DCC3-2EBA-C079B1E6BFDC}"/>
          </ac:spMkLst>
        </pc:spChg>
        <pc:grpChg chg="add mod">
          <ac:chgData name="Nisen, Henrik (BCG Platinion)" userId="23462ed3-8a28-48c0-b94c-224b90eb8d0a" providerId="ADAL" clId="{85BF7E29-B863-8743-821C-9B528FF1FFE4}" dt="2024-04-05T07:12:58.112" v="5298"/>
          <ac:grpSpMkLst>
            <pc:docMk/>
            <pc:sldMk cId="394487290" sldId="2147483622"/>
            <ac:grpSpMk id="3" creationId="{CA1F279A-E4F8-E535-56F9-7A7B5A39635D}"/>
          </ac:grpSpMkLst>
        </pc:grpChg>
        <pc:grpChg chg="del">
          <ac:chgData name="Nisen, Henrik (BCG Platinion)" userId="23462ed3-8a28-48c0-b94c-224b90eb8d0a" providerId="ADAL" clId="{85BF7E29-B863-8743-821C-9B528FF1FFE4}" dt="2024-04-05T07:12:57.893" v="5297" actId="478"/>
          <ac:grpSpMkLst>
            <pc:docMk/>
            <pc:sldMk cId="394487290" sldId="2147483622"/>
            <ac:grpSpMk id="4" creationId="{505FBE72-CC7D-052A-0902-9298A048EFE8}"/>
          </ac:grpSpMkLst>
        </pc:grpChg>
        <pc:cxnChg chg="del">
          <ac:chgData name="Nisen, Henrik (BCG Platinion)" userId="23462ed3-8a28-48c0-b94c-224b90eb8d0a" providerId="ADAL" clId="{85BF7E29-B863-8743-821C-9B528FF1FFE4}" dt="2024-04-05T07:12:57.893" v="5297" actId="478"/>
          <ac:cxnSpMkLst>
            <pc:docMk/>
            <pc:sldMk cId="394487290" sldId="2147483622"/>
            <ac:cxnSpMk id="14" creationId="{1682B767-E46B-5DC3-9324-8532F6314C0C}"/>
          </ac:cxnSpMkLst>
        </pc:cxnChg>
        <pc:cxnChg chg="del">
          <ac:chgData name="Nisen, Henrik (BCG Platinion)" userId="23462ed3-8a28-48c0-b94c-224b90eb8d0a" providerId="ADAL" clId="{85BF7E29-B863-8743-821C-9B528FF1FFE4}" dt="2024-04-05T07:12:57.893" v="5297" actId="478"/>
          <ac:cxnSpMkLst>
            <pc:docMk/>
            <pc:sldMk cId="394487290" sldId="2147483622"/>
            <ac:cxnSpMk id="22" creationId="{A31EE265-526E-06D8-8CEE-AFF9A2DCD629}"/>
          </ac:cxnSpMkLst>
        </pc:cxnChg>
        <pc:cxnChg chg="add mod">
          <ac:chgData name="Nisen, Henrik (BCG Platinion)" userId="23462ed3-8a28-48c0-b94c-224b90eb8d0a" providerId="ADAL" clId="{85BF7E29-B863-8743-821C-9B528FF1FFE4}" dt="2024-04-05T07:12:58.112" v="5298"/>
          <ac:cxnSpMkLst>
            <pc:docMk/>
            <pc:sldMk cId="394487290" sldId="2147483622"/>
            <ac:cxnSpMk id="25" creationId="{D39382B3-A06D-3E21-7177-D2FB8B8BB443}"/>
          </ac:cxnSpMkLst>
        </pc:cxnChg>
        <pc:cxnChg chg="del">
          <ac:chgData name="Nisen, Henrik (BCG Platinion)" userId="23462ed3-8a28-48c0-b94c-224b90eb8d0a" providerId="ADAL" clId="{85BF7E29-B863-8743-821C-9B528FF1FFE4}" dt="2024-04-05T07:12:57.893" v="5297" actId="478"/>
          <ac:cxnSpMkLst>
            <pc:docMk/>
            <pc:sldMk cId="394487290" sldId="2147483622"/>
            <ac:cxnSpMk id="26" creationId="{86271CCA-A7CB-DBE8-B74A-51058A9145A2}"/>
          </ac:cxnSpMkLst>
        </pc:cxnChg>
        <pc:cxnChg chg="del">
          <ac:chgData name="Nisen, Henrik (BCG Platinion)" userId="23462ed3-8a28-48c0-b94c-224b90eb8d0a" providerId="ADAL" clId="{85BF7E29-B863-8743-821C-9B528FF1FFE4}" dt="2024-04-05T07:12:57.893" v="5297" actId="478"/>
          <ac:cxnSpMkLst>
            <pc:docMk/>
            <pc:sldMk cId="394487290" sldId="2147483622"/>
            <ac:cxnSpMk id="30" creationId="{F571F272-D03B-9157-947D-A9A4610A3E48}"/>
          </ac:cxnSpMkLst>
        </pc:cxnChg>
        <pc:cxnChg chg="add mod">
          <ac:chgData name="Nisen, Henrik (BCG Platinion)" userId="23462ed3-8a28-48c0-b94c-224b90eb8d0a" providerId="ADAL" clId="{85BF7E29-B863-8743-821C-9B528FF1FFE4}" dt="2024-04-05T07:12:58.112" v="5298"/>
          <ac:cxnSpMkLst>
            <pc:docMk/>
            <pc:sldMk cId="394487290" sldId="2147483622"/>
            <ac:cxnSpMk id="33" creationId="{5091A95E-0690-DD5E-573B-78EC249FD485}"/>
          </ac:cxnSpMkLst>
        </pc:cxnChg>
        <pc:cxnChg chg="del">
          <ac:chgData name="Nisen, Henrik (BCG Platinion)" userId="23462ed3-8a28-48c0-b94c-224b90eb8d0a" providerId="ADAL" clId="{85BF7E29-B863-8743-821C-9B528FF1FFE4}" dt="2024-04-05T07:12:57.893" v="5297" actId="478"/>
          <ac:cxnSpMkLst>
            <pc:docMk/>
            <pc:sldMk cId="394487290" sldId="2147483622"/>
            <ac:cxnSpMk id="34" creationId="{62A900F6-C728-99B5-259B-C4E2CC0ADF22}"/>
          </ac:cxnSpMkLst>
        </pc:cxnChg>
        <pc:cxnChg chg="add mod">
          <ac:chgData name="Nisen, Henrik (BCG Platinion)" userId="23462ed3-8a28-48c0-b94c-224b90eb8d0a" providerId="ADAL" clId="{85BF7E29-B863-8743-821C-9B528FF1FFE4}" dt="2024-04-05T07:12:58.112" v="5298"/>
          <ac:cxnSpMkLst>
            <pc:docMk/>
            <pc:sldMk cId="394487290" sldId="2147483622"/>
            <ac:cxnSpMk id="35" creationId="{591F47D2-2E67-4534-9449-ABDBBC953A0D}"/>
          </ac:cxnSpMkLst>
        </pc:cxnChg>
        <pc:cxnChg chg="add mod">
          <ac:chgData name="Nisen, Henrik (BCG Platinion)" userId="23462ed3-8a28-48c0-b94c-224b90eb8d0a" providerId="ADAL" clId="{85BF7E29-B863-8743-821C-9B528FF1FFE4}" dt="2024-04-05T07:12:58.112" v="5298"/>
          <ac:cxnSpMkLst>
            <pc:docMk/>
            <pc:sldMk cId="394487290" sldId="2147483622"/>
            <ac:cxnSpMk id="36" creationId="{9CD1F47E-C181-46D2-BAF1-FDC8F30CCC5F}"/>
          </ac:cxnSpMkLst>
        </pc:cxnChg>
        <pc:cxnChg chg="del">
          <ac:chgData name="Nisen, Henrik (BCG Platinion)" userId="23462ed3-8a28-48c0-b94c-224b90eb8d0a" providerId="ADAL" clId="{85BF7E29-B863-8743-821C-9B528FF1FFE4}" dt="2024-04-05T07:12:57.893" v="5297" actId="478"/>
          <ac:cxnSpMkLst>
            <pc:docMk/>
            <pc:sldMk cId="394487290" sldId="2147483622"/>
            <ac:cxnSpMk id="37" creationId="{6F6A9107-5FD3-4844-53E9-DAABCA175EFC}"/>
          </ac:cxnSpMkLst>
        </pc:cxnChg>
        <pc:cxnChg chg="add mod">
          <ac:chgData name="Nisen, Henrik (BCG Platinion)" userId="23462ed3-8a28-48c0-b94c-224b90eb8d0a" providerId="ADAL" clId="{85BF7E29-B863-8743-821C-9B528FF1FFE4}" dt="2024-04-05T07:12:58.112" v="5298"/>
          <ac:cxnSpMkLst>
            <pc:docMk/>
            <pc:sldMk cId="394487290" sldId="2147483622"/>
            <ac:cxnSpMk id="38" creationId="{52E41E9E-DAFA-C282-A4EB-080947535285}"/>
          </ac:cxnSpMkLst>
        </pc:cxnChg>
        <pc:cxnChg chg="add mod">
          <ac:chgData name="Nisen, Henrik (BCG Platinion)" userId="23462ed3-8a28-48c0-b94c-224b90eb8d0a" providerId="ADAL" clId="{85BF7E29-B863-8743-821C-9B528FF1FFE4}" dt="2024-04-05T07:12:58.112" v="5298"/>
          <ac:cxnSpMkLst>
            <pc:docMk/>
            <pc:sldMk cId="394487290" sldId="2147483622"/>
            <ac:cxnSpMk id="39" creationId="{A2484F9C-2823-487F-9ED8-A63F6A019B9A}"/>
          </ac:cxnSpMkLst>
        </pc:cxnChg>
        <pc:cxnChg chg="add mod">
          <ac:chgData name="Nisen, Henrik (BCG Platinion)" userId="23462ed3-8a28-48c0-b94c-224b90eb8d0a" providerId="ADAL" clId="{85BF7E29-B863-8743-821C-9B528FF1FFE4}" dt="2024-04-05T07:12:58.112" v="5298"/>
          <ac:cxnSpMkLst>
            <pc:docMk/>
            <pc:sldMk cId="394487290" sldId="2147483622"/>
            <ac:cxnSpMk id="40" creationId="{F742F7CA-2A53-FB6C-AE9D-DFD500ACF952}"/>
          </ac:cxnSpMkLst>
        </pc:cxnChg>
        <pc:cxnChg chg="add mod">
          <ac:chgData name="Nisen, Henrik (BCG Platinion)" userId="23462ed3-8a28-48c0-b94c-224b90eb8d0a" providerId="ADAL" clId="{85BF7E29-B863-8743-821C-9B528FF1FFE4}" dt="2024-04-05T07:12:58.112" v="5298"/>
          <ac:cxnSpMkLst>
            <pc:docMk/>
            <pc:sldMk cId="394487290" sldId="2147483622"/>
            <ac:cxnSpMk id="41" creationId="{7A370C61-8EB2-F898-693D-8E622BE99CC9}"/>
          </ac:cxnSpMkLst>
        </pc:cxnChg>
        <pc:cxnChg chg="add mod">
          <ac:chgData name="Nisen, Henrik (BCG Platinion)" userId="23462ed3-8a28-48c0-b94c-224b90eb8d0a" providerId="ADAL" clId="{85BF7E29-B863-8743-821C-9B528FF1FFE4}" dt="2024-04-05T07:12:58.112" v="5298"/>
          <ac:cxnSpMkLst>
            <pc:docMk/>
            <pc:sldMk cId="394487290" sldId="2147483622"/>
            <ac:cxnSpMk id="42" creationId="{BAC37AED-0F04-9814-627D-8999805EA712}"/>
          </ac:cxnSpMkLst>
        </pc:cxnChg>
        <pc:cxnChg chg="add mod">
          <ac:chgData name="Nisen, Henrik (BCG Platinion)" userId="23462ed3-8a28-48c0-b94c-224b90eb8d0a" providerId="ADAL" clId="{85BF7E29-B863-8743-821C-9B528FF1FFE4}" dt="2024-04-05T07:12:58.112" v="5298"/>
          <ac:cxnSpMkLst>
            <pc:docMk/>
            <pc:sldMk cId="394487290" sldId="2147483622"/>
            <ac:cxnSpMk id="43" creationId="{871BD37D-A4AE-5195-BE0B-C6342119128C}"/>
          </ac:cxnSpMkLst>
        </pc:cxnChg>
        <pc:cxnChg chg="add mod">
          <ac:chgData name="Nisen, Henrik (BCG Platinion)" userId="23462ed3-8a28-48c0-b94c-224b90eb8d0a" providerId="ADAL" clId="{85BF7E29-B863-8743-821C-9B528FF1FFE4}" dt="2024-04-05T07:12:58.112" v="5298"/>
          <ac:cxnSpMkLst>
            <pc:docMk/>
            <pc:sldMk cId="394487290" sldId="2147483622"/>
            <ac:cxnSpMk id="44" creationId="{C81001C1-97B7-4C95-DCE0-7E0C96453479}"/>
          </ac:cxnSpMkLst>
        </pc:cxnChg>
        <pc:cxnChg chg="del">
          <ac:chgData name="Nisen, Henrik (BCG Platinion)" userId="23462ed3-8a28-48c0-b94c-224b90eb8d0a" providerId="ADAL" clId="{85BF7E29-B863-8743-821C-9B528FF1FFE4}" dt="2024-04-05T07:12:57.893" v="5297" actId="478"/>
          <ac:cxnSpMkLst>
            <pc:docMk/>
            <pc:sldMk cId="394487290" sldId="2147483622"/>
            <ac:cxnSpMk id="45" creationId="{2676B8AE-6D26-6FD6-A4A6-07EF3BA05EA8}"/>
          </ac:cxnSpMkLst>
        </pc:cxnChg>
        <pc:cxnChg chg="add mod">
          <ac:chgData name="Nisen, Henrik (BCG Platinion)" userId="23462ed3-8a28-48c0-b94c-224b90eb8d0a" providerId="ADAL" clId="{85BF7E29-B863-8743-821C-9B528FF1FFE4}" dt="2024-04-05T07:12:58.112" v="5298"/>
          <ac:cxnSpMkLst>
            <pc:docMk/>
            <pc:sldMk cId="394487290" sldId="2147483622"/>
            <ac:cxnSpMk id="52" creationId="{7FA2FEAC-40B3-70DA-B5C9-AE1DBC74CBB7}"/>
          </ac:cxnSpMkLst>
        </pc:cxnChg>
        <pc:cxnChg chg="add mod">
          <ac:chgData name="Nisen, Henrik (BCG Platinion)" userId="23462ed3-8a28-48c0-b94c-224b90eb8d0a" providerId="ADAL" clId="{85BF7E29-B863-8743-821C-9B528FF1FFE4}" dt="2024-04-05T07:12:58.112" v="5298"/>
          <ac:cxnSpMkLst>
            <pc:docMk/>
            <pc:sldMk cId="394487290" sldId="2147483622"/>
            <ac:cxnSpMk id="53" creationId="{294B4435-E62E-42BC-B5DB-F961AD61ED6D}"/>
          </ac:cxnSpMkLst>
        </pc:cxnChg>
        <pc:cxnChg chg="del">
          <ac:chgData name="Nisen, Henrik (BCG Platinion)" userId="23462ed3-8a28-48c0-b94c-224b90eb8d0a" providerId="ADAL" clId="{85BF7E29-B863-8743-821C-9B528FF1FFE4}" dt="2024-04-05T07:12:57.893" v="5297" actId="478"/>
          <ac:cxnSpMkLst>
            <pc:docMk/>
            <pc:sldMk cId="394487290" sldId="2147483622"/>
            <ac:cxnSpMk id="54" creationId="{E5F85845-FC1E-FC4A-CB65-D42AFE290CE6}"/>
          </ac:cxnSpMkLst>
        </pc:cxnChg>
        <pc:cxnChg chg="del">
          <ac:chgData name="Nisen, Henrik (BCG Platinion)" userId="23462ed3-8a28-48c0-b94c-224b90eb8d0a" providerId="ADAL" clId="{85BF7E29-B863-8743-821C-9B528FF1FFE4}" dt="2024-04-05T07:12:57.893" v="5297" actId="478"/>
          <ac:cxnSpMkLst>
            <pc:docMk/>
            <pc:sldMk cId="394487290" sldId="2147483622"/>
            <ac:cxnSpMk id="65" creationId="{880C5335-C815-F370-AF53-B5D01DF87AAA}"/>
          </ac:cxnSpMkLst>
        </pc:cxnChg>
        <pc:cxnChg chg="del">
          <ac:chgData name="Nisen, Henrik (BCG Platinion)" userId="23462ed3-8a28-48c0-b94c-224b90eb8d0a" providerId="ADAL" clId="{85BF7E29-B863-8743-821C-9B528FF1FFE4}" dt="2024-04-05T07:12:57.893" v="5297" actId="478"/>
          <ac:cxnSpMkLst>
            <pc:docMk/>
            <pc:sldMk cId="394487290" sldId="2147483622"/>
            <ac:cxnSpMk id="73" creationId="{9F16719D-3E14-2B8D-4F31-C848FDAA7052}"/>
          </ac:cxnSpMkLst>
        </pc:cxnChg>
        <pc:cxnChg chg="del">
          <ac:chgData name="Nisen, Henrik (BCG Platinion)" userId="23462ed3-8a28-48c0-b94c-224b90eb8d0a" providerId="ADAL" clId="{85BF7E29-B863-8743-821C-9B528FF1FFE4}" dt="2024-04-05T07:12:57.893" v="5297" actId="478"/>
          <ac:cxnSpMkLst>
            <pc:docMk/>
            <pc:sldMk cId="394487290" sldId="2147483622"/>
            <ac:cxnSpMk id="76" creationId="{E03C5F96-6965-C156-4652-1A10D397AD68}"/>
          </ac:cxnSpMkLst>
        </pc:cxnChg>
        <pc:cxnChg chg="del">
          <ac:chgData name="Nisen, Henrik (BCG Platinion)" userId="23462ed3-8a28-48c0-b94c-224b90eb8d0a" providerId="ADAL" clId="{85BF7E29-B863-8743-821C-9B528FF1FFE4}" dt="2024-04-05T07:12:57.893" v="5297" actId="478"/>
          <ac:cxnSpMkLst>
            <pc:docMk/>
            <pc:sldMk cId="394487290" sldId="2147483622"/>
            <ac:cxnSpMk id="84" creationId="{19DBD780-0804-762D-713B-AF05292C6A06}"/>
          </ac:cxnSpMkLst>
        </pc:cxnChg>
        <pc:cxnChg chg="del">
          <ac:chgData name="Nisen, Henrik (BCG Platinion)" userId="23462ed3-8a28-48c0-b94c-224b90eb8d0a" providerId="ADAL" clId="{85BF7E29-B863-8743-821C-9B528FF1FFE4}" dt="2024-04-05T07:12:57.893" v="5297" actId="478"/>
          <ac:cxnSpMkLst>
            <pc:docMk/>
            <pc:sldMk cId="394487290" sldId="2147483622"/>
            <ac:cxnSpMk id="90" creationId="{82ECE01E-72B7-ACF6-F2A0-04FE07E61201}"/>
          </ac:cxnSpMkLst>
        </pc:cxnChg>
      </pc:sldChg>
      <pc:sldChg chg="add del">
        <pc:chgData name="Nisen, Henrik (BCG Platinion)" userId="23462ed3-8a28-48c0-b94c-224b90eb8d0a" providerId="ADAL" clId="{85BF7E29-B863-8743-821C-9B528FF1FFE4}" dt="2024-04-05T07:03:29.714" v="4591"/>
        <pc:sldMkLst>
          <pc:docMk/>
          <pc:sldMk cId="2376418223" sldId="2147483622"/>
        </pc:sldMkLst>
      </pc:sldChg>
      <pc:sldChg chg="delSp modSp add del mod modTransition">
        <pc:chgData name="Nisen, Henrik (BCG Platinion)" userId="23462ed3-8a28-48c0-b94c-224b90eb8d0a" providerId="ADAL" clId="{85BF7E29-B863-8743-821C-9B528FF1FFE4}" dt="2024-04-05T08:35:37.142" v="8625" actId="2696"/>
        <pc:sldMkLst>
          <pc:docMk/>
          <pc:sldMk cId="405534426" sldId="2147483623"/>
        </pc:sldMkLst>
        <pc:spChg chg="mod">
          <ac:chgData name="Nisen, Henrik (BCG Platinion)" userId="23462ed3-8a28-48c0-b94c-224b90eb8d0a" providerId="ADAL" clId="{85BF7E29-B863-8743-821C-9B528FF1FFE4}" dt="2024-04-05T07:45:06.539" v="7401" actId="403"/>
          <ac:spMkLst>
            <pc:docMk/>
            <pc:sldMk cId="405534426" sldId="2147483623"/>
            <ac:spMk id="11" creationId="{742847F0-0CF5-02D2-2B7D-77B91DBF31DC}"/>
          </ac:spMkLst>
        </pc:spChg>
        <pc:spChg chg="del">
          <ac:chgData name="Nisen, Henrik (BCG Platinion)" userId="23462ed3-8a28-48c0-b94c-224b90eb8d0a" providerId="ADAL" clId="{85BF7E29-B863-8743-821C-9B528FF1FFE4}" dt="2024-04-05T07:15:41.918" v="5319" actId="478"/>
          <ac:spMkLst>
            <pc:docMk/>
            <pc:sldMk cId="405534426" sldId="2147483623"/>
            <ac:spMk id="12" creationId="{4F6F5A5A-52A0-F3F1-2431-A86D71CCC36C}"/>
          </ac:spMkLst>
        </pc:spChg>
        <pc:spChg chg="mod">
          <ac:chgData name="Nisen, Henrik (BCG Platinion)" userId="23462ed3-8a28-48c0-b94c-224b90eb8d0a" providerId="ADAL" clId="{85BF7E29-B863-8743-821C-9B528FF1FFE4}" dt="2024-04-05T07:45:06.539" v="7401" actId="403"/>
          <ac:spMkLst>
            <pc:docMk/>
            <pc:sldMk cId="405534426" sldId="2147483623"/>
            <ac:spMk id="17" creationId="{5D032489-1BBB-E4F7-5285-B410D7059C7C}"/>
          </ac:spMkLst>
        </pc:spChg>
        <pc:spChg chg="mod">
          <ac:chgData name="Nisen, Henrik (BCG Platinion)" userId="23462ed3-8a28-48c0-b94c-224b90eb8d0a" providerId="ADAL" clId="{85BF7E29-B863-8743-821C-9B528FF1FFE4}" dt="2024-04-05T07:45:06.539" v="7401" actId="403"/>
          <ac:spMkLst>
            <pc:docMk/>
            <pc:sldMk cId="405534426" sldId="2147483623"/>
            <ac:spMk id="18" creationId="{BF63875F-2D12-E9E3-7824-161DB2C63E1A}"/>
          </ac:spMkLst>
        </pc:spChg>
        <pc:spChg chg="mod">
          <ac:chgData name="Nisen, Henrik (BCG Platinion)" userId="23462ed3-8a28-48c0-b94c-224b90eb8d0a" providerId="ADAL" clId="{85BF7E29-B863-8743-821C-9B528FF1FFE4}" dt="2024-04-05T07:45:06.539" v="7401" actId="403"/>
          <ac:spMkLst>
            <pc:docMk/>
            <pc:sldMk cId="405534426" sldId="2147483623"/>
            <ac:spMk id="19" creationId="{BD980CA6-9B97-AB30-1E33-270903BE508F}"/>
          </ac:spMkLst>
        </pc:spChg>
        <pc:spChg chg="mod">
          <ac:chgData name="Nisen, Henrik (BCG Platinion)" userId="23462ed3-8a28-48c0-b94c-224b90eb8d0a" providerId="ADAL" clId="{85BF7E29-B863-8743-821C-9B528FF1FFE4}" dt="2024-04-05T07:45:06.539" v="7401" actId="403"/>
          <ac:spMkLst>
            <pc:docMk/>
            <pc:sldMk cId="405534426" sldId="2147483623"/>
            <ac:spMk id="20" creationId="{7EA63EBC-D01D-EBF1-DB30-49D14859FDC4}"/>
          </ac:spMkLst>
        </pc:spChg>
        <pc:spChg chg="mod">
          <ac:chgData name="Nisen, Henrik (BCG Platinion)" userId="23462ed3-8a28-48c0-b94c-224b90eb8d0a" providerId="ADAL" clId="{85BF7E29-B863-8743-821C-9B528FF1FFE4}" dt="2024-04-05T07:45:06.539" v="7401" actId="403"/>
          <ac:spMkLst>
            <pc:docMk/>
            <pc:sldMk cId="405534426" sldId="2147483623"/>
            <ac:spMk id="21" creationId="{928CAAB9-9E74-A297-CCEB-5920A7C515BA}"/>
          </ac:spMkLst>
        </pc:spChg>
        <pc:spChg chg="mod">
          <ac:chgData name="Nisen, Henrik (BCG Platinion)" userId="23462ed3-8a28-48c0-b94c-224b90eb8d0a" providerId="ADAL" clId="{85BF7E29-B863-8743-821C-9B528FF1FFE4}" dt="2024-04-05T07:45:06.539" v="7401" actId="403"/>
          <ac:spMkLst>
            <pc:docMk/>
            <pc:sldMk cId="405534426" sldId="2147483623"/>
            <ac:spMk id="46" creationId="{F6929839-E402-1BDE-6E21-C7DBFB0E4B4C}"/>
          </ac:spMkLst>
        </pc:spChg>
        <pc:spChg chg="mod">
          <ac:chgData name="Nisen, Henrik (BCG Platinion)" userId="23462ed3-8a28-48c0-b94c-224b90eb8d0a" providerId="ADAL" clId="{85BF7E29-B863-8743-821C-9B528FF1FFE4}" dt="2024-04-05T07:45:06.539" v="7401" actId="403"/>
          <ac:spMkLst>
            <pc:docMk/>
            <pc:sldMk cId="405534426" sldId="2147483623"/>
            <ac:spMk id="47" creationId="{12185BC3-3529-3F31-73B7-9D799DE25259}"/>
          </ac:spMkLst>
        </pc:spChg>
        <pc:spChg chg="mod">
          <ac:chgData name="Nisen, Henrik (BCG Platinion)" userId="23462ed3-8a28-48c0-b94c-224b90eb8d0a" providerId="ADAL" clId="{85BF7E29-B863-8743-821C-9B528FF1FFE4}" dt="2024-04-05T07:45:06.539" v="7401" actId="403"/>
          <ac:spMkLst>
            <pc:docMk/>
            <pc:sldMk cId="405534426" sldId="2147483623"/>
            <ac:spMk id="48" creationId="{3496AB01-BD19-33E9-A8D1-4B05519CB082}"/>
          </ac:spMkLst>
        </pc:spChg>
        <pc:spChg chg="mod">
          <ac:chgData name="Nisen, Henrik (BCG Platinion)" userId="23462ed3-8a28-48c0-b94c-224b90eb8d0a" providerId="ADAL" clId="{85BF7E29-B863-8743-821C-9B528FF1FFE4}" dt="2024-04-05T07:45:06.539" v="7401" actId="403"/>
          <ac:spMkLst>
            <pc:docMk/>
            <pc:sldMk cId="405534426" sldId="2147483623"/>
            <ac:spMk id="49" creationId="{C8E79D77-8E06-C303-B969-AB5686466A9F}"/>
          </ac:spMkLst>
        </pc:spChg>
        <pc:spChg chg="mod">
          <ac:chgData name="Nisen, Henrik (BCG Platinion)" userId="23462ed3-8a28-48c0-b94c-224b90eb8d0a" providerId="ADAL" clId="{85BF7E29-B863-8743-821C-9B528FF1FFE4}" dt="2024-04-05T07:45:06.539" v="7401" actId="403"/>
          <ac:spMkLst>
            <pc:docMk/>
            <pc:sldMk cId="405534426" sldId="2147483623"/>
            <ac:spMk id="50" creationId="{AB6DE524-BE9F-D5AC-BEFC-ECE9719856C5}"/>
          </ac:spMkLst>
        </pc:spChg>
        <pc:spChg chg="mod">
          <ac:chgData name="Nisen, Henrik (BCG Platinion)" userId="23462ed3-8a28-48c0-b94c-224b90eb8d0a" providerId="ADAL" clId="{85BF7E29-B863-8743-821C-9B528FF1FFE4}" dt="2024-04-05T07:45:06.539" v="7401" actId="403"/>
          <ac:spMkLst>
            <pc:docMk/>
            <pc:sldMk cId="405534426" sldId="2147483623"/>
            <ac:spMk id="51" creationId="{68478A72-4136-F504-82B0-2A65F6421852}"/>
          </ac:spMkLst>
        </pc:spChg>
        <pc:spChg chg="mod">
          <ac:chgData name="Nisen, Henrik (BCG Platinion)" userId="23462ed3-8a28-48c0-b94c-224b90eb8d0a" providerId="ADAL" clId="{85BF7E29-B863-8743-821C-9B528FF1FFE4}" dt="2024-04-05T07:45:06.539" v="7401" actId="403"/>
          <ac:spMkLst>
            <pc:docMk/>
            <pc:sldMk cId="405534426" sldId="2147483623"/>
            <ac:spMk id="56" creationId="{1E824E82-7D2E-BD9B-8709-A61AB6BF366B}"/>
          </ac:spMkLst>
        </pc:spChg>
        <pc:spChg chg="mod">
          <ac:chgData name="Nisen, Henrik (BCG Platinion)" userId="23462ed3-8a28-48c0-b94c-224b90eb8d0a" providerId="ADAL" clId="{85BF7E29-B863-8743-821C-9B528FF1FFE4}" dt="2024-04-05T07:45:06.539" v="7401" actId="403"/>
          <ac:spMkLst>
            <pc:docMk/>
            <pc:sldMk cId="405534426" sldId="2147483623"/>
            <ac:spMk id="58" creationId="{890D33B8-4696-EBC1-BB0F-2A6C921976B5}"/>
          </ac:spMkLst>
        </pc:spChg>
        <pc:spChg chg="mod">
          <ac:chgData name="Nisen, Henrik (BCG Platinion)" userId="23462ed3-8a28-48c0-b94c-224b90eb8d0a" providerId="ADAL" clId="{85BF7E29-B863-8743-821C-9B528FF1FFE4}" dt="2024-04-05T07:45:06.539" v="7401" actId="403"/>
          <ac:spMkLst>
            <pc:docMk/>
            <pc:sldMk cId="405534426" sldId="2147483623"/>
            <ac:spMk id="59" creationId="{F15D4F24-6ED0-37FC-D230-CD76CA7E7773}"/>
          </ac:spMkLst>
        </pc:spChg>
        <pc:spChg chg="mod">
          <ac:chgData name="Nisen, Henrik (BCG Platinion)" userId="23462ed3-8a28-48c0-b94c-224b90eb8d0a" providerId="ADAL" clId="{85BF7E29-B863-8743-821C-9B528FF1FFE4}" dt="2024-04-05T07:45:06.539" v="7401" actId="403"/>
          <ac:spMkLst>
            <pc:docMk/>
            <pc:sldMk cId="405534426" sldId="2147483623"/>
            <ac:spMk id="63" creationId="{2A034BE6-679D-58EB-856B-D7AFDDF14204}"/>
          </ac:spMkLst>
        </pc:spChg>
        <pc:spChg chg="mod">
          <ac:chgData name="Nisen, Henrik (BCG Platinion)" userId="23462ed3-8a28-48c0-b94c-224b90eb8d0a" providerId="ADAL" clId="{85BF7E29-B863-8743-821C-9B528FF1FFE4}" dt="2024-04-05T07:45:06.539" v="7401" actId="403"/>
          <ac:spMkLst>
            <pc:docMk/>
            <pc:sldMk cId="405534426" sldId="2147483623"/>
            <ac:spMk id="67" creationId="{47352017-C732-20D6-2385-BEF3AF914F72}"/>
          </ac:spMkLst>
        </pc:spChg>
        <pc:spChg chg="mod">
          <ac:chgData name="Nisen, Henrik (BCG Platinion)" userId="23462ed3-8a28-48c0-b94c-224b90eb8d0a" providerId="ADAL" clId="{85BF7E29-B863-8743-821C-9B528FF1FFE4}" dt="2024-04-05T07:45:06.539" v="7401" actId="403"/>
          <ac:spMkLst>
            <pc:docMk/>
            <pc:sldMk cId="405534426" sldId="2147483623"/>
            <ac:spMk id="68" creationId="{AEB8457E-537A-4544-83D6-EA9E7D1AC755}"/>
          </ac:spMkLst>
        </pc:spChg>
        <pc:spChg chg="mod">
          <ac:chgData name="Nisen, Henrik (BCG Platinion)" userId="23462ed3-8a28-48c0-b94c-224b90eb8d0a" providerId="ADAL" clId="{85BF7E29-B863-8743-821C-9B528FF1FFE4}" dt="2024-04-05T07:45:06.539" v="7401" actId="403"/>
          <ac:spMkLst>
            <pc:docMk/>
            <pc:sldMk cId="405534426" sldId="2147483623"/>
            <ac:spMk id="69" creationId="{975A0020-9505-F243-E435-22D9CBA94D92}"/>
          </ac:spMkLst>
        </pc:spChg>
        <pc:spChg chg="mod">
          <ac:chgData name="Nisen, Henrik (BCG Platinion)" userId="23462ed3-8a28-48c0-b94c-224b90eb8d0a" providerId="ADAL" clId="{85BF7E29-B863-8743-821C-9B528FF1FFE4}" dt="2024-04-05T07:45:06.539" v="7401" actId="403"/>
          <ac:spMkLst>
            <pc:docMk/>
            <pc:sldMk cId="405534426" sldId="2147483623"/>
            <ac:spMk id="71" creationId="{216EBD7B-272C-2FEF-E672-DBA81638D73F}"/>
          </ac:spMkLst>
        </pc:spChg>
        <pc:spChg chg="mod">
          <ac:chgData name="Nisen, Henrik (BCG Platinion)" userId="23462ed3-8a28-48c0-b94c-224b90eb8d0a" providerId="ADAL" clId="{85BF7E29-B863-8743-821C-9B528FF1FFE4}" dt="2024-04-05T07:45:06.539" v="7401" actId="403"/>
          <ac:spMkLst>
            <pc:docMk/>
            <pc:sldMk cId="405534426" sldId="2147483623"/>
            <ac:spMk id="72" creationId="{01DE933F-6343-4985-593F-4E4306D1DFA1}"/>
          </ac:spMkLst>
        </pc:spChg>
        <pc:spChg chg="mod">
          <ac:chgData name="Nisen, Henrik (BCG Platinion)" userId="23462ed3-8a28-48c0-b94c-224b90eb8d0a" providerId="ADAL" clId="{85BF7E29-B863-8743-821C-9B528FF1FFE4}" dt="2024-04-05T07:45:06.539" v="7401" actId="403"/>
          <ac:spMkLst>
            <pc:docMk/>
            <pc:sldMk cId="405534426" sldId="2147483623"/>
            <ac:spMk id="93" creationId="{0F553B37-850B-8CB5-1935-606100B86476}"/>
          </ac:spMkLst>
        </pc:spChg>
        <pc:spChg chg="mod">
          <ac:chgData name="Nisen, Henrik (BCG Platinion)" userId="23462ed3-8a28-48c0-b94c-224b90eb8d0a" providerId="ADAL" clId="{85BF7E29-B863-8743-821C-9B528FF1FFE4}" dt="2024-04-05T07:45:06.539" v="7401" actId="403"/>
          <ac:spMkLst>
            <pc:docMk/>
            <pc:sldMk cId="405534426" sldId="2147483623"/>
            <ac:spMk id="94" creationId="{57FF6488-B373-105F-8FBB-BA792B803861}"/>
          </ac:spMkLst>
        </pc:spChg>
        <pc:spChg chg="mod">
          <ac:chgData name="Nisen, Henrik (BCG Platinion)" userId="23462ed3-8a28-48c0-b94c-224b90eb8d0a" providerId="ADAL" clId="{85BF7E29-B863-8743-821C-9B528FF1FFE4}" dt="2024-04-05T07:45:06.539" v="7401" actId="403"/>
          <ac:spMkLst>
            <pc:docMk/>
            <pc:sldMk cId="405534426" sldId="2147483623"/>
            <ac:spMk id="95" creationId="{B12C17AB-CD2A-5C48-BF33-DB35225CCC16}"/>
          </ac:spMkLst>
        </pc:spChg>
        <pc:spChg chg="mod">
          <ac:chgData name="Nisen, Henrik (BCG Platinion)" userId="23462ed3-8a28-48c0-b94c-224b90eb8d0a" providerId="ADAL" clId="{85BF7E29-B863-8743-821C-9B528FF1FFE4}" dt="2024-04-05T07:45:06.539" v="7401" actId="403"/>
          <ac:spMkLst>
            <pc:docMk/>
            <pc:sldMk cId="405534426" sldId="2147483623"/>
            <ac:spMk id="96" creationId="{35EF2258-B4AC-EB66-14A1-63A534ED5693}"/>
          </ac:spMkLst>
        </pc:spChg>
        <pc:spChg chg="mod">
          <ac:chgData name="Nisen, Henrik (BCG Platinion)" userId="23462ed3-8a28-48c0-b94c-224b90eb8d0a" providerId="ADAL" clId="{85BF7E29-B863-8743-821C-9B528FF1FFE4}" dt="2024-04-05T07:45:06.539" v="7401" actId="403"/>
          <ac:spMkLst>
            <pc:docMk/>
            <pc:sldMk cId="405534426" sldId="2147483623"/>
            <ac:spMk id="97" creationId="{93FC2F03-B143-3A37-6C18-012E61B00140}"/>
          </ac:spMkLst>
        </pc:spChg>
        <pc:spChg chg="mod">
          <ac:chgData name="Nisen, Henrik (BCG Platinion)" userId="23462ed3-8a28-48c0-b94c-224b90eb8d0a" providerId="ADAL" clId="{85BF7E29-B863-8743-821C-9B528FF1FFE4}" dt="2024-04-05T07:45:06.539" v="7401" actId="403"/>
          <ac:spMkLst>
            <pc:docMk/>
            <pc:sldMk cId="405534426" sldId="2147483623"/>
            <ac:spMk id="98" creationId="{A0588E39-2F95-6819-2568-94FDF9D7798C}"/>
          </ac:spMkLst>
        </pc:spChg>
        <pc:spChg chg="mod">
          <ac:chgData name="Nisen, Henrik (BCG Platinion)" userId="23462ed3-8a28-48c0-b94c-224b90eb8d0a" providerId="ADAL" clId="{85BF7E29-B863-8743-821C-9B528FF1FFE4}" dt="2024-04-05T07:45:06.539" v="7401" actId="403"/>
          <ac:spMkLst>
            <pc:docMk/>
            <pc:sldMk cId="405534426" sldId="2147483623"/>
            <ac:spMk id="99" creationId="{C0D05B77-E36B-976F-E679-0F010FE6C4B0}"/>
          </ac:spMkLst>
        </pc:spChg>
        <pc:spChg chg="mod">
          <ac:chgData name="Nisen, Henrik (BCG Platinion)" userId="23462ed3-8a28-48c0-b94c-224b90eb8d0a" providerId="ADAL" clId="{85BF7E29-B863-8743-821C-9B528FF1FFE4}" dt="2024-04-05T07:45:16.036" v="7403" actId="404"/>
          <ac:spMkLst>
            <pc:docMk/>
            <pc:sldMk cId="405534426" sldId="2147483623"/>
            <ac:spMk id="101" creationId="{EC9D612D-5263-9C1B-6352-ED2E8BB02DFD}"/>
          </ac:spMkLst>
        </pc:spChg>
        <pc:spChg chg="mod">
          <ac:chgData name="Nisen, Henrik (BCG Platinion)" userId="23462ed3-8a28-48c0-b94c-224b90eb8d0a" providerId="ADAL" clId="{85BF7E29-B863-8743-821C-9B528FF1FFE4}" dt="2024-04-05T07:45:16.036" v="7403" actId="404"/>
          <ac:spMkLst>
            <pc:docMk/>
            <pc:sldMk cId="405534426" sldId="2147483623"/>
            <ac:spMk id="102" creationId="{16849A92-EEF6-75AA-CBE1-E88B6B5DE730}"/>
          </ac:spMkLst>
        </pc:spChg>
        <pc:spChg chg="mod">
          <ac:chgData name="Nisen, Henrik (BCG Platinion)" userId="23462ed3-8a28-48c0-b94c-224b90eb8d0a" providerId="ADAL" clId="{85BF7E29-B863-8743-821C-9B528FF1FFE4}" dt="2024-04-05T07:45:06.539" v="7401" actId="403"/>
          <ac:spMkLst>
            <pc:docMk/>
            <pc:sldMk cId="405534426" sldId="2147483623"/>
            <ac:spMk id="103" creationId="{7E3D7D2A-35B5-871F-390A-007DCB1A27CD}"/>
          </ac:spMkLst>
        </pc:spChg>
        <pc:spChg chg="mod">
          <ac:chgData name="Nisen, Henrik (BCG Platinion)" userId="23462ed3-8a28-48c0-b94c-224b90eb8d0a" providerId="ADAL" clId="{85BF7E29-B863-8743-821C-9B528FF1FFE4}" dt="2024-04-05T07:45:06.539" v="7401" actId="403"/>
          <ac:spMkLst>
            <pc:docMk/>
            <pc:sldMk cId="405534426" sldId="2147483623"/>
            <ac:spMk id="105" creationId="{3A800E48-135B-08C4-A32E-FAC7E72E9894}"/>
          </ac:spMkLst>
        </pc:spChg>
        <pc:spChg chg="mod">
          <ac:chgData name="Nisen, Henrik (BCG Platinion)" userId="23462ed3-8a28-48c0-b94c-224b90eb8d0a" providerId="ADAL" clId="{85BF7E29-B863-8743-821C-9B528FF1FFE4}" dt="2024-04-05T07:45:06.539" v="7401" actId="403"/>
          <ac:spMkLst>
            <pc:docMk/>
            <pc:sldMk cId="405534426" sldId="2147483623"/>
            <ac:spMk id="106" creationId="{43F26ED5-675E-49B0-0FC2-C90B74FE893C}"/>
          </ac:spMkLst>
        </pc:spChg>
        <pc:spChg chg="mod">
          <ac:chgData name="Nisen, Henrik (BCG Platinion)" userId="23462ed3-8a28-48c0-b94c-224b90eb8d0a" providerId="ADAL" clId="{85BF7E29-B863-8743-821C-9B528FF1FFE4}" dt="2024-04-05T07:45:06.539" v="7401" actId="403"/>
          <ac:spMkLst>
            <pc:docMk/>
            <pc:sldMk cId="405534426" sldId="2147483623"/>
            <ac:spMk id="107" creationId="{E4E52E65-5720-3BCE-AEC5-2FE84B119B23}"/>
          </ac:spMkLst>
        </pc:spChg>
        <pc:spChg chg="mod">
          <ac:chgData name="Nisen, Henrik (BCG Platinion)" userId="23462ed3-8a28-48c0-b94c-224b90eb8d0a" providerId="ADAL" clId="{85BF7E29-B863-8743-821C-9B528FF1FFE4}" dt="2024-04-05T07:45:06.539" v="7401" actId="403"/>
          <ac:spMkLst>
            <pc:docMk/>
            <pc:sldMk cId="405534426" sldId="2147483623"/>
            <ac:spMk id="108" creationId="{5398140B-A57F-8951-5810-D107AE990E03}"/>
          </ac:spMkLst>
        </pc:spChg>
        <pc:spChg chg="mod">
          <ac:chgData name="Nisen, Henrik (BCG Platinion)" userId="23462ed3-8a28-48c0-b94c-224b90eb8d0a" providerId="ADAL" clId="{85BF7E29-B863-8743-821C-9B528FF1FFE4}" dt="2024-04-05T07:45:06.539" v="7401" actId="403"/>
          <ac:spMkLst>
            <pc:docMk/>
            <pc:sldMk cId="405534426" sldId="2147483623"/>
            <ac:spMk id="109" creationId="{0FBB68FC-6C76-67F5-C264-936970D8D29A}"/>
          </ac:spMkLst>
        </pc:spChg>
        <pc:spChg chg="mod">
          <ac:chgData name="Nisen, Henrik (BCG Platinion)" userId="23462ed3-8a28-48c0-b94c-224b90eb8d0a" providerId="ADAL" clId="{85BF7E29-B863-8743-821C-9B528FF1FFE4}" dt="2024-04-05T07:45:06.539" v="7401" actId="403"/>
          <ac:spMkLst>
            <pc:docMk/>
            <pc:sldMk cId="405534426" sldId="2147483623"/>
            <ac:spMk id="126" creationId="{98C04FE3-BC79-DEC5-EC10-E1013BAEE48E}"/>
          </ac:spMkLst>
        </pc:spChg>
        <pc:spChg chg="mod">
          <ac:chgData name="Nisen, Henrik (BCG Platinion)" userId="23462ed3-8a28-48c0-b94c-224b90eb8d0a" providerId="ADAL" clId="{85BF7E29-B863-8743-821C-9B528FF1FFE4}" dt="2024-04-05T07:45:06.539" v="7401" actId="403"/>
          <ac:spMkLst>
            <pc:docMk/>
            <pc:sldMk cId="405534426" sldId="2147483623"/>
            <ac:spMk id="131" creationId="{CE43C715-41AA-01BB-C3C2-35785C86902F}"/>
          </ac:spMkLst>
        </pc:spChg>
        <pc:spChg chg="mod">
          <ac:chgData name="Nisen, Henrik (BCG Platinion)" userId="23462ed3-8a28-48c0-b94c-224b90eb8d0a" providerId="ADAL" clId="{85BF7E29-B863-8743-821C-9B528FF1FFE4}" dt="2024-04-05T07:45:06.539" v="7401" actId="403"/>
          <ac:spMkLst>
            <pc:docMk/>
            <pc:sldMk cId="405534426" sldId="2147483623"/>
            <ac:spMk id="132" creationId="{A2E81462-7832-A6E6-8DDA-4C2A0284D574}"/>
          </ac:spMkLst>
        </pc:spChg>
        <pc:grpChg chg="mod">
          <ac:chgData name="Nisen, Henrik (BCG Platinion)" userId="23462ed3-8a28-48c0-b94c-224b90eb8d0a" providerId="ADAL" clId="{85BF7E29-B863-8743-821C-9B528FF1FFE4}" dt="2024-04-05T07:45:06.539" v="7401" actId="403"/>
          <ac:grpSpMkLst>
            <pc:docMk/>
            <pc:sldMk cId="405534426" sldId="2147483623"/>
            <ac:grpSpMk id="4" creationId="{505FBE72-CC7D-052A-0902-9298A048EFE8}"/>
          </ac:grpSpMkLst>
        </pc:grpChg>
        <pc:grpChg chg="mod">
          <ac:chgData name="Nisen, Henrik (BCG Platinion)" userId="23462ed3-8a28-48c0-b94c-224b90eb8d0a" providerId="ADAL" clId="{85BF7E29-B863-8743-821C-9B528FF1FFE4}" dt="2024-04-05T07:45:06.539" v="7401" actId="403"/>
          <ac:grpSpMkLst>
            <pc:docMk/>
            <pc:sldMk cId="405534426" sldId="2147483623"/>
            <ac:grpSpMk id="114" creationId="{8562D04E-4D33-09A8-F45C-097AC9CD673C}"/>
          </ac:grpSpMkLst>
        </pc:grpChg>
        <pc:grpChg chg="mod">
          <ac:chgData name="Nisen, Henrik (BCG Platinion)" userId="23462ed3-8a28-48c0-b94c-224b90eb8d0a" providerId="ADAL" clId="{85BF7E29-B863-8743-821C-9B528FF1FFE4}" dt="2024-04-05T07:45:06.539" v="7401" actId="403"/>
          <ac:grpSpMkLst>
            <pc:docMk/>
            <pc:sldMk cId="405534426" sldId="2147483623"/>
            <ac:grpSpMk id="115" creationId="{0A0133D7-030C-694B-D86F-1A84248DE472}"/>
          </ac:grpSpMkLst>
        </pc:grpChg>
        <pc:grpChg chg="mod">
          <ac:chgData name="Nisen, Henrik (BCG Platinion)" userId="23462ed3-8a28-48c0-b94c-224b90eb8d0a" providerId="ADAL" clId="{85BF7E29-B863-8743-821C-9B528FF1FFE4}" dt="2024-04-05T07:45:06.539" v="7401" actId="403"/>
          <ac:grpSpMkLst>
            <pc:docMk/>
            <pc:sldMk cId="405534426" sldId="2147483623"/>
            <ac:grpSpMk id="116" creationId="{71D29C18-4962-0436-BFF7-2A7B4ECDF948}"/>
          </ac:grpSpMkLst>
        </pc:grpChg>
        <pc:grpChg chg="mod">
          <ac:chgData name="Nisen, Henrik (BCG Platinion)" userId="23462ed3-8a28-48c0-b94c-224b90eb8d0a" providerId="ADAL" clId="{85BF7E29-B863-8743-821C-9B528FF1FFE4}" dt="2024-04-05T07:45:06.539" v="7401" actId="403"/>
          <ac:grpSpMkLst>
            <pc:docMk/>
            <pc:sldMk cId="405534426" sldId="2147483623"/>
            <ac:grpSpMk id="117" creationId="{5AAD3008-215E-5410-1A4C-4301BE473802}"/>
          </ac:grpSpMkLst>
        </pc:grpChg>
        <pc:grpChg chg="mod">
          <ac:chgData name="Nisen, Henrik (BCG Platinion)" userId="23462ed3-8a28-48c0-b94c-224b90eb8d0a" providerId="ADAL" clId="{85BF7E29-B863-8743-821C-9B528FF1FFE4}" dt="2024-04-05T07:45:06.539" v="7401" actId="403"/>
          <ac:grpSpMkLst>
            <pc:docMk/>
            <pc:sldMk cId="405534426" sldId="2147483623"/>
            <ac:grpSpMk id="118" creationId="{9DF6A383-70AE-551D-7021-CCB4835F1B44}"/>
          </ac:grpSpMkLst>
        </pc:grpChg>
        <pc:picChg chg="mod">
          <ac:chgData name="Nisen, Henrik (BCG Platinion)" userId="23462ed3-8a28-48c0-b94c-224b90eb8d0a" providerId="ADAL" clId="{85BF7E29-B863-8743-821C-9B528FF1FFE4}" dt="2024-04-05T07:45:06.539" v="7401" actId="403"/>
          <ac:picMkLst>
            <pc:docMk/>
            <pc:sldMk cId="405534426" sldId="2147483623"/>
            <ac:picMk id="174" creationId="{2E357B41-A948-DB1E-BFA7-97381A77FA5F}"/>
          </ac:picMkLst>
        </pc:picChg>
        <pc:cxnChg chg="mod">
          <ac:chgData name="Nisen, Henrik (BCG Platinion)" userId="23462ed3-8a28-48c0-b94c-224b90eb8d0a" providerId="ADAL" clId="{85BF7E29-B863-8743-821C-9B528FF1FFE4}" dt="2024-04-05T07:45:06.539" v="7401" actId="403"/>
          <ac:cxnSpMkLst>
            <pc:docMk/>
            <pc:sldMk cId="405534426" sldId="2147483623"/>
            <ac:cxnSpMk id="10" creationId="{BD9C3B01-2043-D398-B2C9-B6C9F8281FF0}"/>
          </ac:cxnSpMkLst>
        </pc:cxnChg>
        <pc:cxnChg chg="mod">
          <ac:chgData name="Nisen, Henrik (BCG Platinion)" userId="23462ed3-8a28-48c0-b94c-224b90eb8d0a" providerId="ADAL" clId="{85BF7E29-B863-8743-821C-9B528FF1FFE4}" dt="2024-04-05T07:45:06.539" v="7401" actId="403"/>
          <ac:cxnSpMkLst>
            <pc:docMk/>
            <pc:sldMk cId="405534426" sldId="2147483623"/>
            <ac:cxnSpMk id="14" creationId="{1682B767-E46B-5DC3-9324-8532F6314C0C}"/>
          </ac:cxnSpMkLst>
        </pc:cxnChg>
        <pc:cxnChg chg="mod">
          <ac:chgData name="Nisen, Henrik (BCG Platinion)" userId="23462ed3-8a28-48c0-b94c-224b90eb8d0a" providerId="ADAL" clId="{85BF7E29-B863-8743-821C-9B528FF1FFE4}" dt="2024-04-05T07:45:06.539" v="7401" actId="403"/>
          <ac:cxnSpMkLst>
            <pc:docMk/>
            <pc:sldMk cId="405534426" sldId="2147483623"/>
            <ac:cxnSpMk id="22" creationId="{A31EE265-526E-06D8-8CEE-AFF9A2DCD629}"/>
          </ac:cxnSpMkLst>
        </pc:cxnChg>
        <pc:cxnChg chg="mod">
          <ac:chgData name="Nisen, Henrik (BCG Platinion)" userId="23462ed3-8a28-48c0-b94c-224b90eb8d0a" providerId="ADAL" clId="{85BF7E29-B863-8743-821C-9B528FF1FFE4}" dt="2024-04-05T07:45:06.539" v="7401" actId="403"/>
          <ac:cxnSpMkLst>
            <pc:docMk/>
            <pc:sldMk cId="405534426" sldId="2147483623"/>
            <ac:cxnSpMk id="26" creationId="{86271CCA-A7CB-DBE8-B74A-51058A9145A2}"/>
          </ac:cxnSpMkLst>
        </pc:cxnChg>
        <pc:cxnChg chg="mod">
          <ac:chgData name="Nisen, Henrik (BCG Platinion)" userId="23462ed3-8a28-48c0-b94c-224b90eb8d0a" providerId="ADAL" clId="{85BF7E29-B863-8743-821C-9B528FF1FFE4}" dt="2024-04-05T07:45:06.539" v="7401" actId="403"/>
          <ac:cxnSpMkLst>
            <pc:docMk/>
            <pc:sldMk cId="405534426" sldId="2147483623"/>
            <ac:cxnSpMk id="30" creationId="{F571F272-D03B-9157-947D-A9A4610A3E48}"/>
          </ac:cxnSpMkLst>
        </pc:cxnChg>
        <pc:cxnChg chg="mod">
          <ac:chgData name="Nisen, Henrik (BCG Platinion)" userId="23462ed3-8a28-48c0-b94c-224b90eb8d0a" providerId="ADAL" clId="{85BF7E29-B863-8743-821C-9B528FF1FFE4}" dt="2024-04-05T07:45:06.539" v="7401" actId="403"/>
          <ac:cxnSpMkLst>
            <pc:docMk/>
            <pc:sldMk cId="405534426" sldId="2147483623"/>
            <ac:cxnSpMk id="34" creationId="{62A900F6-C728-99B5-259B-C4E2CC0ADF22}"/>
          </ac:cxnSpMkLst>
        </pc:cxnChg>
        <pc:cxnChg chg="mod">
          <ac:chgData name="Nisen, Henrik (BCG Platinion)" userId="23462ed3-8a28-48c0-b94c-224b90eb8d0a" providerId="ADAL" clId="{85BF7E29-B863-8743-821C-9B528FF1FFE4}" dt="2024-04-05T07:45:06.539" v="7401" actId="403"/>
          <ac:cxnSpMkLst>
            <pc:docMk/>
            <pc:sldMk cId="405534426" sldId="2147483623"/>
            <ac:cxnSpMk id="37" creationId="{6F6A9107-5FD3-4844-53E9-DAABCA175EFC}"/>
          </ac:cxnSpMkLst>
        </pc:cxnChg>
        <pc:cxnChg chg="mod">
          <ac:chgData name="Nisen, Henrik (BCG Platinion)" userId="23462ed3-8a28-48c0-b94c-224b90eb8d0a" providerId="ADAL" clId="{85BF7E29-B863-8743-821C-9B528FF1FFE4}" dt="2024-04-05T07:45:06.539" v="7401" actId="403"/>
          <ac:cxnSpMkLst>
            <pc:docMk/>
            <pc:sldMk cId="405534426" sldId="2147483623"/>
            <ac:cxnSpMk id="45" creationId="{2676B8AE-6D26-6FD6-A4A6-07EF3BA05EA8}"/>
          </ac:cxnSpMkLst>
        </pc:cxnChg>
        <pc:cxnChg chg="mod">
          <ac:chgData name="Nisen, Henrik (BCG Platinion)" userId="23462ed3-8a28-48c0-b94c-224b90eb8d0a" providerId="ADAL" clId="{85BF7E29-B863-8743-821C-9B528FF1FFE4}" dt="2024-04-05T07:45:06.539" v="7401" actId="403"/>
          <ac:cxnSpMkLst>
            <pc:docMk/>
            <pc:sldMk cId="405534426" sldId="2147483623"/>
            <ac:cxnSpMk id="54" creationId="{E5F85845-FC1E-FC4A-CB65-D42AFE290CE6}"/>
          </ac:cxnSpMkLst>
        </pc:cxnChg>
        <pc:cxnChg chg="mod">
          <ac:chgData name="Nisen, Henrik (BCG Platinion)" userId="23462ed3-8a28-48c0-b94c-224b90eb8d0a" providerId="ADAL" clId="{85BF7E29-B863-8743-821C-9B528FF1FFE4}" dt="2024-04-05T07:45:06.539" v="7401" actId="403"/>
          <ac:cxnSpMkLst>
            <pc:docMk/>
            <pc:sldMk cId="405534426" sldId="2147483623"/>
            <ac:cxnSpMk id="65" creationId="{880C5335-C815-F370-AF53-B5D01DF87AAA}"/>
          </ac:cxnSpMkLst>
        </pc:cxnChg>
        <pc:cxnChg chg="mod">
          <ac:chgData name="Nisen, Henrik (BCG Platinion)" userId="23462ed3-8a28-48c0-b94c-224b90eb8d0a" providerId="ADAL" clId="{85BF7E29-B863-8743-821C-9B528FF1FFE4}" dt="2024-04-05T07:45:06.539" v="7401" actId="403"/>
          <ac:cxnSpMkLst>
            <pc:docMk/>
            <pc:sldMk cId="405534426" sldId="2147483623"/>
            <ac:cxnSpMk id="73" creationId="{9F16719D-3E14-2B8D-4F31-C848FDAA7052}"/>
          </ac:cxnSpMkLst>
        </pc:cxnChg>
        <pc:cxnChg chg="mod">
          <ac:chgData name="Nisen, Henrik (BCG Platinion)" userId="23462ed3-8a28-48c0-b94c-224b90eb8d0a" providerId="ADAL" clId="{85BF7E29-B863-8743-821C-9B528FF1FFE4}" dt="2024-04-05T07:45:06.539" v="7401" actId="403"/>
          <ac:cxnSpMkLst>
            <pc:docMk/>
            <pc:sldMk cId="405534426" sldId="2147483623"/>
            <ac:cxnSpMk id="76" creationId="{E03C5F96-6965-C156-4652-1A10D397AD68}"/>
          </ac:cxnSpMkLst>
        </pc:cxnChg>
        <pc:cxnChg chg="mod">
          <ac:chgData name="Nisen, Henrik (BCG Platinion)" userId="23462ed3-8a28-48c0-b94c-224b90eb8d0a" providerId="ADAL" clId="{85BF7E29-B863-8743-821C-9B528FF1FFE4}" dt="2024-04-05T07:45:06.539" v="7401" actId="403"/>
          <ac:cxnSpMkLst>
            <pc:docMk/>
            <pc:sldMk cId="405534426" sldId="2147483623"/>
            <ac:cxnSpMk id="84" creationId="{19DBD780-0804-762D-713B-AF05292C6A06}"/>
          </ac:cxnSpMkLst>
        </pc:cxnChg>
        <pc:cxnChg chg="mod">
          <ac:chgData name="Nisen, Henrik (BCG Platinion)" userId="23462ed3-8a28-48c0-b94c-224b90eb8d0a" providerId="ADAL" clId="{85BF7E29-B863-8743-821C-9B528FF1FFE4}" dt="2024-04-05T07:45:06.539" v="7401" actId="403"/>
          <ac:cxnSpMkLst>
            <pc:docMk/>
            <pc:sldMk cId="405534426" sldId="2147483623"/>
            <ac:cxnSpMk id="85" creationId="{BB43A9B1-8F7A-6962-B57C-2D85114AF593}"/>
          </ac:cxnSpMkLst>
        </pc:cxnChg>
        <pc:cxnChg chg="mod">
          <ac:chgData name="Nisen, Henrik (BCG Platinion)" userId="23462ed3-8a28-48c0-b94c-224b90eb8d0a" providerId="ADAL" clId="{85BF7E29-B863-8743-821C-9B528FF1FFE4}" dt="2024-04-05T07:45:06.539" v="7401" actId="403"/>
          <ac:cxnSpMkLst>
            <pc:docMk/>
            <pc:sldMk cId="405534426" sldId="2147483623"/>
            <ac:cxnSpMk id="86" creationId="{55777BB3-EA7F-3506-65BC-7AFEF11AC399}"/>
          </ac:cxnSpMkLst>
        </pc:cxnChg>
        <pc:cxnChg chg="mod">
          <ac:chgData name="Nisen, Henrik (BCG Platinion)" userId="23462ed3-8a28-48c0-b94c-224b90eb8d0a" providerId="ADAL" clId="{85BF7E29-B863-8743-821C-9B528FF1FFE4}" dt="2024-04-05T07:45:06.539" v="7401" actId="403"/>
          <ac:cxnSpMkLst>
            <pc:docMk/>
            <pc:sldMk cId="405534426" sldId="2147483623"/>
            <ac:cxnSpMk id="90" creationId="{82ECE01E-72B7-ACF6-F2A0-04FE07E61201}"/>
          </ac:cxnSpMkLst>
        </pc:cxnChg>
      </pc:sldChg>
      <pc:sldChg chg="add del">
        <pc:chgData name="Nisen, Henrik (BCG Platinion)" userId="23462ed3-8a28-48c0-b94c-224b90eb8d0a" providerId="ADAL" clId="{85BF7E29-B863-8743-821C-9B528FF1FFE4}" dt="2024-04-05T07:12:33.137" v="5296"/>
        <pc:sldMkLst>
          <pc:docMk/>
          <pc:sldMk cId="2955067930" sldId="2147483623"/>
        </pc:sldMkLst>
      </pc:sldChg>
      <pc:sldChg chg="add del">
        <pc:chgData name="Nisen, Henrik (BCG Platinion)" userId="23462ed3-8a28-48c0-b94c-224b90eb8d0a" providerId="ADAL" clId="{85BF7E29-B863-8743-821C-9B528FF1FFE4}" dt="2024-04-05T07:45:34.490" v="7405" actId="2696"/>
        <pc:sldMkLst>
          <pc:docMk/>
          <pc:sldMk cId="2366124459" sldId="2147483624"/>
        </pc:sldMkLst>
      </pc:sldChg>
      <pc:sldChg chg="add modTransition">
        <pc:chgData name="Nisen, Henrik (BCG Platinion)" userId="23462ed3-8a28-48c0-b94c-224b90eb8d0a" providerId="ADAL" clId="{85BF7E29-B863-8743-821C-9B528FF1FFE4}" dt="2024-04-05T08:34:44.540" v="8623"/>
        <pc:sldMkLst>
          <pc:docMk/>
          <pc:sldMk cId="384802099" sldId="2147483625"/>
        </pc:sldMkLst>
      </pc:sldChg>
      <pc:sldChg chg="add del">
        <pc:chgData name="Nisen, Henrik (BCG Platinion)" userId="23462ed3-8a28-48c0-b94c-224b90eb8d0a" providerId="ADAL" clId="{85BF7E29-B863-8743-821C-9B528FF1FFE4}" dt="2024-04-05T08:33:46.845" v="8609" actId="2696"/>
        <pc:sldMkLst>
          <pc:docMk/>
          <pc:sldMk cId="4155621255" sldId="2147483626"/>
        </pc:sldMkLst>
      </pc:sldChg>
      <pc:sldChg chg="modSp add mod modTransition">
        <pc:chgData name="Nisen, Henrik (BCG Platinion)" userId="23462ed3-8a28-48c0-b94c-224b90eb8d0a" providerId="ADAL" clId="{85BF7E29-B863-8743-821C-9B528FF1FFE4}" dt="2024-04-05T08:37:28.891" v="8633" actId="207"/>
        <pc:sldMkLst>
          <pc:docMk/>
          <pc:sldMk cId="462276654" sldId="2147483627"/>
        </pc:sldMkLst>
        <pc:spChg chg="mod">
          <ac:chgData name="Nisen, Henrik (BCG Platinion)" userId="23462ed3-8a28-48c0-b94c-224b90eb8d0a" providerId="ADAL" clId="{85BF7E29-B863-8743-821C-9B528FF1FFE4}" dt="2024-04-05T08:33:11.425" v="8595" actId="20577"/>
          <ac:spMkLst>
            <pc:docMk/>
            <pc:sldMk cId="462276654" sldId="2147483627"/>
            <ac:spMk id="17" creationId="{30AF310E-0E86-D8DA-C328-0078C3558288}"/>
          </ac:spMkLst>
        </pc:spChg>
        <pc:graphicFrameChg chg="mod modGraphic">
          <ac:chgData name="Nisen, Henrik (BCG Platinion)" userId="23462ed3-8a28-48c0-b94c-224b90eb8d0a" providerId="ADAL" clId="{85BF7E29-B863-8743-821C-9B528FF1FFE4}" dt="2024-04-05T08:37:28.891" v="8633" actId="207"/>
          <ac:graphicFrameMkLst>
            <pc:docMk/>
            <pc:sldMk cId="462276654" sldId="2147483627"/>
            <ac:graphicFrameMk id="9" creationId="{ABC06D4E-302D-E39D-61E0-3DDC1AD7B6C6}"/>
          </ac:graphicFrameMkLst>
        </pc:graphicFrameChg>
      </pc:sldChg>
      <pc:sldChg chg="modSp add del mod ord">
        <pc:chgData name="Nisen, Henrik (BCG Platinion)" userId="23462ed3-8a28-48c0-b94c-224b90eb8d0a" providerId="ADAL" clId="{85BF7E29-B863-8743-821C-9B528FF1FFE4}" dt="2024-04-05T07:14:56.682" v="5312" actId="2696"/>
        <pc:sldMkLst>
          <pc:docMk/>
          <pc:sldMk cId="834484062" sldId="2147483647"/>
        </pc:sldMkLst>
        <pc:spChg chg="mod">
          <ac:chgData name="Nisen, Henrik (BCG Platinion)" userId="23462ed3-8a28-48c0-b94c-224b90eb8d0a" providerId="ADAL" clId="{85BF7E29-B863-8743-821C-9B528FF1FFE4}" dt="2024-04-05T07:14:27.007" v="5310" actId="1076"/>
          <ac:spMkLst>
            <pc:docMk/>
            <pc:sldMk cId="834484062" sldId="2147483647"/>
            <ac:spMk id="12" creationId="{4F6F5A5A-52A0-F3F1-2431-A86D71CCC36C}"/>
          </ac:spMkLst>
        </pc:spChg>
      </pc:sldChg>
      <pc:sldMasterChg chg="delSldLayout">
        <pc:chgData name="Nisen, Henrik (BCG Platinion)" userId="23462ed3-8a28-48c0-b94c-224b90eb8d0a" providerId="ADAL" clId="{85BF7E29-B863-8743-821C-9B528FF1FFE4}" dt="2024-04-05T07:14:56.684" v="5313" actId="2696"/>
        <pc:sldMasterMkLst>
          <pc:docMk/>
          <pc:sldMasterMk cId="729942253" sldId="2147483648"/>
        </pc:sldMasterMkLst>
        <pc:sldLayoutChg chg="del">
          <pc:chgData name="Nisen, Henrik (BCG Platinion)" userId="23462ed3-8a28-48c0-b94c-224b90eb8d0a" providerId="ADAL" clId="{85BF7E29-B863-8743-821C-9B528FF1FFE4}" dt="2024-04-05T06:16:10.473" v="1494" actId="2696"/>
          <pc:sldLayoutMkLst>
            <pc:docMk/>
            <pc:sldMasterMk cId="729942253" sldId="2147483648"/>
            <pc:sldLayoutMk cId="4204303393" sldId="2147483777"/>
          </pc:sldLayoutMkLst>
        </pc:sldLayoutChg>
        <pc:sldLayoutChg chg="del">
          <pc:chgData name="Nisen, Henrik (BCG Platinion)" userId="23462ed3-8a28-48c0-b94c-224b90eb8d0a" providerId="ADAL" clId="{85BF7E29-B863-8743-821C-9B528FF1FFE4}" dt="2024-04-05T06:16:10.149" v="1471" actId="2696"/>
          <pc:sldLayoutMkLst>
            <pc:docMk/>
            <pc:sldMasterMk cId="729942253" sldId="2147483648"/>
            <pc:sldLayoutMk cId="1982198922" sldId="2147483778"/>
          </pc:sldLayoutMkLst>
        </pc:sldLayoutChg>
        <pc:sldLayoutChg chg="del">
          <pc:chgData name="Nisen, Henrik (BCG Platinion)" userId="23462ed3-8a28-48c0-b94c-224b90eb8d0a" providerId="ADAL" clId="{85BF7E29-B863-8743-821C-9B528FF1FFE4}" dt="2024-04-05T07:13:33.734" v="5305" actId="2696"/>
          <pc:sldLayoutMkLst>
            <pc:docMk/>
            <pc:sldMasterMk cId="729942253" sldId="2147483648"/>
            <pc:sldLayoutMk cId="729629660" sldId="2147483850"/>
          </pc:sldLayoutMkLst>
        </pc:sldLayoutChg>
        <pc:sldLayoutChg chg="del">
          <pc:chgData name="Nisen, Henrik (BCG Platinion)" userId="23462ed3-8a28-48c0-b94c-224b90eb8d0a" providerId="ADAL" clId="{85BF7E29-B863-8743-821C-9B528FF1FFE4}" dt="2024-04-05T07:14:56.684" v="5313" actId="2696"/>
          <pc:sldLayoutMkLst>
            <pc:docMk/>
            <pc:sldMasterMk cId="729942253" sldId="2147483648"/>
            <pc:sldLayoutMk cId="2227728302" sldId="2147483850"/>
          </pc:sldLayoutMkLst>
        </pc:sldLayoutChg>
        <pc:sldLayoutChg chg="del">
          <pc:chgData name="Nisen, Henrik (BCG Platinion)" userId="23462ed3-8a28-48c0-b94c-224b90eb8d0a" providerId="ADAL" clId="{85BF7E29-B863-8743-821C-9B528FF1FFE4}" dt="2024-04-05T07:13:04.274" v="5301" actId="2696"/>
          <pc:sldLayoutMkLst>
            <pc:docMk/>
            <pc:sldMasterMk cId="729942253" sldId="2147483648"/>
            <pc:sldLayoutMk cId="3259415882" sldId="2147483850"/>
          </pc:sldLayoutMkLst>
        </pc:sldLayoutChg>
      </pc:sldMasterChg>
    </pc:docChg>
  </pc:docChgLst>
  <pc:docChgLst>
    <pc:chgData name="Nisen, Henrik (BCG Platinion)" userId="23462ed3-8a28-48c0-b94c-224b90eb8d0a" providerId="ADAL" clId="{98F16264-753B-49F1-930F-12A12A4F559C}"/>
    <pc:docChg chg="custSel modSld replTag">
      <pc:chgData name="Nisen, Henrik (BCG Platinion)" userId="23462ed3-8a28-48c0-b94c-224b90eb8d0a" providerId="ADAL" clId="{98F16264-753B-49F1-930F-12A12A4F559C}" dt="2024-02-29T10:44:14.657" v="2062"/>
      <pc:docMkLst>
        <pc:docMk/>
      </pc:docMkLst>
      <pc:sldChg chg="addSp delSp modSp mod">
        <pc:chgData name="Nisen, Henrik (BCG Platinion)" userId="23462ed3-8a28-48c0-b94c-224b90eb8d0a" providerId="ADAL" clId="{98F16264-753B-49F1-930F-12A12A4F559C}" dt="2024-02-29T08:29:01.400" v="854"/>
        <pc:sldMkLst>
          <pc:docMk/>
          <pc:sldMk cId="805076339" sldId="2147483586"/>
        </pc:sldMkLst>
        <pc:spChg chg="mod ord">
          <ac:chgData name="Nisen, Henrik (BCG Platinion)" userId="23462ed3-8a28-48c0-b94c-224b90eb8d0a" providerId="ADAL" clId="{98F16264-753B-49F1-930F-12A12A4F559C}" dt="2024-02-29T08:29:01.387" v="845"/>
          <ac:spMkLst>
            <pc:docMk/>
            <pc:sldMk cId="805076339" sldId="2147483586"/>
            <ac:spMk id="5" creationId="{466EECFC-7F57-1001-4C54-E053FD02A596}"/>
          </ac:spMkLst>
        </pc:spChg>
        <pc:spChg chg="mod ord">
          <ac:chgData name="Nisen, Henrik (BCG Platinion)" userId="23462ed3-8a28-48c0-b94c-224b90eb8d0a" providerId="ADAL" clId="{98F16264-753B-49F1-930F-12A12A4F559C}" dt="2024-02-29T08:29:01.389" v="847"/>
          <ac:spMkLst>
            <pc:docMk/>
            <pc:sldMk cId="805076339" sldId="2147483586"/>
            <ac:spMk id="6" creationId="{922AD939-6BDC-6481-1BDE-245E7E24EFEA}"/>
          </ac:spMkLst>
        </pc:spChg>
        <pc:spChg chg="mod">
          <ac:chgData name="Nisen, Henrik (BCG Platinion)" userId="23462ed3-8a28-48c0-b94c-224b90eb8d0a" providerId="ADAL" clId="{98F16264-753B-49F1-930F-12A12A4F559C}" dt="2024-02-29T08:29:01.390" v="848"/>
          <ac:spMkLst>
            <pc:docMk/>
            <pc:sldMk cId="805076339" sldId="2147483586"/>
            <ac:spMk id="11" creationId="{CA11FF84-F91E-7E1B-9430-DF369DDF2DA4}"/>
          </ac:spMkLst>
        </pc:spChg>
        <pc:spChg chg="mod ord">
          <ac:chgData name="Nisen, Henrik (BCG Platinion)" userId="23462ed3-8a28-48c0-b94c-224b90eb8d0a" providerId="ADAL" clId="{98F16264-753B-49F1-930F-12A12A4F559C}" dt="2024-02-29T08:29:01.391" v="850"/>
          <ac:spMkLst>
            <pc:docMk/>
            <pc:sldMk cId="805076339" sldId="2147483586"/>
            <ac:spMk id="23" creationId="{49F41DD7-5AB3-E7B5-4E41-7D4CA916BB5A}"/>
          </ac:spMkLst>
        </pc:spChg>
        <pc:spChg chg="mod">
          <ac:chgData name="Nisen, Henrik (BCG Platinion)" userId="23462ed3-8a28-48c0-b94c-224b90eb8d0a" providerId="ADAL" clId="{98F16264-753B-49F1-930F-12A12A4F559C}" dt="2024-02-29T08:29:01.366" v="824"/>
          <ac:spMkLst>
            <pc:docMk/>
            <pc:sldMk cId="805076339" sldId="2147483586"/>
            <ac:spMk id="24" creationId="{6537DC89-F377-B4DB-5732-2BEDF435F80E}"/>
          </ac:spMkLst>
        </pc:spChg>
        <pc:spChg chg="mod">
          <ac:chgData name="Nisen, Henrik (BCG Platinion)" userId="23462ed3-8a28-48c0-b94c-224b90eb8d0a" providerId="ADAL" clId="{98F16264-753B-49F1-930F-12A12A4F559C}" dt="2024-02-29T08:29:01.367" v="825"/>
          <ac:spMkLst>
            <pc:docMk/>
            <pc:sldMk cId="805076339" sldId="2147483586"/>
            <ac:spMk id="25" creationId="{EB9E5D9D-7CB6-4EB6-0D26-019B8A18CBC6}"/>
          </ac:spMkLst>
        </pc:spChg>
        <pc:spChg chg="mod">
          <ac:chgData name="Nisen, Henrik (BCG Platinion)" userId="23462ed3-8a28-48c0-b94c-224b90eb8d0a" providerId="ADAL" clId="{98F16264-753B-49F1-930F-12A12A4F559C}" dt="2024-02-29T08:29:01.369" v="826"/>
          <ac:spMkLst>
            <pc:docMk/>
            <pc:sldMk cId="805076339" sldId="2147483586"/>
            <ac:spMk id="26" creationId="{5295E371-481A-1922-EA81-3B1743E92F88}"/>
          </ac:spMkLst>
        </pc:spChg>
        <pc:spChg chg="mod">
          <ac:chgData name="Nisen, Henrik (BCG Platinion)" userId="23462ed3-8a28-48c0-b94c-224b90eb8d0a" providerId="ADAL" clId="{98F16264-753B-49F1-930F-12A12A4F559C}" dt="2024-02-29T08:29:01.370" v="827"/>
          <ac:spMkLst>
            <pc:docMk/>
            <pc:sldMk cId="805076339" sldId="2147483586"/>
            <ac:spMk id="27" creationId="{BD5A5F1F-2C78-A2CD-26B6-335913E7A245}"/>
          </ac:spMkLst>
        </pc:spChg>
        <pc:spChg chg="mod ord">
          <ac:chgData name="Nisen, Henrik (BCG Platinion)" userId="23462ed3-8a28-48c0-b94c-224b90eb8d0a" providerId="ADAL" clId="{98F16264-753B-49F1-930F-12A12A4F559C}" dt="2024-02-29T08:29:01.336" v="795"/>
          <ac:spMkLst>
            <pc:docMk/>
            <pc:sldMk cId="805076339" sldId="2147483586"/>
            <ac:spMk id="28" creationId="{D0F2F533-F545-9A04-3036-9EB7EFE10B6A}"/>
          </ac:spMkLst>
        </pc:spChg>
        <pc:spChg chg="mod ord">
          <ac:chgData name="Nisen, Henrik (BCG Platinion)" userId="23462ed3-8a28-48c0-b94c-224b90eb8d0a" providerId="ADAL" clId="{98F16264-753B-49F1-930F-12A12A4F559C}" dt="2024-02-29T08:29:01.337" v="797"/>
          <ac:spMkLst>
            <pc:docMk/>
            <pc:sldMk cId="805076339" sldId="2147483586"/>
            <ac:spMk id="29" creationId="{559E3F9E-D1D4-C364-DAE1-F7DAE8D40310}"/>
          </ac:spMkLst>
        </pc:spChg>
        <pc:spChg chg="mod ord">
          <ac:chgData name="Nisen, Henrik (BCG Platinion)" userId="23462ed3-8a28-48c0-b94c-224b90eb8d0a" providerId="ADAL" clId="{98F16264-753B-49F1-930F-12A12A4F559C}" dt="2024-02-29T08:29:01.340" v="799"/>
          <ac:spMkLst>
            <pc:docMk/>
            <pc:sldMk cId="805076339" sldId="2147483586"/>
            <ac:spMk id="30" creationId="{B49E7DF5-CBA9-46D8-3F84-D394D0352659}"/>
          </ac:spMkLst>
        </pc:spChg>
        <pc:spChg chg="mod ord">
          <ac:chgData name="Nisen, Henrik (BCG Platinion)" userId="23462ed3-8a28-48c0-b94c-224b90eb8d0a" providerId="ADAL" clId="{98F16264-753B-49F1-930F-12A12A4F559C}" dt="2024-02-29T08:29:01.342" v="801"/>
          <ac:spMkLst>
            <pc:docMk/>
            <pc:sldMk cId="805076339" sldId="2147483586"/>
            <ac:spMk id="31" creationId="{22A38F90-2A60-EACC-D81E-16339E98DE25}"/>
          </ac:spMkLst>
        </pc:spChg>
        <pc:spChg chg="mod ord">
          <ac:chgData name="Nisen, Henrik (BCG Platinion)" userId="23462ed3-8a28-48c0-b94c-224b90eb8d0a" providerId="ADAL" clId="{98F16264-753B-49F1-930F-12A12A4F559C}" dt="2024-02-29T08:29:01.344" v="803"/>
          <ac:spMkLst>
            <pc:docMk/>
            <pc:sldMk cId="805076339" sldId="2147483586"/>
            <ac:spMk id="32" creationId="{16973211-1C9C-6AA5-986B-1EA00156E9D1}"/>
          </ac:spMkLst>
        </pc:spChg>
        <pc:spChg chg="mod ord">
          <ac:chgData name="Nisen, Henrik (BCG Platinion)" userId="23462ed3-8a28-48c0-b94c-224b90eb8d0a" providerId="ADAL" clId="{98F16264-753B-49F1-930F-12A12A4F559C}" dt="2024-02-29T08:29:01.346" v="805"/>
          <ac:spMkLst>
            <pc:docMk/>
            <pc:sldMk cId="805076339" sldId="2147483586"/>
            <ac:spMk id="33" creationId="{AAA4FCA3-E88C-997D-79FB-CFD1DCFA495E}"/>
          </ac:spMkLst>
        </pc:spChg>
        <pc:spChg chg="mod">
          <ac:chgData name="Nisen, Henrik (BCG Platinion)" userId="23462ed3-8a28-48c0-b94c-224b90eb8d0a" providerId="ADAL" clId="{98F16264-753B-49F1-930F-12A12A4F559C}" dt="2024-02-29T08:29:01.371" v="828"/>
          <ac:spMkLst>
            <pc:docMk/>
            <pc:sldMk cId="805076339" sldId="2147483586"/>
            <ac:spMk id="34" creationId="{0C27ED2B-DD9E-8A06-15BC-A15060906198}"/>
          </ac:spMkLst>
        </pc:spChg>
        <pc:spChg chg="mod">
          <ac:chgData name="Nisen, Henrik (BCG Platinion)" userId="23462ed3-8a28-48c0-b94c-224b90eb8d0a" providerId="ADAL" clId="{98F16264-753B-49F1-930F-12A12A4F559C}" dt="2024-02-29T08:29:01.372" v="829"/>
          <ac:spMkLst>
            <pc:docMk/>
            <pc:sldMk cId="805076339" sldId="2147483586"/>
            <ac:spMk id="35" creationId="{0B535C3F-5565-5370-FD6F-70C2031A0239}"/>
          </ac:spMkLst>
        </pc:spChg>
        <pc:spChg chg="mod ord">
          <ac:chgData name="Nisen, Henrik (BCG Platinion)" userId="23462ed3-8a28-48c0-b94c-224b90eb8d0a" providerId="ADAL" clId="{98F16264-753B-49F1-930F-12A12A4F559C}" dt="2024-02-29T08:29:01.350" v="807"/>
          <ac:spMkLst>
            <pc:docMk/>
            <pc:sldMk cId="805076339" sldId="2147483586"/>
            <ac:spMk id="37" creationId="{19C61A89-EF11-F97F-C85F-3BF2157BD852}"/>
          </ac:spMkLst>
        </pc:spChg>
        <pc:spChg chg="mod ord">
          <ac:chgData name="Nisen, Henrik (BCG Platinion)" userId="23462ed3-8a28-48c0-b94c-224b90eb8d0a" providerId="ADAL" clId="{98F16264-753B-49F1-930F-12A12A4F559C}" dt="2024-02-29T08:29:01.352" v="809"/>
          <ac:spMkLst>
            <pc:docMk/>
            <pc:sldMk cId="805076339" sldId="2147483586"/>
            <ac:spMk id="38" creationId="{755B70D6-EB26-64E1-B9C6-2800DDAFA023}"/>
          </ac:spMkLst>
        </pc:spChg>
        <pc:spChg chg="mod ord">
          <ac:chgData name="Nisen, Henrik (BCG Platinion)" userId="23462ed3-8a28-48c0-b94c-224b90eb8d0a" providerId="ADAL" clId="{98F16264-753B-49F1-930F-12A12A4F559C}" dt="2024-02-29T08:29:01.354" v="811"/>
          <ac:spMkLst>
            <pc:docMk/>
            <pc:sldMk cId="805076339" sldId="2147483586"/>
            <ac:spMk id="39" creationId="{C2EEE899-C965-7810-9351-EFEAB67255B9}"/>
          </ac:spMkLst>
        </pc:spChg>
        <pc:spChg chg="mod ord">
          <ac:chgData name="Nisen, Henrik (BCG Platinion)" userId="23462ed3-8a28-48c0-b94c-224b90eb8d0a" providerId="ADAL" clId="{98F16264-753B-49F1-930F-12A12A4F559C}" dt="2024-02-29T08:29:01.356" v="813"/>
          <ac:spMkLst>
            <pc:docMk/>
            <pc:sldMk cId="805076339" sldId="2147483586"/>
            <ac:spMk id="40" creationId="{AE48ECA3-0B3F-4EAC-7D79-633E0E511B92}"/>
          </ac:spMkLst>
        </pc:spChg>
        <pc:spChg chg="mod ord">
          <ac:chgData name="Nisen, Henrik (BCG Platinion)" userId="23462ed3-8a28-48c0-b94c-224b90eb8d0a" providerId="ADAL" clId="{98F16264-753B-49F1-930F-12A12A4F559C}" dt="2024-02-29T08:29:01.357" v="815"/>
          <ac:spMkLst>
            <pc:docMk/>
            <pc:sldMk cId="805076339" sldId="2147483586"/>
            <ac:spMk id="41" creationId="{D45B152F-8042-DA74-14EA-FB7376462E93}"/>
          </ac:spMkLst>
        </pc:spChg>
        <pc:spChg chg="mod ord">
          <ac:chgData name="Nisen, Henrik (BCG Platinion)" userId="23462ed3-8a28-48c0-b94c-224b90eb8d0a" providerId="ADAL" clId="{98F16264-753B-49F1-930F-12A12A4F559C}" dt="2024-02-29T08:29:01.359" v="817"/>
          <ac:spMkLst>
            <pc:docMk/>
            <pc:sldMk cId="805076339" sldId="2147483586"/>
            <ac:spMk id="42" creationId="{BCFC615A-E11C-6B4B-89C7-0F28E3F26638}"/>
          </ac:spMkLst>
        </pc:spChg>
        <pc:spChg chg="mod ord">
          <ac:chgData name="Nisen, Henrik (BCG Platinion)" userId="23462ed3-8a28-48c0-b94c-224b90eb8d0a" providerId="ADAL" clId="{98F16264-753B-49F1-930F-12A12A4F559C}" dt="2024-02-29T08:29:01.361" v="819"/>
          <ac:spMkLst>
            <pc:docMk/>
            <pc:sldMk cId="805076339" sldId="2147483586"/>
            <ac:spMk id="43" creationId="{84A6B2E0-03F1-D30B-D3DD-5B9A6ED49988}"/>
          </ac:spMkLst>
        </pc:spChg>
        <pc:spChg chg="mod ord">
          <ac:chgData name="Nisen, Henrik (BCG Platinion)" userId="23462ed3-8a28-48c0-b94c-224b90eb8d0a" providerId="ADAL" clId="{98F16264-753B-49F1-930F-12A12A4F559C}" dt="2024-02-29T08:29:01.363" v="821"/>
          <ac:spMkLst>
            <pc:docMk/>
            <pc:sldMk cId="805076339" sldId="2147483586"/>
            <ac:spMk id="44" creationId="{B5A3133E-A60A-AEA5-76BB-2CE799F215EF}"/>
          </ac:spMkLst>
        </pc:spChg>
        <pc:spChg chg="mod ord">
          <ac:chgData name="Nisen, Henrik (BCG Platinion)" userId="23462ed3-8a28-48c0-b94c-224b90eb8d0a" providerId="ADAL" clId="{98F16264-753B-49F1-930F-12A12A4F559C}" dt="2024-02-29T08:29:01.365" v="823"/>
          <ac:spMkLst>
            <pc:docMk/>
            <pc:sldMk cId="805076339" sldId="2147483586"/>
            <ac:spMk id="45" creationId="{6EB64CD5-754D-AE4F-86AE-1F8B5B1713FB}"/>
          </ac:spMkLst>
        </pc:spChg>
        <pc:spChg chg="mod">
          <ac:chgData name="Nisen, Henrik (BCG Platinion)" userId="23462ed3-8a28-48c0-b94c-224b90eb8d0a" providerId="ADAL" clId="{98F16264-753B-49F1-930F-12A12A4F559C}" dt="2024-02-29T08:29:01.373" v="830"/>
          <ac:spMkLst>
            <pc:docMk/>
            <pc:sldMk cId="805076339" sldId="2147483586"/>
            <ac:spMk id="46" creationId="{AC3EC8E5-234D-4C9C-ED79-ABBA88A8781B}"/>
          </ac:spMkLst>
        </pc:spChg>
        <pc:spChg chg="mod ord">
          <ac:chgData name="Nisen, Henrik (BCG Platinion)" userId="23462ed3-8a28-48c0-b94c-224b90eb8d0a" providerId="ADAL" clId="{98F16264-753B-49F1-930F-12A12A4F559C}" dt="2024-02-29T08:29:01.328" v="788"/>
          <ac:spMkLst>
            <pc:docMk/>
            <pc:sldMk cId="805076339" sldId="2147483586"/>
            <ac:spMk id="47" creationId="{EE6D6F96-9A48-5A44-B2F4-6EBF4B5BD7A0}"/>
          </ac:spMkLst>
        </pc:spChg>
        <pc:spChg chg="mod">
          <ac:chgData name="Nisen, Henrik (BCG Platinion)" userId="23462ed3-8a28-48c0-b94c-224b90eb8d0a" providerId="ADAL" clId="{98F16264-753B-49F1-930F-12A12A4F559C}" dt="2024-02-29T08:29:01.374" v="831"/>
          <ac:spMkLst>
            <pc:docMk/>
            <pc:sldMk cId="805076339" sldId="2147483586"/>
            <ac:spMk id="48" creationId="{1338A0EB-4480-935A-AE83-68669C06A456}"/>
          </ac:spMkLst>
        </pc:spChg>
        <pc:spChg chg="mod">
          <ac:chgData name="Nisen, Henrik (BCG Platinion)" userId="23462ed3-8a28-48c0-b94c-224b90eb8d0a" providerId="ADAL" clId="{98F16264-753B-49F1-930F-12A12A4F559C}" dt="2024-02-29T08:29:01.375" v="832"/>
          <ac:spMkLst>
            <pc:docMk/>
            <pc:sldMk cId="805076339" sldId="2147483586"/>
            <ac:spMk id="49" creationId="{07B36BCC-DA94-8BA3-0969-D57D7419C328}"/>
          </ac:spMkLst>
        </pc:spChg>
        <pc:spChg chg="mod ord">
          <ac:chgData name="Nisen, Henrik (BCG Platinion)" userId="23462ed3-8a28-48c0-b94c-224b90eb8d0a" providerId="ADAL" clId="{98F16264-753B-49F1-930F-12A12A4F559C}" dt="2024-02-29T08:29:01.334" v="793"/>
          <ac:spMkLst>
            <pc:docMk/>
            <pc:sldMk cId="805076339" sldId="2147483586"/>
            <ac:spMk id="50" creationId="{6F34BE38-CBE8-109E-FAA7-E5BAB23CB198}"/>
          </ac:spMkLst>
        </pc:spChg>
        <pc:spChg chg="mod">
          <ac:chgData name="Nisen, Henrik (BCG Platinion)" userId="23462ed3-8a28-48c0-b94c-224b90eb8d0a" providerId="ADAL" clId="{98F16264-753B-49F1-930F-12A12A4F559C}" dt="2024-02-29T08:29:01.375" v="833"/>
          <ac:spMkLst>
            <pc:docMk/>
            <pc:sldMk cId="805076339" sldId="2147483586"/>
            <ac:spMk id="51" creationId="{B92F7A82-09B0-0AB3-246C-DD62FF9CF8A2}"/>
          </ac:spMkLst>
        </pc:spChg>
        <pc:spChg chg="mod">
          <ac:chgData name="Nisen, Henrik (BCG Platinion)" userId="23462ed3-8a28-48c0-b94c-224b90eb8d0a" providerId="ADAL" clId="{98F16264-753B-49F1-930F-12A12A4F559C}" dt="2024-02-29T08:29:01.377" v="834"/>
          <ac:spMkLst>
            <pc:docMk/>
            <pc:sldMk cId="805076339" sldId="2147483586"/>
            <ac:spMk id="52" creationId="{50C38333-C424-B82E-3C4C-77B6D9FFB4CC}"/>
          </ac:spMkLst>
        </pc:spChg>
        <pc:spChg chg="mod">
          <ac:chgData name="Nisen, Henrik (BCG Platinion)" userId="23462ed3-8a28-48c0-b94c-224b90eb8d0a" providerId="ADAL" clId="{98F16264-753B-49F1-930F-12A12A4F559C}" dt="2024-02-29T08:29:01.377" v="835"/>
          <ac:spMkLst>
            <pc:docMk/>
            <pc:sldMk cId="805076339" sldId="2147483586"/>
            <ac:spMk id="53" creationId="{CCFA7DED-A5B1-B2C4-C3FD-A42E51E9B608}"/>
          </ac:spMkLst>
        </pc:spChg>
        <pc:spChg chg="mod">
          <ac:chgData name="Nisen, Henrik (BCG Platinion)" userId="23462ed3-8a28-48c0-b94c-224b90eb8d0a" providerId="ADAL" clId="{98F16264-753B-49F1-930F-12A12A4F559C}" dt="2024-02-29T08:29:01.379" v="836"/>
          <ac:spMkLst>
            <pc:docMk/>
            <pc:sldMk cId="805076339" sldId="2147483586"/>
            <ac:spMk id="54" creationId="{9879CB70-FBAA-BA5D-E903-8ED6A6384CC1}"/>
          </ac:spMkLst>
        </pc:spChg>
        <pc:spChg chg="mod">
          <ac:chgData name="Nisen, Henrik (BCG Platinion)" userId="23462ed3-8a28-48c0-b94c-224b90eb8d0a" providerId="ADAL" clId="{98F16264-753B-49F1-930F-12A12A4F559C}" dt="2024-02-29T08:29:01.380" v="837"/>
          <ac:spMkLst>
            <pc:docMk/>
            <pc:sldMk cId="805076339" sldId="2147483586"/>
            <ac:spMk id="55" creationId="{532DA259-E3FE-6E41-8F88-37FDA4913528}"/>
          </ac:spMkLst>
        </pc:spChg>
        <pc:spChg chg="mod">
          <ac:chgData name="Nisen, Henrik (BCG Platinion)" userId="23462ed3-8a28-48c0-b94c-224b90eb8d0a" providerId="ADAL" clId="{98F16264-753B-49F1-930F-12A12A4F559C}" dt="2024-02-29T08:29:01.382" v="838"/>
          <ac:spMkLst>
            <pc:docMk/>
            <pc:sldMk cId="805076339" sldId="2147483586"/>
            <ac:spMk id="56" creationId="{51C7A53B-A596-144A-E07B-71D66B88C5F6}"/>
          </ac:spMkLst>
        </pc:spChg>
        <pc:spChg chg="mod">
          <ac:chgData name="Nisen, Henrik (BCG Platinion)" userId="23462ed3-8a28-48c0-b94c-224b90eb8d0a" providerId="ADAL" clId="{98F16264-753B-49F1-930F-12A12A4F559C}" dt="2024-02-29T08:29:01.382" v="839"/>
          <ac:spMkLst>
            <pc:docMk/>
            <pc:sldMk cId="805076339" sldId="2147483586"/>
            <ac:spMk id="57" creationId="{A6C7348E-02C3-4170-8E15-15FD629E6F1B}"/>
          </ac:spMkLst>
        </pc:spChg>
        <pc:spChg chg="mod">
          <ac:chgData name="Nisen, Henrik (BCG Platinion)" userId="23462ed3-8a28-48c0-b94c-224b90eb8d0a" providerId="ADAL" clId="{98F16264-753B-49F1-930F-12A12A4F559C}" dt="2024-02-29T08:29:01.383" v="840"/>
          <ac:spMkLst>
            <pc:docMk/>
            <pc:sldMk cId="805076339" sldId="2147483586"/>
            <ac:spMk id="58" creationId="{1ED07146-2464-D683-B847-AF4E1A6EA433}"/>
          </ac:spMkLst>
        </pc:spChg>
        <pc:spChg chg="mod">
          <ac:chgData name="Nisen, Henrik (BCG Platinion)" userId="23462ed3-8a28-48c0-b94c-224b90eb8d0a" providerId="ADAL" clId="{98F16264-753B-49F1-930F-12A12A4F559C}" dt="2024-02-29T08:29:01.384" v="841"/>
          <ac:spMkLst>
            <pc:docMk/>
            <pc:sldMk cId="805076339" sldId="2147483586"/>
            <ac:spMk id="59" creationId="{C2B9D283-941B-4AD0-4158-12D180CEF844}"/>
          </ac:spMkLst>
        </pc:spChg>
        <pc:spChg chg="mod ord">
          <ac:chgData name="Nisen, Henrik (BCG Platinion)" userId="23462ed3-8a28-48c0-b94c-224b90eb8d0a" providerId="ADAL" clId="{98F16264-753B-49F1-930F-12A12A4F559C}" dt="2024-02-29T08:29:01.386" v="843"/>
          <ac:spMkLst>
            <pc:docMk/>
            <pc:sldMk cId="805076339" sldId="2147483586"/>
            <ac:spMk id="163" creationId="{2D9AF636-C56F-701C-CD7E-36960884DDA5}"/>
          </ac:spMkLst>
        </pc:spChg>
        <pc:graphicFrameChg chg="add mod replST">
          <ac:chgData name="Nisen, Henrik (BCG Platinion)" userId="23462ed3-8a28-48c0-b94c-224b90eb8d0a" providerId="ADAL" clId="{98F16264-753B-49F1-930F-12A12A4F559C}" dt="2024-02-29T08:29:01.332" v="791"/>
          <ac:graphicFrameMkLst>
            <pc:docMk/>
            <pc:sldMk cId="805076339" sldId="2147483586"/>
            <ac:graphicFrameMk id="2" creationId="{F739DAC7-D9D7-0381-943D-2496F63E5EA7}"/>
          </ac:graphicFrameMkLst>
        </pc:graphicFrameChg>
        <pc:graphicFrameChg chg="del">
          <ac:chgData name="Nisen, Henrik (BCG Platinion)" userId="23462ed3-8a28-48c0-b94c-224b90eb8d0a" providerId="ADAL" clId="{98F16264-753B-49F1-930F-12A12A4F559C}" dt="2024-02-29T08:29:01.231" v="778"/>
          <ac:graphicFrameMkLst>
            <pc:docMk/>
            <pc:sldMk cId="805076339" sldId="2147483586"/>
            <ac:graphicFrameMk id="3" creationId="{40D6204A-EAA8-7D93-EECC-F943154D076C}"/>
          </ac:graphicFrameMkLst>
        </pc:graphicFrameChg>
        <pc:graphicFrameChg chg="mod ord">
          <ac:chgData name="Nisen, Henrik (BCG Platinion)" userId="23462ed3-8a28-48c0-b94c-224b90eb8d0a" providerId="ADAL" clId="{98F16264-753B-49F1-930F-12A12A4F559C}" dt="2024-02-29T08:29:01.325" v="786"/>
          <ac:graphicFrameMkLst>
            <pc:docMk/>
            <pc:sldMk cId="805076339" sldId="2147483586"/>
            <ac:graphicFrameMk id="8" creationId="{149D169D-9ABE-5F57-E16B-9A3195D5CB29}"/>
          </ac:graphicFrameMkLst>
        </pc:graphicFrameChg>
        <pc:graphicFrameChg chg="mod">
          <ac:chgData name="Nisen, Henrik (BCG Platinion)" userId="23462ed3-8a28-48c0-b94c-224b90eb8d0a" providerId="ADAL" clId="{98F16264-753B-49F1-930F-12A12A4F559C}" dt="2024-02-29T08:29:01.400" v="854"/>
          <ac:graphicFrameMkLst>
            <pc:docMk/>
            <pc:sldMk cId="805076339" sldId="2147483586"/>
            <ac:graphicFrameMk id="16" creationId="{38CD42A9-5F70-6F2E-B937-4F607A4B417C}"/>
          </ac:graphicFrameMkLst>
        </pc:graphicFrameChg>
        <pc:cxnChg chg="mod ord">
          <ac:chgData name="Nisen, Henrik (BCG Platinion)" userId="23462ed3-8a28-48c0-b94c-224b90eb8d0a" providerId="ADAL" clId="{98F16264-753B-49F1-930F-12A12A4F559C}" dt="2024-02-29T08:29:01.331" v="790"/>
          <ac:cxnSpMkLst>
            <pc:docMk/>
            <pc:sldMk cId="805076339" sldId="2147483586"/>
            <ac:cxnSpMk id="12" creationId="{6A6E4E9F-0335-24BA-FF2F-80D45E4BC7CD}"/>
          </ac:cxnSpMkLst>
        </pc:cxnChg>
      </pc:sldChg>
      <pc:sldChg chg="addSp delSp modSp mod">
        <pc:chgData name="Nisen, Henrik (BCG Platinion)" userId="23462ed3-8a28-48c0-b94c-224b90eb8d0a" providerId="ADAL" clId="{98F16264-753B-49F1-930F-12A12A4F559C}" dt="2024-02-29T10:44:14.657" v="2062"/>
        <pc:sldMkLst>
          <pc:docMk/>
          <pc:sldMk cId="2564153488" sldId="2147483607"/>
        </pc:sldMkLst>
        <pc:spChg chg="mod ord">
          <ac:chgData name="Nisen, Henrik (BCG Platinion)" userId="23462ed3-8a28-48c0-b94c-224b90eb8d0a" providerId="ADAL" clId="{98F16264-753B-49F1-930F-12A12A4F559C}" dt="2024-02-29T10:44:14.595" v="1998"/>
          <ac:spMkLst>
            <pc:docMk/>
            <pc:sldMk cId="2564153488" sldId="2147483607"/>
            <ac:spMk id="2" creationId="{EBC0B914-B399-C0DC-19F9-15CAD22445E2}"/>
          </ac:spMkLst>
        </pc:spChg>
        <pc:spChg chg="mod ord">
          <ac:chgData name="Nisen, Henrik (BCG Platinion)" userId="23462ed3-8a28-48c0-b94c-224b90eb8d0a" providerId="ADAL" clId="{98F16264-753B-49F1-930F-12A12A4F559C}" dt="2024-02-29T10:44:14.596" v="2000"/>
          <ac:spMkLst>
            <pc:docMk/>
            <pc:sldMk cId="2564153488" sldId="2147483607"/>
            <ac:spMk id="3" creationId="{E61F54FD-301D-50D2-049C-775E4F28D645}"/>
          </ac:spMkLst>
        </pc:spChg>
        <pc:spChg chg="mod ord">
          <ac:chgData name="Nisen, Henrik (BCG Platinion)" userId="23462ed3-8a28-48c0-b94c-224b90eb8d0a" providerId="ADAL" clId="{98F16264-753B-49F1-930F-12A12A4F559C}" dt="2024-02-29T10:44:14.597" v="2002"/>
          <ac:spMkLst>
            <pc:docMk/>
            <pc:sldMk cId="2564153488" sldId="2147483607"/>
            <ac:spMk id="4" creationId="{D046A7B9-FBC8-3664-2D5D-651DF683D353}"/>
          </ac:spMkLst>
        </pc:spChg>
        <pc:spChg chg="add del mod modVis">
          <ac:chgData name="Nisen, Henrik (BCG Platinion)" userId="23462ed3-8a28-48c0-b94c-224b90eb8d0a" providerId="ADAL" clId="{98F16264-753B-49F1-930F-12A12A4F559C}" dt="2024-02-29T10:44:14.647" v="2060"/>
          <ac:spMkLst>
            <pc:docMk/>
            <pc:sldMk cId="2564153488" sldId="2147483607"/>
            <ac:spMk id="5" creationId="{161181AA-3A12-AB68-AEB4-708C0A83AFED}"/>
          </ac:spMkLst>
        </pc:spChg>
        <pc:spChg chg="mod ord">
          <ac:chgData name="Nisen, Henrik (BCG Platinion)" userId="23462ed3-8a28-48c0-b94c-224b90eb8d0a" providerId="ADAL" clId="{98F16264-753B-49F1-930F-12A12A4F559C}" dt="2024-02-29T10:44:14.644" v="2056"/>
          <ac:spMkLst>
            <pc:docMk/>
            <pc:sldMk cId="2564153488" sldId="2147483607"/>
            <ac:spMk id="6" creationId="{A0FD8DE8-7502-D220-4EDD-0CD169211AB5}"/>
          </ac:spMkLst>
        </pc:spChg>
        <pc:spChg chg="add mod replST">
          <ac:chgData name="Nisen, Henrik (BCG Platinion)" userId="23462ed3-8a28-48c0-b94c-224b90eb8d0a" providerId="ADAL" clId="{98F16264-753B-49F1-930F-12A12A4F559C}" dt="2024-02-29T10:44:14.609" v="2015"/>
          <ac:spMkLst>
            <pc:docMk/>
            <pc:sldMk cId="2564153488" sldId="2147483607"/>
            <ac:spMk id="7" creationId="{6FB5664F-4BE3-4DE0-7646-1AD3E7EB2705}"/>
          </ac:spMkLst>
        </pc:spChg>
        <pc:spChg chg="add mod replST">
          <ac:chgData name="Nisen, Henrik (BCG Platinion)" userId="23462ed3-8a28-48c0-b94c-224b90eb8d0a" providerId="ADAL" clId="{98F16264-753B-49F1-930F-12A12A4F559C}" dt="2024-02-29T10:44:14.611" v="2016"/>
          <ac:spMkLst>
            <pc:docMk/>
            <pc:sldMk cId="2564153488" sldId="2147483607"/>
            <ac:spMk id="8" creationId="{BFC934C4-C749-2375-2796-3279284A0377}"/>
          </ac:spMkLst>
        </pc:spChg>
        <pc:spChg chg="add mod replST">
          <ac:chgData name="Nisen, Henrik (BCG Platinion)" userId="23462ed3-8a28-48c0-b94c-224b90eb8d0a" providerId="ADAL" clId="{98F16264-753B-49F1-930F-12A12A4F559C}" dt="2024-02-29T10:44:14.612" v="2017"/>
          <ac:spMkLst>
            <pc:docMk/>
            <pc:sldMk cId="2564153488" sldId="2147483607"/>
            <ac:spMk id="10" creationId="{CDCE6111-8046-7A64-1B43-DC01BB8A2D64}"/>
          </ac:spMkLst>
        </pc:spChg>
        <pc:spChg chg="add mod replST">
          <ac:chgData name="Nisen, Henrik (BCG Platinion)" userId="23462ed3-8a28-48c0-b94c-224b90eb8d0a" providerId="ADAL" clId="{98F16264-753B-49F1-930F-12A12A4F559C}" dt="2024-02-29T10:44:14.613" v="2018"/>
          <ac:spMkLst>
            <pc:docMk/>
            <pc:sldMk cId="2564153488" sldId="2147483607"/>
            <ac:spMk id="12" creationId="{24B46246-BC18-79A3-C57D-149A0012A2EA}"/>
          </ac:spMkLst>
        </pc:spChg>
        <pc:spChg chg="add mod replST">
          <ac:chgData name="Nisen, Henrik (BCG Platinion)" userId="23462ed3-8a28-48c0-b94c-224b90eb8d0a" providerId="ADAL" clId="{98F16264-753B-49F1-930F-12A12A4F559C}" dt="2024-02-29T10:44:14.614" v="2019"/>
          <ac:spMkLst>
            <pc:docMk/>
            <pc:sldMk cId="2564153488" sldId="2147483607"/>
            <ac:spMk id="13" creationId="{ACF9E4C8-CD96-EAE7-F492-0459CF99E71F}"/>
          </ac:spMkLst>
        </pc:spChg>
        <pc:spChg chg="add mod replST">
          <ac:chgData name="Nisen, Henrik (BCG Platinion)" userId="23462ed3-8a28-48c0-b94c-224b90eb8d0a" providerId="ADAL" clId="{98F16264-753B-49F1-930F-12A12A4F559C}" dt="2024-02-29T10:44:14.615" v="2020"/>
          <ac:spMkLst>
            <pc:docMk/>
            <pc:sldMk cId="2564153488" sldId="2147483607"/>
            <ac:spMk id="14" creationId="{88D7DD9D-107F-52F1-9F8A-F2F6EF5F1411}"/>
          </ac:spMkLst>
        </pc:spChg>
        <pc:spChg chg="add mod replST">
          <ac:chgData name="Nisen, Henrik (BCG Platinion)" userId="23462ed3-8a28-48c0-b94c-224b90eb8d0a" providerId="ADAL" clId="{98F16264-753B-49F1-930F-12A12A4F559C}" dt="2024-02-29T10:44:14.617" v="2021"/>
          <ac:spMkLst>
            <pc:docMk/>
            <pc:sldMk cId="2564153488" sldId="2147483607"/>
            <ac:spMk id="15" creationId="{75A3302B-1F0E-ED9D-8951-18EE01977CD4}"/>
          </ac:spMkLst>
        </pc:spChg>
        <pc:spChg chg="mod">
          <ac:chgData name="Nisen, Henrik (BCG Platinion)" userId="23462ed3-8a28-48c0-b94c-224b90eb8d0a" providerId="ADAL" clId="{98F16264-753B-49F1-930F-12A12A4F559C}" dt="2024-02-29T10:44:14.602" v="2010"/>
          <ac:spMkLst>
            <pc:docMk/>
            <pc:sldMk cId="2564153488" sldId="2147483607"/>
            <ac:spMk id="27" creationId="{226D3426-8D8E-B00F-BDAA-61313408FA96}"/>
          </ac:spMkLst>
        </pc:spChg>
        <pc:spChg chg="mod">
          <ac:chgData name="Nisen, Henrik (BCG Platinion)" userId="23462ed3-8a28-48c0-b94c-224b90eb8d0a" providerId="ADAL" clId="{98F16264-753B-49F1-930F-12A12A4F559C}" dt="2024-02-29T10:44:14.603" v="2011"/>
          <ac:spMkLst>
            <pc:docMk/>
            <pc:sldMk cId="2564153488" sldId="2147483607"/>
            <ac:spMk id="28" creationId="{E9ADDDC6-7337-B9A5-3C6D-AF0021AB7D4C}"/>
          </ac:spMkLst>
        </pc:spChg>
        <pc:spChg chg="mod">
          <ac:chgData name="Nisen, Henrik (BCG Platinion)" userId="23462ed3-8a28-48c0-b94c-224b90eb8d0a" providerId="ADAL" clId="{98F16264-753B-49F1-930F-12A12A4F559C}" dt="2024-02-29T10:44:14.605" v="2012"/>
          <ac:spMkLst>
            <pc:docMk/>
            <pc:sldMk cId="2564153488" sldId="2147483607"/>
            <ac:spMk id="29" creationId="{96FA22ED-7AA3-8452-CFC2-8B966B3DFA20}"/>
          </ac:spMkLst>
        </pc:spChg>
        <pc:spChg chg="mod">
          <ac:chgData name="Nisen, Henrik (BCG Platinion)" userId="23462ed3-8a28-48c0-b94c-224b90eb8d0a" providerId="ADAL" clId="{98F16264-753B-49F1-930F-12A12A4F559C}" dt="2024-02-29T10:44:14.607" v="2013"/>
          <ac:spMkLst>
            <pc:docMk/>
            <pc:sldMk cId="2564153488" sldId="2147483607"/>
            <ac:spMk id="30" creationId="{5836E5E8-31EA-E390-E90D-2CD528CFE18A}"/>
          </ac:spMkLst>
        </pc:spChg>
        <pc:spChg chg="mod">
          <ac:chgData name="Nisen, Henrik (BCG Platinion)" userId="23462ed3-8a28-48c0-b94c-224b90eb8d0a" providerId="ADAL" clId="{98F16264-753B-49F1-930F-12A12A4F559C}" dt="2024-02-29T10:44:14.608" v="2014"/>
          <ac:spMkLst>
            <pc:docMk/>
            <pc:sldMk cId="2564153488" sldId="2147483607"/>
            <ac:spMk id="31" creationId="{E7D4E73E-549F-53C2-9068-778132F94CC9}"/>
          </ac:spMkLst>
        </pc:spChg>
        <pc:spChg chg="mod ord">
          <ac:chgData name="Nisen, Henrik (BCG Platinion)" userId="23462ed3-8a28-48c0-b94c-224b90eb8d0a" providerId="ADAL" clId="{98F16264-753B-49F1-930F-12A12A4F559C}" dt="2024-02-29T10:44:14.619" v="2023"/>
          <ac:spMkLst>
            <pc:docMk/>
            <pc:sldMk cId="2564153488" sldId="2147483607"/>
            <ac:spMk id="32" creationId="{1382ECAF-E9B1-5215-D23E-460C5DADF0E7}"/>
          </ac:spMkLst>
        </pc:spChg>
        <pc:spChg chg="mod ord">
          <ac:chgData name="Nisen, Henrik (BCG Platinion)" userId="23462ed3-8a28-48c0-b94c-224b90eb8d0a" providerId="ADAL" clId="{98F16264-753B-49F1-930F-12A12A4F559C}" dt="2024-02-29T10:44:14.621" v="2025"/>
          <ac:spMkLst>
            <pc:docMk/>
            <pc:sldMk cId="2564153488" sldId="2147483607"/>
            <ac:spMk id="33" creationId="{1AA0EBE3-61F3-8A58-5DB7-3E8EA99F3F49}"/>
          </ac:spMkLst>
        </pc:spChg>
        <pc:spChg chg="mod ord">
          <ac:chgData name="Nisen, Henrik (BCG Platinion)" userId="23462ed3-8a28-48c0-b94c-224b90eb8d0a" providerId="ADAL" clId="{98F16264-753B-49F1-930F-12A12A4F559C}" dt="2024-02-29T10:44:14.622" v="2027"/>
          <ac:spMkLst>
            <pc:docMk/>
            <pc:sldMk cId="2564153488" sldId="2147483607"/>
            <ac:spMk id="34" creationId="{7C606394-B636-123B-6E5C-810A470D8D21}"/>
          </ac:spMkLst>
        </pc:spChg>
        <pc:spChg chg="mod ord">
          <ac:chgData name="Nisen, Henrik (BCG Platinion)" userId="23462ed3-8a28-48c0-b94c-224b90eb8d0a" providerId="ADAL" clId="{98F16264-753B-49F1-930F-12A12A4F559C}" dt="2024-02-29T10:44:14.623" v="2029"/>
          <ac:spMkLst>
            <pc:docMk/>
            <pc:sldMk cId="2564153488" sldId="2147483607"/>
            <ac:spMk id="35" creationId="{56AD032C-21FC-3644-1DA7-407F598E87A6}"/>
          </ac:spMkLst>
        </pc:spChg>
        <pc:spChg chg="mod ord">
          <ac:chgData name="Nisen, Henrik (BCG Platinion)" userId="23462ed3-8a28-48c0-b94c-224b90eb8d0a" providerId="ADAL" clId="{98F16264-753B-49F1-930F-12A12A4F559C}" dt="2024-02-29T10:44:14.624" v="2031"/>
          <ac:spMkLst>
            <pc:docMk/>
            <pc:sldMk cId="2564153488" sldId="2147483607"/>
            <ac:spMk id="36" creationId="{611A7901-95CE-5F34-E7C2-68D111B3FD4C}"/>
          </ac:spMkLst>
        </pc:spChg>
        <pc:spChg chg="mod ord">
          <ac:chgData name="Nisen, Henrik (BCG Platinion)" userId="23462ed3-8a28-48c0-b94c-224b90eb8d0a" providerId="ADAL" clId="{98F16264-753B-49F1-930F-12A12A4F559C}" dt="2024-02-29T10:44:14.625" v="2033"/>
          <ac:spMkLst>
            <pc:docMk/>
            <pc:sldMk cId="2564153488" sldId="2147483607"/>
            <ac:spMk id="37" creationId="{4F03420A-CDC5-43F3-8F3F-7639F1B6C4E0}"/>
          </ac:spMkLst>
        </pc:spChg>
        <pc:spChg chg="mod">
          <ac:chgData name="Nisen, Henrik (BCG Platinion)" userId="23462ed3-8a28-48c0-b94c-224b90eb8d0a" providerId="ADAL" clId="{98F16264-753B-49F1-930F-12A12A4F559C}" dt="2024-02-29T10:44:14.631" v="2039"/>
          <ac:spMkLst>
            <pc:docMk/>
            <pc:sldMk cId="2564153488" sldId="2147483607"/>
            <ac:spMk id="38" creationId="{9E1DA3FA-BCF4-C747-DEA3-AF9C10C5A30B}"/>
          </ac:spMkLst>
        </pc:spChg>
        <pc:spChg chg="mod">
          <ac:chgData name="Nisen, Henrik (BCG Platinion)" userId="23462ed3-8a28-48c0-b94c-224b90eb8d0a" providerId="ADAL" clId="{98F16264-753B-49F1-930F-12A12A4F559C}" dt="2024-02-29T10:44:14.627" v="2034"/>
          <ac:spMkLst>
            <pc:docMk/>
            <pc:sldMk cId="2564153488" sldId="2147483607"/>
            <ac:spMk id="39" creationId="{1F531180-F827-488F-7157-F1DA0F62A4A8}"/>
          </ac:spMkLst>
        </pc:spChg>
        <pc:spChg chg="mod">
          <ac:chgData name="Nisen, Henrik (BCG Platinion)" userId="23462ed3-8a28-48c0-b94c-224b90eb8d0a" providerId="ADAL" clId="{98F16264-753B-49F1-930F-12A12A4F559C}" dt="2024-02-29T10:44:14.630" v="2038"/>
          <ac:spMkLst>
            <pc:docMk/>
            <pc:sldMk cId="2564153488" sldId="2147483607"/>
            <ac:spMk id="40" creationId="{EE25C1F2-9258-1BE1-7E7F-C428681EDB34}"/>
          </ac:spMkLst>
        </pc:spChg>
        <pc:spChg chg="mod">
          <ac:chgData name="Nisen, Henrik (BCG Platinion)" userId="23462ed3-8a28-48c0-b94c-224b90eb8d0a" providerId="ADAL" clId="{98F16264-753B-49F1-930F-12A12A4F559C}" dt="2024-02-29T10:44:14.628" v="2035"/>
          <ac:spMkLst>
            <pc:docMk/>
            <pc:sldMk cId="2564153488" sldId="2147483607"/>
            <ac:spMk id="41" creationId="{C5E616B9-1FA0-767A-AB9A-80CF8D024F3D}"/>
          </ac:spMkLst>
        </pc:spChg>
        <pc:spChg chg="mod">
          <ac:chgData name="Nisen, Henrik (BCG Platinion)" userId="23462ed3-8a28-48c0-b94c-224b90eb8d0a" providerId="ADAL" clId="{98F16264-753B-49F1-930F-12A12A4F559C}" dt="2024-02-29T10:44:14.628" v="2036"/>
          <ac:spMkLst>
            <pc:docMk/>
            <pc:sldMk cId="2564153488" sldId="2147483607"/>
            <ac:spMk id="42" creationId="{A1613C35-C1C9-A480-FA5C-D982D9AF45A6}"/>
          </ac:spMkLst>
        </pc:spChg>
        <pc:spChg chg="mod">
          <ac:chgData name="Nisen, Henrik (BCG Platinion)" userId="23462ed3-8a28-48c0-b94c-224b90eb8d0a" providerId="ADAL" clId="{98F16264-753B-49F1-930F-12A12A4F559C}" dt="2024-02-29T10:44:14.629" v="2037"/>
          <ac:spMkLst>
            <pc:docMk/>
            <pc:sldMk cId="2564153488" sldId="2147483607"/>
            <ac:spMk id="43" creationId="{80E3F9D9-8111-C267-D553-2CA0B85FBD61}"/>
          </ac:spMkLst>
        </pc:spChg>
        <pc:spChg chg="mod">
          <ac:chgData name="Nisen, Henrik (BCG Platinion)" userId="23462ed3-8a28-48c0-b94c-224b90eb8d0a" providerId="ADAL" clId="{98F16264-753B-49F1-930F-12A12A4F559C}" dt="2024-02-29T10:44:14.632" v="2040"/>
          <ac:spMkLst>
            <pc:docMk/>
            <pc:sldMk cId="2564153488" sldId="2147483607"/>
            <ac:spMk id="49" creationId="{B5F23909-0CE2-4378-6026-F81A261AE437}"/>
          </ac:spMkLst>
        </pc:spChg>
        <pc:spChg chg="mod">
          <ac:chgData name="Nisen, Henrik (BCG Platinion)" userId="23462ed3-8a28-48c0-b94c-224b90eb8d0a" providerId="ADAL" clId="{98F16264-753B-49F1-930F-12A12A4F559C}" dt="2024-02-29T10:44:14.633" v="2041"/>
          <ac:spMkLst>
            <pc:docMk/>
            <pc:sldMk cId="2564153488" sldId="2147483607"/>
            <ac:spMk id="50" creationId="{9C558A6F-2C4A-0AAE-B84A-6A68742524B8}"/>
          </ac:spMkLst>
        </pc:spChg>
        <pc:spChg chg="mod">
          <ac:chgData name="Nisen, Henrik (BCG Platinion)" userId="23462ed3-8a28-48c0-b94c-224b90eb8d0a" providerId="ADAL" clId="{98F16264-753B-49F1-930F-12A12A4F559C}" dt="2024-02-29T10:44:14.634" v="2043"/>
          <ac:spMkLst>
            <pc:docMk/>
            <pc:sldMk cId="2564153488" sldId="2147483607"/>
            <ac:spMk id="80" creationId="{09006858-39EA-3372-4480-0F76CAC9BA80}"/>
          </ac:spMkLst>
        </pc:spChg>
        <pc:spChg chg="mod">
          <ac:chgData name="Nisen, Henrik (BCG Platinion)" userId="23462ed3-8a28-48c0-b94c-224b90eb8d0a" providerId="ADAL" clId="{98F16264-753B-49F1-930F-12A12A4F559C}" dt="2024-02-29T10:44:14.635" v="2044"/>
          <ac:spMkLst>
            <pc:docMk/>
            <pc:sldMk cId="2564153488" sldId="2147483607"/>
            <ac:spMk id="81" creationId="{40A42BA0-2F73-96A5-726C-6B985D870710}"/>
          </ac:spMkLst>
        </pc:spChg>
        <pc:spChg chg="mod">
          <ac:chgData name="Nisen, Henrik (BCG Platinion)" userId="23462ed3-8a28-48c0-b94c-224b90eb8d0a" providerId="ADAL" clId="{98F16264-753B-49F1-930F-12A12A4F559C}" dt="2024-02-29T10:44:14.636" v="2045"/>
          <ac:spMkLst>
            <pc:docMk/>
            <pc:sldMk cId="2564153488" sldId="2147483607"/>
            <ac:spMk id="82" creationId="{06C42EFD-06E9-E0A4-51B5-7C2B756498FE}"/>
          </ac:spMkLst>
        </pc:spChg>
        <pc:spChg chg="mod">
          <ac:chgData name="Nisen, Henrik (BCG Platinion)" userId="23462ed3-8a28-48c0-b94c-224b90eb8d0a" providerId="ADAL" clId="{98F16264-753B-49F1-930F-12A12A4F559C}" dt="2024-02-29T10:44:14.637" v="2046"/>
          <ac:spMkLst>
            <pc:docMk/>
            <pc:sldMk cId="2564153488" sldId="2147483607"/>
            <ac:spMk id="83" creationId="{F34E02FF-3CB1-4128-1FE8-78E813E89869}"/>
          </ac:spMkLst>
        </pc:spChg>
        <pc:spChg chg="mod">
          <ac:chgData name="Nisen, Henrik (BCG Platinion)" userId="23462ed3-8a28-48c0-b94c-224b90eb8d0a" providerId="ADAL" clId="{98F16264-753B-49F1-930F-12A12A4F559C}" dt="2024-02-29T10:44:14.637" v="2047"/>
          <ac:spMkLst>
            <pc:docMk/>
            <pc:sldMk cId="2564153488" sldId="2147483607"/>
            <ac:spMk id="84" creationId="{E60DE9FF-AF7B-8A3D-192C-38004CAEDB0A}"/>
          </ac:spMkLst>
        </pc:spChg>
        <pc:spChg chg="mod">
          <ac:chgData name="Nisen, Henrik (BCG Platinion)" userId="23462ed3-8a28-48c0-b94c-224b90eb8d0a" providerId="ADAL" clId="{98F16264-753B-49F1-930F-12A12A4F559C}" dt="2024-02-29T10:44:14.638" v="2048"/>
          <ac:spMkLst>
            <pc:docMk/>
            <pc:sldMk cId="2564153488" sldId="2147483607"/>
            <ac:spMk id="85" creationId="{B346302F-9CB2-95EB-39B9-29DCFA8AB954}"/>
          </ac:spMkLst>
        </pc:spChg>
        <pc:spChg chg="mod">
          <ac:chgData name="Nisen, Henrik (BCG Platinion)" userId="23462ed3-8a28-48c0-b94c-224b90eb8d0a" providerId="ADAL" clId="{98F16264-753B-49F1-930F-12A12A4F559C}" dt="2024-02-29T10:44:14.639" v="2049"/>
          <ac:spMkLst>
            <pc:docMk/>
            <pc:sldMk cId="2564153488" sldId="2147483607"/>
            <ac:spMk id="86" creationId="{5C961B16-EC74-CBBE-4BF3-244A30CD0E5C}"/>
          </ac:spMkLst>
        </pc:spChg>
        <pc:spChg chg="del mod">
          <ac:chgData name="Nisen, Henrik (BCG Platinion)" userId="23462ed3-8a28-48c0-b94c-224b90eb8d0a" providerId="ADAL" clId="{98F16264-753B-49F1-930F-12A12A4F559C}" dt="2024-02-29T10:44:14.563" v="1982"/>
          <ac:spMkLst>
            <pc:docMk/>
            <pc:sldMk cId="2564153488" sldId="2147483607"/>
            <ac:spMk id="87" creationId="{D90F0295-BF02-E2B9-9CDD-2DA1F44E8E09}"/>
          </ac:spMkLst>
        </pc:spChg>
        <pc:spChg chg="del mod">
          <ac:chgData name="Nisen, Henrik (BCG Platinion)" userId="23462ed3-8a28-48c0-b94c-224b90eb8d0a" providerId="ADAL" clId="{98F16264-753B-49F1-930F-12A12A4F559C}" dt="2024-02-29T10:44:14.564" v="1983"/>
          <ac:spMkLst>
            <pc:docMk/>
            <pc:sldMk cId="2564153488" sldId="2147483607"/>
            <ac:spMk id="88" creationId="{E308485D-5100-7D68-FB72-3C5F4D55A454}"/>
          </ac:spMkLst>
        </pc:spChg>
        <pc:spChg chg="del mod">
          <ac:chgData name="Nisen, Henrik (BCG Platinion)" userId="23462ed3-8a28-48c0-b94c-224b90eb8d0a" providerId="ADAL" clId="{98F16264-753B-49F1-930F-12A12A4F559C}" dt="2024-02-29T10:44:14.565" v="1984"/>
          <ac:spMkLst>
            <pc:docMk/>
            <pc:sldMk cId="2564153488" sldId="2147483607"/>
            <ac:spMk id="89" creationId="{A7CFF280-E869-1142-7E4C-75C56C3362D9}"/>
          </ac:spMkLst>
        </pc:spChg>
        <pc:spChg chg="del mod">
          <ac:chgData name="Nisen, Henrik (BCG Platinion)" userId="23462ed3-8a28-48c0-b94c-224b90eb8d0a" providerId="ADAL" clId="{98F16264-753B-49F1-930F-12A12A4F559C}" dt="2024-02-29T10:44:14.566" v="1985"/>
          <ac:spMkLst>
            <pc:docMk/>
            <pc:sldMk cId="2564153488" sldId="2147483607"/>
            <ac:spMk id="90" creationId="{6A61F83A-0124-7273-0ECE-821A15FFCB28}"/>
          </ac:spMkLst>
        </pc:spChg>
        <pc:spChg chg="del mod">
          <ac:chgData name="Nisen, Henrik (BCG Platinion)" userId="23462ed3-8a28-48c0-b94c-224b90eb8d0a" providerId="ADAL" clId="{98F16264-753B-49F1-930F-12A12A4F559C}" dt="2024-02-29T10:44:14.567" v="1986"/>
          <ac:spMkLst>
            <pc:docMk/>
            <pc:sldMk cId="2564153488" sldId="2147483607"/>
            <ac:spMk id="91" creationId="{C9469661-9B79-C2EB-B155-96F589CC3F79}"/>
          </ac:spMkLst>
        </pc:spChg>
        <pc:spChg chg="del mod">
          <ac:chgData name="Nisen, Henrik (BCG Platinion)" userId="23462ed3-8a28-48c0-b94c-224b90eb8d0a" providerId="ADAL" clId="{98F16264-753B-49F1-930F-12A12A4F559C}" dt="2024-02-29T10:44:14.567" v="1987"/>
          <ac:spMkLst>
            <pc:docMk/>
            <pc:sldMk cId="2564153488" sldId="2147483607"/>
            <ac:spMk id="92" creationId="{8D42A4B4-8AF9-98D4-B416-4BE5E44ECF02}"/>
          </ac:spMkLst>
        </pc:spChg>
        <pc:spChg chg="del mod">
          <ac:chgData name="Nisen, Henrik (BCG Platinion)" userId="23462ed3-8a28-48c0-b94c-224b90eb8d0a" providerId="ADAL" clId="{98F16264-753B-49F1-930F-12A12A4F559C}" dt="2024-02-29T10:44:14.568" v="1988"/>
          <ac:spMkLst>
            <pc:docMk/>
            <pc:sldMk cId="2564153488" sldId="2147483607"/>
            <ac:spMk id="93" creationId="{0069ECD3-9008-558C-C8C0-43017E1AFD35}"/>
          </ac:spMkLst>
        </pc:spChg>
        <pc:spChg chg="mod">
          <ac:chgData name="Nisen, Henrik (BCG Platinion)" userId="23462ed3-8a28-48c0-b94c-224b90eb8d0a" providerId="ADAL" clId="{98F16264-753B-49F1-930F-12A12A4F559C}" dt="2024-02-29T10:44:14.641" v="2051"/>
          <ac:spMkLst>
            <pc:docMk/>
            <pc:sldMk cId="2564153488" sldId="2147483607"/>
            <ac:spMk id="112" creationId="{4445CFC4-7A3A-77CD-55B9-50106524C321}"/>
          </ac:spMkLst>
        </pc:spChg>
        <pc:spChg chg="mod">
          <ac:chgData name="Nisen, Henrik (BCG Platinion)" userId="23462ed3-8a28-48c0-b94c-224b90eb8d0a" providerId="ADAL" clId="{98F16264-753B-49F1-930F-12A12A4F559C}" dt="2024-02-29T10:44:14.640" v="2050"/>
          <ac:spMkLst>
            <pc:docMk/>
            <pc:sldMk cId="2564153488" sldId="2147483607"/>
            <ac:spMk id="115" creationId="{632629E1-F4F8-FAF1-B86A-057578428D77}"/>
          </ac:spMkLst>
        </pc:spChg>
        <pc:spChg chg="mod">
          <ac:chgData name="Nisen, Henrik (BCG Platinion)" userId="23462ed3-8a28-48c0-b94c-224b90eb8d0a" providerId="ADAL" clId="{98F16264-753B-49F1-930F-12A12A4F559C}" dt="2024-02-29T10:44:14.643" v="2054"/>
          <ac:spMkLst>
            <pc:docMk/>
            <pc:sldMk cId="2564153488" sldId="2147483607"/>
            <ac:spMk id="129" creationId="{64FB43A5-0B00-C925-639F-2ED12D753BD0}"/>
          </ac:spMkLst>
        </pc:spChg>
        <pc:graphicFrameChg chg="del">
          <ac:chgData name="Nisen, Henrik (BCG Platinion)" userId="23462ed3-8a28-48c0-b94c-224b90eb8d0a" providerId="ADAL" clId="{98F16264-753B-49F1-930F-12A12A4F559C}" dt="2024-02-29T10:44:14.410" v="1925"/>
          <ac:graphicFrameMkLst>
            <pc:docMk/>
            <pc:sldMk cId="2564153488" sldId="2147483607"/>
            <ac:graphicFrameMk id="9" creationId="{E6D8474C-A820-DB56-BE02-9B1E9E627CB3}"/>
          </ac:graphicFrameMkLst>
        </pc:graphicFrameChg>
        <pc:graphicFrameChg chg="del">
          <ac:chgData name="Nisen, Henrik (BCG Platinion)" userId="23462ed3-8a28-48c0-b94c-224b90eb8d0a" providerId="ADAL" clId="{98F16264-753B-49F1-930F-12A12A4F559C}" dt="2024-02-29T10:44:14.569" v="1990"/>
          <ac:graphicFrameMkLst>
            <pc:docMk/>
            <pc:sldMk cId="2564153488" sldId="2147483607"/>
            <ac:graphicFrameMk id="11" creationId="{C5FF768C-4051-C3A3-7C67-7EFFF701881C}"/>
          </ac:graphicFrameMkLst>
        </pc:graphicFrameChg>
        <pc:graphicFrameChg chg="add mod replST">
          <ac:chgData name="Nisen, Henrik (BCG Platinion)" userId="23462ed3-8a28-48c0-b94c-224b90eb8d0a" providerId="ADAL" clId="{98F16264-753B-49F1-930F-12A12A4F559C}" dt="2024-02-29T10:44:14.601" v="2009"/>
          <ac:graphicFrameMkLst>
            <pc:docMk/>
            <pc:sldMk cId="2564153488" sldId="2147483607"/>
            <ac:graphicFrameMk id="16" creationId="{0C65E58C-342F-F01D-6245-645864711EE9}"/>
          </ac:graphicFrameMkLst>
        </pc:graphicFrameChg>
        <pc:graphicFrameChg chg="add mod replST">
          <ac:chgData name="Nisen, Henrik (BCG Platinion)" userId="23462ed3-8a28-48c0-b94c-224b90eb8d0a" providerId="ADAL" clId="{98F16264-753B-49F1-930F-12A12A4F559C}" dt="2024-02-29T10:44:14.633" v="2042"/>
          <ac:graphicFrameMkLst>
            <pc:docMk/>
            <pc:sldMk cId="2564153488" sldId="2147483607"/>
            <ac:graphicFrameMk id="17" creationId="{5EBDB377-05D5-CC7F-FCB7-F0F406F38408}"/>
          </ac:graphicFrameMkLst>
        </pc:graphicFrameChg>
        <pc:graphicFrameChg chg="mod">
          <ac:chgData name="Nisen, Henrik (BCG Platinion)" userId="23462ed3-8a28-48c0-b94c-224b90eb8d0a" providerId="ADAL" clId="{98F16264-753B-49F1-930F-12A12A4F559C}" dt="2024-02-29T10:44:14.657" v="2062"/>
          <ac:graphicFrameMkLst>
            <pc:docMk/>
            <pc:sldMk cId="2564153488" sldId="2147483607"/>
            <ac:graphicFrameMk id="46" creationId="{1146DD91-9E7D-C4AC-92B3-E70103965632}"/>
          </ac:graphicFrameMkLst>
        </pc:graphicFrameChg>
        <pc:cxnChg chg="mod ord">
          <ac:chgData name="Nisen, Henrik (BCG Platinion)" userId="23462ed3-8a28-48c0-b94c-224b90eb8d0a" providerId="ADAL" clId="{98F16264-753B-49F1-930F-12A12A4F559C}" dt="2024-02-29T10:44:14.598" v="2004"/>
          <ac:cxnSpMkLst>
            <pc:docMk/>
            <pc:sldMk cId="2564153488" sldId="2147483607"/>
            <ac:cxnSpMk id="23" creationId="{70B41A9F-7340-FC5D-C40B-FA14321B036B}"/>
          </ac:cxnSpMkLst>
        </pc:cxnChg>
        <pc:cxnChg chg="mod ord">
          <ac:chgData name="Nisen, Henrik (BCG Platinion)" userId="23462ed3-8a28-48c0-b94c-224b90eb8d0a" providerId="ADAL" clId="{98F16264-753B-49F1-930F-12A12A4F559C}" dt="2024-02-29T10:44:14.599" v="2006"/>
          <ac:cxnSpMkLst>
            <pc:docMk/>
            <pc:sldMk cId="2564153488" sldId="2147483607"/>
            <ac:cxnSpMk id="24" creationId="{0C914F45-F97C-8E89-92F7-EE28B26854C7}"/>
          </ac:cxnSpMkLst>
        </pc:cxnChg>
        <pc:cxnChg chg="mod ord">
          <ac:chgData name="Nisen, Henrik (BCG Platinion)" userId="23462ed3-8a28-48c0-b94c-224b90eb8d0a" providerId="ADAL" clId="{98F16264-753B-49F1-930F-12A12A4F559C}" dt="2024-02-29T10:44:14.600" v="2008"/>
          <ac:cxnSpMkLst>
            <pc:docMk/>
            <pc:sldMk cId="2564153488" sldId="2147483607"/>
            <ac:cxnSpMk id="25" creationId="{95181FE9-6C10-2434-7A8E-26C03123F4A2}"/>
          </ac:cxnSpMkLst>
        </pc:cxnChg>
        <pc:cxnChg chg="mod ord">
          <ac:chgData name="Nisen, Henrik (BCG Platinion)" userId="23462ed3-8a28-48c0-b94c-224b90eb8d0a" providerId="ADAL" clId="{98F16264-753B-49F1-930F-12A12A4F559C}" dt="2024-02-29T10:44:14.642" v="2053"/>
          <ac:cxnSpMkLst>
            <pc:docMk/>
            <pc:sldMk cId="2564153488" sldId="2147483607"/>
            <ac:cxnSpMk id="117" creationId="{7B20A710-EB12-88E8-A5D7-A494D6B2B3E3}"/>
          </ac:cxnSpMkLst>
        </pc:cxnChg>
      </pc:sldChg>
      <pc:sldChg chg="addSp delSp modSp mod">
        <pc:chgData name="Nisen, Henrik (BCG Platinion)" userId="23462ed3-8a28-48c0-b94c-224b90eb8d0a" providerId="ADAL" clId="{98F16264-753B-49F1-930F-12A12A4F559C}" dt="2024-02-29T10:32:03.061" v="1409"/>
        <pc:sldMkLst>
          <pc:docMk/>
          <pc:sldMk cId="3264993228" sldId="2147483612"/>
        </pc:sldMkLst>
        <pc:spChg chg="mod ord">
          <ac:chgData name="Nisen, Henrik (BCG Platinion)" userId="23462ed3-8a28-48c0-b94c-224b90eb8d0a" providerId="ADAL" clId="{98F16264-753B-49F1-930F-12A12A4F559C}" dt="2024-02-29T10:32:02.936" v="1224"/>
          <ac:spMkLst>
            <pc:docMk/>
            <pc:sldMk cId="3264993228" sldId="2147483612"/>
            <ac:spMk id="2" creationId="{06AFAE7C-5F6A-B878-93B9-6DE5A9DAA9F7}"/>
          </ac:spMkLst>
        </pc:spChg>
        <pc:spChg chg="mod ord">
          <ac:chgData name="Nisen, Henrik (BCG Platinion)" userId="23462ed3-8a28-48c0-b94c-224b90eb8d0a" providerId="ADAL" clId="{98F16264-753B-49F1-930F-12A12A4F559C}" dt="2024-02-29T10:32:02.937" v="1226"/>
          <ac:spMkLst>
            <pc:docMk/>
            <pc:sldMk cId="3264993228" sldId="2147483612"/>
            <ac:spMk id="3" creationId="{028D4B8F-B27C-53F5-451A-24CA598898DE}"/>
          </ac:spMkLst>
        </pc:spChg>
        <pc:spChg chg="mod ord">
          <ac:chgData name="Nisen, Henrik (BCG Platinion)" userId="23462ed3-8a28-48c0-b94c-224b90eb8d0a" providerId="ADAL" clId="{98F16264-753B-49F1-930F-12A12A4F559C}" dt="2024-02-29T10:32:02.938" v="1228"/>
          <ac:spMkLst>
            <pc:docMk/>
            <pc:sldMk cId="3264993228" sldId="2147483612"/>
            <ac:spMk id="4" creationId="{1A68FC50-AA15-FC69-1AB4-767E70C870EA}"/>
          </ac:spMkLst>
        </pc:spChg>
        <pc:spChg chg="mod ord">
          <ac:chgData name="Nisen, Henrik (BCG Platinion)" userId="23462ed3-8a28-48c0-b94c-224b90eb8d0a" providerId="ADAL" clId="{98F16264-753B-49F1-930F-12A12A4F559C}" dt="2024-02-29T10:32:02.939" v="1230"/>
          <ac:spMkLst>
            <pc:docMk/>
            <pc:sldMk cId="3264993228" sldId="2147483612"/>
            <ac:spMk id="5" creationId="{5F43F86A-EE19-5783-47DD-51DBCADCF320}"/>
          </ac:spMkLst>
        </pc:spChg>
        <pc:spChg chg="mod ord">
          <ac:chgData name="Nisen, Henrik (BCG Platinion)" userId="23462ed3-8a28-48c0-b94c-224b90eb8d0a" providerId="ADAL" clId="{98F16264-753B-49F1-930F-12A12A4F559C}" dt="2024-02-29T10:32:02.940" v="1232"/>
          <ac:spMkLst>
            <pc:docMk/>
            <pc:sldMk cId="3264993228" sldId="2147483612"/>
            <ac:spMk id="6" creationId="{CC2F7FCE-275B-F6E1-966E-D35A5ACECE5B}"/>
          </ac:spMkLst>
        </pc:spChg>
        <pc:spChg chg="mod ord">
          <ac:chgData name="Nisen, Henrik (BCG Platinion)" userId="23462ed3-8a28-48c0-b94c-224b90eb8d0a" providerId="ADAL" clId="{98F16264-753B-49F1-930F-12A12A4F559C}" dt="2024-02-29T10:32:03.045" v="1403"/>
          <ac:spMkLst>
            <pc:docMk/>
            <pc:sldMk cId="3264993228" sldId="2147483612"/>
            <ac:spMk id="7" creationId="{13CAEFBA-2787-3AFF-B8CD-42844596EB12}"/>
          </ac:spMkLst>
        </pc:spChg>
        <pc:spChg chg="add del mod modVis">
          <ac:chgData name="Nisen, Henrik (BCG Platinion)" userId="23462ed3-8a28-48c0-b94c-224b90eb8d0a" providerId="ADAL" clId="{98F16264-753B-49F1-930F-12A12A4F559C}" dt="2024-02-29T10:32:03.047" v="1407"/>
          <ac:spMkLst>
            <pc:docMk/>
            <pc:sldMk cId="3264993228" sldId="2147483612"/>
            <ac:spMk id="59" creationId="{07C5634B-5940-8AD9-5958-DB4D1453E65C}"/>
          </ac:spMkLst>
        </pc:spChg>
        <pc:spChg chg="mod ord">
          <ac:chgData name="Nisen, Henrik (BCG Platinion)" userId="23462ed3-8a28-48c0-b94c-224b90eb8d0a" providerId="ADAL" clId="{98F16264-753B-49F1-930F-12A12A4F559C}" dt="2024-02-29T10:32:03.030" v="1380"/>
          <ac:spMkLst>
            <pc:docMk/>
            <pc:sldMk cId="3264993228" sldId="2147483612"/>
            <ac:spMk id="74" creationId="{D71A5282-49F3-6764-EA72-C2877F184772}"/>
          </ac:spMkLst>
        </pc:spChg>
        <pc:spChg chg="mod ord">
          <ac:chgData name="Nisen, Henrik (BCG Platinion)" userId="23462ed3-8a28-48c0-b94c-224b90eb8d0a" providerId="ADAL" clId="{98F16264-753B-49F1-930F-12A12A4F559C}" dt="2024-02-29T10:32:03.033" v="1386"/>
          <ac:spMkLst>
            <pc:docMk/>
            <pc:sldMk cId="3264993228" sldId="2147483612"/>
            <ac:spMk id="81" creationId="{E0163D1B-C9FA-D4C6-813D-ACDE33431878}"/>
          </ac:spMkLst>
        </pc:spChg>
        <pc:spChg chg="mod">
          <ac:chgData name="Nisen, Henrik (BCG Platinion)" userId="23462ed3-8a28-48c0-b94c-224b90eb8d0a" providerId="ADAL" clId="{98F16264-753B-49F1-930F-12A12A4F559C}" dt="2024-02-29T10:32:03.036" v="1390"/>
          <ac:spMkLst>
            <pc:docMk/>
            <pc:sldMk cId="3264993228" sldId="2147483612"/>
            <ac:spMk id="82" creationId="{507125FD-ADFF-CC5A-E1C4-C23758A3B673}"/>
          </ac:spMkLst>
        </pc:spChg>
        <pc:spChg chg="mod">
          <ac:chgData name="Nisen, Henrik (BCG Platinion)" userId="23462ed3-8a28-48c0-b94c-224b90eb8d0a" providerId="ADAL" clId="{98F16264-753B-49F1-930F-12A12A4F559C}" dt="2024-02-29T10:32:03.037" v="1391"/>
          <ac:spMkLst>
            <pc:docMk/>
            <pc:sldMk cId="3264993228" sldId="2147483612"/>
            <ac:spMk id="83" creationId="{AFE18B81-E7A2-F65D-4913-C241B16E5C2C}"/>
          </ac:spMkLst>
        </pc:spChg>
        <pc:spChg chg="mod ord">
          <ac:chgData name="Nisen, Henrik (BCG Platinion)" userId="23462ed3-8a28-48c0-b94c-224b90eb8d0a" providerId="ADAL" clId="{98F16264-753B-49F1-930F-12A12A4F559C}" dt="2024-02-29T10:32:03.034" v="1388"/>
          <ac:spMkLst>
            <pc:docMk/>
            <pc:sldMk cId="3264993228" sldId="2147483612"/>
            <ac:spMk id="84" creationId="{B4B8ED13-3E08-0B69-0A42-D28F6B38D589}"/>
          </ac:spMkLst>
        </pc:spChg>
        <pc:spChg chg="mod">
          <ac:chgData name="Nisen, Henrik (BCG Platinion)" userId="23462ed3-8a28-48c0-b94c-224b90eb8d0a" providerId="ADAL" clId="{98F16264-753B-49F1-930F-12A12A4F559C}" dt="2024-02-29T10:32:03.037" v="1392"/>
          <ac:spMkLst>
            <pc:docMk/>
            <pc:sldMk cId="3264993228" sldId="2147483612"/>
            <ac:spMk id="85" creationId="{54CCB771-87E0-45D8-D4E2-6C47927639D1}"/>
          </ac:spMkLst>
        </pc:spChg>
        <pc:spChg chg="mod">
          <ac:chgData name="Nisen, Henrik (BCG Platinion)" userId="23462ed3-8a28-48c0-b94c-224b90eb8d0a" providerId="ADAL" clId="{98F16264-753B-49F1-930F-12A12A4F559C}" dt="2024-02-29T10:32:03.002" v="1344"/>
          <ac:spMkLst>
            <pc:docMk/>
            <pc:sldMk cId="3264993228" sldId="2147483612"/>
            <ac:spMk id="86" creationId="{EC7EAB62-937D-3E11-49E5-4416F4CA9BE4}"/>
          </ac:spMkLst>
        </pc:spChg>
        <pc:spChg chg="mod ord">
          <ac:chgData name="Nisen, Henrik (BCG Platinion)" userId="23462ed3-8a28-48c0-b94c-224b90eb8d0a" providerId="ADAL" clId="{98F16264-753B-49F1-930F-12A12A4F559C}" dt="2024-02-29T10:32:03.005" v="1348"/>
          <ac:spMkLst>
            <pc:docMk/>
            <pc:sldMk cId="3264993228" sldId="2147483612"/>
            <ac:spMk id="87" creationId="{7E4A1DFC-1AFA-AE61-AACC-53DA0ABCD7ED}"/>
          </ac:spMkLst>
        </pc:spChg>
        <pc:spChg chg="mod ord">
          <ac:chgData name="Nisen, Henrik (BCG Platinion)" userId="23462ed3-8a28-48c0-b94c-224b90eb8d0a" providerId="ADAL" clId="{98F16264-753B-49F1-930F-12A12A4F559C}" dt="2024-02-29T10:32:03.007" v="1351"/>
          <ac:spMkLst>
            <pc:docMk/>
            <pc:sldMk cId="3264993228" sldId="2147483612"/>
            <ac:spMk id="88" creationId="{ABEBB86A-0412-3CD5-2BD5-EE33B716C446}"/>
          </ac:spMkLst>
        </pc:spChg>
        <pc:spChg chg="mod">
          <ac:chgData name="Nisen, Henrik (BCG Platinion)" userId="23462ed3-8a28-48c0-b94c-224b90eb8d0a" providerId="ADAL" clId="{98F16264-753B-49F1-930F-12A12A4F559C}" dt="2024-02-29T10:32:03.008" v="1352"/>
          <ac:spMkLst>
            <pc:docMk/>
            <pc:sldMk cId="3264993228" sldId="2147483612"/>
            <ac:spMk id="89" creationId="{6089D362-4ACA-85EF-322C-843A138C53C7}"/>
          </ac:spMkLst>
        </pc:spChg>
        <pc:spChg chg="mod ord">
          <ac:chgData name="Nisen, Henrik (BCG Platinion)" userId="23462ed3-8a28-48c0-b94c-224b90eb8d0a" providerId="ADAL" clId="{98F16264-753B-49F1-930F-12A12A4F559C}" dt="2024-02-29T10:32:03.021" v="1370"/>
          <ac:spMkLst>
            <pc:docMk/>
            <pc:sldMk cId="3264993228" sldId="2147483612"/>
            <ac:spMk id="90" creationId="{1F8B30C0-5318-F145-2877-44CB344E4F8E}"/>
          </ac:spMkLst>
        </pc:spChg>
        <pc:spChg chg="mod">
          <ac:chgData name="Nisen, Henrik (BCG Platinion)" userId="23462ed3-8a28-48c0-b94c-224b90eb8d0a" providerId="ADAL" clId="{98F16264-753B-49F1-930F-12A12A4F559C}" dt="2024-02-29T10:32:03.006" v="1349"/>
          <ac:spMkLst>
            <pc:docMk/>
            <pc:sldMk cId="3264993228" sldId="2147483612"/>
            <ac:spMk id="91" creationId="{9B303F20-AB14-267E-4385-54511A5E4EFF}"/>
          </ac:spMkLst>
        </pc:spChg>
        <pc:spChg chg="mod ord">
          <ac:chgData name="Nisen, Henrik (BCG Platinion)" userId="23462ed3-8a28-48c0-b94c-224b90eb8d0a" providerId="ADAL" clId="{98F16264-753B-49F1-930F-12A12A4F559C}" dt="2024-02-29T10:32:03.009" v="1354"/>
          <ac:spMkLst>
            <pc:docMk/>
            <pc:sldMk cId="3264993228" sldId="2147483612"/>
            <ac:spMk id="92" creationId="{4A616973-1823-FC50-CCAD-610D0C5C8D9B}"/>
          </ac:spMkLst>
        </pc:spChg>
        <pc:spChg chg="mod ord">
          <ac:chgData name="Nisen, Henrik (BCG Platinion)" userId="23462ed3-8a28-48c0-b94c-224b90eb8d0a" providerId="ADAL" clId="{98F16264-753B-49F1-930F-12A12A4F559C}" dt="2024-02-29T10:32:03.012" v="1359"/>
          <ac:spMkLst>
            <pc:docMk/>
            <pc:sldMk cId="3264993228" sldId="2147483612"/>
            <ac:spMk id="93" creationId="{29E4B7E5-FECA-D3FA-CA2F-AA707877C42C}"/>
          </ac:spMkLst>
        </pc:spChg>
        <pc:spChg chg="mod">
          <ac:chgData name="Nisen, Henrik (BCG Platinion)" userId="23462ed3-8a28-48c0-b94c-224b90eb8d0a" providerId="ADAL" clId="{98F16264-753B-49F1-930F-12A12A4F559C}" dt="2024-02-29T10:32:03.013" v="1360"/>
          <ac:spMkLst>
            <pc:docMk/>
            <pc:sldMk cId="3264993228" sldId="2147483612"/>
            <ac:spMk id="94" creationId="{C2990678-E11F-4B33-CC12-C1CB25F727D0}"/>
          </ac:spMkLst>
        </pc:spChg>
        <pc:spChg chg="mod ord">
          <ac:chgData name="Nisen, Henrik (BCG Platinion)" userId="23462ed3-8a28-48c0-b94c-224b90eb8d0a" providerId="ADAL" clId="{98F16264-753B-49F1-930F-12A12A4F559C}" dt="2024-02-29T10:32:03.027" v="1376"/>
          <ac:spMkLst>
            <pc:docMk/>
            <pc:sldMk cId="3264993228" sldId="2147483612"/>
            <ac:spMk id="95" creationId="{DE2F9691-C8CA-57E7-C586-64654FE2347E}"/>
          </ac:spMkLst>
        </pc:spChg>
        <pc:spChg chg="mod">
          <ac:chgData name="Nisen, Henrik (BCG Platinion)" userId="23462ed3-8a28-48c0-b94c-224b90eb8d0a" providerId="ADAL" clId="{98F16264-753B-49F1-930F-12A12A4F559C}" dt="2024-02-29T10:32:03.022" v="1371"/>
          <ac:spMkLst>
            <pc:docMk/>
            <pc:sldMk cId="3264993228" sldId="2147483612"/>
            <ac:spMk id="96" creationId="{E9E385A3-6731-674A-C0FC-8164870F1C38}"/>
          </ac:spMkLst>
        </pc:spChg>
        <pc:spChg chg="mod ord">
          <ac:chgData name="Nisen, Henrik (BCG Platinion)" userId="23462ed3-8a28-48c0-b94c-224b90eb8d0a" providerId="ADAL" clId="{98F16264-753B-49F1-930F-12A12A4F559C}" dt="2024-02-29T10:32:03.002" v="1343"/>
          <ac:spMkLst>
            <pc:docMk/>
            <pc:sldMk cId="3264993228" sldId="2147483612"/>
            <ac:spMk id="97" creationId="{0BC40D6A-F5DC-7C6F-B58A-4993CAC64FD2}"/>
          </ac:spMkLst>
        </pc:spChg>
        <pc:spChg chg="mod ord">
          <ac:chgData name="Nisen, Henrik (BCG Platinion)" userId="23462ed3-8a28-48c0-b94c-224b90eb8d0a" providerId="ADAL" clId="{98F16264-753B-49F1-930F-12A12A4F559C}" dt="2024-02-29T10:32:03.031" v="1382"/>
          <ac:spMkLst>
            <pc:docMk/>
            <pc:sldMk cId="3264993228" sldId="2147483612"/>
            <ac:spMk id="98" creationId="{E75C7AF5-3D91-E4FC-7A99-D1E17C59A47B}"/>
          </ac:spMkLst>
        </pc:spChg>
        <pc:spChg chg="mod">
          <ac:chgData name="Nisen, Henrik (BCG Platinion)" userId="23462ed3-8a28-48c0-b94c-224b90eb8d0a" providerId="ADAL" clId="{98F16264-753B-49F1-930F-12A12A4F559C}" dt="2024-02-29T10:32:03.018" v="1367"/>
          <ac:spMkLst>
            <pc:docMk/>
            <pc:sldMk cId="3264993228" sldId="2147483612"/>
            <ac:spMk id="99" creationId="{118504DE-492B-DDB6-6D40-9648EE176136}"/>
          </ac:spMkLst>
        </pc:spChg>
        <pc:spChg chg="mod">
          <ac:chgData name="Nisen, Henrik (BCG Platinion)" userId="23462ed3-8a28-48c0-b94c-224b90eb8d0a" providerId="ADAL" clId="{98F16264-753B-49F1-930F-12A12A4F559C}" dt="2024-02-29T10:32:03.010" v="1355"/>
          <ac:spMkLst>
            <pc:docMk/>
            <pc:sldMk cId="3264993228" sldId="2147483612"/>
            <ac:spMk id="110" creationId="{5CEB2C8C-C89F-C1FC-1A3D-A48B69815BB1}"/>
          </ac:spMkLst>
        </pc:spChg>
        <pc:spChg chg="mod ord">
          <ac:chgData name="Nisen, Henrik (BCG Platinion)" userId="23462ed3-8a28-48c0-b94c-224b90eb8d0a" providerId="ADAL" clId="{98F16264-753B-49F1-930F-12A12A4F559C}" dt="2024-02-29T10:32:03.011" v="1357"/>
          <ac:spMkLst>
            <pc:docMk/>
            <pc:sldMk cId="3264993228" sldId="2147483612"/>
            <ac:spMk id="113" creationId="{9C6FEE6F-91DA-C985-FBE8-19CDF3502CA5}"/>
          </ac:spMkLst>
        </pc:spChg>
        <pc:spChg chg="mod">
          <ac:chgData name="Nisen, Henrik (BCG Platinion)" userId="23462ed3-8a28-48c0-b94c-224b90eb8d0a" providerId="ADAL" clId="{98F16264-753B-49F1-930F-12A12A4F559C}" dt="2024-02-29T10:32:03.020" v="1368"/>
          <ac:spMkLst>
            <pc:docMk/>
            <pc:sldMk cId="3264993228" sldId="2147483612"/>
            <ac:spMk id="114" creationId="{59D227CC-4EC7-86E2-2687-3A8018192320}"/>
          </ac:spMkLst>
        </pc:spChg>
        <pc:spChg chg="mod ord">
          <ac:chgData name="Nisen, Henrik (BCG Platinion)" userId="23462ed3-8a28-48c0-b94c-224b90eb8d0a" providerId="ADAL" clId="{98F16264-753B-49F1-930F-12A12A4F559C}" dt="2024-02-29T10:32:03.017" v="1366"/>
          <ac:spMkLst>
            <pc:docMk/>
            <pc:sldMk cId="3264993228" sldId="2147483612"/>
            <ac:spMk id="115" creationId="{C700AA40-7F42-2ADF-363B-BC79AF8D3E07}"/>
          </ac:spMkLst>
        </pc:spChg>
        <pc:spChg chg="mod">
          <ac:chgData name="Nisen, Henrik (BCG Platinion)" userId="23462ed3-8a28-48c0-b94c-224b90eb8d0a" providerId="ADAL" clId="{98F16264-753B-49F1-930F-12A12A4F559C}" dt="2024-02-29T10:32:03.025" v="1374"/>
          <ac:spMkLst>
            <pc:docMk/>
            <pc:sldMk cId="3264993228" sldId="2147483612"/>
            <ac:spMk id="117" creationId="{C3A50482-98EC-FD1A-1B25-6F7CE1421A70}"/>
          </ac:spMkLst>
        </pc:spChg>
        <pc:spChg chg="mod ord">
          <ac:chgData name="Nisen, Henrik (BCG Platinion)" userId="23462ed3-8a28-48c0-b94c-224b90eb8d0a" providerId="ADAL" clId="{98F16264-753B-49F1-930F-12A12A4F559C}" dt="2024-02-29T10:32:03.004" v="1346"/>
          <ac:spMkLst>
            <pc:docMk/>
            <pc:sldMk cId="3264993228" sldId="2147483612"/>
            <ac:spMk id="118" creationId="{055340C3-B0BD-D375-8267-A580647F1211}"/>
          </ac:spMkLst>
        </pc:spChg>
        <pc:spChg chg="mod">
          <ac:chgData name="Nisen, Henrik (BCG Platinion)" userId="23462ed3-8a28-48c0-b94c-224b90eb8d0a" providerId="ADAL" clId="{98F16264-753B-49F1-930F-12A12A4F559C}" dt="2024-02-29T10:32:03.028" v="1377"/>
          <ac:spMkLst>
            <pc:docMk/>
            <pc:sldMk cId="3264993228" sldId="2147483612"/>
            <ac:spMk id="119" creationId="{D2ABD258-FEDA-94F7-AA1F-4925B495117C}"/>
          </ac:spMkLst>
        </pc:spChg>
        <pc:spChg chg="mod">
          <ac:chgData name="Nisen, Henrik (BCG Platinion)" userId="23462ed3-8a28-48c0-b94c-224b90eb8d0a" providerId="ADAL" clId="{98F16264-753B-49F1-930F-12A12A4F559C}" dt="2024-02-29T10:32:03.014" v="1361"/>
          <ac:spMkLst>
            <pc:docMk/>
            <pc:sldMk cId="3264993228" sldId="2147483612"/>
            <ac:spMk id="120" creationId="{E7FB1C86-891D-6859-417F-B38A1BC2EE84}"/>
          </ac:spMkLst>
        </pc:spChg>
        <pc:spChg chg="mod">
          <ac:chgData name="Nisen, Henrik (BCG Platinion)" userId="23462ed3-8a28-48c0-b94c-224b90eb8d0a" providerId="ADAL" clId="{98F16264-753B-49F1-930F-12A12A4F559C}" dt="2024-02-29T10:32:03.041" v="1396"/>
          <ac:spMkLst>
            <pc:docMk/>
            <pc:sldMk cId="3264993228" sldId="2147483612"/>
            <ac:spMk id="121" creationId="{DE2B9B86-4C9A-DE4E-7AEF-46F79FEE04E6}"/>
          </ac:spMkLst>
        </pc:spChg>
        <pc:spChg chg="mod ord">
          <ac:chgData name="Nisen, Henrik (BCG Platinion)" userId="23462ed3-8a28-48c0-b94c-224b90eb8d0a" providerId="ADAL" clId="{98F16264-753B-49F1-930F-12A12A4F559C}" dt="2024-02-29T10:32:03.015" v="1363"/>
          <ac:spMkLst>
            <pc:docMk/>
            <pc:sldMk cId="3264993228" sldId="2147483612"/>
            <ac:spMk id="122" creationId="{501E721F-2C1F-A5D8-35EF-70633179749E}"/>
          </ac:spMkLst>
        </pc:spChg>
        <pc:spChg chg="mod ord">
          <ac:chgData name="Nisen, Henrik (BCG Platinion)" userId="23462ed3-8a28-48c0-b94c-224b90eb8d0a" providerId="ADAL" clId="{98F16264-753B-49F1-930F-12A12A4F559C}" dt="2024-02-29T10:32:03.024" v="1373"/>
          <ac:spMkLst>
            <pc:docMk/>
            <pc:sldMk cId="3264993228" sldId="2147483612"/>
            <ac:spMk id="123" creationId="{19E8D635-381D-1681-4B0C-FCD896AE3742}"/>
          </ac:spMkLst>
        </pc:spChg>
        <pc:spChg chg="mod">
          <ac:chgData name="Nisen, Henrik (BCG Platinion)" userId="23462ed3-8a28-48c0-b94c-224b90eb8d0a" providerId="ADAL" clId="{98F16264-753B-49F1-930F-12A12A4F559C}" dt="2024-02-29T10:32:03.035" v="1389"/>
          <ac:spMkLst>
            <pc:docMk/>
            <pc:sldMk cId="3264993228" sldId="2147483612"/>
            <ac:spMk id="124" creationId="{E40D43E1-166E-AFE3-64C0-CAE5E4C75659}"/>
          </ac:spMkLst>
        </pc:spChg>
        <pc:spChg chg="mod">
          <ac:chgData name="Nisen, Henrik (BCG Platinion)" userId="23462ed3-8a28-48c0-b94c-224b90eb8d0a" providerId="ADAL" clId="{98F16264-753B-49F1-930F-12A12A4F559C}" dt="2024-02-29T10:32:03.029" v="1378"/>
          <ac:spMkLst>
            <pc:docMk/>
            <pc:sldMk cId="3264993228" sldId="2147483612"/>
            <ac:spMk id="125" creationId="{185F15C4-4260-29DB-91DB-F79B686A726C}"/>
          </ac:spMkLst>
        </pc:spChg>
        <pc:spChg chg="mod ord">
          <ac:chgData name="Nisen, Henrik (BCG Platinion)" userId="23462ed3-8a28-48c0-b94c-224b90eb8d0a" providerId="ADAL" clId="{98F16264-753B-49F1-930F-12A12A4F559C}" dt="2024-02-29T10:32:03.032" v="1384"/>
          <ac:spMkLst>
            <pc:docMk/>
            <pc:sldMk cId="3264993228" sldId="2147483612"/>
            <ac:spMk id="126" creationId="{E0B7402E-676B-2F43-74BE-9E83AF213B36}"/>
          </ac:spMkLst>
        </pc:spChg>
        <pc:spChg chg="mod">
          <ac:chgData name="Nisen, Henrik (BCG Platinion)" userId="23462ed3-8a28-48c0-b94c-224b90eb8d0a" providerId="ADAL" clId="{98F16264-753B-49F1-930F-12A12A4F559C}" dt="2024-02-29T10:32:03.038" v="1393"/>
          <ac:spMkLst>
            <pc:docMk/>
            <pc:sldMk cId="3264993228" sldId="2147483612"/>
            <ac:spMk id="151" creationId="{9B9E6101-D212-03D3-571C-E5AC64661FDE}"/>
          </ac:spMkLst>
        </pc:spChg>
        <pc:spChg chg="mod">
          <ac:chgData name="Nisen, Henrik (BCG Platinion)" userId="23462ed3-8a28-48c0-b94c-224b90eb8d0a" providerId="ADAL" clId="{98F16264-753B-49F1-930F-12A12A4F559C}" dt="2024-02-29T10:32:03.039" v="1394"/>
          <ac:spMkLst>
            <pc:docMk/>
            <pc:sldMk cId="3264993228" sldId="2147483612"/>
            <ac:spMk id="152" creationId="{16F4A0E5-CCC4-4BF5-60DD-C10945B3E3A8}"/>
          </ac:spMkLst>
        </pc:spChg>
        <pc:spChg chg="mod">
          <ac:chgData name="Nisen, Henrik (BCG Platinion)" userId="23462ed3-8a28-48c0-b94c-224b90eb8d0a" providerId="ADAL" clId="{98F16264-753B-49F1-930F-12A12A4F559C}" dt="2024-02-29T10:32:03.040" v="1395"/>
          <ac:spMkLst>
            <pc:docMk/>
            <pc:sldMk cId="3264993228" sldId="2147483612"/>
            <ac:spMk id="153" creationId="{A13A7F6E-4FEA-CC0B-94FE-02F163A6E7B0}"/>
          </ac:spMkLst>
        </pc:spChg>
        <pc:spChg chg="mod">
          <ac:chgData name="Nisen, Henrik (BCG Platinion)" userId="23462ed3-8a28-48c0-b94c-224b90eb8d0a" providerId="ADAL" clId="{98F16264-753B-49F1-930F-12A12A4F559C}" dt="2024-02-29T10:32:03.016" v="1364"/>
          <ac:spMkLst>
            <pc:docMk/>
            <pc:sldMk cId="3264993228" sldId="2147483612"/>
            <ac:spMk id="160" creationId="{16EF51DD-7098-48EE-B026-42CA8A745259}"/>
          </ac:spMkLst>
        </pc:spChg>
        <pc:spChg chg="mod ord">
          <ac:chgData name="Nisen, Henrik (BCG Platinion)" userId="23462ed3-8a28-48c0-b94c-224b90eb8d0a" providerId="ADAL" clId="{98F16264-753B-49F1-930F-12A12A4F559C}" dt="2024-02-29T10:32:03.042" v="1398"/>
          <ac:spMkLst>
            <pc:docMk/>
            <pc:sldMk cId="3264993228" sldId="2147483612"/>
            <ac:spMk id="187" creationId="{85E730FD-E453-68E3-722F-CCAAEAB0AEED}"/>
          </ac:spMkLst>
        </pc:spChg>
        <pc:spChg chg="mod">
          <ac:chgData name="Nisen, Henrik (BCG Platinion)" userId="23462ed3-8a28-48c0-b94c-224b90eb8d0a" providerId="ADAL" clId="{98F16264-753B-49F1-930F-12A12A4F559C}" dt="2024-02-29T10:32:03.043" v="1400"/>
          <ac:spMkLst>
            <pc:docMk/>
            <pc:sldMk cId="3264993228" sldId="2147483612"/>
            <ac:spMk id="244" creationId="{1D74A072-9F09-2A0D-7DB0-06E199DC2306}"/>
          </ac:spMkLst>
        </pc:spChg>
        <pc:spChg chg="mod">
          <ac:chgData name="Nisen, Henrik (BCG Platinion)" userId="23462ed3-8a28-48c0-b94c-224b90eb8d0a" providerId="ADAL" clId="{98F16264-753B-49F1-930F-12A12A4F559C}" dt="2024-02-29T10:32:03.044" v="1401"/>
          <ac:spMkLst>
            <pc:docMk/>
            <pc:sldMk cId="3264993228" sldId="2147483612"/>
            <ac:spMk id="245" creationId="{0E871521-D876-97AE-880B-04E53B46C4C4}"/>
          </ac:spMkLst>
        </pc:spChg>
        <pc:grpChg chg="mod">
          <ac:chgData name="Nisen, Henrik (BCG Platinion)" userId="23462ed3-8a28-48c0-b94c-224b90eb8d0a" providerId="ADAL" clId="{98F16264-753B-49F1-930F-12A12A4F559C}" dt="2024-02-29T10:32:03.042" v="1399"/>
          <ac:grpSpMkLst>
            <pc:docMk/>
            <pc:sldMk cId="3264993228" sldId="2147483612"/>
            <ac:grpSpMk id="215" creationId="{A7DDEF73-46C6-4455-411B-DC2649E31C04}"/>
          </ac:grpSpMkLst>
        </pc:grpChg>
        <pc:graphicFrameChg chg="mod">
          <ac:chgData name="Nisen, Henrik (BCG Platinion)" userId="23462ed3-8a28-48c0-b94c-224b90eb8d0a" providerId="ADAL" clId="{98F16264-753B-49F1-930F-12A12A4F559C}" dt="2024-02-29T10:32:03.061" v="1409"/>
          <ac:graphicFrameMkLst>
            <pc:docMk/>
            <pc:sldMk cId="3264993228" sldId="2147483612"/>
            <ac:graphicFrameMk id="18" creationId="{B1F93F93-8617-34BA-4FE5-87FF8058C959}"/>
          </ac:graphicFrameMkLst>
        </pc:graphicFrameChg>
        <pc:graphicFrameChg chg="add mod replST">
          <ac:chgData name="Nisen, Henrik (BCG Platinion)" userId="23462ed3-8a28-48c0-b94c-224b90eb8d0a" providerId="ADAL" clId="{98F16264-753B-49F1-930F-12A12A4F559C}" dt="2024-02-29T10:32:02.941" v="1233"/>
          <ac:graphicFrameMkLst>
            <pc:docMk/>
            <pc:sldMk cId="3264993228" sldId="2147483612"/>
            <ac:graphicFrameMk id="60" creationId="{2E3ADE62-699D-8D97-A101-8E45E17EE87A}"/>
          </ac:graphicFrameMkLst>
        </pc:graphicFrameChg>
        <pc:graphicFrameChg chg="del">
          <ac:chgData name="Nisen, Henrik (BCG Platinion)" userId="23462ed3-8a28-48c0-b94c-224b90eb8d0a" providerId="ADAL" clId="{98F16264-753B-49F1-930F-12A12A4F559C}" dt="2024-02-29T10:32:02.895" v="1216"/>
          <ac:graphicFrameMkLst>
            <pc:docMk/>
            <pc:sldMk cId="3264993228" sldId="2147483612"/>
            <ac:graphicFrameMk id="116" creationId="{7197B13C-41DC-8D44-9F09-3E11394B0E2B}"/>
          </ac:graphicFrameMkLst>
        </pc:graphicFrameChg>
        <pc:cxnChg chg="mod ord">
          <ac:chgData name="Nisen, Henrik (BCG Platinion)" userId="23462ed3-8a28-48c0-b94c-224b90eb8d0a" providerId="ADAL" clId="{98F16264-753B-49F1-930F-12A12A4F559C}" dt="2024-02-29T10:32:02.942" v="1235"/>
          <ac:cxnSpMkLst>
            <pc:docMk/>
            <pc:sldMk cId="3264993228" sldId="2147483612"/>
            <ac:cxnSpMk id="8" creationId="{CB101BB2-1DD9-D2E7-DE9E-243AA1C490F6}"/>
          </ac:cxnSpMkLst>
        </pc:cxnChg>
        <pc:cxnChg chg="mod ord">
          <ac:chgData name="Nisen, Henrik (BCG Platinion)" userId="23462ed3-8a28-48c0-b94c-224b90eb8d0a" providerId="ADAL" clId="{98F16264-753B-49F1-930F-12A12A4F559C}" dt="2024-02-29T10:32:02.943" v="1237"/>
          <ac:cxnSpMkLst>
            <pc:docMk/>
            <pc:sldMk cId="3264993228" sldId="2147483612"/>
            <ac:cxnSpMk id="9" creationId="{DC916649-BE79-0916-997C-1E9A9C67FFBD}"/>
          </ac:cxnSpMkLst>
        </pc:cxnChg>
        <pc:cxnChg chg="mod ord">
          <ac:chgData name="Nisen, Henrik (BCG Platinion)" userId="23462ed3-8a28-48c0-b94c-224b90eb8d0a" providerId="ADAL" clId="{98F16264-753B-49F1-930F-12A12A4F559C}" dt="2024-02-29T10:32:02.944" v="1239"/>
          <ac:cxnSpMkLst>
            <pc:docMk/>
            <pc:sldMk cId="3264993228" sldId="2147483612"/>
            <ac:cxnSpMk id="10" creationId="{DE1668FF-B385-E8D0-7E4F-845E9BA2B386}"/>
          </ac:cxnSpMkLst>
        </pc:cxnChg>
        <pc:cxnChg chg="mod ord">
          <ac:chgData name="Nisen, Henrik (BCG Platinion)" userId="23462ed3-8a28-48c0-b94c-224b90eb8d0a" providerId="ADAL" clId="{98F16264-753B-49F1-930F-12A12A4F559C}" dt="2024-02-29T10:32:02.946" v="1241"/>
          <ac:cxnSpMkLst>
            <pc:docMk/>
            <pc:sldMk cId="3264993228" sldId="2147483612"/>
            <ac:cxnSpMk id="11" creationId="{34D7FB03-B29D-2854-22C8-8E82FCB53072}"/>
          </ac:cxnSpMkLst>
        </pc:cxnChg>
        <pc:cxnChg chg="mod ord">
          <ac:chgData name="Nisen, Henrik (BCG Platinion)" userId="23462ed3-8a28-48c0-b94c-224b90eb8d0a" providerId="ADAL" clId="{98F16264-753B-49F1-930F-12A12A4F559C}" dt="2024-02-29T10:32:02.948" v="1247"/>
          <ac:cxnSpMkLst>
            <pc:docMk/>
            <pc:sldMk cId="3264993228" sldId="2147483612"/>
            <ac:cxnSpMk id="12" creationId="{56B21ECE-5BFF-2624-A9D3-7DCC8628FB67}"/>
          </ac:cxnSpMkLst>
        </pc:cxnChg>
        <pc:cxnChg chg="mod ord">
          <ac:chgData name="Nisen, Henrik (BCG Platinion)" userId="23462ed3-8a28-48c0-b94c-224b90eb8d0a" providerId="ADAL" clId="{98F16264-753B-49F1-930F-12A12A4F559C}" dt="2024-02-29T10:32:02.948" v="1245"/>
          <ac:cxnSpMkLst>
            <pc:docMk/>
            <pc:sldMk cId="3264993228" sldId="2147483612"/>
            <ac:cxnSpMk id="13" creationId="{C4AA725F-B581-5FF3-E09C-E2367C21EFE6}"/>
          </ac:cxnSpMkLst>
        </pc:cxnChg>
        <pc:cxnChg chg="mod ord">
          <ac:chgData name="Nisen, Henrik (BCG Platinion)" userId="23462ed3-8a28-48c0-b94c-224b90eb8d0a" providerId="ADAL" clId="{98F16264-753B-49F1-930F-12A12A4F559C}" dt="2024-02-29T10:32:02.947" v="1243"/>
          <ac:cxnSpMkLst>
            <pc:docMk/>
            <pc:sldMk cId="3264993228" sldId="2147483612"/>
            <ac:cxnSpMk id="14" creationId="{4E005F48-A73C-B787-B7E2-A1B31CF5C47F}"/>
          </ac:cxnSpMkLst>
        </pc:cxnChg>
        <pc:cxnChg chg="mod ord">
          <ac:chgData name="Nisen, Henrik (BCG Platinion)" userId="23462ed3-8a28-48c0-b94c-224b90eb8d0a" providerId="ADAL" clId="{98F16264-753B-49F1-930F-12A12A4F559C}" dt="2024-02-29T10:32:02.949" v="1249"/>
          <ac:cxnSpMkLst>
            <pc:docMk/>
            <pc:sldMk cId="3264993228" sldId="2147483612"/>
            <ac:cxnSpMk id="15" creationId="{78325BB2-9DB9-F93B-F781-E35910F73BE5}"/>
          </ac:cxnSpMkLst>
        </pc:cxnChg>
        <pc:cxnChg chg="mod ord">
          <ac:chgData name="Nisen, Henrik (BCG Platinion)" userId="23462ed3-8a28-48c0-b94c-224b90eb8d0a" providerId="ADAL" clId="{98F16264-753B-49F1-930F-12A12A4F559C}" dt="2024-02-29T10:32:02.950" v="1251"/>
          <ac:cxnSpMkLst>
            <pc:docMk/>
            <pc:sldMk cId="3264993228" sldId="2147483612"/>
            <ac:cxnSpMk id="16" creationId="{780C3784-D567-1669-06AF-CC26B2FBF6D1}"/>
          </ac:cxnSpMkLst>
        </pc:cxnChg>
        <pc:cxnChg chg="mod ord">
          <ac:chgData name="Nisen, Henrik (BCG Platinion)" userId="23462ed3-8a28-48c0-b94c-224b90eb8d0a" providerId="ADAL" clId="{98F16264-753B-49F1-930F-12A12A4F559C}" dt="2024-02-29T10:32:02.952" v="1253"/>
          <ac:cxnSpMkLst>
            <pc:docMk/>
            <pc:sldMk cId="3264993228" sldId="2147483612"/>
            <ac:cxnSpMk id="17" creationId="{F42EDAA8-1DEE-E253-43EB-17A816D3BB83}"/>
          </ac:cxnSpMkLst>
        </pc:cxnChg>
        <pc:cxnChg chg="mod ord">
          <ac:chgData name="Nisen, Henrik (BCG Platinion)" userId="23462ed3-8a28-48c0-b94c-224b90eb8d0a" providerId="ADAL" clId="{98F16264-753B-49F1-930F-12A12A4F559C}" dt="2024-02-29T10:32:02.955" v="1257"/>
          <ac:cxnSpMkLst>
            <pc:docMk/>
            <pc:sldMk cId="3264993228" sldId="2147483612"/>
            <ac:cxnSpMk id="19" creationId="{5987A039-FD10-ADE1-6010-CE5A53B7F21D}"/>
          </ac:cxnSpMkLst>
        </pc:cxnChg>
        <pc:cxnChg chg="mod ord">
          <ac:chgData name="Nisen, Henrik (BCG Platinion)" userId="23462ed3-8a28-48c0-b94c-224b90eb8d0a" providerId="ADAL" clId="{98F16264-753B-49F1-930F-12A12A4F559C}" dt="2024-02-29T10:32:02.957" v="1259"/>
          <ac:cxnSpMkLst>
            <pc:docMk/>
            <pc:sldMk cId="3264993228" sldId="2147483612"/>
            <ac:cxnSpMk id="20" creationId="{08171B52-CE2F-90AE-71FC-7745EDB3D03B}"/>
          </ac:cxnSpMkLst>
        </pc:cxnChg>
        <pc:cxnChg chg="mod ord">
          <ac:chgData name="Nisen, Henrik (BCG Platinion)" userId="23462ed3-8a28-48c0-b94c-224b90eb8d0a" providerId="ADAL" clId="{98F16264-753B-49F1-930F-12A12A4F559C}" dt="2024-02-29T10:32:02.954" v="1255"/>
          <ac:cxnSpMkLst>
            <pc:docMk/>
            <pc:sldMk cId="3264993228" sldId="2147483612"/>
            <ac:cxnSpMk id="21" creationId="{834471C1-79BA-6428-5B6A-87DAF5335028}"/>
          </ac:cxnSpMkLst>
        </pc:cxnChg>
        <pc:cxnChg chg="mod ord">
          <ac:chgData name="Nisen, Henrik (BCG Platinion)" userId="23462ed3-8a28-48c0-b94c-224b90eb8d0a" providerId="ADAL" clId="{98F16264-753B-49F1-930F-12A12A4F559C}" dt="2024-02-29T10:32:02.960" v="1263"/>
          <ac:cxnSpMkLst>
            <pc:docMk/>
            <pc:sldMk cId="3264993228" sldId="2147483612"/>
            <ac:cxnSpMk id="22" creationId="{B45D840F-D4F0-AC55-9F76-A10417065DAD}"/>
          </ac:cxnSpMkLst>
        </pc:cxnChg>
        <pc:cxnChg chg="mod ord">
          <ac:chgData name="Nisen, Henrik (BCG Platinion)" userId="23462ed3-8a28-48c0-b94c-224b90eb8d0a" providerId="ADAL" clId="{98F16264-753B-49F1-930F-12A12A4F559C}" dt="2024-02-29T10:32:02.962" v="1265"/>
          <ac:cxnSpMkLst>
            <pc:docMk/>
            <pc:sldMk cId="3264993228" sldId="2147483612"/>
            <ac:cxnSpMk id="23" creationId="{10CCA6FF-CF9B-CFF3-B03A-5F7879539A31}"/>
          </ac:cxnSpMkLst>
        </pc:cxnChg>
        <pc:cxnChg chg="mod ord">
          <ac:chgData name="Nisen, Henrik (BCG Platinion)" userId="23462ed3-8a28-48c0-b94c-224b90eb8d0a" providerId="ADAL" clId="{98F16264-753B-49F1-930F-12A12A4F559C}" dt="2024-02-29T10:32:02.959" v="1261"/>
          <ac:cxnSpMkLst>
            <pc:docMk/>
            <pc:sldMk cId="3264993228" sldId="2147483612"/>
            <ac:cxnSpMk id="24" creationId="{DBBB8302-2E6B-B9F5-4BEE-A358C422D8B9}"/>
          </ac:cxnSpMkLst>
        </pc:cxnChg>
        <pc:cxnChg chg="mod ord">
          <ac:chgData name="Nisen, Henrik (BCG Platinion)" userId="23462ed3-8a28-48c0-b94c-224b90eb8d0a" providerId="ADAL" clId="{98F16264-753B-49F1-930F-12A12A4F559C}" dt="2024-02-29T10:32:02.963" v="1267"/>
          <ac:cxnSpMkLst>
            <pc:docMk/>
            <pc:sldMk cId="3264993228" sldId="2147483612"/>
            <ac:cxnSpMk id="25" creationId="{C16ED6B2-6200-BE92-1C61-7C064385A6DB}"/>
          </ac:cxnSpMkLst>
        </pc:cxnChg>
        <pc:cxnChg chg="mod ord">
          <ac:chgData name="Nisen, Henrik (BCG Platinion)" userId="23462ed3-8a28-48c0-b94c-224b90eb8d0a" providerId="ADAL" clId="{98F16264-753B-49F1-930F-12A12A4F559C}" dt="2024-02-29T10:32:02.967" v="1271"/>
          <ac:cxnSpMkLst>
            <pc:docMk/>
            <pc:sldMk cId="3264993228" sldId="2147483612"/>
            <ac:cxnSpMk id="26" creationId="{7532D461-A228-DF33-4BEE-FAB3CC8879E9}"/>
          </ac:cxnSpMkLst>
        </pc:cxnChg>
        <pc:cxnChg chg="mod ord">
          <ac:chgData name="Nisen, Henrik (BCG Platinion)" userId="23462ed3-8a28-48c0-b94c-224b90eb8d0a" providerId="ADAL" clId="{98F16264-753B-49F1-930F-12A12A4F559C}" dt="2024-02-29T10:32:02.965" v="1269"/>
          <ac:cxnSpMkLst>
            <pc:docMk/>
            <pc:sldMk cId="3264993228" sldId="2147483612"/>
            <ac:cxnSpMk id="27" creationId="{EE1CC03E-FCFB-5A49-E5BC-8837A3DC2DF2}"/>
          </ac:cxnSpMkLst>
        </pc:cxnChg>
        <pc:cxnChg chg="mod ord">
          <ac:chgData name="Nisen, Henrik (BCG Platinion)" userId="23462ed3-8a28-48c0-b94c-224b90eb8d0a" providerId="ADAL" clId="{98F16264-753B-49F1-930F-12A12A4F559C}" dt="2024-02-29T10:32:02.970" v="1277"/>
          <ac:cxnSpMkLst>
            <pc:docMk/>
            <pc:sldMk cId="3264993228" sldId="2147483612"/>
            <ac:cxnSpMk id="28" creationId="{4564507F-4F35-081B-8470-E2893F8BF21A}"/>
          </ac:cxnSpMkLst>
        </pc:cxnChg>
        <pc:cxnChg chg="mod ord">
          <ac:chgData name="Nisen, Henrik (BCG Platinion)" userId="23462ed3-8a28-48c0-b94c-224b90eb8d0a" providerId="ADAL" clId="{98F16264-753B-49F1-930F-12A12A4F559C}" dt="2024-02-29T10:32:02.968" v="1273"/>
          <ac:cxnSpMkLst>
            <pc:docMk/>
            <pc:sldMk cId="3264993228" sldId="2147483612"/>
            <ac:cxnSpMk id="29" creationId="{9D4CE214-7D40-9425-5D65-D34575C7B343}"/>
          </ac:cxnSpMkLst>
        </pc:cxnChg>
        <pc:cxnChg chg="mod ord">
          <ac:chgData name="Nisen, Henrik (BCG Platinion)" userId="23462ed3-8a28-48c0-b94c-224b90eb8d0a" providerId="ADAL" clId="{98F16264-753B-49F1-930F-12A12A4F559C}" dt="2024-02-29T10:32:02.969" v="1275"/>
          <ac:cxnSpMkLst>
            <pc:docMk/>
            <pc:sldMk cId="3264993228" sldId="2147483612"/>
            <ac:cxnSpMk id="30" creationId="{31155AC3-64CB-8436-5B8F-62CDC1D2BC07}"/>
          </ac:cxnSpMkLst>
        </pc:cxnChg>
        <pc:cxnChg chg="mod ord">
          <ac:chgData name="Nisen, Henrik (BCG Platinion)" userId="23462ed3-8a28-48c0-b94c-224b90eb8d0a" providerId="ADAL" clId="{98F16264-753B-49F1-930F-12A12A4F559C}" dt="2024-02-29T10:32:02.970" v="1279"/>
          <ac:cxnSpMkLst>
            <pc:docMk/>
            <pc:sldMk cId="3264993228" sldId="2147483612"/>
            <ac:cxnSpMk id="31" creationId="{64F30394-3700-69ED-54BD-9EB787A68245}"/>
          </ac:cxnSpMkLst>
        </pc:cxnChg>
        <pc:cxnChg chg="mod ord">
          <ac:chgData name="Nisen, Henrik (BCG Platinion)" userId="23462ed3-8a28-48c0-b94c-224b90eb8d0a" providerId="ADAL" clId="{98F16264-753B-49F1-930F-12A12A4F559C}" dt="2024-02-29T10:32:02.971" v="1281"/>
          <ac:cxnSpMkLst>
            <pc:docMk/>
            <pc:sldMk cId="3264993228" sldId="2147483612"/>
            <ac:cxnSpMk id="32" creationId="{E7E0E9AE-2417-69EC-509C-031F0C4681A5}"/>
          </ac:cxnSpMkLst>
        </pc:cxnChg>
        <pc:cxnChg chg="mod ord">
          <ac:chgData name="Nisen, Henrik (BCG Platinion)" userId="23462ed3-8a28-48c0-b94c-224b90eb8d0a" providerId="ADAL" clId="{98F16264-753B-49F1-930F-12A12A4F559C}" dt="2024-02-29T10:32:02.976" v="1287"/>
          <ac:cxnSpMkLst>
            <pc:docMk/>
            <pc:sldMk cId="3264993228" sldId="2147483612"/>
            <ac:cxnSpMk id="33" creationId="{D86343AC-4F54-0047-8AA2-B59575F34CDB}"/>
          </ac:cxnSpMkLst>
        </pc:cxnChg>
        <pc:cxnChg chg="mod ord">
          <ac:chgData name="Nisen, Henrik (BCG Platinion)" userId="23462ed3-8a28-48c0-b94c-224b90eb8d0a" providerId="ADAL" clId="{98F16264-753B-49F1-930F-12A12A4F559C}" dt="2024-02-29T10:32:02.973" v="1283"/>
          <ac:cxnSpMkLst>
            <pc:docMk/>
            <pc:sldMk cId="3264993228" sldId="2147483612"/>
            <ac:cxnSpMk id="34" creationId="{1780A85B-BEE4-A815-284D-5F638E4658A1}"/>
          </ac:cxnSpMkLst>
        </pc:cxnChg>
        <pc:cxnChg chg="mod ord">
          <ac:chgData name="Nisen, Henrik (BCG Platinion)" userId="23462ed3-8a28-48c0-b94c-224b90eb8d0a" providerId="ADAL" clId="{98F16264-753B-49F1-930F-12A12A4F559C}" dt="2024-02-29T10:32:02.974" v="1285"/>
          <ac:cxnSpMkLst>
            <pc:docMk/>
            <pc:sldMk cId="3264993228" sldId="2147483612"/>
            <ac:cxnSpMk id="35" creationId="{37AB657F-BD56-BDBF-734A-A2439B2BB7F2}"/>
          </ac:cxnSpMkLst>
        </pc:cxnChg>
        <pc:cxnChg chg="mod ord">
          <ac:chgData name="Nisen, Henrik (BCG Platinion)" userId="23462ed3-8a28-48c0-b94c-224b90eb8d0a" providerId="ADAL" clId="{98F16264-753B-49F1-930F-12A12A4F559C}" dt="2024-02-29T10:32:02.979" v="1293"/>
          <ac:cxnSpMkLst>
            <pc:docMk/>
            <pc:sldMk cId="3264993228" sldId="2147483612"/>
            <ac:cxnSpMk id="36" creationId="{BC5D919A-DAA9-03F4-CCE3-49F6BAFEC69F}"/>
          </ac:cxnSpMkLst>
        </pc:cxnChg>
        <pc:cxnChg chg="mod ord">
          <ac:chgData name="Nisen, Henrik (BCG Platinion)" userId="23462ed3-8a28-48c0-b94c-224b90eb8d0a" providerId="ADAL" clId="{98F16264-753B-49F1-930F-12A12A4F559C}" dt="2024-02-29T10:32:02.977" v="1289"/>
          <ac:cxnSpMkLst>
            <pc:docMk/>
            <pc:sldMk cId="3264993228" sldId="2147483612"/>
            <ac:cxnSpMk id="37" creationId="{22395034-C814-D6D8-FC24-616EFC857245}"/>
          </ac:cxnSpMkLst>
        </pc:cxnChg>
        <pc:cxnChg chg="mod ord">
          <ac:chgData name="Nisen, Henrik (BCG Platinion)" userId="23462ed3-8a28-48c0-b94c-224b90eb8d0a" providerId="ADAL" clId="{98F16264-753B-49F1-930F-12A12A4F559C}" dt="2024-02-29T10:32:02.978" v="1291"/>
          <ac:cxnSpMkLst>
            <pc:docMk/>
            <pc:sldMk cId="3264993228" sldId="2147483612"/>
            <ac:cxnSpMk id="38" creationId="{16136DAE-2209-D0AE-5FAA-915D0495EF69}"/>
          </ac:cxnSpMkLst>
        </pc:cxnChg>
        <pc:cxnChg chg="mod ord">
          <ac:chgData name="Nisen, Henrik (BCG Platinion)" userId="23462ed3-8a28-48c0-b94c-224b90eb8d0a" providerId="ADAL" clId="{98F16264-753B-49F1-930F-12A12A4F559C}" dt="2024-02-29T10:32:02.981" v="1297"/>
          <ac:cxnSpMkLst>
            <pc:docMk/>
            <pc:sldMk cId="3264993228" sldId="2147483612"/>
            <ac:cxnSpMk id="39" creationId="{4989D6F6-272D-214A-FC93-A3663B027D30}"/>
          </ac:cxnSpMkLst>
        </pc:cxnChg>
        <pc:cxnChg chg="mod ord">
          <ac:chgData name="Nisen, Henrik (BCG Platinion)" userId="23462ed3-8a28-48c0-b94c-224b90eb8d0a" providerId="ADAL" clId="{98F16264-753B-49F1-930F-12A12A4F559C}" dt="2024-02-29T10:32:02.982" v="1299"/>
          <ac:cxnSpMkLst>
            <pc:docMk/>
            <pc:sldMk cId="3264993228" sldId="2147483612"/>
            <ac:cxnSpMk id="40" creationId="{3A461933-EC3D-9826-8DE6-DBE360CE61CD}"/>
          </ac:cxnSpMkLst>
        </pc:cxnChg>
        <pc:cxnChg chg="mod ord">
          <ac:chgData name="Nisen, Henrik (BCG Platinion)" userId="23462ed3-8a28-48c0-b94c-224b90eb8d0a" providerId="ADAL" clId="{98F16264-753B-49F1-930F-12A12A4F559C}" dt="2024-02-29T10:32:02.980" v="1295"/>
          <ac:cxnSpMkLst>
            <pc:docMk/>
            <pc:sldMk cId="3264993228" sldId="2147483612"/>
            <ac:cxnSpMk id="41" creationId="{05904A67-F535-CA2B-11F8-711D494E15CB}"/>
          </ac:cxnSpMkLst>
        </pc:cxnChg>
        <pc:cxnChg chg="mod ord">
          <ac:chgData name="Nisen, Henrik (BCG Platinion)" userId="23462ed3-8a28-48c0-b94c-224b90eb8d0a" providerId="ADAL" clId="{98F16264-753B-49F1-930F-12A12A4F559C}" dt="2024-02-29T10:32:02.984" v="1303"/>
          <ac:cxnSpMkLst>
            <pc:docMk/>
            <pc:sldMk cId="3264993228" sldId="2147483612"/>
            <ac:cxnSpMk id="42" creationId="{25187C55-80AE-5FF3-D4AB-20D2A3163FC1}"/>
          </ac:cxnSpMkLst>
        </pc:cxnChg>
        <pc:cxnChg chg="mod ord">
          <ac:chgData name="Nisen, Henrik (BCG Platinion)" userId="23462ed3-8a28-48c0-b94c-224b90eb8d0a" providerId="ADAL" clId="{98F16264-753B-49F1-930F-12A12A4F559C}" dt="2024-02-29T10:32:02.983" v="1301"/>
          <ac:cxnSpMkLst>
            <pc:docMk/>
            <pc:sldMk cId="3264993228" sldId="2147483612"/>
            <ac:cxnSpMk id="43" creationId="{85B04080-5BDF-394C-25D1-6D397A1E68B3}"/>
          </ac:cxnSpMkLst>
        </pc:cxnChg>
        <pc:cxnChg chg="mod ord">
          <ac:chgData name="Nisen, Henrik (BCG Platinion)" userId="23462ed3-8a28-48c0-b94c-224b90eb8d0a" providerId="ADAL" clId="{98F16264-753B-49F1-930F-12A12A4F559C}" dt="2024-02-29T10:32:02.985" v="1305"/>
          <ac:cxnSpMkLst>
            <pc:docMk/>
            <pc:sldMk cId="3264993228" sldId="2147483612"/>
            <ac:cxnSpMk id="44" creationId="{5A554B0E-F4A1-7A8E-97E4-C0257381C25B}"/>
          </ac:cxnSpMkLst>
        </pc:cxnChg>
        <pc:cxnChg chg="mod ord">
          <ac:chgData name="Nisen, Henrik (BCG Platinion)" userId="23462ed3-8a28-48c0-b94c-224b90eb8d0a" providerId="ADAL" clId="{98F16264-753B-49F1-930F-12A12A4F559C}" dt="2024-02-29T10:32:02.986" v="1309"/>
          <ac:cxnSpMkLst>
            <pc:docMk/>
            <pc:sldMk cId="3264993228" sldId="2147483612"/>
            <ac:cxnSpMk id="45" creationId="{4937A4A1-074E-7D0F-12E4-1C4F80B8FDBF}"/>
          </ac:cxnSpMkLst>
        </pc:cxnChg>
        <pc:cxnChg chg="mod ord">
          <ac:chgData name="Nisen, Henrik (BCG Platinion)" userId="23462ed3-8a28-48c0-b94c-224b90eb8d0a" providerId="ADAL" clId="{98F16264-753B-49F1-930F-12A12A4F559C}" dt="2024-02-29T10:32:02.985" v="1307"/>
          <ac:cxnSpMkLst>
            <pc:docMk/>
            <pc:sldMk cId="3264993228" sldId="2147483612"/>
            <ac:cxnSpMk id="46" creationId="{348C3654-4E0C-83CB-0723-6F6D1771236A}"/>
          </ac:cxnSpMkLst>
        </pc:cxnChg>
        <pc:cxnChg chg="mod ord">
          <ac:chgData name="Nisen, Henrik (BCG Platinion)" userId="23462ed3-8a28-48c0-b94c-224b90eb8d0a" providerId="ADAL" clId="{98F16264-753B-49F1-930F-12A12A4F559C}" dt="2024-02-29T10:32:02.987" v="1311"/>
          <ac:cxnSpMkLst>
            <pc:docMk/>
            <pc:sldMk cId="3264993228" sldId="2147483612"/>
            <ac:cxnSpMk id="47" creationId="{81529735-0891-005E-170B-1CD56658A7F0}"/>
          </ac:cxnSpMkLst>
        </pc:cxnChg>
        <pc:cxnChg chg="mod ord">
          <ac:chgData name="Nisen, Henrik (BCG Platinion)" userId="23462ed3-8a28-48c0-b94c-224b90eb8d0a" providerId="ADAL" clId="{98F16264-753B-49F1-930F-12A12A4F559C}" dt="2024-02-29T10:32:02.989" v="1315"/>
          <ac:cxnSpMkLst>
            <pc:docMk/>
            <pc:sldMk cId="3264993228" sldId="2147483612"/>
            <ac:cxnSpMk id="48" creationId="{8D40EDDF-96D8-9E39-8AB3-2684BD359FE8}"/>
          </ac:cxnSpMkLst>
        </pc:cxnChg>
        <pc:cxnChg chg="mod ord">
          <ac:chgData name="Nisen, Henrik (BCG Platinion)" userId="23462ed3-8a28-48c0-b94c-224b90eb8d0a" providerId="ADAL" clId="{98F16264-753B-49F1-930F-12A12A4F559C}" dt="2024-02-29T10:32:02.988" v="1313"/>
          <ac:cxnSpMkLst>
            <pc:docMk/>
            <pc:sldMk cId="3264993228" sldId="2147483612"/>
            <ac:cxnSpMk id="49" creationId="{605FD5B3-CE24-DCF8-18F8-32D653539833}"/>
          </ac:cxnSpMkLst>
        </pc:cxnChg>
        <pc:cxnChg chg="mod ord">
          <ac:chgData name="Nisen, Henrik (BCG Platinion)" userId="23462ed3-8a28-48c0-b94c-224b90eb8d0a" providerId="ADAL" clId="{98F16264-753B-49F1-930F-12A12A4F559C}" dt="2024-02-29T10:32:02.990" v="1317"/>
          <ac:cxnSpMkLst>
            <pc:docMk/>
            <pc:sldMk cId="3264993228" sldId="2147483612"/>
            <ac:cxnSpMk id="50" creationId="{AF8A5EE0-C97C-7077-2236-8D2C06200986}"/>
          </ac:cxnSpMkLst>
        </pc:cxnChg>
        <pc:cxnChg chg="mod ord">
          <ac:chgData name="Nisen, Henrik (BCG Platinion)" userId="23462ed3-8a28-48c0-b94c-224b90eb8d0a" providerId="ADAL" clId="{98F16264-753B-49F1-930F-12A12A4F559C}" dt="2024-02-29T10:32:02.991" v="1319"/>
          <ac:cxnSpMkLst>
            <pc:docMk/>
            <pc:sldMk cId="3264993228" sldId="2147483612"/>
            <ac:cxnSpMk id="51" creationId="{F0CFA4FC-21DA-A4C4-DA81-D0D69497B02C}"/>
          </ac:cxnSpMkLst>
        </pc:cxnChg>
        <pc:cxnChg chg="mod ord">
          <ac:chgData name="Nisen, Henrik (BCG Platinion)" userId="23462ed3-8a28-48c0-b94c-224b90eb8d0a" providerId="ADAL" clId="{98F16264-753B-49F1-930F-12A12A4F559C}" dt="2024-02-29T10:32:02.992" v="1321"/>
          <ac:cxnSpMkLst>
            <pc:docMk/>
            <pc:sldMk cId="3264993228" sldId="2147483612"/>
            <ac:cxnSpMk id="52" creationId="{85DE3CEA-5898-AFA4-9090-BA168A6BAC04}"/>
          </ac:cxnSpMkLst>
        </pc:cxnChg>
        <pc:cxnChg chg="mod ord">
          <ac:chgData name="Nisen, Henrik (BCG Platinion)" userId="23462ed3-8a28-48c0-b94c-224b90eb8d0a" providerId="ADAL" clId="{98F16264-753B-49F1-930F-12A12A4F559C}" dt="2024-02-29T10:32:02.995" v="1327"/>
          <ac:cxnSpMkLst>
            <pc:docMk/>
            <pc:sldMk cId="3264993228" sldId="2147483612"/>
            <ac:cxnSpMk id="53" creationId="{CE3F733B-5FE0-EC6E-184B-A0E64B971CE0}"/>
          </ac:cxnSpMkLst>
        </pc:cxnChg>
        <pc:cxnChg chg="mod ord">
          <ac:chgData name="Nisen, Henrik (BCG Platinion)" userId="23462ed3-8a28-48c0-b94c-224b90eb8d0a" providerId="ADAL" clId="{98F16264-753B-49F1-930F-12A12A4F559C}" dt="2024-02-29T10:32:02.994" v="1325"/>
          <ac:cxnSpMkLst>
            <pc:docMk/>
            <pc:sldMk cId="3264993228" sldId="2147483612"/>
            <ac:cxnSpMk id="54" creationId="{CAE2D1CA-96A2-1BC5-5442-49F3B25654B2}"/>
          </ac:cxnSpMkLst>
        </pc:cxnChg>
        <pc:cxnChg chg="mod ord">
          <ac:chgData name="Nisen, Henrik (BCG Platinion)" userId="23462ed3-8a28-48c0-b94c-224b90eb8d0a" providerId="ADAL" clId="{98F16264-753B-49F1-930F-12A12A4F559C}" dt="2024-02-29T10:32:02.993" v="1323"/>
          <ac:cxnSpMkLst>
            <pc:docMk/>
            <pc:sldMk cId="3264993228" sldId="2147483612"/>
            <ac:cxnSpMk id="55" creationId="{C2D4A6B8-27E8-E478-4E7A-9C253F38A66E}"/>
          </ac:cxnSpMkLst>
        </pc:cxnChg>
        <pc:cxnChg chg="mod ord">
          <ac:chgData name="Nisen, Henrik (BCG Platinion)" userId="23462ed3-8a28-48c0-b94c-224b90eb8d0a" providerId="ADAL" clId="{98F16264-753B-49F1-930F-12A12A4F559C}" dt="2024-02-29T10:32:02.997" v="1333"/>
          <ac:cxnSpMkLst>
            <pc:docMk/>
            <pc:sldMk cId="3264993228" sldId="2147483612"/>
            <ac:cxnSpMk id="56" creationId="{0E9DC064-0A06-3CCE-B86B-8AF459599894}"/>
          </ac:cxnSpMkLst>
        </pc:cxnChg>
        <pc:cxnChg chg="mod ord">
          <ac:chgData name="Nisen, Henrik (BCG Platinion)" userId="23462ed3-8a28-48c0-b94c-224b90eb8d0a" providerId="ADAL" clId="{98F16264-753B-49F1-930F-12A12A4F559C}" dt="2024-02-29T10:32:02.996" v="1331"/>
          <ac:cxnSpMkLst>
            <pc:docMk/>
            <pc:sldMk cId="3264993228" sldId="2147483612"/>
            <ac:cxnSpMk id="57" creationId="{3FCD2D52-9711-65F8-FF1C-5B4AAEF6EE9F}"/>
          </ac:cxnSpMkLst>
        </pc:cxnChg>
        <pc:cxnChg chg="mod ord">
          <ac:chgData name="Nisen, Henrik (BCG Platinion)" userId="23462ed3-8a28-48c0-b94c-224b90eb8d0a" providerId="ADAL" clId="{98F16264-753B-49F1-930F-12A12A4F559C}" dt="2024-02-29T10:32:02.995" v="1329"/>
          <ac:cxnSpMkLst>
            <pc:docMk/>
            <pc:sldMk cId="3264993228" sldId="2147483612"/>
            <ac:cxnSpMk id="58" creationId="{6F9DCD36-1591-8CC9-D260-8C35E550E14B}"/>
          </ac:cxnSpMkLst>
        </pc:cxnChg>
        <pc:cxnChg chg="mod ord">
          <ac:chgData name="Nisen, Henrik (BCG Platinion)" userId="23462ed3-8a28-48c0-b94c-224b90eb8d0a" providerId="ADAL" clId="{98F16264-753B-49F1-930F-12A12A4F559C}" dt="2024-02-29T10:32:02.998" v="1335"/>
          <ac:cxnSpMkLst>
            <pc:docMk/>
            <pc:sldMk cId="3264993228" sldId="2147483612"/>
            <ac:cxnSpMk id="79" creationId="{B1B2495B-F0D9-C40F-79D0-105A1852D8B3}"/>
          </ac:cxnSpMkLst>
        </pc:cxnChg>
        <pc:cxnChg chg="mod ord">
          <ac:chgData name="Nisen, Henrik (BCG Platinion)" userId="23462ed3-8a28-48c0-b94c-224b90eb8d0a" providerId="ADAL" clId="{98F16264-753B-49F1-930F-12A12A4F559C}" dt="2024-02-29T10:32:02.999" v="1337"/>
          <ac:cxnSpMkLst>
            <pc:docMk/>
            <pc:sldMk cId="3264993228" sldId="2147483612"/>
            <ac:cxnSpMk id="80" creationId="{C3C56690-C04E-90A4-F885-C8CB23656AFE}"/>
          </ac:cxnSpMkLst>
        </pc:cxnChg>
        <pc:cxnChg chg="mod ord">
          <ac:chgData name="Nisen, Henrik (BCG Platinion)" userId="23462ed3-8a28-48c0-b94c-224b90eb8d0a" providerId="ADAL" clId="{98F16264-753B-49F1-930F-12A12A4F559C}" dt="2024-02-29T10:32:03" v="1339"/>
          <ac:cxnSpMkLst>
            <pc:docMk/>
            <pc:sldMk cId="3264993228" sldId="2147483612"/>
            <ac:cxnSpMk id="167" creationId="{E2021158-26D7-3555-5ED4-AB86BD52BC30}"/>
          </ac:cxnSpMkLst>
        </pc:cxnChg>
        <pc:cxnChg chg="mod ord">
          <ac:chgData name="Nisen, Henrik (BCG Platinion)" userId="23462ed3-8a28-48c0-b94c-224b90eb8d0a" providerId="ADAL" clId="{98F16264-753B-49F1-930F-12A12A4F559C}" dt="2024-02-29T10:32:03.001" v="1341"/>
          <ac:cxnSpMkLst>
            <pc:docMk/>
            <pc:sldMk cId="3264993228" sldId="2147483612"/>
            <ac:cxnSpMk id="168" creationId="{FEA8F081-1E2B-7F4F-46E1-E7FAC08DFB19}"/>
          </ac:cxnSpMkLst>
        </pc:cxnChg>
      </pc:sldChg>
      <pc:sldChg chg="addSp delSp modSp mod">
        <pc:chgData name="Nisen, Henrik (BCG Platinion)" userId="23462ed3-8a28-48c0-b94c-224b90eb8d0a" providerId="ADAL" clId="{98F16264-753B-49F1-930F-12A12A4F559C}" dt="2024-02-29T08:09:31.829" v="667"/>
        <pc:sldMkLst>
          <pc:docMk/>
          <pc:sldMk cId="3540406656" sldId="2147483617"/>
        </pc:sldMkLst>
        <pc:spChg chg="mod ord">
          <ac:chgData name="Nisen, Henrik (BCG Platinion)" userId="23462ed3-8a28-48c0-b94c-224b90eb8d0a" providerId="ADAL" clId="{98F16264-753B-49F1-930F-12A12A4F559C}" dt="2024-02-29T08:09:30.451" v="175"/>
          <ac:spMkLst>
            <pc:docMk/>
            <pc:sldMk cId="3540406656" sldId="2147483617"/>
            <ac:spMk id="2" creationId="{EB2E9218-CB60-9600-B3E9-6E5A1FD345D3}"/>
          </ac:spMkLst>
        </pc:spChg>
        <pc:spChg chg="mod ord">
          <ac:chgData name="Nisen, Henrik (BCG Platinion)" userId="23462ed3-8a28-48c0-b94c-224b90eb8d0a" providerId="ADAL" clId="{98F16264-753B-49F1-930F-12A12A4F559C}" dt="2024-02-29T08:09:30.453" v="177"/>
          <ac:spMkLst>
            <pc:docMk/>
            <pc:sldMk cId="3540406656" sldId="2147483617"/>
            <ac:spMk id="3" creationId="{82671AEF-4E73-A754-FBBE-DE6BBB308B6B}"/>
          </ac:spMkLst>
        </pc:spChg>
        <pc:spChg chg="mod ord">
          <ac:chgData name="Nisen, Henrik (BCG Platinion)" userId="23462ed3-8a28-48c0-b94c-224b90eb8d0a" providerId="ADAL" clId="{98F16264-753B-49F1-930F-12A12A4F559C}" dt="2024-02-29T08:09:30.456" v="179"/>
          <ac:spMkLst>
            <pc:docMk/>
            <pc:sldMk cId="3540406656" sldId="2147483617"/>
            <ac:spMk id="4" creationId="{02A718DA-5930-258E-7B27-FBC80A8DC238}"/>
          </ac:spMkLst>
        </pc:spChg>
        <pc:spChg chg="add del mod modVis">
          <ac:chgData name="Nisen, Henrik (BCG Platinion)" userId="23462ed3-8a28-48c0-b94c-224b90eb8d0a" providerId="ADAL" clId="{98F16264-753B-49F1-930F-12A12A4F559C}" dt="2024-02-29T08:09:31.256" v="665"/>
          <ac:spMkLst>
            <pc:docMk/>
            <pc:sldMk cId="3540406656" sldId="2147483617"/>
            <ac:spMk id="5" creationId="{171F4059-128B-AF45-3EB3-523CBF8BD0C3}"/>
          </ac:spMkLst>
        </pc:spChg>
        <pc:spChg chg="mod ord">
          <ac:chgData name="Nisen, Henrik (BCG Platinion)" userId="23462ed3-8a28-48c0-b94c-224b90eb8d0a" providerId="ADAL" clId="{98F16264-753B-49F1-930F-12A12A4F559C}" dt="2024-02-29T08:09:30.458" v="181"/>
          <ac:spMkLst>
            <pc:docMk/>
            <pc:sldMk cId="3540406656" sldId="2147483617"/>
            <ac:spMk id="13" creationId="{AFFF1BD5-08F8-9EEC-22D7-CEBF26E0F90F}"/>
          </ac:spMkLst>
        </pc:spChg>
        <pc:spChg chg="mod">
          <ac:chgData name="Nisen, Henrik (BCG Platinion)" userId="23462ed3-8a28-48c0-b94c-224b90eb8d0a" providerId="ADAL" clId="{98F16264-753B-49F1-930F-12A12A4F559C}" dt="2024-02-29T08:09:30.468" v="198"/>
          <ac:spMkLst>
            <pc:docMk/>
            <pc:sldMk cId="3540406656" sldId="2147483617"/>
            <ac:spMk id="18" creationId="{DA67438F-6D79-736F-49FB-308EA5BBA8EE}"/>
          </ac:spMkLst>
        </pc:spChg>
        <pc:spChg chg="mod">
          <ac:chgData name="Nisen, Henrik (BCG Platinion)" userId="23462ed3-8a28-48c0-b94c-224b90eb8d0a" providerId="ADAL" clId="{98F16264-753B-49F1-930F-12A12A4F559C}" dt="2024-02-29T08:09:30.470" v="201"/>
          <ac:spMkLst>
            <pc:docMk/>
            <pc:sldMk cId="3540406656" sldId="2147483617"/>
            <ac:spMk id="21" creationId="{6062892B-8947-21A6-6D21-1D4B26D833FE}"/>
          </ac:spMkLst>
        </pc:spChg>
        <pc:spChg chg="mod">
          <ac:chgData name="Nisen, Henrik (BCG Platinion)" userId="23462ed3-8a28-48c0-b94c-224b90eb8d0a" providerId="ADAL" clId="{98F16264-753B-49F1-930F-12A12A4F559C}" dt="2024-02-29T08:09:30.471" v="202"/>
          <ac:spMkLst>
            <pc:docMk/>
            <pc:sldMk cId="3540406656" sldId="2147483617"/>
            <ac:spMk id="22" creationId="{9749088D-3808-94B6-332F-E8DA1ECDF3FB}"/>
          </ac:spMkLst>
        </pc:spChg>
        <pc:spChg chg="mod">
          <ac:chgData name="Nisen, Henrik (BCG Platinion)" userId="23462ed3-8a28-48c0-b94c-224b90eb8d0a" providerId="ADAL" clId="{98F16264-753B-49F1-930F-12A12A4F559C}" dt="2024-02-29T08:09:30.472" v="203"/>
          <ac:spMkLst>
            <pc:docMk/>
            <pc:sldMk cId="3540406656" sldId="2147483617"/>
            <ac:spMk id="23" creationId="{440C9793-8B38-C632-8A71-63811F7254A7}"/>
          </ac:spMkLst>
        </pc:spChg>
        <pc:spChg chg="mod">
          <ac:chgData name="Nisen, Henrik (BCG Platinion)" userId="23462ed3-8a28-48c0-b94c-224b90eb8d0a" providerId="ADAL" clId="{98F16264-753B-49F1-930F-12A12A4F559C}" dt="2024-02-29T08:09:30.472" v="204"/>
          <ac:spMkLst>
            <pc:docMk/>
            <pc:sldMk cId="3540406656" sldId="2147483617"/>
            <ac:spMk id="24" creationId="{4BCED682-F630-C427-44A2-605E2D21E78C}"/>
          </ac:spMkLst>
        </pc:spChg>
        <pc:spChg chg="mod">
          <ac:chgData name="Nisen, Henrik (BCG Platinion)" userId="23462ed3-8a28-48c0-b94c-224b90eb8d0a" providerId="ADAL" clId="{98F16264-753B-49F1-930F-12A12A4F559C}" dt="2024-02-29T08:09:30.473" v="205"/>
          <ac:spMkLst>
            <pc:docMk/>
            <pc:sldMk cId="3540406656" sldId="2147483617"/>
            <ac:spMk id="25" creationId="{DC2441AD-9C16-1DCE-AD00-E826014D3311}"/>
          </ac:spMkLst>
        </pc:spChg>
        <pc:spChg chg="mod">
          <ac:chgData name="Nisen, Henrik (BCG Platinion)" userId="23462ed3-8a28-48c0-b94c-224b90eb8d0a" providerId="ADAL" clId="{98F16264-753B-49F1-930F-12A12A4F559C}" dt="2024-02-29T08:09:30.474" v="206"/>
          <ac:spMkLst>
            <pc:docMk/>
            <pc:sldMk cId="3540406656" sldId="2147483617"/>
            <ac:spMk id="26" creationId="{A51F07DB-9A38-9C6C-7DF5-BF961A3D3A22}"/>
          </ac:spMkLst>
        </pc:spChg>
        <pc:spChg chg="mod">
          <ac:chgData name="Nisen, Henrik (BCG Platinion)" userId="23462ed3-8a28-48c0-b94c-224b90eb8d0a" providerId="ADAL" clId="{98F16264-753B-49F1-930F-12A12A4F559C}" dt="2024-02-29T08:09:30.474" v="207"/>
          <ac:spMkLst>
            <pc:docMk/>
            <pc:sldMk cId="3540406656" sldId="2147483617"/>
            <ac:spMk id="27" creationId="{10558318-9A5B-129E-6F44-B6EAB5BBAED5}"/>
          </ac:spMkLst>
        </pc:spChg>
        <pc:spChg chg="mod">
          <ac:chgData name="Nisen, Henrik (BCG Platinion)" userId="23462ed3-8a28-48c0-b94c-224b90eb8d0a" providerId="ADAL" clId="{98F16264-753B-49F1-930F-12A12A4F559C}" dt="2024-02-29T08:09:30.475" v="208"/>
          <ac:spMkLst>
            <pc:docMk/>
            <pc:sldMk cId="3540406656" sldId="2147483617"/>
            <ac:spMk id="28" creationId="{CCC872DC-4193-117D-1D2B-782704246CFA}"/>
          </ac:spMkLst>
        </pc:spChg>
        <pc:spChg chg="mod ord">
          <ac:chgData name="Nisen, Henrik (BCG Platinion)" userId="23462ed3-8a28-48c0-b94c-224b90eb8d0a" providerId="ADAL" clId="{98F16264-753B-49F1-930F-12A12A4F559C}" dt="2024-02-29T08:09:30.476" v="210"/>
          <ac:spMkLst>
            <pc:docMk/>
            <pc:sldMk cId="3540406656" sldId="2147483617"/>
            <ac:spMk id="71" creationId="{EE992E18-1609-A45F-C55E-2F8EB9B43B4F}"/>
          </ac:spMkLst>
        </pc:spChg>
        <pc:spChg chg="mod">
          <ac:chgData name="Nisen, Henrik (BCG Platinion)" userId="23462ed3-8a28-48c0-b94c-224b90eb8d0a" providerId="ADAL" clId="{98F16264-753B-49F1-930F-12A12A4F559C}" dt="2024-02-29T08:09:30.466" v="195"/>
          <ac:spMkLst>
            <pc:docMk/>
            <pc:sldMk cId="3540406656" sldId="2147483617"/>
            <ac:spMk id="110" creationId="{38943964-F61D-F32E-B560-07010A69F31B}"/>
          </ac:spMkLst>
        </pc:spChg>
        <pc:spChg chg="mod">
          <ac:chgData name="Nisen, Henrik (BCG Platinion)" userId="23462ed3-8a28-48c0-b94c-224b90eb8d0a" providerId="ADAL" clId="{98F16264-753B-49F1-930F-12A12A4F559C}" dt="2024-02-29T08:09:30.467" v="196"/>
          <ac:spMkLst>
            <pc:docMk/>
            <pc:sldMk cId="3540406656" sldId="2147483617"/>
            <ac:spMk id="111" creationId="{4829619A-C091-1060-0081-09BA7F24A7A5}"/>
          </ac:spMkLst>
        </pc:spChg>
        <pc:spChg chg="mod">
          <ac:chgData name="Nisen, Henrik (BCG Platinion)" userId="23462ed3-8a28-48c0-b94c-224b90eb8d0a" providerId="ADAL" clId="{98F16264-753B-49F1-930F-12A12A4F559C}" dt="2024-02-29T08:09:30.468" v="197"/>
          <ac:spMkLst>
            <pc:docMk/>
            <pc:sldMk cId="3540406656" sldId="2147483617"/>
            <ac:spMk id="112" creationId="{7CD8E8D5-F06F-655B-5493-4110B566CDDB}"/>
          </ac:spMkLst>
        </pc:spChg>
        <pc:spChg chg="mod">
          <ac:chgData name="Nisen, Henrik (BCG Platinion)" userId="23462ed3-8a28-48c0-b94c-224b90eb8d0a" providerId="ADAL" clId="{98F16264-753B-49F1-930F-12A12A4F559C}" dt="2024-02-29T08:09:30.469" v="199"/>
          <ac:spMkLst>
            <pc:docMk/>
            <pc:sldMk cId="3540406656" sldId="2147483617"/>
            <ac:spMk id="113" creationId="{FCD65EA2-3170-BB6E-B692-ADCABB1D69B0}"/>
          </ac:spMkLst>
        </pc:spChg>
        <pc:spChg chg="mod">
          <ac:chgData name="Nisen, Henrik (BCG Platinion)" userId="23462ed3-8a28-48c0-b94c-224b90eb8d0a" providerId="ADAL" clId="{98F16264-753B-49F1-930F-12A12A4F559C}" dt="2024-02-29T08:09:30.469" v="200"/>
          <ac:spMkLst>
            <pc:docMk/>
            <pc:sldMk cId="3540406656" sldId="2147483617"/>
            <ac:spMk id="114" creationId="{649107F8-7132-1F71-1CED-83957C024B8C}"/>
          </ac:spMkLst>
        </pc:spChg>
        <pc:spChg chg="mod ord">
          <ac:chgData name="Nisen, Henrik (BCG Platinion)" userId="23462ed3-8a28-48c0-b94c-224b90eb8d0a" providerId="ADAL" clId="{98F16264-753B-49F1-930F-12A12A4F559C}" dt="2024-02-29T08:09:30.477" v="212"/>
          <ac:spMkLst>
            <pc:docMk/>
            <pc:sldMk cId="3540406656" sldId="2147483617"/>
            <ac:spMk id="163" creationId="{56AFCB97-D87A-64F7-138A-00AD64EFEA83}"/>
          </ac:spMkLst>
        </pc:spChg>
        <pc:spChg chg="mod ord">
          <ac:chgData name="Nisen, Henrik (BCG Platinion)" userId="23462ed3-8a28-48c0-b94c-224b90eb8d0a" providerId="ADAL" clId="{98F16264-753B-49F1-930F-12A12A4F559C}" dt="2024-02-29T08:09:30.479" v="215"/>
          <ac:spMkLst>
            <pc:docMk/>
            <pc:sldMk cId="3540406656" sldId="2147483617"/>
            <ac:spMk id="180" creationId="{9248F7DF-EA88-DC15-52A0-3A9B216E4EFB}"/>
          </ac:spMkLst>
        </pc:spChg>
        <pc:spChg chg="mod ord">
          <ac:chgData name="Nisen, Henrik (BCG Platinion)" userId="23462ed3-8a28-48c0-b94c-224b90eb8d0a" providerId="ADAL" clId="{98F16264-753B-49F1-930F-12A12A4F559C}" dt="2024-02-29T08:09:30.480" v="217"/>
          <ac:spMkLst>
            <pc:docMk/>
            <pc:sldMk cId="3540406656" sldId="2147483617"/>
            <ac:spMk id="181" creationId="{B90C14F6-DF1B-367D-C3FC-557A2E26378E}"/>
          </ac:spMkLst>
        </pc:spChg>
        <pc:grpChg chg="mod">
          <ac:chgData name="Nisen, Henrik (BCG Platinion)" userId="23462ed3-8a28-48c0-b94c-224b90eb8d0a" providerId="ADAL" clId="{98F16264-753B-49F1-930F-12A12A4F559C}" dt="2024-02-29T08:09:30.478" v="213"/>
          <ac:grpSpMkLst>
            <pc:docMk/>
            <pc:sldMk cId="3540406656" sldId="2147483617"/>
            <ac:grpSpMk id="11" creationId="{7B2C3B70-A9DD-70AA-6AED-58910B5724CA}"/>
          </ac:grpSpMkLst>
        </pc:grpChg>
        <pc:graphicFrameChg chg="add mod replST">
          <ac:chgData name="Nisen, Henrik (BCG Platinion)" userId="23462ed3-8a28-48c0-b94c-224b90eb8d0a" providerId="ADAL" clId="{98F16264-753B-49F1-930F-12A12A4F559C}" dt="2024-02-29T08:09:30.465" v="194"/>
          <ac:graphicFrameMkLst>
            <pc:docMk/>
            <pc:sldMk cId="3540406656" sldId="2147483617"/>
            <ac:graphicFrameMk id="6" creationId="{7461BF12-C3A3-DC7F-7E7A-E75B6283A908}"/>
          </ac:graphicFrameMkLst>
        </pc:graphicFrameChg>
        <pc:graphicFrameChg chg="del">
          <ac:chgData name="Nisen, Henrik (BCG Platinion)" userId="23462ed3-8a28-48c0-b94c-224b90eb8d0a" providerId="ADAL" clId="{98F16264-753B-49F1-930F-12A12A4F559C}" dt="2024-02-29T08:09:30.340" v="167"/>
          <ac:graphicFrameMkLst>
            <pc:docMk/>
            <pc:sldMk cId="3540406656" sldId="2147483617"/>
            <ac:graphicFrameMk id="15" creationId="{81BA1774-F118-EB8B-8816-C81523C8AB68}"/>
          </ac:graphicFrameMkLst>
        </pc:graphicFrameChg>
        <pc:graphicFrameChg chg="mod">
          <ac:chgData name="Nisen, Henrik (BCG Platinion)" userId="23462ed3-8a28-48c0-b94c-224b90eb8d0a" providerId="ADAL" clId="{98F16264-753B-49F1-930F-12A12A4F559C}" dt="2024-02-29T08:09:31.829" v="667"/>
          <ac:graphicFrameMkLst>
            <pc:docMk/>
            <pc:sldMk cId="3540406656" sldId="2147483617"/>
            <ac:graphicFrameMk id="37" creationId="{F5F07971-76A7-DD18-A5BE-9C7ED42D9A89}"/>
          </ac:graphicFrameMkLst>
        </pc:graphicFrameChg>
        <pc:picChg chg="mod ord">
          <ac:chgData name="Nisen, Henrik (BCG Platinion)" userId="23462ed3-8a28-48c0-b94c-224b90eb8d0a" providerId="ADAL" clId="{98F16264-753B-49F1-930F-12A12A4F559C}" dt="2024-02-29T08:09:30.486" v="231"/>
          <ac:picMkLst>
            <pc:docMk/>
            <pc:sldMk cId="3540406656" sldId="2147483617"/>
            <ac:picMk id="17" creationId="{FBFFC2F6-8B2C-95E6-A6E5-73A135480EE1}"/>
          </ac:picMkLst>
        </pc:picChg>
        <pc:picChg chg="mod ord">
          <ac:chgData name="Nisen, Henrik (BCG Platinion)" userId="23462ed3-8a28-48c0-b94c-224b90eb8d0a" providerId="ADAL" clId="{98F16264-753B-49F1-930F-12A12A4F559C}" dt="2024-02-29T08:09:30.489" v="233"/>
          <ac:picMkLst>
            <pc:docMk/>
            <pc:sldMk cId="3540406656" sldId="2147483617"/>
            <ac:picMk id="20" creationId="{AE8465C6-C16E-06B0-C1C0-884CCA13A707}"/>
          </ac:picMkLst>
        </pc:picChg>
        <pc:picChg chg="mod ord">
          <ac:chgData name="Nisen, Henrik (BCG Platinion)" userId="23462ed3-8a28-48c0-b94c-224b90eb8d0a" providerId="ADAL" clId="{98F16264-753B-49F1-930F-12A12A4F559C}" dt="2024-02-29T08:09:30.483" v="223"/>
          <ac:picMkLst>
            <pc:docMk/>
            <pc:sldMk cId="3540406656" sldId="2147483617"/>
            <ac:picMk id="36" creationId="{0E628D8B-9407-9955-1ED8-41E9AACED384}"/>
          </ac:picMkLst>
        </pc:picChg>
        <pc:picChg chg="mod ord">
          <ac:chgData name="Nisen, Henrik (BCG Platinion)" userId="23462ed3-8a28-48c0-b94c-224b90eb8d0a" providerId="ADAL" clId="{98F16264-753B-49F1-930F-12A12A4F559C}" dt="2024-02-29T08:09:30.482" v="221"/>
          <ac:picMkLst>
            <pc:docMk/>
            <pc:sldMk cId="3540406656" sldId="2147483617"/>
            <ac:picMk id="161" creationId="{A28D1A19-22B7-EFA3-EECE-29B7E50A72EB}"/>
          </ac:picMkLst>
        </pc:picChg>
        <pc:picChg chg="mod ord">
          <ac:chgData name="Nisen, Henrik (BCG Platinion)" userId="23462ed3-8a28-48c0-b94c-224b90eb8d0a" providerId="ADAL" clId="{98F16264-753B-49F1-930F-12A12A4F559C}" dt="2024-02-29T08:09:30.481" v="219"/>
          <ac:picMkLst>
            <pc:docMk/>
            <pc:sldMk cId="3540406656" sldId="2147483617"/>
            <ac:picMk id="171" creationId="{C07D1D16-E76B-0685-C3EF-5FEF48FDFC47}"/>
          </ac:picMkLst>
        </pc:picChg>
        <pc:picChg chg="mod ord">
          <ac:chgData name="Nisen, Henrik (BCG Platinion)" userId="23462ed3-8a28-48c0-b94c-224b90eb8d0a" providerId="ADAL" clId="{98F16264-753B-49F1-930F-12A12A4F559C}" dt="2024-02-29T08:09:30.490" v="235"/>
          <ac:picMkLst>
            <pc:docMk/>
            <pc:sldMk cId="3540406656" sldId="2147483617"/>
            <ac:picMk id="206" creationId="{D647D978-AD6A-425D-40D2-A88D899E5A37}"/>
          </ac:picMkLst>
        </pc:picChg>
        <pc:picChg chg="mod ord">
          <ac:chgData name="Nisen, Henrik (BCG Platinion)" userId="23462ed3-8a28-48c0-b94c-224b90eb8d0a" providerId="ADAL" clId="{98F16264-753B-49F1-930F-12A12A4F559C}" dt="2024-02-29T08:09:30.484" v="225"/>
          <ac:picMkLst>
            <pc:docMk/>
            <pc:sldMk cId="3540406656" sldId="2147483617"/>
            <ac:picMk id="208" creationId="{DBE0DB47-862F-3E1E-C625-7A05D8AE23EF}"/>
          </ac:picMkLst>
        </pc:picChg>
        <pc:picChg chg="mod ord">
          <ac:chgData name="Nisen, Henrik (BCG Platinion)" userId="23462ed3-8a28-48c0-b94c-224b90eb8d0a" providerId="ADAL" clId="{98F16264-753B-49F1-930F-12A12A4F559C}" dt="2024-02-29T08:09:30.485" v="227"/>
          <ac:picMkLst>
            <pc:docMk/>
            <pc:sldMk cId="3540406656" sldId="2147483617"/>
            <ac:picMk id="217" creationId="{35FE682E-4D09-15A2-A337-3A3DDB651BBF}"/>
          </ac:picMkLst>
        </pc:picChg>
        <pc:picChg chg="mod ord">
          <ac:chgData name="Nisen, Henrik (BCG Platinion)" userId="23462ed3-8a28-48c0-b94c-224b90eb8d0a" providerId="ADAL" clId="{98F16264-753B-49F1-930F-12A12A4F559C}" dt="2024-02-29T08:09:30.485" v="229"/>
          <ac:picMkLst>
            <pc:docMk/>
            <pc:sldMk cId="3540406656" sldId="2147483617"/>
            <ac:picMk id="218" creationId="{999C99B5-CA09-304D-085F-700465424DC0}"/>
          </ac:picMkLst>
        </pc:picChg>
        <pc:cxnChg chg="mod ord">
          <ac:chgData name="Nisen, Henrik (BCG Platinion)" userId="23462ed3-8a28-48c0-b94c-224b90eb8d0a" providerId="ADAL" clId="{98F16264-753B-49F1-930F-12A12A4F559C}" dt="2024-02-29T08:09:30.463" v="189"/>
          <ac:cxnSpMkLst>
            <pc:docMk/>
            <pc:sldMk cId="3540406656" sldId="2147483617"/>
            <ac:cxnSpMk id="9" creationId="{BECD55D3-BF0D-15A9-7584-9D17CCF535F3}"/>
          </ac:cxnSpMkLst>
        </pc:cxnChg>
        <pc:cxnChg chg="mod ord">
          <ac:chgData name="Nisen, Henrik (BCG Platinion)" userId="23462ed3-8a28-48c0-b94c-224b90eb8d0a" providerId="ADAL" clId="{98F16264-753B-49F1-930F-12A12A4F559C}" dt="2024-02-29T08:09:30.460" v="183"/>
          <ac:cxnSpMkLst>
            <pc:docMk/>
            <pc:sldMk cId="3540406656" sldId="2147483617"/>
            <ac:cxnSpMk id="116" creationId="{CABE946D-7716-DA15-3A3F-9453F27B40D5}"/>
          </ac:cxnSpMkLst>
        </pc:cxnChg>
        <pc:cxnChg chg="mod ord">
          <ac:chgData name="Nisen, Henrik (BCG Platinion)" userId="23462ed3-8a28-48c0-b94c-224b90eb8d0a" providerId="ADAL" clId="{98F16264-753B-49F1-930F-12A12A4F559C}" dt="2024-02-29T08:09:30.461" v="185"/>
          <ac:cxnSpMkLst>
            <pc:docMk/>
            <pc:sldMk cId="3540406656" sldId="2147483617"/>
            <ac:cxnSpMk id="117" creationId="{EE7FBFFD-57FA-103C-4AA2-8CF4BBBDB3D8}"/>
          </ac:cxnSpMkLst>
        </pc:cxnChg>
        <pc:cxnChg chg="mod ord">
          <ac:chgData name="Nisen, Henrik (BCG Platinion)" userId="23462ed3-8a28-48c0-b94c-224b90eb8d0a" providerId="ADAL" clId="{98F16264-753B-49F1-930F-12A12A4F559C}" dt="2024-02-29T08:09:30.462" v="187"/>
          <ac:cxnSpMkLst>
            <pc:docMk/>
            <pc:sldMk cId="3540406656" sldId="2147483617"/>
            <ac:cxnSpMk id="118" creationId="{247E4565-28A3-288C-F4B5-5FC70D430C02}"/>
          </ac:cxnSpMkLst>
        </pc:cxnChg>
        <pc:cxnChg chg="mod ord">
          <ac:chgData name="Nisen, Henrik (BCG Platinion)" userId="23462ed3-8a28-48c0-b94c-224b90eb8d0a" providerId="ADAL" clId="{98F16264-753B-49F1-930F-12A12A4F559C}" dt="2024-02-29T08:09:30.464" v="191"/>
          <ac:cxnSpMkLst>
            <pc:docMk/>
            <pc:sldMk cId="3540406656" sldId="2147483617"/>
            <ac:cxnSpMk id="119" creationId="{CBFE325D-8382-BC92-11D1-EC49C84B6543}"/>
          </ac:cxnSpMkLst>
        </pc:cxnChg>
        <pc:cxnChg chg="mod ord">
          <ac:chgData name="Nisen, Henrik (BCG Platinion)" userId="23462ed3-8a28-48c0-b94c-224b90eb8d0a" providerId="ADAL" clId="{98F16264-753B-49F1-930F-12A12A4F559C}" dt="2024-02-29T08:09:30.465" v="193"/>
          <ac:cxnSpMkLst>
            <pc:docMk/>
            <pc:sldMk cId="3540406656" sldId="2147483617"/>
            <ac:cxnSpMk id="120" creationId="{8264C9C8-1F16-D427-D063-7AE172AA9EE8}"/>
          </ac:cxnSpMkLst>
        </pc:cxnChg>
      </pc:sldChg>
      <pc:sldChg chg="addSp delSp modSp mod">
        <pc:chgData name="Nisen, Henrik (BCG Platinion)" userId="23462ed3-8a28-48c0-b94c-224b90eb8d0a" providerId="ADAL" clId="{98F16264-753B-49F1-930F-12A12A4F559C}" dt="2024-02-29T08:09:31.849" v="671"/>
        <pc:sldMkLst>
          <pc:docMk/>
          <pc:sldMk cId="195621216" sldId="2147483619"/>
        </pc:sldMkLst>
        <pc:spChg chg="mod ord">
          <ac:chgData name="Nisen, Henrik (BCG Platinion)" userId="23462ed3-8a28-48c0-b94c-224b90eb8d0a" providerId="ADAL" clId="{98F16264-753B-49F1-930F-12A12A4F559C}" dt="2024-02-29T08:09:31.147" v="525"/>
          <ac:spMkLst>
            <pc:docMk/>
            <pc:sldMk cId="195621216" sldId="2147483619"/>
            <ac:spMk id="2" creationId="{551A0760-76B6-B0DA-473F-4F9BCE390A30}"/>
          </ac:spMkLst>
        </pc:spChg>
        <pc:spChg chg="mod ord">
          <ac:chgData name="Nisen, Henrik (BCG Platinion)" userId="23462ed3-8a28-48c0-b94c-224b90eb8d0a" providerId="ADAL" clId="{98F16264-753B-49F1-930F-12A12A4F559C}" dt="2024-02-29T08:09:31.148" v="527"/>
          <ac:spMkLst>
            <pc:docMk/>
            <pc:sldMk cId="195621216" sldId="2147483619"/>
            <ac:spMk id="3" creationId="{18FF0807-DAF8-B85E-04CD-C4F80F1262E3}"/>
          </ac:spMkLst>
        </pc:spChg>
        <pc:spChg chg="mod ord">
          <ac:chgData name="Nisen, Henrik (BCG Platinion)" userId="23462ed3-8a28-48c0-b94c-224b90eb8d0a" providerId="ADAL" clId="{98F16264-753B-49F1-930F-12A12A4F559C}" dt="2024-02-29T08:09:31.253" v="661"/>
          <ac:spMkLst>
            <pc:docMk/>
            <pc:sldMk cId="195621216" sldId="2147483619"/>
            <ac:spMk id="4" creationId="{624E4400-E51F-503F-8733-CAB0AC9C1593}"/>
          </ac:spMkLst>
        </pc:spChg>
        <pc:spChg chg="mod ord">
          <ac:chgData name="Nisen, Henrik (BCG Platinion)" userId="23462ed3-8a28-48c0-b94c-224b90eb8d0a" providerId="ADAL" clId="{98F16264-753B-49F1-930F-12A12A4F559C}" dt="2024-02-29T08:09:31.150" v="529"/>
          <ac:spMkLst>
            <pc:docMk/>
            <pc:sldMk cId="195621216" sldId="2147483619"/>
            <ac:spMk id="5" creationId="{904AF0DD-C736-641B-E724-FB2A35E7801D}"/>
          </ac:spMkLst>
        </pc:spChg>
        <pc:spChg chg="mod">
          <ac:chgData name="Nisen, Henrik (BCG Platinion)" userId="23462ed3-8a28-48c0-b94c-224b90eb8d0a" providerId="ADAL" clId="{98F16264-753B-49F1-930F-12A12A4F559C}" dt="2024-02-29T08:09:31.150" v="530"/>
          <ac:spMkLst>
            <pc:docMk/>
            <pc:sldMk cId="195621216" sldId="2147483619"/>
            <ac:spMk id="6" creationId="{7E624B2B-6B3A-A95A-9FB1-955A0F155E43}"/>
          </ac:spMkLst>
        </pc:spChg>
        <pc:spChg chg="mod">
          <ac:chgData name="Nisen, Henrik (BCG Platinion)" userId="23462ed3-8a28-48c0-b94c-224b90eb8d0a" providerId="ADAL" clId="{98F16264-753B-49F1-930F-12A12A4F559C}" dt="2024-02-29T08:09:31.151" v="531"/>
          <ac:spMkLst>
            <pc:docMk/>
            <pc:sldMk cId="195621216" sldId="2147483619"/>
            <ac:spMk id="7" creationId="{C7EBDFB9-CDDA-A163-084A-A2FDD8481202}"/>
          </ac:spMkLst>
        </pc:spChg>
        <pc:spChg chg="mod">
          <ac:chgData name="Nisen, Henrik (BCG Platinion)" userId="23462ed3-8a28-48c0-b94c-224b90eb8d0a" providerId="ADAL" clId="{98F16264-753B-49F1-930F-12A12A4F559C}" dt="2024-02-29T08:09:31.152" v="532"/>
          <ac:spMkLst>
            <pc:docMk/>
            <pc:sldMk cId="195621216" sldId="2147483619"/>
            <ac:spMk id="8" creationId="{509CA467-F98E-715A-FF85-069C4B346E94}"/>
          </ac:spMkLst>
        </pc:spChg>
        <pc:spChg chg="mod">
          <ac:chgData name="Nisen, Henrik (BCG Platinion)" userId="23462ed3-8a28-48c0-b94c-224b90eb8d0a" providerId="ADAL" clId="{98F16264-753B-49F1-930F-12A12A4F559C}" dt="2024-02-29T08:09:31.153" v="533"/>
          <ac:spMkLst>
            <pc:docMk/>
            <pc:sldMk cId="195621216" sldId="2147483619"/>
            <ac:spMk id="9" creationId="{AC40E903-33AA-3C51-F348-AF542B46194F}"/>
          </ac:spMkLst>
        </pc:spChg>
        <pc:spChg chg="mod">
          <ac:chgData name="Nisen, Henrik (BCG Platinion)" userId="23462ed3-8a28-48c0-b94c-224b90eb8d0a" providerId="ADAL" clId="{98F16264-753B-49F1-930F-12A12A4F559C}" dt="2024-02-29T08:09:31.154" v="534"/>
          <ac:spMkLst>
            <pc:docMk/>
            <pc:sldMk cId="195621216" sldId="2147483619"/>
            <ac:spMk id="10" creationId="{AED3C9AB-BB1A-A2BF-2DCF-C7B8E59ED87A}"/>
          </ac:spMkLst>
        </pc:spChg>
        <pc:spChg chg="add del mod modVis">
          <ac:chgData name="Nisen, Henrik (BCG Platinion)" userId="23462ed3-8a28-48c0-b94c-224b90eb8d0a" providerId="ADAL" clId="{98F16264-753B-49F1-930F-12A12A4F559C}" dt="2024-02-29T08:09:31.829" v="669"/>
          <ac:spMkLst>
            <pc:docMk/>
            <pc:sldMk cId="195621216" sldId="2147483619"/>
            <ac:spMk id="11" creationId="{DAC2199B-F8EA-747A-BF1C-619BF4B9D2C0}"/>
          </ac:spMkLst>
        </pc:spChg>
        <pc:spChg chg="mod ord">
          <ac:chgData name="Nisen, Henrik (BCG Platinion)" userId="23462ed3-8a28-48c0-b94c-224b90eb8d0a" providerId="ADAL" clId="{98F16264-753B-49F1-930F-12A12A4F559C}" dt="2024-02-29T08:09:31.155" v="536"/>
          <ac:spMkLst>
            <pc:docMk/>
            <pc:sldMk cId="195621216" sldId="2147483619"/>
            <ac:spMk id="12" creationId="{0F6EC2C8-148E-08D4-83D4-9AA37827B597}"/>
          </ac:spMkLst>
        </pc:spChg>
        <pc:spChg chg="del">
          <ac:chgData name="Nisen, Henrik (BCG Platinion)" userId="23462ed3-8a28-48c0-b94c-224b90eb8d0a" providerId="ADAL" clId="{98F16264-753B-49F1-930F-12A12A4F559C}" dt="2024-02-29T08:09:31.053" v="470"/>
          <ac:spMkLst>
            <pc:docMk/>
            <pc:sldMk cId="195621216" sldId="2147483619"/>
            <ac:spMk id="13" creationId="{7FF68CE6-9462-2CF2-BB03-B78922552D28}"/>
          </ac:spMkLst>
        </pc:spChg>
        <pc:spChg chg="mod">
          <ac:chgData name="Nisen, Henrik (BCG Platinion)" userId="23462ed3-8a28-48c0-b94c-224b90eb8d0a" providerId="ADAL" clId="{98F16264-753B-49F1-930F-12A12A4F559C}" dt="2024-02-29T08:09:31.157" v="538"/>
          <ac:spMkLst>
            <pc:docMk/>
            <pc:sldMk cId="195621216" sldId="2147483619"/>
            <ac:spMk id="14" creationId="{042DD343-6B62-B921-B582-087610584A52}"/>
          </ac:spMkLst>
        </pc:spChg>
        <pc:spChg chg="mod">
          <ac:chgData name="Nisen, Henrik (BCG Platinion)" userId="23462ed3-8a28-48c0-b94c-224b90eb8d0a" providerId="ADAL" clId="{98F16264-753B-49F1-930F-12A12A4F559C}" dt="2024-02-29T08:09:31.157" v="539"/>
          <ac:spMkLst>
            <pc:docMk/>
            <pc:sldMk cId="195621216" sldId="2147483619"/>
            <ac:spMk id="15" creationId="{7D9C0861-AE06-53FA-92EC-0BEFE2F70AFE}"/>
          </ac:spMkLst>
        </pc:spChg>
        <pc:spChg chg="mod">
          <ac:chgData name="Nisen, Henrik (BCG Platinion)" userId="23462ed3-8a28-48c0-b94c-224b90eb8d0a" providerId="ADAL" clId="{98F16264-753B-49F1-930F-12A12A4F559C}" dt="2024-02-29T08:09:31.158" v="540"/>
          <ac:spMkLst>
            <pc:docMk/>
            <pc:sldMk cId="195621216" sldId="2147483619"/>
            <ac:spMk id="16" creationId="{7EE98975-ACF9-60EA-7A8D-4F86FAC6CC37}"/>
          </ac:spMkLst>
        </pc:spChg>
        <pc:spChg chg="mod">
          <ac:chgData name="Nisen, Henrik (BCG Platinion)" userId="23462ed3-8a28-48c0-b94c-224b90eb8d0a" providerId="ADAL" clId="{98F16264-753B-49F1-930F-12A12A4F559C}" dt="2024-02-29T08:09:31.159" v="541"/>
          <ac:spMkLst>
            <pc:docMk/>
            <pc:sldMk cId="195621216" sldId="2147483619"/>
            <ac:spMk id="17" creationId="{20CBCBEC-C02C-210C-82F7-12C0821CC5C4}"/>
          </ac:spMkLst>
        </pc:spChg>
        <pc:spChg chg="mod">
          <ac:chgData name="Nisen, Henrik (BCG Platinion)" userId="23462ed3-8a28-48c0-b94c-224b90eb8d0a" providerId="ADAL" clId="{98F16264-753B-49F1-930F-12A12A4F559C}" dt="2024-02-29T08:09:31.160" v="542"/>
          <ac:spMkLst>
            <pc:docMk/>
            <pc:sldMk cId="195621216" sldId="2147483619"/>
            <ac:spMk id="18" creationId="{21296A22-1473-7F56-FACA-1CB8E5B11E4C}"/>
          </ac:spMkLst>
        </pc:spChg>
        <pc:spChg chg="mod">
          <ac:chgData name="Nisen, Henrik (BCG Platinion)" userId="23462ed3-8a28-48c0-b94c-224b90eb8d0a" providerId="ADAL" clId="{98F16264-753B-49F1-930F-12A12A4F559C}" dt="2024-02-29T08:09:31.161" v="543"/>
          <ac:spMkLst>
            <pc:docMk/>
            <pc:sldMk cId="195621216" sldId="2147483619"/>
            <ac:spMk id="19" creationId="{6FA4D75D-36C1-157A-E638-34FA99E7A321}"/>
          </ac:spMkLst>
        </pc:spChg>
        <pc:spChg chg="mod">
          <ac:chgData name="Nisen, Henrik (BCG Platinion)" userId="23462ed3-8a28-48c0-b94c-224b90eb8d0a" providerId="ADAL" clId="{98F16264-753B-49F1-930F-12A12A4F559C}" dt="2024-02-29T08:09:31.162" v="544"/>
          <ac:spMkLst>
            <pc:docMk/>
            <pc:sldMk cId="195621216" sldId="2147483619"/>
            <ac:spMk id="20" creationId="{53EB66FB-5A6E-BD62-2F8B-104E969CA30A}"/>
          </ac:spMkLst>
        </pc:spChg>
        <pc:spChg chg="mod">
          <ac:chgData name="Nisen, Henrik (BCG Platinion)" userId="23462ed3-8a28-48c0-b94c-224b90eb8d0a" providerId="ADAL" clId="{98F16264-753B-49F1-930F-12A12A4F559C}" dt="2024-02-29T08:09:31.163" v="545"/>
          <ac:spMkLst>
            <pc:docMk/>
            <pc:sldMk cId="195621216" sldId="2147483619"/>
            <ac:spMk id="21" creationId="{0075642A-7690-EDE1-68F7-01C3C22FA03C}"/>
          </ac:spMkLst>
        </pc:spChg>
        <pc:spChg chg="mod">
          <ac:chgData name="Nisen, Henrik (BCG Platinion)" userId="23462ed3-8a28-48c0-b94c-224b90eb8d0a" providerId="ADAL" clId="{98F16264-753B-49F1-930F-12A12A4F559C}" dt="2024-02-29T08:09:31.164" v="546"/>
          <ac:spMkLst>
            <pc:docMk/>
            <pc:sldMk cId="195621216" sldId="2147483619"/>
            <ac:spMk id="22" creationId="{7DF98394-00F8-44C9-554D-90022B99CCD5}"/>
          </ac:spMkLst>
        </pc:spChg>
        <pc:spChg chg="mod ord">
          <ac:chgData name="Nisen, Henrik (BCG Platinion)" userId="23462ed3-8a28-48c0-b94c-224b90eb8d0a" providerId="ADAL" clId="{98F16264-753B-49F1-930F-12A12A4F559C}" dt="2024-02-29T08:09:31.167" v="550"/>
          <ac:spMkLst>
            <pc:docMk/>
            <pc:sldMk cId="195621216" sldId="2147483619"/>
            <ac:spMk id="24" creationId="{A45F945A-6A24-C366-4F58-34061E6914B7}"/>
          </ac:spMkLst>
        </pc:spChg>
        <pc:spChg chg="mod">
          <ac:chgData name="Nisen, Henrik (BCG Platinion)" userId="23462ed3-8a28-48c0-b94c-224b90eb8d0a" providerId="ADAL" clId="{98F16264-753B-49F1-930F-12A12A4F559C}" dt="2024-02-29T08:09:31.168" v="552"/>
          <ac:spMkLst>
            <pc:docMk/>
            <pc:sldMk cId="195621216" sldId="2147483619"/>
            <ac:spMk id="26" creationId="{DE7E6193-0153-E1A0-489A-602DAA1F76BA}"/>
          </ac:spMkLst>
        </pc:spChg>
        <pc:spChg chg="mod">
          <ac:chgData name="Nisen, Henrik (BCG Platinion)" userId="23462ed3-8a28-48c0-b94c-224b90eb8d0a" providerId="ADAL" clId="{98F16264-753B-49F1-930F-12A12A4F559C}" dt="2024-02-29T08:09:31.169" v="553"/>
          <ac:spMkLst>
            <pc:docMk/>
            <pc:sldMk cId="195621216" sldId="2147483619"/>
            <ac:spMk id="27" creationId="{1AD693D0-35F9-41A2-BC6D-7EC121F69963}"/>
          </ac:spMkLst>
        </pc:spChg>
        <pc:spChg chg="mod">
          <ac:chgData name="Nisen, Henrik (BCG Platinion)" userId="23462ed3-8a28-48c0-b94c-224b90eb8d0a" providerId="ADAL" clId="{98F16264-753B-49F1-930F-12A12A4F559C}" dt="2024-02-29T08:09:31.170" v="554"/>
          <ac:spMkLst>
            <pc:docMk/>
            <pc:sldMk cId="195621216" sldId="2147483619"/>
            <ac:spMk id="28" creationId="{BBADFD8D-4D40-7D6D-5429-A631B375E464}"/>
          </ac:spMkLst>
        </pc:spChg>
        <pc:spChg chg="mod">
          <ac:chgData name="Nisen, Henrik (BCG Platinion)" userId="23462ed3-8a28-48c0-b94c-224b90eb8d0a" providerId="ADAL" clId="{98F16264-753B-49F1-930F-12A12A4F559C}" dt="2024-02-29T08:09:31.171" v="555"/>
          <ac:spMkLst>
            <pc:docMk/>
            <pc:sldMk cId="195621216" sldId="2147483619"/>
            <ac:spMk id="29" creationId="{C8BCCA10-D4A7-8D35-8411-7BFA4512619D}"/>
          </ac:spMkLst>
        </pc:spChg>
        <pc:spChg chg="mod">
          <ac:chgData name="Nisen, Henrik (BCG Platinion)" userId="23462ed3-8a28-48c0-b94c-224b90eb8d0a" providerId="ADAL" clId="{98F16264-753B-49F1-930F-12A12A4F559C}" dt="2024-02-29T08:09:31.172" v="556"/>
          <ac:spMkLst>
            <pc:docMk/>
            <pc:sldMk cId="195621216" sldId="2147483619"/>
            <ac:spMk id="30" creationId="{981184D8-D7DD-E55C-E318-91D5BA7615E9}"/>
          </ac:spMkLst>
        </pc:spChg>
        <pc:spChg chg="mod">
          <ac:chgData name="Nisen, Henrik (BCG Platinion)" userId="23462ed3-8a28-48c0-b94c-224b90eb8d0a" providerId="ADAL" clId="{98F16264-753B-49F1-930F-12A12A4F559C}" dt="2024-02-29T08:09:31.173" v="557"/>
          <ac:spMkLst>
            <pc:docMk/>
            <pc:sldMk cId="195621216" sldId="2147483619"/>
            <ac:spMk id="31" creationId="{6B27CC7B-ED07-71A5-912F-1A8560921E65}"/>
          </ac:spMkLst>
        </pc:spChg>
        <pc:spChg chg="mod">
          <ac:chgData name="Nisen, Henrik (BCG Platinion)" userId="23462ed3-8a28-48c0-b94c-224b90eb8d0a" providerId="ADAL" clId="{98F16264-753B-49F1-930F-12A12A4F559C}" dt="2024-02-29T08:09:31.174" v="558"/>
          <ac:spMkLst>
            <pc:docMk/>
            <pc:sldMk cId="195621216" sldId="2147483619"/>
            <ac:spMk id="32" creationId="{30BFB511-3FE8-5200-979E-3C4AD1BB2FB4}"/>
          </ac:spMkLst>
        </pc:spChg>
        <pc:spChg chg="mod">
          <ac:chgData name="Nisen, Henrik (BCG Platinion)" userId="23462ed3-8a28-48c0-b94c-224b90eb8d0a" providerId="ADAL" clId="{98F16264-753B-49F1-930F-12A12A4F559C}" dt="2024-02-29T08:09:31.175" v="559"/>
          <ac:spMkLst>
            <pc:docMk/>
            <pc:sldMk cId="195621216" sldId="2147483619"/>
            <ac:spMk id="33" creationId="{2E9EF003-9908-D7E6-D0D3-91EAB0667C3E}"/>
          </ac:spMkLst>
        </pc:spChg>
        <pc:spChg chg="mod">
          <ac:chgData name="Nisen, Henrik (BCG Platinion)" userId="23462ed3-8a28-48c0-b94c-224b90eb8d0a" providerId="ADAL" clId="{98F16264-753B-49F1-930F-12A12A4F559C}" dt="2024-02-29T08:09:31.175" v="560"/>
          <ac:spMkLst>
            <pc:docMk/>
            <pc:sldMk cId="195621216" sldId="2147483619"/>
            <ac:spMk id="34" creationId="{6A1C4E45-74E8-6558-3070-8A1BB63E7B63}"/>
          </ac:spMkLst>
        </pc:spChg>
        <pc:spChg chg="mod">
          <ac:chgData name="Nisen, Henrik (BCG Platinion)" userId="23462ed3-8a28-48c0-b94c-224b90eb8d0a" providerId="ADAL" clId="{98F16264-753B-49F1-930F-12A12A4F559C}" dt="2024-02-29T08:09:31.176" v="561"/>
          <ac:spMkLst>
            <pc:docMk/>
            <pc:sldMk cId="195621216" sldId="2147483619"/>
            <ac:spMk id="35" creationId="{2DB89FBB-1679-B05B-3118-780FABA99724}"/>
          </ac:spMkLst>
        </pc:spChg>
        <pc:spChg chg="mod">
          <ac:chgData name="Nisen, Henrik (BCG Platinion)" userId="23462ed3-8a28-48c0-b94c-224b90eb8d0a" providerId="ADAL" clId="{98F16264-753B-49F1-930F-12A12A4F559C}" dt="2024-02-29T08:09:31.177" v="562"/>
          <ac:spMkLst>
            <pc:docMk/>
            <pc:sldMk cId="195621216" sldId="2147483619"/>
            <ac:spMk id="36" creationId="{4AC12EE4-AAE0-600C-5B34-A2D1A5622BAE}"/>
          </ac:spMkLst>
        </pc:spChg>
        <pc:spChg chg="del">
          <ac:chgData name="Nisen, Henrik (BCG Platinion)" userId="23462ed3-8a28-48c0-b94c-224b90eb8d0a" providerId="ADAL" clId="{98F16264-753B-49F1-930F-12A12A4F559C}" dt="2024-02-29T08:09:31.076" v="486"/>
          <ac:spMkLst>
            <pc:docMk/>
            <pc:sldMk cId="195621216" sldId="2147483619"/>
            <ac:spMk id="37" creationId="{E20F78AA-284A-EABA-92C9-7F177A0EC685}"/>
          </ac:spMkLst>
        </pc:spChg>
        <pc:spChg chg="del">
          <ac:chgData name="Nisen, Henrik (BCG Platinion)" userId="23462ed3-8a28-48c0-b94c-224b90eb8d0a" providerId="ADAL" clId="{98F16264-753B-49F1-930F-12A12A4F559C}" dt="2024-02-29T08:09:31.090" v="502"/>
          <ac:spMkLst>
            <pc:docMk/>
            <pc:sldMk cId="195621216" sldId="2147483619"/>
            <ac:spMk id="39" creationId="{D0234EAA-6ACE-A34E-6BBA-B6E461E5A5B2}"/>
          </ac:spMkLst>
        </pc:spChg>
        <pc:spChg chg="add mod ord replST">
          <ac:chgData name="Nisen, Henrik (BCG Platinion)" userId="23462ed3-8a28-48c0-b94c-224b90eb8d0a" providerId="ADAL" clId="{98F16264-753B-49F1-930F-12A12A4F559C}" dt="2024-02-29T08:09:31.180" v="566"/>
          <ac:spMkLst>
            <pc:docMk/>
            <pc:sldMk cId="195621216" sldId="2147483619"/>
            <ac:spMk id="40" creationId="{0E36E4FE-BCFC-7C5C-D00F-331EE220EAFF}"/>
          </ac:spMkLst>
        </pc:spChg>
        <pc:spChg chg="mod">
          <ac:chgData name="Nisen, Henrik (BCG Platinion)" userId="23462ed3-8a28-48c0-b94c-224b90eb8d0a" providerId="ADAL" clId="{98F16264-753B-49F1-930F-12A12A4F559C}" dt="2024-02-29T08:09:31.238" v="637"/>
          <ac:spMkLst>
            <pc:docMk/>
            <pc:sldMk cId="195621216" sldId="2147483619"/>
            <ac:spMk id="43" creationId="{0554625D-7C6E-62D2-65F3-422532503E2B}"/>
          </ac:spMkLst>
        </pc:spChg>
        <pc:spChg chg="mod ord">
          <ac:chgData name="Nisen, Henrik (BCG Platinion)" userId="23462ed3-8a28-48c0-b94c-224b90eb8d0a" providerId="ADAL" clId="{98F16264-753B-49F1-930F-12A12A4F559C}" dt="2024-02-29T08:09:31.184" v="574"/>
          <ac:spMkLst>
            <pc:docMk/>
            <pc:sldMk cId="195621216" sldId="2147483619"/>
            <ac:spMk id="44" creationId="{2F53C558-95A0-4A38-769F-47657E73CFAB}"/>
          </ac:spMkLst>
        </pc:spChg>
        <pc:spChg chg="mod">
          <ac:chgData name="Nisen, Henrik (BCG Platinion)" userId="23462ed3-8a28-48c0-b94c-224b90eb8d0a" providerId="ADAL" clId="{98F16264-753B-49F1-930F-12A12A4F559C}" dt="2024-02-29T08:09:31.185" v="575"/>
          <ac:spMkLst>
            <pc:docMk/>
            <pc:sldMk cId="195621216" sldId="2147483619"/>
            <ac:spMk id="45" creationId="{805A1461-642D-563D-1518-A73DC58BC6A5}"/>
          </ac:spMkLst>
        </pc:spChg>
        <pc:spChg chg="mod">
          <ac:chgData name="Nisen, Henrik (BCG Platinion)" userId="23462ed3-8a28-48c0-b94c-224b90eb8d0a" providerId="ADAL" clId="{98F16264-753B-49F1-930F-12A12A4F559C}" dt="2024-02-29T08:09:31.186" v="576"/>
          <ac:spMkLst>
            <pc:docMk/>
            <pc:sldMk cId="195621216" sldId="2147483619"/>
            <ac:spMk id="46" creationId="{5EED3477-B67B-0FA6-E0C6-CA3B4D5561A4}"/>
          </ac:spMkLst>
        </pc:spChg>
        <pc:spChg chg="mod">
          <ac:chgData name="Nisen, Henrik (BCG Platinion)" userId="23462ed3-8a28-48c0-b94c-224b90eb8d0a" providerId="ADAL" clId="{98F16264-753B-49F1-930F-12A12A4F559C}" dt="2024-02-29T08:09:31.186" v="577"/>
          <ac:spMkLst>
            <pc:docMk/>
            <pc:sldMk cId="195621216" sldId="2147483619"/>
            <ac:spMk id="47" creationId="{A3D86680-6949-E7B7-69B6-D46C6E9BFA1F}"/>
          </ac:spMkLst>
        </pc:spChg>
        <pc:spChg chg="mod">
          <ac:chgData name="Nisen, Henrik (BCG Platinion)" userId="23462ed3-8a28-48c0-b94c-224b90eb8d0a" providerId="ADAL" clId="{98F16264-753B-49F1-930F-12A12A4F559C}" dt="2024-02-29T08:09:31.187" v="578"/>
          <ac:spMkLst>
            <pc:docMk/>
            <pc:sldMk cId="195621216" sldId="2147483619"/>
            <ac:spMk id="48" creationId="{9D1EB512-173B-BEA9-1C49-3647099823AD}"/>
          </ac:spMkLst>
        </pc:spChg>
        <pc:spChg chg="mod">
          <ac:chgData name="Nisen, Henrik (BCG Platinion)" userId="23462ed3-8a28-48c0-b94c-224b90eb8d0a" providerId="ADAL" clId="{98F16264-753B-49F1-930F-12A12A4F559C}" dt="2024-02-29T08:09:31.188" v="579"/>
          <ac:spMkLst>
            <pc:docMk/>
            <pc:sldMk cId="195621216" sldId="2147483619"/>
            <ac:spMk id="49" creationId="{98BDB999-CE36-81D6-39F9-75631658FF89}"/>
          </ac:spMkLst>
        </pc:spChg>
        <pc:spChg chg="mod ord">
          <ac:chgData name="Nisen, Henrik (BCG Platinion)" userId="23462ed3-8a28-48c0-b94c-224b90eb8d0a" providerId="ADAL" clId="{98F16264-753B-49F1-930F-12A12A4F559C}" dt="2024-02-29T08:09:31.189" v="581"/>
          <ac:spMkLst>
            <pc:docMk/>
            <pc:sldMk cId="195621216" sldId="2147483619"/>
            <ac:spMk id="50" creationId="{BA4CA0EB-846C-78CD-0FC5-4BC4385A1732}"/>
          </ac:spMkLst>
        </pc:spChg>
        <pc:spChg chg="mod">
          <ac:chgData name="Nisen, Henrik (BCG Platinion)" userId="23462ed3-8a28-48c0-b94c-224b90eb8d0a" providerId="ADAL" clId="{98F16264-753B-49F1-930F-12A12A4F559C}" dt="2024-02-29T08:09:31.190" v="582"/>
          <ac:spMkLst>
            <pc:docMk/>
            <pc:sldMk cId="195621216" sldId="2147483619"/>
            <ac:spMk id="51" creationId="{6A4480EA-0783-867A-F314-2FB3F2334C1C}"/>
          </ac:spMkLst>
        </pc:spChg>
        <pc:spChg chg="mod">
          <ac:chgData name="Nisen, Henrik (BCG Platinion)" userId="23462ed3-8a28-48c0-b94c-224b90eb8d0a" providerId="ADAL" clId="{98F16264-753B-49F1-930F-12A12A4F559C}" dt="2024-02-29T08:09:31.191" v="583"/>
          <ac:spMkLst>
            <pc:docMk/>
            <pc:sldMk cId="195621216" sldId="2147483619"/>
            <ac:spMk id="52" creationId="{7B80E7D0-3786-ECDC-3BDE-52E7D73BC0FB}"/>
          </ac:spMkLst>
        </pc:spChg>
        <pc:spChg chg="mod">
          <ac:chgData name="Nisen, Henrik (BCG Platinion)" userId="23462ed3-8a28-48c0-b94c-224b90eb8d0a" providerId="ADAL" clId="{98F16264-753B-49F1-930F-12A12A4F559C}" dt="2024-02-29T08:09:31.192" v="584"/>
          <ac:spMkLst>
            <pc:docMk/>
            <pc:sldMk cId="195621216" sldId="2147483619"/>
            <ac:spMk id="53" creationId="{549FE3A0-1B08-7B40-A513-38052FF461ED}"/>
          </ac:spMkLst>
        </pc:spChg>
        <pc:spChg chg="mod">
          <ac:chgData name="Nisen, Henrik (BCG Platinion)" userId="23462ed3-8a28-48c0-b94c-224b90eb8d0a" providerId="ADAL" clId="{98F16264-753B-49F1-930F-12A12A4F559C}" dt="2024-02-29T08:09:31.193" v="585"/>
          <ac:spMkLst>
            <pc:docMk/>
            <pc:sldMk cId="195621216" sldId="2147483619"/>
            <ac:spMk id="54" creationId="{FEFCCCDD-77E0-5253-0C42-7BD199E9B215}"/>
          </ac:spMkLst>
        </pc:spChg>
        <pc:spChg chg="mod">
          <ac:chgData name="Nisen, Henrik (BCG Platinion)" userId="23462ed3-8a28-48c0-b94c-224b90eb8d0a" providerId="ADAL" clId="{98F16264-753B-49F1-930F-12A12A4F559C}" dt="2024-02-29T08:09:31.194" v="586"/>
          <ac:spMkLst>
            <pc:docMk/>
            <pc:sldMk cId="195621216" sldId="2147483619"/>
            <ac:spMk id="55" creationId="{443C3E15-0B2D-3F9E-0829-060167045147}"/>
          </ac:spMkLst>
        </pc:spChg>
        <pc:spChg chg="mod ord">
          <ac:chgData name="Nisen, Henrik (BCG Platinion)" userId="23462ed3-8a28-48c0-b94c-224b90eb8d0a" providerId="ADAL" clId="{98F16264-753B-49F1-930F-12A12A4F559C}" dt="2024-02-29T08:09:31.195" v="588"/>
          <ac:spMkLst>
            <pc:docMk/>
            <pc:sldMk cId="195621216" sldId="2147483619"/>
            <ac:spMk id="56" creationId="{DEB97388-511B-BB6F-8086-930880E5F1BE}"/>
          </ac:spMkLst>
        </pc:spChg>
        <pc:spChg chg="mod">
          <ac:chgData name="Nisen, Henrik (BCG Platinion)" userId="23462ed3-8a28-48c0-b94c-224b90eb8d0a" providerId="ADAL" clId="{98F16264-753B-49F1-930F-12A12A4F559C}" dt="2024-02-29T08:09:31.196" v="589"/>
          <ac:spMkLst>
            <pc:docMk/>
            <pc:sldMk cId="195621216" sldId="2147483619"/>
            <ac:spMk id="57" creationId="{A40C8CF1-2AA1-25BD-B394-4905BDD9FD53}"/>
          </ac:spMkLst>
        </pc:spChg>
        <pc:spChg chg="mod">
          <ac:chgData name="Nisen, Henrik (BCG Platinion)" userId="23462ed3-8a28-48c0-b94c-224b90eb8d0a" providerId="ADAL" clId="{98F16264-753B-49F1-930F-12A12A4F559C}" dt="2024-02-29T08:09:31.197" v="590"/>
          <ac:spMkLst>
            <pc:docMk/>
            <pc:sldMk cId="195621216" sldId="2147483619"/>
            <ac:spMk id="58" creationId="{7ADEA06C-B3C7-CB0F-9763-70EFF2C73B76}"/>
          </ac:spMkLst>
        </pc:spChg>
        <pc:spChg chg="mod">
          <ac:chgData name="Nisen, Henrik (BCG Platinion)" userId="23462ed3-8a28-48c0-b94c-224b90eb8d0a" providerId="ADAL" clId="{98F16264-753B-49F1-930F-12A12A4F559C}" dt="2024-02-29T08:09:31.197" v="591"/>
          <ac:spMkLst>
            <pc:docMk/>
            <pc:sldMk cId="195621216" sldId="2147483619"/>
            <ac:spMk id="59" creationId="{E2F34B3D-B50C-7A29-A411-FBABA2897AF0}"/>
          </ac:spMkLst>
        </pc:spChg>
        <pc:spChg chg="mod">
          <ac:chgData name="Nisen, Henrik (BCG Platinion)" userId="23462ed3-8a28-48c0-b94c-224b90eb8d0a" providerId="ADAL" clId="{98F16264-753B-49F1-930F-12A12A4F559C}" dt="2024-02-29T08:09:31.198" v="592"/>
          <ac:spMkLst>
            <pc:docMk/>
            <pc:sldMk cId="195621216" sldId="2147483619"/>
            <ac:spMk id="60" creationId="{09118D09-58EB-9742-A59F-1204757A54FB}"/>
          </ac:spMkLst>
        </pc:spChg>
        <pc:spChg chg="mod">
          <ac:chgData name="Nisen, Henrik (BCG Platinion)" userId="23462ed3-8a28-48c0-b94c-224b90eb8d0a" providerId="ADAL" clId="{98F16264-753B-49F1-930F-12A12A4F559C}" dt="2024-02-29T08:09:31.199" v="593"/>
          <ac:spMkLst>
            <pc:docMk/>
            <pc:sldMk cId="195621216" sldId="2147483619"/>
            <ac:spMk id="61" creationId="{7883F257-DF5A-B4EE-54BF-53387BE32A8D}"/>
          </ac:spMkLst>
        </pc:spChg>
        <pc:spChg chg="mod ord">
          <ac:chgData name="Nisen, Henrik (BCG Platinion)" userId="23462ed3-8a28-48c0-b94c-224b90eb8d0a" providerId="ADAL" clId="{98F16264-753B-49F1-930F-12A12A4F559C}" dt="2024-02-29T08:09:31.200" v="595"/>
          <ac:spMkLst>
            <pc:docMk/>
            <pc:sldMk cId="195621216" sldId="2147483619"/>
            <ac:spMk id="62" creationId="{8C941C6D-E56B-D8FD-F36F-F3E2EECCF26C}"/>
          </ac:spMkLst>
        </pc:spChg>
        <pc:spChg chg="mod">
          <ac:chgData name="Nisen, Henrik (BCG Platinion)" userId="23462ed3-8a28-48c0-b94c-224b90eb8d0a" providerId="ADAL" clId="{98F16264-753B-49F1-930F-12A12A4F559C}" dt="2024-02-29T08:09:31.201" v="596"/>
          <ac:spMkLst>
            <pc:docMk/>
            <pc:sldMk cId="195621216" sldId="2147483619"/>
            <ac:spMk id="63" creationId="{F6DD9591-4703-CCB7-8215-052A8F1E50C8}"/>
          </ac:spMkLst>
        </pc:spChg>
        <pc:spChg chg="mod">
          <ac:chgData name="Nisen, Henrik (BCG Platinion)" userId="23462ed3-8a28-48c0-b94c-224b90eb8d0a" providerId="ADAL" clId="{98F16264-753B-49F1-930F-12A12A4F559C}" dt="2024-02-29T08:09:31.202" v="597"/>
          <ac:spMkLst>
            <pc:docMk/>
            <pc:sldMk cId="195621216" sldId="2147483619"/>
            <ac:spMk id="64" creationId="{34306094-62E5-4A20-4861-F13203EFFF6B}"/>
          </ac:spMkLst>
        </pc:spChg>
        <pc:spChg chg="mod">
          <ac:chgData name="Nisen, Henrik (BCG Platinion)" userId="23462ed3-8a28-48c0-b94c-224b90eb8d0a" providerId="ADAL" clId="{98F16264-753B-49F1-930F-12A12A4F559C}" dt="2024-02-29T08:09:31.203" v="598"/>
          <ac:spMkLst>
            <pc:docMk/>
            <pc:sldMk cId="195621216" sldId="2147483619"/>
            <ac:spMk id="65" creationId="{A6BECFA4-9E16-920C-6956-A69A4FC03220}"/>
          </ac:spMkLst>
        </pc:spChg>
        <pc:spChg chg="mod">
          <ac:chgData name="Nisen, Henrik (BCG Platinion)" userId="23462ed3-8a28-48c0-b94c-224b90eb8d0a" providerId="ADAL" clId="{98F16264-753B-49F1-930F-12A12A4F559C}" dt="2024-02-29T08:09:31.204" v="599"/>
          <ac:spMkLst>
            <pc:docMk/>
            <pc:sldMk cId="195621216" sldId="2147483619"/>
            <ac:spMk id="66" creationId="{5B624E33-F6A0-C26B-F725-3E2B37742EE0}"/>
          </ac:spMkLst>
        </pc:spChg>
        <pc:spChg chg="mod">
          <ac:chgData name="Nisen, Henrik (BCG Platinion)" userId="23462ed3-8a28-48c0-b94c-224b90eb8d0a" providerId="ADAL" clId="{98F16264-753B-49F1-930F-12A12A4F559C}" dt="2024-02-29T08:09:31.205" v="600"/>
          <ac:spMkLst>
            <pc:docMk/>
            <pc:sldMk cId="195621216" sldId="2147483619"/>
            <ac:spMk id="67" creationId="{C263D87A-6899-553D-DE5E-7E7FF095FACB}"/>
          </ac:spMkLst>
        </pc:spChg>
        <pc:spChg chg="mod ord">
          <ac:chgData name="Nisen, Henrik (BCG Platinion)" userId="23462ed3-8a28-48c0-b94c-224b90eb8d0a" providerId="ADAL" clId="{98F16264-753B-49F1-930F-12A12A4F559C}" dt="2024-02-29T08:09:31.206" v="602"/>
          <ac:spMkLst>
            <pc:docMk/>
            <pc:sldMk cId="195621216" sldId="2147483619"/>
            <ac:spMk id="68" creationId="{60A6EDEB-79C2-8D39-2A76-E3D80831AA9D}"/>
          </ac:spMkLst>
        </pc:spChg>
        <pc:spChg chg="mod">
          <ac:chgData name="Nisen, Henrik (BCG Platinion)" userId="23462ed3-8a28-48c0-b94c-224b90eb8d0a" providerId="ADAL" clId="{98F16264-753B-49F1-930F-12A12A4F559C}" dt="2024-02-29T08:09:31.207" v="603"/>
          <ac:spMkLst>
            <pc:docMk/>
            <pc:sldMk cId="195621216" sldId="2147483619"/>
            <ac:spMk id="69" creationId="{520F6DB1-F836-692D-CECD-F4B7B29CB482}"/>
          </ac:spMkLst>
        </pc:spChg>
        <pc:spChg chg="mod">
          <ac:chgData name="Nisen, Henrik (BCG Platinion)" userId="23462ed3-8a28-48c0-b94c-224b90eb8d0a" providerId="ADAL" clId="{98F16264-753B-49F1-930F-12A12A4F559C}" dt="2024-02-29T08:09:31.208" v="604"/>
          <ac:spMkLst>
            <pc:docMk/>
            <pc:sldMk cId="195621216" sldId="2147483619"/>
            <ac:spMk id="70" creationId="{C2C8256C-C46C-3C97-88D1-942A72D1CBF9}"/>
          </ac:spMkLst>
        </pc:spChg>
        <pc:spChg chg="mod">
          <ac:chgData name="Nisen, Henrik (BCG Platinion)" userId="23462ed3-8a28-48c0-b94c-224b90eb8d0a" providerId="ADAL" clId="{98F16264-753B-49F1-930F-12A12A4F559C}" dt="2024-02-29T08:09:31.209" v="605"/>
          <ac:spMkLst>
            <pc:docMk/>
            <pc:sldMk cId="195621216" sldId="2147483619"/>
            <ac:spMk id="71" creationId="{9534C55F-0096-111B-010E-6DAD16F3FED8}"/>
          </ac:spMkLst>
        </pc:spChg>
        <pc:spChg chg="mod">
          <ac:chgData name="Nisen, Henrik (BCG Platinion)" userId="23462ed3-8a28-48c0-b94c-224b90eb8d0a" providerId="ADAL" clId="{98F16264-753B-49F1-930F-12A12A4F559C}" dt="2024-02-29T08:09:31.209" v="606"/>
          <ac:spMkLst>
            <pc:docMk/>
            <pc:sldMk cId="195621216" sldId="2147483619"/>
            <ac:spMk id="72" creationId="{94FCB038-9062-C84A-8F51-59989B819371}"/>
          </ac:spMkLst>
        </pc:spChg>
        <pc:spChg chg="mod">
          <ac:chgData name="Nisen, Henrik (BCG Platinion)" userId="23462ed3-8a28-48c0-b94c-224b90eb8d0a" providerId="ADAL" clId="{98F16264-753B-49F1-930F-12A12A4F559C}" dt="2024-02-29T08:09:31.210" v="607"/>
          <ac:spMkLst>
            <pc:docMk/>
            <pc:sldMk cId="195621216" sldId="2147483619"/>
            <ac:spMk id="73" creationId="{4FBC1306-2951-E284-FB2C-0534E16488E5}"/>
          </ac:spMkLst>
        </pc:spChg>
        <pc:spChg chg="mod ord">
          <ac:chgData name="Nisen, Henrik (BCG Platinion)" userId="23462ed3-8a28-48c0-b94c-224b90eb8d0a" providerId="ADAL" clId="{98F16264-753B-49F1-930F-12A12A4F559C}" dt="2024-02-29T08:09:31.212" v="609"/>
          <ac:spMkLst>
            <pc:docMk/>
            <pc:sldMk cId="195621216" sldId="2147483619"/>
            <ac:spMk id="74" creationId="{95C366A9-6862-81B5-088F-6F57D48E9E3D}"/>
          </ac:spMkLst>
        </pc:spChg>
        <pc:spChg chg="mod">
          <ac:chgData name="Nisen, Henrik (BCG Platinion)" userId="23462ed3-8a28-48c0-b94c-224b90eb8d0a" providerId="ADAL" clId="{98F16264-753B-49F1-930F-12A12A4F559C}" dt="2024-02-29T08:09:31.212" v="610"/>
          <ac:spMkLst>
            <pc:docMk/>
            <pc:sldMk cId="195621216" sldId="2147483619"/>
            <ac:spMk id="75" creationId="{DB9B4F68-D404-BE3D-5C0A-7D527B76FD5F}"/>
          </ac:spMkLst>
        </pc:spChg>
        <pc:spChg chg="mod">
          <ac:chgData name="Nisen, Henrik (BCG Platinion)" userId="23462ed3-8a28-48c0-b94c-224b90eb8d0a" providerId="ADAL" clId="{98F16264-753B-49F1-930F-12A12A4F559C}" dt="2024-02-29T08:09:31.213" v="611"/>
          <ac:spMkLst>
            <pc:docMk/>
            <pc:sldMk cId="195621216" sldId="2147483619"/>
            <ac:spMk id="76" creationId="{0391D58F-BB98-6FE8-9975-4F9960B975FB}"/>
          </ac:spMkLst>
        </pc:spChg>
        <pc:spChg chg="mod">
          <ac:chgData name="Nisen, Henrik (BCG Platinion)" userId="23462ed3-8a28-48c0-b94c-224b90eb8d0a" providerId="ADAL" clId="{98F16264-753B-49F1-930F-12A12A4F559C}" dt="2024-02-29T08:09:31.214" v="612"/>
          <ac:spMkLst>
            <pc:docMk/>
            <pc:sldMk cId="195621216" sldId="2147483619"/>
            <ac:spMk id="77" creationId="{59F25E7F-1FFB-7230-7A20-6524FC236038}"/>
          </ac:spMkLst>
        </pc:spChg>
        <pc:spChg chg="mod">
          <ac:chgData name="Nisen, Henrik (BCG Platinion)" userId="23462ed3-8a28-48c0-b94c-224b90eb8d0a" providerId="ADAL" clId="{98F16264-753B-49F1-930F-12A12A4F559C}" dt="2024-02-29T08:09:31.215" v="613"/>
          <ac:spMkLst>
            <pc:docMk/>
            <pc:sldMk cId="195621216" sldId="2147483619"/>
            <ac:spMk id="78" creationId="{02A37BCD-B733-06C0-AB78-B5B1CC7C4A0E}"/>
          </ac:spMkLst>
        </pc:spChg>
        <pc:spChg chg="mod">
          <ac:chgData name="Nisen, Henrik (BCG Platinion)" userId="23462ed3-8a28-48c0-b94c-224b90eb8d0a" providerId="ADAL" clId="{98F16264-753B-49F1-930F-12A12A4F559C}" dt="2024-02-29T08:09:31.216" v="614"/>
          <ac:spMkLst>
            <pc:docMk/>
            <pc:sldMk cId="195621216" sldId="2147483619"/>
            <ac:spMk id="79" creationId="{529E8FB9-6374-32E5-1A95-F0A0F5760D0C}"/>
          </ac:spMkLst>
        </pc:spChg>
        <pc:spChg chg="mod ord">
          <ac:chgData name="Nisen, Henrik (BCG Platinion)" userId="23462ed3-8a28-48c0-b94c-224b90eb8d0a" providerId="ADAL" clId="{98F16264-753B-49F1-930F-12A12A4F559C}" dt="2024-02-29T08:09:31.217" v="616"/>
          <ac:spMkLst>
            <pc:docMk/>
            <pc:sldMk cId="195621216" sldId="2147483619"/>
            <ac:spMk id="80" creationId="{BC68EAE7-8F55-2729-8CCB-2E42DFC2335F}"/>
          </ac:spMkLst>
        </pc:spChg>
        <pc:spChg chg="mod">
          <ac:chgData name="Nisen, Henrik (BCG Platinion)" userId="23462ed3-8a28-48c0-b94c-224b90eb8d0a" providerId="ADAL" clId="{98F16264-753B-49F1-930F-12A12A4F559C}" dt="2024-02-29T08:09:31.218" v="617"/>
          <ac:spMkLst>
            <pc:docMk/>
            <pc:sldMk cId="195621216" sldId="2147483619"/>
            <ac:spMk id="81" creationId="{95E316D7-F5CE-B329-E73F-8BCABCE2AB46}"/>
          </ac:spMkLst>
        </pc:spChg>
        <pc:spChg chg="mod">
          <ac:chgData name="Nisen, Henrik (BCG Platinion)" userId="23462ed3-8a28-48c0-b94c-224b90eb8d0a" providerId="ADAL" clId="{98F16264-753B-49F1-930F-12A12A4F559C}" dt="2024-02-29T08:09:31.220" v="618"/>
          <ac:spMkLst>
            <pc:docMk/>
            <pc:sldMk cId="195621216" sldId="2147483619"/>
            <ac:spMk id="82" creationId="{1762F242-28CC-C769-6395-5B36FEE9D5FD}"/>
          </ac:spMkLst>
        </pc:spChg>
        <pc:spChg chg="mod">
          <ac:chgData name="Nisen, Henrik (BCG Platinion)" userId="23462ed3-8a28-48c0-b94c-224b90eb8d0a" providerId="ADAL" clId="{98F16264-753B-49F1-930F-12A12A4F559C}" dt="2024-02-29T08:09:31.231" v="629"/>
          <ac:spMkLst>
            <pc:docMk/>
            <pc:sldMk cId="195621216" sldId="2147483619"/>
            <ac:spMk id="83" creationId="{6A517DB3-A259-ACF8-5ACD-A483AEBDD5B5}"/>
          </ac:spMkLst>
        </pc:spChg>
        <pc:spChg chg="mod">
          <ac:chgData name="Nisen, Henrik (BCG Platinion)" userId="23462ed3-8a28-48c0-b94c-224b90eb8d0a" providerId="ADAL" clId="{98F16264-753B-49F1-930F-12A12A4F559C}" dt="2024-02-29T08:09:31.223" v="621"/>
          <ac:spMkLst>
            <pc:docMk/>
            <pc:sldMk cId="195621216" sldId="2147483619"/>
            <ac:spMk id="84" creationId="{CA243931-827C-0B6C-D517-00B7512CB0F0}"/>
          </ac:spMkLst>
        </pc:spChg>
        <pc:spChg chg="mod">
          <ac:chgData name="Nisen, Henrik (BCG Platinion)" userId="23462ed3-8a28-48c0-b94c-224b90eb8d0a" providerId="ADAL" clId="{98F16264-753B-49F1-930F-12A12A4F559C}" dt="2024-02-29T08:09:31.224" v="622"/>
          <ac:spMkLst>
            <pc:docMk/>
            <pc:sldMk cId="195621216" sldId="2147483619"/>
            <ac:spMk id="85" creationId="{77475196-C8D5-E87F-1DA6-17578D3009FB}"/>
          </ac:spMkLst>
        </pc:spChg>
        <pc:spChg chg="mod ord">
          <ac:chgData name="Nisen, Henrik (BCG Platinion)" userId="23462ed3-8a28-48c0-b94c-224b90eb8d0a" providerId="ADAL" clId="{98F16264-753B-49F1-930F-12A12A4F559C}" dt="2024-02-29T08:09:31.226" v="624"/>
          <ac:spMkLst>
            <pc:docMk/>
            <pc:sldMk cId="195621216" sldId="2147483619"/>
            <ac:spMk id="86" creationId="{8B5E83E2-378A-6D21-2DFF-90909FEA66E4}"/>
          </ac:spMkLst>
        </pc:spChg>
        <pc:spChg chg="mod ord">
          <ac:chgData name="Nisen, Henrik (BCG Platinion)" userId="23462ed3-8a28-48c0-b94c-224b90eb8d0a" providerId="ADAL" clId="{98F16264-753B-49F1-930F-12A12A4F559C}" dt="2024-02-29T08:09:31.222" v="620"/>
          <ac:spMkLst>
            <pc:docMk/>
            <pc:sldMk cId="195621216" sldId="2147483619"/>
            <ac:spMk id="87" creationId="{8BB88D57-110F-971E-4158-171CD829D728}"/>
          </ac:spMkLst>
        </pc:spChg>
        <pc:spChg chg="mod">
          <ac:chgData name="Nisen, Henrik (BCG Platinion)" userId="23462ed3-8a28-48c0-b94c-224b90eb8d0a" providerId="ADAL" clId="{98F16264-753B-49F1-930F-12A12A4F559C}" dt="2024-02-29T08:09:31.227" v="625"/>
          <ac:spMkLst>
            <pc:docMk/>
            <pc:sldMk cId="195621216" sldId="2147483619"/>
            <ac:spMk id="88" creationId="{BDF5670E-C596-ECFC-D41B-130E719A3AE2}"/>
          </ac:spMkLst>
        </pc:spChg>
        <pc:spChg chg="mod">
          <ac:chgData name="Nisen, Henrik (BCG Platinion)" userId="23462ed3-8a28-48c0-b94c-224b90eb8d0a" providerId="ADAL" clId="{98F16264-753B-49F1-930F-12A12A4F559C}" dt="2024-02-29T08:09:31.229" v="627"/>
          <ac:spMkLst>
            <pc:docMk/>
            <pc:sldMk cId="195621216" sldId="2147483619"/>
            <ac:spMk id="89" creationId="{D38B9884-44EC-93E5-2C0F-2A565EC41283}"/>
          </ac:spMkLst>
        </pc:spChg>
        <pc:spChg chg="mod">
          <ac:chgData name="Nisen, Henrik (BCG Platinion)" userId="23462ed3-8a28-48c0-b94c-224b90eb8d0a" providerId="ADAL" clId="{98F16264-753B-49F1-930F-12A12A4F559C}" dt="2024-02-29T08:09:31.230" v="628"/>
          <ac:spMkLst>
            <pc:docMk/>
            <pc:sldMk cId="195621216" sldId="2147483619"/>
            <ac:spMk id="90" creationId="{78863797-8572-5656-F97C-61776E4FAAAD}"/>
          </ac:spMkLst>
        </pc:spChg>
        <pc:spChg chg="mod">
          <ac:chgData name="Nisen, Henrik (BCG Platinion)" userId="23462ed3-8a28-48c0-b94c-224b90eb8d0a" providerId="ADAL" clId="{98F16264-753B-49F1-930F-12A12A4F559C}" dt="2024-02-29T08:09:31.239" v="638"/>
          <ac:spMkLst>
            <pc:docMk/>
            <pc:sldMk cId="195621216" sldId="2147483619"/>
            <ac:spMk id="91" creationId="{E39B64DF-EE1E-07A4-2BCF-2B36A0D0B117}"/>
          </ac:spMkLst>
        </pc:spChg>
        <pc:spChg chg="mod">
          <ac:chgData name="Nisen, Henrik (BCG Platinion)" userId="23462ed3-8a28-48c0-b94c-224b90eb8d0a" providerId="ADAL" clId="{98F16264-753B-49F1-930F-12A12A4F559C}" dt="2024-02-29T08:09:31.231" v="630"/>
          <ac:spMkLst>
            <pc:docMk/>
            <pc:sldMk cId="195621216" sldId="2147483619"/>
            <ac:spMk id="92" creationId="{4D2B1ED1-0296-2E94-9463-D7AB4904761C}"/>
          </ac:spMkLst>
        </pc:spChg>
        <pc:spChg chg="mod">
          <ac:chgData name="Nisen, Henrik (BCG Platinion)" userId="23462ed3-8a28-48c0-b94c-224b90eb8d0a" providerId="ADAL" clId="{98F16264-753B-49F1-930F-12A12A4F559C}" dt="2024-02-29T08:09:31.232" v="631"/>
          <ac:spMkLst>
            <pc:docMk/>
            <pc:sldMk cId="195621216" sldId="2147483619"/>
            <ac:spMk id="93" creationId="{4FB86E16-4977-20EA-6FF5-1CC61313937F}"/>
          </ac:spMkLst>
        </pc:spChg>
        <pc:spChg chg="mod">
          <ac:chgData name="Nisen, Henrik (BCG Platinion)" userId="23462ed3-8a28-48c0-b94c-224b90eb8d0a" providerId="ADAL" clId="{98F16264-753B-49F1-930F-12A12A4F559C}" dt="2024-02-29T08:09:31.233" v="632"/>
          <ac:spMkLst>
            <pc:docMk/>
            <pc:sldMk cId="195621216" sldId="2147483619"/>
            <ac:spMk id="94" creationId="{68AB1EB9-144C-DEDB-E0C8-FF7A25DF6427}"/>
          </ac:spMkLst>
        </pc:spChg>
        <pc:spChg chg="mod">
          <ac:chgData name="Nisen, Henrik (BCG Platinion)" userId="23462ed3-8a28-48c0-b94c-224b90eb8d0a" providerId="ADAL" clId="{98F16264-753B-49F1-930F-12A12A4F559C}" dt="2024-02-29T08:09:31.228" v="626"/>
          <ac:spMkLst>
            <pc:docMk/>
            <pc:sldMk cId="195621216" sldId="2147483619"/>
            <ac:spMk id="95" creationId="{D092AD21-9F4F-3DFD-20D2-2437D082C016}"/>
          </ac:spMkLst>
        </pc:spChg>
        <pc:spChg chg="mod">
          <ac:chgData name="Nisen, Henrik (BCG Platinion)" userId="23462ed3-8a28-48c0-b94c-224b90eb8d0a" providerId="ADAL" clId="{98F16264-753B-49F1-930F-12A12A4F559C}" dt="2024-02-29T08:09:31.236" v="635"/>
          <ac:spMkLst>
            <pc:docMk/>
            <pc:sldMk cId="195621216" sldId="2147483619"/>
            <ac:spMk id="96" creationId="{65A5F7AD-DDD2-7CAA-532A-2E2A3507F048}"/>
          </ac:spMkLst>
        </pc:spChg>
        <pc:spChg chg="mod">
          <ac:chgData name="Nisen, Henrik (BCG Platinion)" userId="23462ed3-8a28-48c0-b94c-224b90eb8d0a" providerId="ADAL" clId="{98F16264-753B-49F1-930F-12A12A4F559C}" dt="2024-02-29T08:09:31.237" v="636"/>
          <ac:spMkLst>
            <pc:docMk/>
            <pc:sldMk cId="195621216" sldId="2147483619"/>
            <ac:spMk id="97" creationId="{0A6CF955-9201-909D-9DA8-B29C814A9082}"/>
          </ac:spMkLst>
        </pc:spChg>
        <pc:spChg chg="mod">
          <ac:chgData name="Nisen, Henrik (BCG Platinion)" userId="23462ed3-8a28-48c0-b94c-224b90eb8d0a" providerId="ADAL" clId="{98F16264-753B-49F1-930F-12A12A4F559C}" dt="2024-02-29T08:09:31.234" v="633"/>
          <ac:spMkLst>
            <pc:docMk/>
            <pc:sldMk cId="195621216" sldId="2147483619"/>
            <ac:spMk id="98" creationId="{24173BF2-CAF8-4D1D-BE61-65C3A91DFAEA}"/>
          </ac:spMkLst>
        </pc:spChg>
        <pc:spChg chg="mod">
          <ac:chgData name="Nisen, Henrik (BCG Platinion)" userId="23462ed3-8a28-48c0-b94c-224b90eb8d0a" providerId="ADAL" clId="{98F16264-753B-49F1-930F-12A12A4F559C}" dt="2024-02-29T08:09:31.235" v="634"/>
          <ac:spMkLst>
            <pc:docMk/>
            <pc:sldMk cId="195621216" sldId="2147483619"/>
            <ac:spMk id="99" creationId="{15B2BE1D-7D8D-F3FB-893C-8643964E3964}"/>
          </ac:spMkLst>
        </pc:spChg>
        <pc:spChg chg="mod">
          <ac:chgData name="Nisen, Henrik (BCG Platinion)" userId="23462ed3-8a28-48c0-b94c-224b90eb8d0a" providerId="ADAL" clId="{98F16264-753B-49F1-930F-12A12A4F559C}" dt="2024-02-29T08:09:31.240" v="639"/>
          <ac:spMkLst>
            <pc:docMk/>
            <pc:sldMk cId="195621216" sldId="2147483619"/>
            <ac:spMk id="100" creationId="{361F27D7-FB91-4C86-5FC6-7FEF9706C429}"/>
          </ac:spMkLst>
        </pc:spChg>
        <pc:spChg chg="mod ord">
          <ac:chgData name="Nisen, Henrik (BCG Platinion)" userId="23462ed3-8a28-48c0-b94c-224b90eb8d0a" providerId="ADAL" clId="{98F16264-753B-49F1-930F-12A12A4F559C}" dt="2024-02-29T08:09:31.241" v="641"/>
          <ac:spMkLst>
            <pc:docMk/>
            <pc:sldMk cId="195621216" sldId="2147483619"/>
            <ac:spMk id="101" creationId="{40CAAA70-F467-0126-1C4B-55F8FF0D3C11}"/>
          </ac:spMkLst>
        </pc:spChg>
        <pc:spChg chg="mod ord">
          <ac:chgData name="Nisen, Henrik (BCG Platinion)" userId="23462ed3-8a28-48c0-b94c-224b90eb8d0a" providerId="ADAL" clId="{98F16264-753B-49F1-930F-12A12A4F559C}" dt="2024-02-29T08:09:31.242" v="643"/>
          <ac:spMkLst>
            <pc:docMk/>
            <pc:sldMk cId="195621216" sldId="2147483619"/>
            <ac:spMk id="102" creationId="{A4F5A3E5-16B2-EF77-F554-DF0EBF9AEF3B}"/>
          </ac:spMkLst>
        </pc:spChg>
        <pc:spChg chg="mod ord">
          <ac:chgData name="Nisen, Henrik (BCG Platinion)" userId="23462ed3-8a28-48c0-b94c-224b90eb8d0a" providerId="ADAL" clId="{98F16264-753B-49F1-930F-12A12A4F559C}" dt="2024-02-29T08:09:31.243" v="645"/>
          <ac:spMkLst>
            <pc:docMk/>
            <pc:sldMk cId="195621216" sldId="2147483619"/>
            <ac:spMk id="103" creationId="{43FCD4BF-8D6E-C310-ADD5-80F92CEFAC3A}"/>
          </ac:spMkLst>
        </pc:spChg>
        <pc:spChg chg="mod ord">
          <ac:chgData name="Nisen, Henrik (BCG Platinion)" userId="23462ed3-8a28-48c0-b94c-224b90eb8d0a" providerId="ADAL" clId="{98F16264-753B-49F1-930F-12A12A4F559C}" dt="2024-02-29T08:09:31.245" v="647"/>
          <ac:spMkLst>
            <pc:docMk/>
            <pc:sldMk cId="195621216" sldId="2147483619"/>
            <ac:spMk id="104" creationId="{0C98A232-B4DD-E488-7027-CDEB1A73A5EA}"/>
          </ac:spMkLst>
        </pc:spChg>
        <pc:spChg chg="mod ord">
          <ac:chgData name="Nisen, Henrik (BCG Platinion)" userId="23462ed3-8a28-48c0-b94c-224b90eb8d0a" providerId="ADAL" clId="{98F16264-753B-49F1-930F-12A12A4F559C}" dt="2024-02-29T08:09:31.246" v="649"/>
          <ac:spMkLst>
            <pc:docMk/>
            <pc:sldMk cId="195621216" sldId="2147483619"/>
            <ac:spMk id="105" creationId="{E36E6096-926D-AB85-19AD-9CA74FB3A36A}"/>
          </ac:spMkLst>
        </pc:spChg>
        <pc:spChg chg="mod ord">
          <ac:chgData name="Nisen, Henrik (BCG Platinion)" userId="23462ed3-8a28-48c0-b94c-224b90eb8d0a" providerId="ADAL" clId="{98F16264-753B-49F1-930F-12A12A4F559C}" dt="2024-02-29T08:09:31.247" v="651"/>
          <ac:spMkLst>
            <pc:docMk/>
            <pc:sldMk cId="195621216" sldId="2147483619"/>
            <ac:spMk id="106" creationId="{4A377679-16C9-B091-3292-41B0BEB8FAFA}"/>
          </ac:spMkLst>
        </pc:spChg>
        <pc:spChg chg="mod ord">
          <ac:chgData name="Nisen, Henrik (BCG Platinion)" userId="23462ed3-8a28-48c0-b94c-224b90eb8d0a" providerId="ADAL" clId="{98F16264-753B-49F1-930F-12A12A4F559C}" dt="2024-02-29T08:09:31.248" v="653"/>
          <ac:spMkLst>
            <pc:docMk/>
            <pc:sldMk cId="195621216" sldId="2147483619"/>
            <ac:spMk id="107" creationId="{9D58C52E-06D1-2D2E-0FFE-57463B8BE400}"/>
          </ac:spMkLst>
        </pc:spChg>
        <pc:spChg chg="mod ord">
          <ac:chgData name="Nisen, Henrik (BCG Platinion)" userId="23462ed3-8a28-48c0-b94c-224b90eb8d0a" providerId="ADAL" clId="{98F16264-753B-49F1-930F-12A12A4F559C}" dt="2024-02-29T08:09:31.250" v="655"/>
          <ac:spMkLst>
            <pc:docMk/>
            <pc:sldMk cId="195621216" sldId="2147483619"/>
            <ac:spMk id="108" creationId="{728407F1-35EC-F8C6-DC9A-207C5C61E3DB}"/>
          </ac:spMkLst>
        </pc:spChg>
        <pc:spChg chg="mod ord">
          <ac:chgData name="Nisen, Henrik (BCG Platinion)" userId="23462ed3-8a28-48c0-b94c-224b90eb8d0a" providerId="ADAL" clId="{98F16264-753B-49F1-930F-12A12A4F559C}" dt="2024-02-29T08:09:31.251" v="657"/>
          <ac:spMkLst>
            <pc:docMk/>
            <pc:sldMk cId="195621216" sldId="2147483619"/>
            <ac:spMk id="109" creationId="{FEFDDD24-76A9-BDB0-95FB-5D787D61631F}"/>
          </ac:spMkLst>
        </pc:spChg>
        <pc:spChg chg="add mod ord replST">
          <ac:chgData name="Nisen, Henrik (BCG Platinion)" userId="23462ed3-8a28-48c0-b94c-224b90eb8d0a" providerId="ADAL" clId="{98F16264-753B-49F1-930F-12A12A4F559C}" dt="2024-02-29T08:09:31.181" v="568"/>
          <ac:spMkLst>
            <pc:docMk/>
            <pc:sldMk cId="195621216" sldId="2147483619"/>
            <ac:spMk id="110" creationId="{733C4ADC-BA87-4986-5343-1409D3390157}"/>
          </ac:spMkLst>
        </pc:spChg>
        <pc:spChg chg="add mod ord replST">
          <ac:chgData name="Nisen, Henrik (BCG Platinion)" userId="23462ed3-8a28-48c0-b94c-224b90eb8d0a" providerId="ADAL" clId="{98F16264-753B-49F1-930F-12A12A4F559C}" dt="2024-02-29T08:09:31.178" v="564"/>
          <ac:spMkLst>
            <pc:docMk/>
            <pc:sldMk cId="195621216" sldId="2147483619"/>
            <ac:spMk id="111" creationId="{C535E8F6-29E1-78DA-466F-F9EB18B93F1A}"/>
          </ac:spMkLst>
        </pc:spChg>
        <pc:spChg chg="mod ord">
          <ac:chgData name="Nisen, Henrik (BCG Platinion)" userId="23462ed3-8a28-48c0-b94c-224b90eb8d0a" providerId="ADAL" clId="{98F16264-753B-49F1-930F-12A12A4F559C}" dt="2024-02-29T08:09:31.252" v="659"/>
          <ac:spMkLst>
            <pc:docMk/>
            <pc:sldMk cId="195621216" sldId="2147483619"/>
            <ac:spMk id="117" creationId="{0E6AD056-2923-FF2A-C0FD-8AB2C6E62685}"/>
          </ac:spMkLst>
        </pc:spChg>
        <pc:graphicFrameChg chg="del">
          <ac:chgData name="Nisen, Henrik (BCG Platinion)" userId="23462ed3-8a28-48c0-b94c-224b90eb8d0a" providerId="ADAL" clId="{98F16264-753B-49F1-930F-12A12A4F559C}" dt="2024-02-29T08:09:30.546" v="260"/>
          <ac:graphicFrameMkLst>
            <pc:docMk/>
            <pc:sldMk cId="195621216" sldId="2147483619"/>
            <ac:graphicFrameMk id="25" creationId="{1A382649-19EB-73BC-8565-A84FA45FBC76}"/>
          </ac:graphicFrameMkLst>
        </pc:graphicFrameChg>
        <pc:graphicFrameChg chg="add mod replST">
          <ac:chgData name="Nisen, Henrik (BCG Platinion)" userId="23462ed3-8a28-48c0-b94c-224b90eb8d0a" providerId="ADAL" clId="{98F16264-753B-49F1-930F-12A12A4F559C}" dt="2024-02-29T08:09:31.156" v="537"/>
          <ac:graphicFrameMkLst>
            <pc:docMk/>
            <pc:sldMk cId="195621216" sldId="2147483619"/>
            <ac:graphicFrameMk id="38" creationId="{33B70A34-727B-E513-AED0-360B0005EF79}"/>
          </ac:graphicFrameMkLst>
        </pc:graphicFrameChg>
        <pc:graphicFrameChg chg="del">
          <ac:chgData name="Nisen, Henrik (BCG Platinion)" userId="23462ed3-8a28-48c0-b94c-224b90eb8d0a" providerId="ADAL" clId="{98F16264-753B-49F1-930F-12A12A4F559C}" dt="2024-02-29T08:09:31.111" v="517"/>
          <ac:graphicFrameMkLst>
            <pc:docMk/>
            <pc:sldMk cId="195621216" sldId="2147483619"/>
            <ac:graphicFrameMk id="112" creationId="{50B14056-3455-38E9-50E2-F3FF515EADA3}"/>
          </ac:graphicFrameMkLst>
        </pc:graphicFrameChg>
        <pc:graphicFrameChg chg="add mod replST">
          <ac:chgData name="Nisen, Henrik (BCG Platinion)" userId="23462ed3-8a28-48c0-b94c-224b90eb8d0a" providerId="ADAL" clId="{98F16264-753B-49F1-930F-12A12A4F559C}" dt="2024-02-29T08:09:31.168" v="551"/>
          <ac:graphicFrameMkLst>
            <pc:docMk/>
            <pc:sldMk cId="195621216" sldId="2147483619"/>
            <ac:graphicFrameMk id="113" creationId="{6880E135-88E8-07C0-2A8E-24FF6F031D86}"/>
          </ac:graphicFrameMkLst>
        </pc:graphicFrameChg>
        <pc:graphicFrameChg chg="mod">
          <ac:chgData name="Nisen, Henrik (BCG Platinion)" userId="23462ed3-8a28-48c0-b94c-224b90eb8d0a" providerId="ADAL" clId="{98F16264-753B-49F1-930F-12A12A4F559C}" dt="2024-02-29T08:09:31.849" v="671"/>
          <ac:graphicFrameMkLst>
            <pc:docMk/>
            <pc:sldMk cId="195621216" sldId="2147483619"/>
            <ac:graphicFrameMk id="114" creationId="{E2D98394-C65C-A290-5DA9-6A9FB98B123B}"/>
          </ac:graphicFrameMkLst>
        </pc:graphicFrameChg>
        <pc:cxnChg chg="mod ord">
          <ac:chgData name="Nisen, Henrik (BCG Platinion)" userId="23462ed3-8a28-48c0-b94c-224b90eb8d0a" providerId="ADAL" clId="{98F16264-753B-49F1-930F-12A12A4F559C}" dt="2024-02-29T08:09:31.165" v="548"/>
          <ac:cxnSpMkLst>
            <pc:docMk/>
            <pc:sldMk cId="195621216" sldId="2147483619"/>
            <ac:cxnSpMk id="23" creationId="{002FE36B-C6D1-798C-E926-2E8B3CFB926D}"/>
          </ac:cxnSpMkLst>
        </pc:cxnChg>
        <pc:cxnChg chg="mod ord">
          <ac:chgData name="Nisen, Henrik (BCG Platinion)" userId="23462ed3-8a28-48c0-b94c-224b90eb8d0a" providerId="ADAL" clId="{98F16264-753B-49F1-930F-12A12A4F559C}" dt="2024-02-29T08:09:31.182" v="570"/>
          <ac:cxnSpMkLst>
            <pc:docMk/>
            <pc:sldMk cId="195621216" sldId="2147483619"/>
            <ac:cxnSpMk id="41" creationId="{FEDE17CA-9AEE-5D92-9727-EE284FD05B14}"/>
          </ac:cxnSpMkLst>
        </pc:cxnChg>
        <pc:cxnChg chg="mod ord">
          <ac:chgData name="Nisen, Henrik (BCG Platinion)" userId="23462ed3-8a28-48c0-b94c-224b90eb8d0a" providerId="ADAL" clId="{98F16264-753B-49F1-930F-12A12A4F559C}" dt="2024-02-29T08:09:31.183" v="572"/>
          <ac:cxnSpMkLst>
            <pc:docMk/>
            <pc:sldMk cId="195621216" sldId="2147483619"/>
            <ac:cxnSpMk id="42" creationId="{A195E535-01DA-1C6E-2AAF-F66406850CEF}"/>
          </ac:cxnSpMkLst>
        </pc:cxnChg>
      </pc:sldChg>
      <pc:sldChg chg="addSp delSp modSp mod">
        <pc:chgData name="Nisen, Henrik (BCG Platinion)" userId="23462ed3-8a28-48c0-b94c-224b90eb8d0a" providerId="ADAL" clId="{98F16264-753B-49F1-930F-12A12A4F559C}" dt="2024-02-29T08:09:32.641" v="776"/>
        <pc:sldMkLst>
          <pc:docMk/>
          <pc:sldMk cId="3103856749" sldId="2147483621"/>
        </pc:sldMkLst>
        <pc:spChg chg="mod ord">
          <ac:chgData name="Nisen, Henrik (BCG Platinion)" userId="23462ed3-8a28-48c0-b94c-224b90eb8d0a" providerId="ADAL" clId="{98F16264-753B-49F1-930F-12A12A4F559C}" dt="2024-02-29T08:09:32.562" v="681"/>
          <ac:spMkLst>
            <pc:docMk/>
            <pc:sldMk cId="3103856749" sldId="2147483621"/>
            <ac:spMk id="2" creationId="{3D276EDA-45C9-60D6-7BB0-61EE15635B23}"/>
          </ac:spMkLst>
        </pc:spChg>
        <pc:spChg chg="mod ord">
          <ac:chgData name="Nisen, Henrik (BCG Platinion)" userId="23462ed3-8a28-48c0-b94c-224b90eb8d0a" providerId="ADAL" clId="{98F16264-753B-49F1-930F-12A12A4F559C}" dt="2024-02-29T08:09:32.563" v="683"/>
          <ac:spMkLst>
            <pc:docMk/>
            <pc:sldMk cId="3103856749" sldId="2147483621"/>
            <ac:spMk id="3" creationId="{522AC60D-FE96-2546-F27F-FF49D8F5A326}"/>
          </ac:spMkLst>
        </pc:spChg>
        <pc:spChg chg="mod ord">
          <ac:chgData name="Nisen, Henrik (BCG Platinion)" userId="23462ed3-8a28-48c0-b94c-224b90eb8d0a" providerId="ADAL" clId="{98F16264-753B-49F1-930F-12A12A4F559C}" dt="2024-02-29T08:09:32.565" v="685"/>
          <ac:spMkLst>
            <pc:docMk/>
            <pc:sldMk cId="3103856749" sldId="2147483621"/>
            <ac:spMk id="4" creationId="{7DAD173B-050D-ADC2-C16D-F8C1AF4A1564}"/>
          </ac:spMkLst>
        </pc:spChg>
        <pc:spChg chg="mod ord">
          <ac:chgData name="Nisen, Henrik (BCG Platinion)" userId="23462ed3-8a28-48c0-b94c-224b90eb8d0a" providerId="ADAL" clId="{98F16264-753B-49F1-930F-12A12A4F559C}" dt="2024-02-29T08:09:32.566" v="687"/>
          <ac:spMkLst>
            <pc:docMk/>
            <pc:sldMk cId="3103856749" sldId="2147483621"/>
            <ac:spMk id="8" creationId="{9806F401-BD29-CD8B-DF35-C83F70109977}"/>
          </ac:spMkLst>
        </pc:spChg>
        <pc:spChg chg="mod ord">
          <ac:chgData name="Nisen, Henrik (BCG Platinion)" userId="23462ed3-8a28-48c0-b94c-224b90eb8d0a" providerId="ADAL" clId="{98F16264-753B-49F1-930F-12A12A4F559C}" dt="2024-02-29T08:09:32.569" v="691"/>
          <ac:spMkLst>
            <pc:docMk/>
            <pc:sldMk cId="3103856749" sldId="2147483621"/>
            <ac:spMk id="10" creationId="{1F785D3F-109F-A5E1-5CBB-62E16FFAD99C}"/>
          </ac:spMkLst>
        </pc:spChg>
        <pc:spChg chg="mod ord">
          <ac:chgData name="Nisen, Henrik (BCG Platinion)" userId="23462ed3-8a28-48c0-b94c-224b90eb8d0a" providerId="ADAL" clId="{98F16264-753B-49F1-930F-12A12A4F559C}" dt="2024-02-29T08:09:32.570" v="693"/>
          <ac:spMkLst>
            <pc:docMk/>
            <pc:sldMk cId="3103856749" sldId="2147483621"/>
            <ac:spMk id="12" creationId="{5DE12A3F-197C-4896-AE32-E7F7F65A4FBF}"/>
          </ac:spMkLst>
        </pc:spChg>
        <pc:spChg chg="mod">
          <ac:chgData name="Nisen, Henrik (BCG Platinion)" userId="23462ed3-8a28-48c0-b94c-224b90eb8d0a" providerId="ADAL" clId="{98F16264-753B-49F1-930F-12A12A4F559C}" dt="2024-02-29T08:09:32.572" v="695"/>
          <ac:spMkLst>
            <pc:docMk/>
            <pc:sldMk cId="3103856749" sldId="2147483621"/>
            <ac:spMk id="15" creationId="{7401882C-0FC8-C3C9-764A-50F6C6C1CD15}"/>
          </ac:spMkLst>
        </pc:spChg>
        <pc:spChg chg="mod ord">
          <ac:chgData name="Nisen, Henrik (BCG Platinion)" userId="23462ed3-8a28-48c0-b94c-224b90eb8d0a" providerId="ADAL" clId="{98F16264-753B-49F1-930F-12A12A4F559C}" dt="2024-02-29T08:09:32.576" v="700"/>
          <ac:spMkLst>
            <pc:docMk/>
            <pc:sldMk cId="3103856749" sldId="2147483621"/>
            <ac:spMk id="16" creationId="{3A1324D6-A7A5-F4E6-42D0-0CF65D3D8624}"/>
          </ac:spMkLst>
        </pc:spChg>
        <pc:spChg chg="mod">
          <ac:chgData name="Nisen, Henrik (BCG Platinion)" userId="23462ed3-8a28-48c0-b94c-224b90eb8d0a" providerId="ADAL" clId="{98F16264-753B-49F1-930F-12A12A4F559C}" dt="2024-02-29T08:09:32.578" v="701"/>
          <ac:spMkLst>
            <pc:docMk/>
            <pc:sldMk cId="3103856749" sldId="2147483621"/>
            <ac:spMk id="17" creationId="{8E6D5BF3-9530-C112-DF33-12A77A6F1FE9}"/>
          </ac:spMkLst>
        </pc:spChg>
        <pc:spChg chg="mod ord">
          <ac:chgData name="Nisen, Henrik (BCG Platinion)" userId="23462ed3-8a28-48c0-b94c-224b90eb8d0a" providerId="ADAL" clId="{98F16264-753B-49F1-930F-12A12A4F559C}" dt="2024-02-29T08:09:32.573" v="697"/>
          <ac:spMkLst>
            <pc:docMk/>
            <pc:sldMk cId="3103856749" sldId="2147483621"/>
            <ac:spMk id="18" creationId="{1E5C105C-7FB0-FFEF-0CF3-B10F28A5C194}"/>
          </ac:spMkLst>
        </pc:spChg>
        <pc:spChg chg="mod">
          <ac:chgData name="Nisen, Henrik (BCG Platinion)" userId="23462ed3-8a28-48c0-b94c-224b90eb8d0a" providerId="ADAL" clId="{98F16264-753B-49F1-930F-12A12A4F559C}" dt="2024-02-29T08:09:32.575" v="698"/>
          <ac:spMkLst>
            <pc:docMk/>
            <pc:sldMk cId="3103856749" sldId="2147483621"/>
            <ac:spMk id="19" creationId="{F8DC370C-F68E-0C82-FDE1-01E2F1E46CDF}"/>
          </ac:spMkLst>
        </pc:spChg>
        <pc:spChg chg="mod">
          <ac:chgData name="Nisen, Henrik (BCG Platinion)" userId="23462ed3-8a28-48c0-b94c-224b90eb8d0a" providerId="ADAL" clId="{98F16264-753B-49F1-930F-12A12A4F559C}" dt="2024-02-29T08:09:32.579" v="702"/>
          <ac:spMkLst>
            <pc:docMk/>
            <pc:sldMk cId="3103856749" sldId="2147483621"/>
            <ac:spMk id="20" creationId="{CA816FF0-4593-4490-B043-75A97697C067}"/>
          </ac:spMkLst>
        </pc:spChg>
        <pc:spChg chg="mod ord">
          <ac:chgData name="Nisen, Henrik (BCG Platinion)" userId="23462ed3-8a28-48c0-b94c-224b90eb8d0a" providerId="ADAL" clId="{98F16264-753B-49F1-930F-12A12A4F559C}" dt="2024-02-29T08:09:32.580" v="704"/>
          <ac:spMkLst>
            <pc:docMk/>
            <pc:sldMk cId="3103856749" sldId="2147483621"/>
            <ac:spMk id="21" creationId="{AF6C42F1-0A0A-654F-B94A-A32ECBEB0AE2}"/>
          </ac:spMkLst>
        </pc:spChg>
        <pc:spChg chg="mod">
          <ac:chgData name="Nisen, Henrik (BCG Platinion)" userId="23462ed3-8a28-48c0-b94c-224b90eb8d0a" providerId="ADAL" clId="{98F16264-753B-49F1-930F-12A12A4F559C}" dt="2024-02-29T08:09:32.581" v="705"/>
          <ac:spMkLst>
            <pc:docMk/>
            <pc:sldMk cId="3103856749" sldId="2147483621"/>
            <ac:spMk id="22" creationId="{0C68B494-FF7D-74F5-A641-619AF3387052}"/>
          </ac:spMkLst>
        </pc:spChg>
        <pc:spChg chg="mod ord">
          <ac:chgData name="Nisen, Henrik (BCG Platinion)" userId="23462ed3-8a28-48c0-b94c-224b90eb8d0a" providerId="ADAL" clId="{98F16264-753B-49F1-930F-12A12A4F559C}" dt="2024-02-29T08:09:32.583" v="707"/>
          <ac:spMkLst>
            <pc:docMk/>
            <pc:sldMk cId="3103856749" sldId="2147483621"/>
            <ac:spMk id="23" creationId="{752977E1-34EF-1C47-EC81-F0BC8BC4993C}"/>
          </ac:spMkLst>
        </pc:spChg>
        <pc:spChg chg="mod ord">
          <ac:chgData name="Nisen, Henrik (BCG Platinion)" userId="23462ed3-8a28-48c0-b94c-224b90eb8d0a" providerId="ADAL" clId="{98F16264-753B-49F1-930F-12A12A4F559C}" dt="2024-02-29T08:09:32.584" v="709"/>
          <ac:spMkLst>
            <pc:docMk/>
            <pc:sldMk cId="3103856749" sldId="2147483621"/>
            <ac:spMk id="24" creationId="{FD32732E-BA07-A446-1F8B-49A27F0D7E71}"/>
          </ac:spMkLst>
        </pc:spChg>
        <pc:spChg chg="mod ord">
          <ac:chgData name="Nisen, Henrik (BCG Platinion)" userId="23462ed3-8a28-48c0-b94c-224b90eb8d0a" providerId="ADAL" clId="{98F16264-753B-49F1-930F-12A12A4F559C}" dt="2024-02-29T08:09:32.585" v="711"/>
          <ac:spMkLst>
            <pc:docMk/>
            <pc:sldMk cId="3103856749" sldId="2147483621"/>
            <ac:spMk id="25" creationId="{6E6A7902-B5ED-7879-2904-2F4F7B823878}"/>
          </ac:spMkLst>
        </pc:spChg>
        <pc:spChg chg="mod ord">
          <ac:chgData name="Nisen, Henrik (BCG Platinion)" userId="23462ed3-8a28-48c0-b94c-224b90eb8d0a" providerId="ADAL" clId="{98F16264-753B-49F1-930F-12A12A4F559C}" dt="2024-02-29T08:09:32.587" v="713"/>
          <ac:spMkLst>
            <pc:docMk/>
            <pc:sldMk cId="3103856749" sldId="2147483621"/>
            <ac:spMk id="26" creationId="{1C423085-878A-BE2C-534A-3E5DE531065F}"/>
          </ac:spMkLst>
        </pc:spChg>
        <pc:spChg chg="mod ord">
          <ac:chgData name="Nisen, Henrik (BCG Platinion)" userId="23462ed3-8a28-48c0-b94c-224b90eb8d0a" providerId="ADAL" clId="{98F16264-753B-49F1-930F-12A12A4F559C}" dt="2024-02-29T08:09:32.588" v="715"/>
          <ac:spMkLst>
            <pc:docMk/>
            <pc:sldMk cId="3103856749" sldId="2147483621"/>
            <ac:spMk id="27" creationId="{11F9DEA9-0AE1-B1EC-9C00-B9CE096FF815}"/>
          </ac:spMkLst>
        </pc:spChg>
        <pc:spChg chg="mod ord">
          <ac:chgData name="Nisen, Henrik (BCG Platinion)" userId="23462ed3-8a28-48c0-b94c-224b90eb8d0a" providerId="ADAL" clId="{98F16264-753B-49F1-930F-12A12A4F559C}" dt="2024-02-29T08:09:32.590" v="717"/>
          <ac:spMkLst>
            <pc:docMk/>
            <pc:sldMk cId="3103856749" sldId="2147483621"/>
            <ac:spMk id="28" creationId="{38E12450-6CCA-A3A6-1CAD-9A2D37F20E34}"/>
          </ac:spMkLst>
        </pc:spChg>
        <pc:spChg chg="mod ord">
          <ac:chgData name="Nisen, Henrik (BCG Platinion)" userId="23462ed3-8a28-48c0-b94c-224b90eb8d0a" providerId="ADAL" clId="{98F16264-753B-49F1-930F-12A12A4F559C}" dt="2024-02-29T08:09:32.591" v="719"/>
          <ac:spMkLst>
            <pc:docMk/>
            <pc:sldMk cId="3103856749" sldId="2147483621"/>
            <ac:spMk id="29" creationId="{D45E247E-9A6C-3DE7-72EF-1D070D368BDD}"/>
          </ac:spMkLst>
        </pc:spChg>
        <pc:spChg chg="mod ord">
          <ac:chgData name="Nisen, Henrik (BCG Platinion)" userId="23462ed3-8a28-48c0-b94c-224b90eb8d0a" providerId="ADAL" clId="{98F16264-753B-49F1-930F-12A12A4F559C}" dt="2024-02-29T08:09:32.594" v="721"/>
          <ac:spMkLst>
            <pc:docMk/>
            <pc:sldMk cId="3103856749" sldId="2147483621"/>
            <ac:spMk id="30" creationId="{7BF34145-C6C4-065E-C019-78A220F9EAA2}"/>
          </ac:spMkLst>
        </pc:spChg>
        <pc:spChg chg="mod ord">
          <ac:chgData name="Nisen, Henrik (BCG Platinion)" userId="23462ed3-8a28-48c0-b94c-224b90eb8d0a" providerId="ADAL" clId="{98F16264-753B-49F1-930F-12A12A4F559C}" dt="2024-02-29T08:09:32.596" v="723"/>
          <ac:spMkLst>
            <pc:docMk/>
            <pc:sldMk cId="3103856749" sldId="2147483621"/>
            <ac:spMk id="31" creationId="{AACA09E4-06E1-74BF-8C5D-7B8B4C5E34DA}"/>
          </ac:spMkLst>
        </pc:spChg>
        <pc:spChg chg="mod ord">
          <ac:chgData name="Nisen, Henrik (BCG Platinion)" userId="23462ed3-8a28-48c0-b94c-224b90eb8d0a" providerId="ADAL" clId="{98F16264-753B-49F1-930F-12A12A4F559C}" dt="2024-02-29T08:09:32.599" v="725"/>
          <ac:spMkLst>
            <pc:docMk/>
            <pc:sldMk cId="3103856749" sldId="2147483621"/>
            <ac:spMk id="32" creationId="{36316487-72CB-EE66-7730-E094E070DF52}"/>
          </ac:spMkLst>
        </pc:spChg>
        <pc:spChg chg="mod ord">
          <ac:chgData name="Nisen, Henrik (BCG Platinion)" userId="23462ed3-8a28-48c0-b94c-224b90eb8d0a" providerId="ADAL" clId="{98F16264-753B-49F1-930F-12A12A4F559C}" dt="2024-02-29T08:09:32.600" v="727"/>
          <ac:spMkLst>
            <pc:docMk/>
            <pc:sldMk cId="3103856749" sldId="2147483621"/>
            <ac:spMk id="33" creationId="{27E1480E-F722-C391-9DFF-CAA22A8F59F9}"/>
          </ac:spMkLst>
        </pc:spChg>
        <pc:spChg chg="mod ord">
          <ac:chgData name="Nisen, Henrik (BCG Platinion)" userId="23462ed3-8a28-48c0-b94c-224b90eb8d0a" providerId="ADAL" clId="{98F16264-753B-49F1-930F-12A12A4F559C}" dt="2024-02-29T08:09:32.602" v="729"/>
          <ac:spMkLst>
            <pc:docMk/>
            <pc:sldMk cId="3103856749" sldId="2147483621"/>
            <ac:spMk id="34" creationId="{C1E80E5D-16CF-4E90-DC49-CA194E023031}"/>
          </ac:spMkLst>
        </pc:spChg>
        <pc:spChg chg="mod ord">
          <ac:chgData name="Nisen, Henrik (BCG Platinion)" userId="23462ed3-8a28-48c0-b94c-224b90eb8d0a" providerId="ADAL" clId="{98F16264-753B-49F1-930F-12A12A4F559C}" dt="2024-02-29T08:09:32.603" v="731"/>
          <ac:spMkLst>
            <pc:docMk/>
            <pc:sldMk cId="3103856749" sldId="2147483621"/>
            <ac:spMk id="35" creationId="{ED1469CC-CEDF-0F51-174A-16056B67A8B2}"/>
          </ac:spMkLst>
        </pc:spChg>
        <pc:spChg chg="mod ord">
          <ac:chgData name="Nisen, Henrik (BCG Platinion)" userId="23462ed3-8a28-48c0-b94c-224b90eb8d0a" providerId="ADAL" clId="{98F16264-753B-49F1-930F-12A12A4F559C}" dt="2024-02-29T08:09:32.605" v="733"/>
          <ac:spMkLst>
            <pc:docMk/>
            <pc:sldMk cId="3103856749" sldId="2147483621"/>
            <ac:spMk id="36" creationId="{F95ACB3C-C490-7AC3-F728-F51C6A035A48}"/>
          </ac:spMkLst>
        </pc:spChg>
        <pc:spChg chg="mod ord">
          <ac:chgData name="Nisen, Henrik (BCG Platinion)" userId="23462ed3-8a28-48c0-b94c-224b90eb8d0a" providerId="ADAL" clId="{98F16264-753B-49F1-930F-12A12A4F559C}" dt="2024-02-29T08:09:32.606" v="735"/>
          <ac:spMkLst>
            <pc:docMk/>
            <pc:sldMk cId="3103856749" sldId="2147483621"/>
            <ac:spMk id="37" creationId="{728421F0-E587-F7F2-9ADE-C8EA4211A239}"/>
          </ac:spMkLst>
        </pc:spChg>
        <pc:spChg chg="mod ord">
          <ac:chgData name="Nisen, Henrik (BCG Platinion)" userId="23462ed3-8a28-48c0-b94c-224b90eb8d0a" providerId="ADAL" clId="{98F16264-753B-49F1-930F-12A12A4F559C}" dt="2024-02-29T08:09:32.608" v="737"/>
          <ac:spMkLst>
            <pc:docMk/>
            <pc:sldMk cId="3103856749" sldId="2147483621"/>
            <ac:spMk id="38" creationId="{AF4C27CD-192E-813A-48DC-F3E793A828BA}"/>
          </ac:spMkLst>
        </pc:spChg>
        <pc:spChg chg="mod ord">
          <ac:chgData name="Nisen, Henrik (BCG Platinion)" userId="23462ed3-8a28-48c0-b94c-224b90eb8d0a" providerId="ADAL" clId="{98F16264-753B-49F1-930F-12A12A4F559C}" dt="2024-02-29T08:09:32.609" v="739"/>
          <ac:spMkLst>
            <pc:docMk/>
            <pc:sldMk cId="3103856749" sldId="2147483621"/>
            <ac:spMk id="39" creationId="{01032468-CFDE-00B2-11EB-9BF3DC3CDB53}"/>
          </ac:spMkLst>
        </pc:spChg>
        <pc:spChg chg="mod ord">
          <ac:chgData name="Nisen, Henrik (BCG Platinion)" userId="23462ed3-8a28-48c0-b94c-224b90eb8d0a" providerId="ADAL" clId="{98F16264-753B-49F1-930F-12A12A4F559C}" dt="2024-02-29T08:09:32.611" v="741"/>
          <ac:spMkLst>
            <pc:docMk/>
            <pc:sldMk cId="3103856749" sldId="2147483621"/>
            <ac:spMk id="40" creationId="{413E66E8-263C-DDBF-6E0C-4F4ACA7E5255}"/>
          </ac:spMkLst>
        </pc:spChg>
        <pc:spChg chg="mod ord">
          <ac:chgData name="Nisen, Henrik (BCG Platinion)" userId="23462ed3-8a28-48c0-b94c-224b90eb8d0a" providerId="ADAL" clId="{98F16264-753B-49F1-930F-12A12A4F559C}" dt="2024-02-29T08:09:32.613" v="743"/>
          <ac:spMkLst>
            <pc:docMk/>
            <pc:sldMk cId="3103856749" sldId="2147483621"/>
            <ac:spMk id="41" creationId="{8836F41A-9C45-B99F-841D-0F0C00A919BA}"/>
          </ac:spMkLst>
        </pc:spChg>
        <pc:spChg chg="mod ord">
          <ac:chgData name="Nisen, Henrik (BCG Platinion)" userId="23462ed3-8a28-48c0-b94c-224b90eb8d0a" providerId="ADAL" clId="{98F16264-753B-49F1-930F-12A12A4F559C}" dt="2024-02-29T08:09:32.614" v="745"/>
          <ac:spMkLst>
            <pc:docMk/>
            <pc:sldMk cId="3103856749" sldId="2147483621"/>
            <ac:spMk id="42" creationId="{870C4CD2-0373-CF14-C4DA-525816A6211E}"/>
          </ac:spMkLst>
        </pc:spChg>
        <pc:spChg chg="mod ord">
          <ac:chgData name="Nisen, Henrik (BCG Platinion)" userId="23462ed3-8a28-48c0-b94c-224b90eb8d0a" providerId="ADAL" clId="{98F16264-753B-49F1-930F-12A12A4F559C}" dt="2024-02-29T08:09:32.615" v="747"/>
          <ac:spMkLst>
            <pc:docMk/>
            <pc:sldMk cId="3103856749" sldId="2147483621"/>
            <ac:spMk id="43" creationId="{98EB1A6E-A021-7AE6-EA6F-2FBF402E5A36}"/>
          </ac:spMkLst>
        </pc:spChg>
        <pc:spChg chg="mod ord">
          <ac:chgData name="Nisen, Henrik (BCG Platinion)" userId="23462ed3-8a28-48c0-b94c-224b90eb8d0a" providerId="ADAL" clId="{98F16264-753B-49F1-930F-12A12A4F559C}" dt="2024-02-29T08:09:32.617" v="749"/>
          <ac:spMkLst>
            <pc:docMk/>
            <pc:sldMk cId="3103856749" sldId="2147483621"/>
            <ac:spMk id="44" creationId="{86341E98-075E-F6EF-8D70-083638FB5ECD}"/>
          </ac:spMkLst>
        </pc:spChg>
        <pc:spChg chg="mod ord">
          <ac:chgData name="Nisen, Henrik (BCG Platinion)" userId="23462ed3-8a28-48c0-b94c-224b90eb8d0a" providerId="ADAL" clId="{98F16264-753B-49F1-930F-12A12A4F559C}" dt="2024-02-29T08:09:32.618" v="751"/>
          <ac:spMkLst>
            <pc:docMk/>
            <pc:sldMk cId="3103856749" sldId="2147483621"/>
            <ac:spMk id="45" creationId="{47E64E72-2E93-DAEA-680B-850F96E5612F}"/>
          </ac:spMkLst>
        </pc:spChg>
        <pc:spChg chg="mod ord">
          <ac:chgData name="Nisen, Henrik (BCG Platinion)" userId="23462ed3-8a28-48c0-b94c-224b90eb8d0a" providerId="ADAL" clId="{98F16264-753B-49F1-930F-12A12A4F559C}" dt="2024-02-29T08:09:32.619" v="753"/>
          <ac:spMkLst>
            <pc:docMk/>
            <pc:sldMk cId="3103856749" sldId="2147483621"/>
            <ac:spMk id="46" creationId="{E0C8F4D1-BF6A-AE86-B603-A97171603F63}"/>
          </ac:spMkLst>
        </pc:spChg>
        <pc:spChg chg="mod ord">
          <ac:chgData name="Nisen, Henrik (BCG Platinion)" userId="23462ed3-8a28-48c0-b94c-224b90eb8d0a" providerId="ADAL" clId="{98F16264-753B-49F1-930F-12A12A4F559C}" dt="2024-02-29T08:09:32.621" v="755"/>
          <ac:spMkLst>
            <pc:docMk/>
            <pc:sldMk cId="3103856749" sldId="2147483621"/>
            <ac:spMk id="47" creationId="{67C14584-D255-2353-AE8E-B5BE82BE5CD6}"/>
          </ac:spMkLst>
        </pc:spChg>
        <pc:spChg chg="mod ord">
          <ac:chgData name="Nisen, Henrik (BCG Platinion)" userId="23462ed3-8a28-48c0-b94c-224b90eb8d0a" providerId="ADAL" clId="{98F16264-753B-49F1-930F-12A12A4F559C}" dt="2024-02-29T08:09:32.622" v="757"/>
          <ac:spMkLst>
            <pc:docMk/>
            <pc:sldMk cId="3103856749" sldId="2147483621"/>
            <ac:spMk id="48" creationId="{AE71FF3B-A6A3-A358-A012-A70511E4B77B}"/>
          </ac:spMkLst>
        </pc:spChg>
        <pc:spChg chg="mod ord">
          <ac:chgData name="Nisen, Henrik (BCG Platinion)" userId="23462ed3-8a28-48c0-b94c-224b90eb8d0a" providerId="ADAL" clId="{98F16264-753B-49F1-930F-12A12A4F559C}" dt="2024-02-29T08:09:32.623" v="759"/>
          <ac:spMkLst>
            <pc:docMk/>
            <pc:sldMk cId="3103856749" sldId="2147483621"/>
            <ac:spMk id="49" creationId="{A2011173-4073-1364-AB99-9C1F71630D89}"/>
          </ac:spMkLst>
        </pc:spChg>
        <pc:spChg chg="mod ord">
          <ac:chgData name="Nisen, Henrik (BCG Platinion)" userId="23462ed3-8a28-48c0-b94c-224b90eb8d0a" providerId="ADAL" clId="{98F16264-753B-49F1-930F-12A12A4F559C}" dt="2024-02-29T08:09:32.625" v="761"/>
          <ac:spMkLst>
            <pc:docMk/>
            <pc:sldMk cId="3103856749" sldId="2147483621"/>
            <ac:spMk id="50" creationId="{0648BAF4-8FFF-2ABB-24C2-ACDC3CDA9E9B}"/>
          </ac:spMkLst>
        </pc:spChg>
        <pc:spChg chg="mod ord">
          <ac:chgData name="Nisen, Henrik (BCG Platinion)" userId="23462ed3-8a28-48c0-b94c-224b90eb8d0a" providerId="ADAL" clId="{98F16264-753B-49F1-930F-12A12A4F559C}" dt="2024-02-29T08:09:32.626" v="763"/>
          <ac:spMkLst>
            <pc:docMk/>
            <pc:sldMk cId="3103856749" sldId="2147483621"/>
            <ac:spMk id="51" creationId="{91C02490-4429-2FDB-0C02-29CBD6ABFB9A}"/>
          </ac:spMkLst>
        </pc:spChg>
        <pc:spChg chg="mod ord">
          <ac:chgData name="Nisen, Henrik (BCG Platinion)" userId="23462ed3-8a28-48c0-b94c-224b90eb8d0a" providerId="ADAL" clId="{98F16264-753B-49F1-930F-12A12A4F559C}" dt="2024-02-29T08:09:32.627" v="765"/>
          <ac:spMkLst>
            <pc:docMk/>
            <pc:sldMk cId="3103856749" sldId="2147483621"/>
            <ac:spMk id="52" creationId="{8BB4BDC5-CDF1-9FC1-CA83-8BC8F0553DD6}"/>
          </ac:spMkLst>
        </pc:spChg>
        <pc:spChg chg="mod">
          <ac:chgData name="Nisen, Henrik (BCG Platinion)" userId="23462ed3-8a28-48c0-b94c-224b90eb8d0a" providerId="ADAL" clId="{98F16264-753B-49F1-930F-12A12A4F559C}" dt="2024-02-29T08:09:32.628" v="766"/>
          <ac:spMkLst>
            <pc:docMk/>
            <pc:sldMk cId="3103856749" sldId="2147483621"/>
            <ac:spMk id="53" creationId="{E52486E8-3A13-5DE8-61E9-9ED900BA5D4E}"/>
          </ac:spMkLst>
        </pc:spChg>
        <pc:spChg chg="mod">
          <ac:chgData name="Nisen, Henrik (BCG Platinion)" userId="23462ed3-8a28-48c0-b94c-224b90eb8d0a" providerId="ADAL" clId="{98F16264-753B-49F1-930F-12A12A4F559C}" dt="2024-02-29T08:09:32.629" v="767"/>
          <ac:spMkLst>
            <pc:docMk/>
            <pc:sldMk cId="3103856749" sldId="2147483621"/>
            <ac:spMk id="54" creationId="{488FCF46-7EE0-68A5-7F7A-BB5340A048FD}"/>
          </ac:spMkLst>
        </pc:spChg>
        <pc:spChg chg="mod">
          <ac:chgData name="Nisen, Henrik (BCG Platinion)" userId="23462ed3-8a28-48c0-b94c-224b90eb8d0a" providerId="ADAL" clId="{98F16264-753B-49F1-930F-12A12A4F559C}" dt="2024-02-29T08:09:32.630" v="768"/>
          <ac:spMkLst>
            <pc:docMk/>
            <pc:sldMk cId="3103856749" sldId="2147483621"/>
            <ac:spMk id="55" creationId="{D6BF1236-7915-54E0-7C33-929D0379B7DB}"/>
          </ac:spMkLst>
        </pc:spChg>
        <pc:graphicFrameChg chg="del">
          <ac:chgData name="Nisen, Henrik (BCG Platinion)" userId="23462ed3-8a28-48c0-b94c-224b90eb8d0a" providerId="ADAL" clId="{98F16264-753B-49F1-930F-12A12A4F559C}" dt="2024-02-29T08:09:32.490" v="673"/>
          <ac:graphicFrameMkLst>
            <pc:docMk/>
            <pc:sldMk cId="3103856749" sldId="2147483621"/>
            <ac:graphicFrameMk id="5" creationId="{057479DE-B8DE-1112-54C0-06BD0322918F}"/>
          </ac:graphicFrameMkLst>
        </pc:graphicFrameChg>
        <pc:graphicFrameChg chg="add mod replST">
          <ac:chgData name="Nisen, Henrik (BCG Platinion)" userId="23462ed3-8a28-48c0-b94c-224b90eb8d0a" providerId="ADAL" clId="{98F16264-753B-49F1-930F-12A12A4F559C}" dt="2024-02-29T08:09:32.571" v="694"/>
          <ac:graphicFrameMkLst>
            <pc:docMk/>
            <pc:sldMk cId="3103856749" sldId="2147483621"/>
            <ac:graphicFrameMk id="6" creationId="{4799F5B0-1A70-1263-9F0C-3FCC9B5F8E90}"/>
          </ac:graphicFrameMkLst>
        </pc:graphicFrameChg>
        <pc:graphicFrameChg chg="mod ord">
          <ac:chgData name="Nisen, Henrik (BCG Platinion)" userId="23462ed3-8a28-48c0-b94c-224b90eb8d0a" providerId="ADAL" clId="{98F16264-753B-49F1-930F-12A12A4F559C}" dt="2024-02-29T08:09:32.567" v="689"/>
          <ac:graphicFrameMkLst>
            <pc:docMk/>
            <pc:sldMk cId="3103856749" sldId="2147483621"/>
            <ac:graphicFrameMk id="9" creationId="{8DED4956-6027-EA3D-52B0-1344BC7B73FE}"/>
          </ac:graphicFrameMkLst>
        </pc:graphicFrameChg>
        <pc:graphicFrameChg chg="mod">
          <ac:chgData name="Nisen, Henrik (BCG Platinion)" userId="23462ed3-8a28-48c0-b94c-224b90eb8d0a" providerId="ADAL" clId="{98F16264-753B-49F1-930F-12A12A4F559C}" dt="2024-02-29T08:09:32.641" v="776"/>
          <ac:graphicFrameMkLst>
            <pc:docMk/>
            <pc:sldMk cId="3103856749" sldId="2147483621"/>
            <ac:graphicFrameMk id="57" creationId="{745B1105-B840-B99A-7C1D-6569D6060CCD}"/>
          </ac:graphicFrameMkLst>
        </pc:graphicFrameChg>
        <pc:cxnChg chg="mod ord">
          <ac:chgData name="Nisen, Henrik (BCG Platinion)" userId="23462ed3-8a28-48c0-b94c-224b90eb8d0a" providerId="ADAL" clId="{98F16264-753B-49F1-930F-12A12A4F559C}" dt="2024-02-29T08:09:32.631" v="770"/>
          <ac:cxnSpMkLst>
            <pc:docMk/>
            <pc:sldMk cId="3103856749" sldId="2147483621"/>
            <ac:cxnSpMk id="72" creationId="{1194051A-5FB9-E3C6-B0BD-A96098D48CEF}"/>
          </ac:cxnSpMkLst>
        </pc:cxnChg>
        <pc:cxnChg chg="mod ord">
          <ac:chgData name="Nisen, Henrik (BCG Platinion)" userId="23462ed3-8a28-48c0-b94c-224b90eb8d0a" providerId="ADAL" clId="{98F16264-753B-49F1-930F-12A12A4F559C}" dt="2024-02-29T08:09:32.633" v="772"/>
          <ac:cxnSpMkLst>
            <pc:docMk/>
            <pc:sldMk cId="3103856749" sldId="2147483621"/>
            <ac:cxnSpMk id="73" creationId="{885899E0-700B-BD20-6865-A99FEA4B64F0}"/>
          </ac:cxnSpMkLst>
        </pc:cxn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6302478502781994E-2"/>
          <c:y val="4.7402005469462168E-2"/>
          <c:w val="0.947395042994436"/>
          <c:h val="0.90519598906107568"/>
        </c:manualLayout>
      </c:layout>
      <c:scatterChart>
        <c:scatterStyle val="lineMarker"/>
        <c:varyColors val="0"/>
        <c:ser>
          <c:idx val="0"/>
          <c:order val="0"/>
          <c:spPr>
            <a:ln w="28575" cmpd="sng" algn="ctr">
              <a:solidFill>
                <a:srgbClr val="29BA74"/>
              </a:solidFill>
              <a:prstDash val="solid"/>
            </a:ln>
          </c:spPr>
          <c:marker>
            <c:symbol val="none"/>
          </c:marker>
          <c:xVal>
            <c:numRef>
              <c:f>Sheet1!$A$1:$CRW$1</c:f>
              <c:numCache>
                <c:formatCode>General</c:formatCode>
                <c:ptCount val="2519"/>
                <c:pt idx="0">
                  <c:v>15853</c:v>
                </c:pt>
                <c:pt idx="1">
                  <c:v>15854</c:v>
                </c:pt>
                <c:pt idx="2">
                  <c:v>15855</c:v>
                </c:pt>
                <c:pt idx="3">
                  <c:v>15856</c:v>
                </c:pt>
                <c:pt idx="4">
                  <c:v>15859</c:v>
                </c:pt>
                <c:pt idx="5">
                  <c:v>15860</c:v>
                </c:pt>
                <c:pt idx="6">
                  <c:v>15861</c:v>
                </c:pt>
                <c:pt idx="7">
                  <c:v>15862</c:v>
                </c:pt>
                <c:pt idx="8">
                  <c:v>15863</c:v>
                </c:pt>
                <c:pt idx="9">
                  <c:v>15866</c:v>
                </c:pt>
                <c:pt idx="10">
                  <c:v>15867</c:v>
                </c:pt>
                <c:pt idx="11">
                  <c:v>15868</c:v>
                </c:pt>
                <c:pt idx="12">
                  <c:v>15869</c:v>
                </c:pt>
                <c:pt idx="13">
                  <c:v>15870</c:v>
                </c:pt>
                <c:pt idx="14">
                  <c:v>15873</c:v>
                </c:pt>
                <c:pt idx="15">
                  <c:v>15874</c:v>
                </c:pt>
                <c:pt idx="16">
                  <c:v>15875</c:v>
                </c:pt>
                <c:pt idx="17">
                  <c:v>15876</c:v>
                </c:pt>
                <c:pt idx="18">
                  <c:v>15877</c:v>
                </c:pt>
                <c:pt idx="19">
                  <c:v>15880</c:v>
                </c:pt>
                <c:pt idx="20">
                  <c:v>15881</c:v>
                </c:pt>
                <c:pt idx="21">
                  <c:v>15882</c:v>
                </c:pt>
                <c:pt idx="22">
                  <c:v>15883</c:v>
                </c:pt>
                <c:pt idx="23">
                  <c:v>15884</c:v>
                </c:pt>
                <c:pt idx="24">
                  <c:v>15887</c:v>
                </c:pt>
                <c:pt idx="25">
                  <c:v>15888</c:v>
                </c:pt>
                <c:pt idx="26">
                  <c:v>15889</c:v>
                </c:pt>
                <c:pt idx="27">
                  <c:v>15891</c:v>
                </c:pt>
                <c:pt idx="28">
                  <c:v>15894</c:v>
                </c:pt>
                <c:pt idx="29">
                  <c:v>15895</c:v>
                </c:pt>
                <c:pt idx="30">
                  <c:v>15896</c:v>
                </c:pt>
                <c:pt idx="31">
                  <c:v>15897</c:v>
                </c:pt>
                <c:pt idx="32">
                  <c:v>15898</c:v>
                </c:pt>
                <c:pt idx="33">
                  <c:v>15901</c:v>
                </c:pt>
                <c:pt idx="34">
                  <c:v>15902</c:v>
                </c:pt>
                <c:pt idx="35">
                  <c:v>15903</c:v>
                </c:pt>
                <c:pt idx="36">
                  <c:v>15904</c:v>
                </c:pt>
                <c:pt idx="37">
                  <c:v>15905</c:v>
                </c:pt>
                <c:pt idx="38">
                  <c:v>15908</c:v>
                </c:pt>
                <c:pt idx="39">
                  <c:v>15909</c:v>
                </c:pt>
                <c:pt idx="40">
                  <c:v>15910</c:v>
                </c:pt>
                <c:pt idx="41">
                  <c:v>15911</c:v>
                </c:pt>
                <c:pt idx="42">
                  <c:v>15912</c:v>
                </c:pt>
                <c:pt idx="43">
                  <c:v>15915</c:v>
                </c:pt>
                <c:pt idx="44">
                  <c:v>15916</c:v>
                </c:pt>
                <c:pt idx="45">
                  <c:v>15917</c:v>
                </c:pt>
                <c:pt idx="46">
                  <c:v>15918</c:v>
                </c:pt>
                <c:pt idx="47">
                  <c:v>15919</c:v>
                </c:pt>
                <c:pt idx="48">
                  <c:v>15922</c:v>
                </c:pt>
                <c:pt idx="49">
                  <c:v>15923</c:v>
                </c:pt>
                <c:pt idx="50">
                  <c:v>15924</c:v>
                </c:pt>
                <c:pt idx="51">
                  <c:v>15925</c:v>
                </c:pt>
                <c:pt idx="52">
                  <c:v>15926</c:v>
                </c:pt>
                <c:pt idx="53">
                  <c:v>15929</c:v>
                </c:pt>
                <c:pt idx="54">
                  <c:v>15930</c:v>
                </c:pt>
                <c:pt idx="55">
                  <c:v>15931</c:v>
                </c:pt>
                <c:pt idx="56">
                  <c:v>15932</c:v>
                </c:pt>
                <c:pt idx="57">
                  <c:v>15933</c:v>
                </c:pt>
                <c:pt idx="58">
                  <c:v>15936</c:v>
                </c:pt>
                <c:pt idx="59">
                  <c:v>15937</c:v>
                </c:pt>
                <c:pt idx="60">
                  <c:v>15938</c:v>
                </c:pt>
                <c:pt idx="61">
                  <c:v>15939</c:v>
                </c:pt>
                <c:pt idx="62">
                  <c:v>15940</c:v>
                </c:pt>
                <c:pt idx="63">
                  <c:v>15943</c:v>
                </c:pt>
                <c:pt idx="64">
                  <c:v>15944</c:v>
                </c:pt>
                <c:pt idx="65">
                  <c:v>15945</c:v>
                </c:pt>
                <c:pt idx="66">
                  <c:v>15946</c:v>
                </c:pt>
                <c:pt idx="67">
                  <c:v>15947</c:v>
                </c:pt>
                <c:pt idx="68">
                  <c:v>15951</c:v>
                </c:pt>
                <c:pt idx="69">
                  <c:v>15952</c:v>
                </c:pt>
                <c:pt idx="70">
                  <c:v>15953</c:v>
                </c:pt>
                <c:pt idx="71">
                  <c:v>15954</c:v>
                </c:pt>
                <c:pt idx="72">
                  <c:v>15957</c:v>
                </c:pt>
                <c:pt idx="73">
                  <c:v>15958</c:v>
                </c:pt>
                <c:pt idx="74">
                  <c:v>15959</c:v>
                </c:pt>
                <c:pt idx="75">
                  <c:v>15960</c:v>
                </c:pt>
                <c:pt idx="76">
                  <c:v>15961</c:v>
                </c:pt>
                <c:pt idx="77">
                  <c:v>15964</c:v>
                </c:pt>
                <c:pt idx="78">
                  <c:v>15965</c:v>
                </c:pt>
                <c:pt idx="79">
                  <c:v>15966</c:v>
                </c:pt>
                <c:pt idx="80">
                  <c:v>15967</c:v>
                </c:pt>
                <c:pt idx="81">
                  <c:v>15968</c:v>
                </c:pt>
                <c:pt idx="82">
                  <c:v>15971</c:v>
                </c:pt>
                <c:pt idx="83">
                  <c:v>15972</c:v>
                </c:pt>
                <c:pt idx="84">
                  <c:v>15973</c:v>
                </c:pt>
                <c:pt idx="85">
                  <c:v>15974</c:v>
                </c:pt>
                <c:pt idx="86">
                  <c:v>15975</c:v>
                </c:pt>
                <c:pt idx="87">
                  <c:v>15978</c:v>
                </c:pt>
                <c:pt idx="88">
                  <c:v>15979</c:v>
                </c:pt>
                <c:pt idx="89">
                  <c:v>15980</c:v>
                </c:pt>
                <c:pt idx="90">
                  <c:v>15981</c:v>
                </c:pt>
                <c:pt idx="91">
                  <c:v>15982</c:v>
                </c:pt>
                <c:pt idx="92">
                  <c:v>15985</c:v>
                </c:pt>
                <c:pt idx="93">
                  <c:v>15986</c:v>
                </c:pt>
                <c:pt idx="94">
                  <c:v>15987</c:v>
                </c:pt>
                <c:pt idx="95">
                  <c:v>15988</c:v>
                </c:pt>
                <c:pt idx="96">
                  <c:v>15989</c:v>
                </c:pt>
                <c:pt idx="97">
                  <c:v>15992</c:v>
                </c:pt>
                <c:pt idx="98">
                  <c:v>15993</c:v>
                </c:pt>
                <c:pt idx="99">
                  <c:v>15994</c:v>
                </c:pt>
                <c:pt idx="100">
                  <c:v>15995</c:v>
                </c:pt>
                <c:pt idx="101">
                  <c:v>15996</c:v>
                </c:pt>
                <c:pt idx="102">
                  <c:v>15999</c:v>
                </c:pt>
                <c:pt idx="103">
                  <c:v>16000</c:v>
                </c:pt>
                <c:pt idx="104">
                  <c:v>16001</c:v>
                </c:pt>
                <c:pt idx="105">
                  <c:v>16002</c:v>
                </c:pt>
                <c:pt idx="106">
                  <c:v>16003</c:v>
                </c:pt>
                <c:pt idx="107">
                  <c:v>16006</c:v>
                </c:pt>
                <c:pt idx="108">
                  <c:v>16007</c:v>
                </c:pt>
                <c:pt idx="109">
                  <c:v>16008</c:v>
                </c:pt>
                <c:pt idx="110">
                  <c:v>16009</c:v>
                </c:pt>
                <c:pt idx="111">
                  <c:v>16010</c:v>
                </c:pt>
                <c:pt idx="112">
                  <c:v>16013</c:v>
                </c:pt>
                <c:pt idx="113">
                  <c:v>16014</c:v>
                </c:pt>
                <c:pt idx="114">
                  <c:v>16015</c:v>
                </c:pt>
                <c:pt idx="115">
                  <c:v>16016</c:v>
                </c:pt>
                <c:pt idx="116">
                  <c:v>16017</c:v>
                </c:pt>
                <c:pt idx="117">
                  <c:v>16020</c:v>
                </c:pt>
                <c:pt idx="118">
                  <c:v>16021</c:v>
                </c:pt>
                <c:pt idx="119">
                  <c:v>16022</c:v>
                </c:pt>
                <c:pt idx="120">
                  <c:v>16023</c:v>
                </c:pt>
                <c:pt idx="121">
                  <c:v>16024</c:v>
                </c:pt>
                <c:pt idx="122">
                  <c:v>16027</c:v>
                </c:pt>
                <c:pt idx="123">
                  <c:v>16028</c:v>
                </c:pt>
                <c:pt idx="124">
                  <c:v>16029</c:v>
                </c:pt>
                <c:pt idx="125">
                  <c:v>16030</c:v>
                </c:pt>
                <c:pt idx="126">
                  <c:v>16031</c:v>
                </c:pt>
                <c:pt idx="127">
                  <c:v>16034</c:v>
                </c:pt>
                <c:pt idx="128">
                  <c:v>16035</c:v>
                </c:pt>
                <c:pt idx="129">
                  <c:v>16036</c:v>
                </c:pt>
                <c:pt idx="130">
                  <c:v>16038</c:v>
                </c:pt>
                <c:pt idx="131">
                  <c:v>16041</c:v>
                </c:pt>
                <c:pt idx="132">
                  <c:v>16042</c:v>
                </c:pt>
                <c:pt idx="133">
                  <c:v>16043</c:v>
                </c:pt>
                <c:pt idx="134">
                  <c:v>16044</c:v>
                </c:pt>
                <c:pt idx="135">
                  <c:v>16045</c:v>
                </c:pt>
                <c:pt idx="136">
                  <c:v>16048</c:v>
                </c:pt>
                <c:pt idx="137">
                  <c:v>16049</c:v>
                </c:pt>
                <c:pt idx="138">
                  <c:v>16050</c:v>
                </c:pt>
                <c:pt idx="139">
                  <c:v>16051</c:v>
                </c:pt>
                <c:pt idx="140">
                  <c:v>16052</c:v>
                </c:pt>
                <c:pt idx="141">
                  <c:v>16055</c:v>
                </c:pt>
                <c:pt idx="142">
                  <c:v>16056</c:v>
                </c:pt>
                <c:pt idx="143">
                  <c:v>16057</c:v>
                </c:pt>
                <c:pt idx="144">
                  <c:v>16058</c:v>
                </c:pt>
                <c:pt idx="145">
                  <c:v>16059</c:v>
                </c:pt>
                <c:pt idx="146">
                  <c:v>16062</c:v>
                </c:pt>
                <c:pt idx="147">
                  <c:v>16063</c:v>
                </c:pt>
                <c:pt idx="148">
                  <c:v>16065</c:v>
                </c:pt>
                <c:pt idx="149">
                  <c:v>16066</c:v>
                </c:pt>
                <c:pt idx="150">
                  <c:v>16069</c:v>
                </c:pt>
                <c:pt idx="151">
                  <c:v>16070</c:v>
                </c:pt>
                <c:pt idx="152">
                  <c:v>16072</c:v>
                </c:pt>
                <c:pt idx="153">
                  <c:v>16073</c:v>
                </c:pt>
                <c:pt idx="154">
                  <c:v>16076</c:v>
                </c:pt>
                <c:pt idx="155">
                  <c:v>16077</c:v>
                </c:pt>
                <c:pt idx="156">
                  <c:v>16078</c:v>
                </c:pt>
                <c:pt idx="157">
                  <c:v>16079</c:v>
                </c:pt>
                <c:pt idx="158">
                  <c:v>16080</c:v>
                </c:pt>
                <c:pt idx="159">
                  <c:v>16083</c:v>
                </c:pt>
                <c:pt idx="160">
                  <c:v>16084</c:v>
                </c:pt>
                <c:pt idx="161">
                  <c:v>16085</c:v>
                </c:pt>
                <c:pt idx="162">
                  <c:v>16086</c:v>
                </c:pt>
                <c:pt idx="163">
                  <c:v>16087</c:v>
                </c:pt>
                <c:pt idx="164">
                  <c:v>16091</c:v>
                </c:pt>
                <c:pt idx="165">
                  <c:v>16092</c:v>
                </c:pt>
                <c:pt idx="166">
                  <c:v>16093</c:v>
                </c:pt>
                <c:pt idx="167">
                  <c:v>16094</c:v>
                </c:pt>
                <c:pt idx="168">
                  <c:v>16097</c:v>
                </c:pt>
                <c:pt idx="169">
                  <c:v>16098</c:v>
                </c:pt>
                <c:pt idx="170">
                  <c:v>16099</c:v>
                </c:pt>
                <c:pt idx="171">
                  <c:v>16100</c:v>
                </c:pt>
                <c:pt idx="172">
                  <c:v>16101</c:v>
                </c:pt>
                <c:pt idx="173">
                  <c:v>16104</c:v>
                </c:pt>
                <c:pt idx="174">
                  <c:v>16105</c:v>
                </c:pt>
                <c:pt idx="175">
                  <c:v>16106</c:v>
                </c:pt>
                <c:pt idx="176">
                  <c:v>16107</c:v>
                </c:pt>
                <c:pt idx="177">
                  <c:v>16108</c:v>
                </c:pt>
                <c:pt idx="178">
                  <c:v>16111</c:v>
                </c:pt>
                <c:pt idx="179">
                  <c:v>16112</c:v>
                </c:pt>
                <c:pt idx="180">
                  <c:v>16113</c:v>
                </c:pt>
                <c:pt idx="181">
                  <c:v>16114</c:v>
                </c:pt>
                <c:pt idx="182">
                  <c:v>16115</c:v>
                </c:pt>
                <c:pt idx="183">
                  <c:v>16119</c:v>
                </c:pt>
                <c:pt idx="184">
                  <c:v>16120</c:v>
                </c:pt>
                <c:pt idx="185">
                  <c:v>16121</c:v>
                </c:pt>
                <c:pt idx="186">
                  <c:v>16122</c:v>
                </c:pt>
                <c:pt idx="187">
                  <c:v>16125</c:v>
                </c:pt>
                <c:pt idx="188">
                  <c:v>16126</c:v>
                </c:pt>
                <c:pt idx="189">
                  <c:v>16127</c:v>
                </c:pt>
                <c:pt idx="190">
                  <c:v>16128</c:v>
                </c:pt>
                <c:pt idx="191">
                  <c:v>16129</c:v>
                </c:pt>
                <c:pt idx="192">
                  <c:v>16132</c:v>
                </c:pt>
                <c:pt idx="193">
                  <c:v>16133</c:v>
                </c:pt>
                <c:pt idx="194">
                  <c:v>16134</c:v>
                </c:pt>
                <c:pt idx="195">
                  <c:v>16135</c:v>
                </c:pt>
                <c:pt idx="196">
                  <c:v>16136</c:v>
                </c:pt>
                <c:pt idx="197">
                  <c:v>16139</c:v>
                </c:pt>
                <c:pt idx="198">
                  <c:v>16140</c:v>
                </c:pt>
                <c:pt idx="199">
                  <c:v>16141</c:v>
                </c:pt>
                <c:pt idx="200">
                  <c:v>16142</c:v>
                </c:pt>
                <c:pt idx="201">
                  <c:v>16143</c:v>
                </c:pt>
                <c:pt idx="202">
                  <c:v>16146</c:v>
                </c:pt>
                <c:pt idx="203">
                  <c:v>16147</c:v>
                </c:pt>
                <c:pt idx="204">
                  <c:v>16148</c:v>
                </c:pt>
                <c:pt idx="205">
                  <c:v>16149</c:v>
                </c:pt>
                <c:pt idx="206">
                  <c:v>16150</c:v>
                </c:pt>
                <c:pt idx="207">
                  <c:v>16153</c:v>
                </c:pt>
                <c:pt idx="208">
                  <c:v>16154</c:v>
                </c:pt>
                <c:pt idx="209">
                  <c:v>16155</c:v>
                </c:pt>
                <c:pt idx="210">
                  <c:v>16156</c:v>
                </c:pt>
                <c:pt idx="211">
                  <c:v>16157</c:v>
                </c:pt>
                <c:pt idx="212">
                  <c:v>16160</c:v>
                </c:pt>
                <c:pt idx="213">
                  <c:v>16161</c:v>
                </c:pt>
                <c:pt idx="214">
                  <c:v>16162</c:v>
                </c:pt>
                <c:pt idx="215">
                  <c:v>16163</c:v>
                </c:pt>
                <c:pt idx="216">
                  <c:v>16164</c:v>
                </c:pt>
                <c:pt idx="217">
                  <c:v>16167</c:v>
                </c:pt>
                <c:pt idx="218">
                  <c:v>16168</c:v>
                </c:pt>
                <c:pt idx="219">
                  <c:v>16169</c:v>
                </c:pt>
                <c:pt idx="220">
                  <c:v>16170</c:v>
                </c:pt>
                <c:pt idx="221">
                  <c:v>16171</c:v>
                </c:pt>
                <c:pt idx="222">
                  <c:v>16174</c:v>
                </c:pt>
                <c:pt idx="223">
                  <c:v>16175</c:v>
                </c:pt>
                <c:pt idx="224">
                  <c:v>16176</c:v>
                </c:pt>
                <c:pt idx="225">
                  <c:v>16177</c:v>
                </c:pt>
                <c:pt idx="226">
                  <c:v>16181</c:v>
                </c:pt>
                <c:pt idx="227">
                  <c:v>16182</c:v>
                </c:pt>
                <c:pt idx="228">
                  <c:v>16183</c:v>
                </c:pt>
                <c:pt idx="229">
                  <c:v>16184</c:v>
                </c:pt>
                <c:pt idx="230">
                  <c:v>16185</c:v>
                </c:pt>
                <c:pt idx="231">
                  <c:v>16188</c:v>
                </c:pt>
                <c:pt idx="232">
                  <c:v>16189</c:v>
                </c:pt>
                <c:pt idx="233">
                  <c:v>16190</c:v>
                </c:pt>
                <c:pt idx="234">
                  <c:v>16191</c:v>
                </c:pt>
                <c:pt idx="235">
                  <c:v>16192</c:v>
                </c:pt>
                <c:pt idx="236">
                  <c:v>16195</c:v>
                </c:pt>
                <c:pt idx="237">
                  <c:v>16196</c:v>
                </c:pt>
                <c:pt idx="238">
                  <c:v>16197</c:v>
                </c:pt>
                <c:pt idx="239">
                  <c:v>16198</c:v>
                </c:pt>
                <c:pt idx="240">
                  <c:v>16199</c:v>
                </c:pt>
                <c:pt idx="241">
                  <c:v>16202</c:v>
                </c:pt>
                <c:pt idx="242">
                  <c:v>16203</c:v>
                </c:pt>
                <c:pt idx="243">
                  <c:v>16204</c:v>
                </c:pt>
                <c:pt idx="244">
                  <c:v>16205</c:v>
                </c:pt>
                <c:pt idx="245">
                  <c:v>16206</c:v>
                </c:pt>
                <c:pt idx="246">
                  <c:v>16209</c:v>
                </c:pt>
                <c:pt idx="247">
                  <c:v>16210</c:v>
                </c:pt>
                <c:pt idx="248">
                  <c:v>16211</c:v>
                </c:pt>
                <c:pt idx="249">
                  <c:v>16212</c:v>
                </c:pt>
                <c:pt idx="250">
                  <c:v>16213</c:v>
                </c:pt>
                <c:pt idx="251">
                  <c:v>16217</c:v>
                </c:pt>
                <c:pt idx="252">
                  <c:v>16218</c:v>
                </c:pt>
                <c:pt idx="253">
                  <c:v>16219</c:v>
                </c:pt>
                <c:pt idx="254">
                  <c:v>16220</c:v>
                </c:pt>
                <c:pt idx="255">
                  <c:v>16223</c:v>
                </c:pt>
                <c:pt idx="256">
                  <c:v>16224</c:v>
                </c:pt>
                <c:pt idx="257">
                  <c:v>16225</c:v>
                </c:pt>
                <c:pt idx="258">
                  <c:v>16226</c:v>
                </c:pt>
                <c:pt idx="259">
                  <c:v>16227</c:v>
                </c:pt>
                <c:pt idx="260">
                  <c:v>16230</c:v>
                </c:pt>
                <c:pt idx="261">
                  <c:v>16231</c:v>
                </c:pt>
                <c:pt idx="262">
                  <c:v>16232</c:v>
                </c:pt>
                <c:pt idx="263">
                  <c:v>16233</c:v>
                </c:pt>
                <c:pt idx="264">
                  <c:v>16234</c:v>
                </c:pt>
                <c:pt idx="265">
                  <c:v>16237</c:v>
                </c:pt>
                <c:pt idx="266">
                  <c:v>16238</c:v>
                </c:pt>
                <c:pt idx="267">
                  <c:v>16239</c:v>
                </c:pt>
                <c:pt idx="268">
                  <c:v>16240</c:v>
                </c:pt>
                <c:pt idx="269">
                  <c:v>16241</c:v>
                </c:pt>
                <c:pt idx="270">
                  <c:v>16244</c:v>
                </c:pt>
                <c:pt idx="271">
                  <c:v>16245</c:v>
                </c:pt>
                <c:pt idx="272">
                  <c:v>16246</c:v>
                </c:pt>
                <c:pt idx="273">
                  <c:v>16247</c:v>
                </c:pt>
                <c:pt idx="274">
                  <c:v>16248</c:v>
                </c:pt>
                <c:pt idx="275">
                  <c:v>16251</c:v>
                </c:pt>
                <c:pt idx="276">
                  <c:v>16252</c:v>
                </c:pt>
                <c:pt idx="277">
                  <c:v>16253</c:v>
                </c:pt>
                <c:pt idx="278">
                  <c:v>16254</c:v>
                </c:pt>
                <c:pt idx="279">
                  <c:v>16258</c:v>
                </c:pt>
                <c:pt idx="280">
                  <c:v>16259</c:v>
                </c:pt>
                <c:pt idx="281">
                  <c:v>16260</c:v>
                </c:pt>
                <c:pt idx="282">
                  <c:v>16261</c:v>
                </c:pt>
                <c:pt idx="283">
                  <c:v>16262</c:v>
                </c:pt>
                <c:pt idx="284">
                  <c:v>16265</c:v>
                </c:pt>
                <c:pt idx="285">
                  <c:v>16266</c:v>
                </c:pt>
                <c:pt idx="286">
                  <c:v>16267</c:v>
                </c:pt>
                <c:pt idx="287">
                  <c:v>16268</c:v>
                </c:pt>
                <c:pt idx="288">
                  <c:v>16269</c:v>
                </c:pt>
                <c:pt idx="289">
                  <c:v>16272</c:v>
                </c:pt>
                <c:pt idx="290">
                  <c:v>16273</c:v>
                </c:pt>
                <c:pt idx="291">
                  <c:v>16274</c:v>
                </c:pt>
                <c:pt idx="292">
                  <c:v>16275</c:v>
                </c:pt>
                <c:pt idx="293">
                  <c:v>16276</c:v>
                </c:pt>
                <c:pt idx="294">
                  <c:v>16279</c:v>
                </c:pt>
                <c:pt idx="295">
                  <c:v>16280</c:v>
                </c:pt>
                <c:pt idx="296">
                  <c:v>16281</c:v>
                </c:pt>
                <c:pt idx="297">
                  <c:v>16282</c:v>
                </c:pt>
                <c:pt idx="298">
                  <c:v>16283</c:v>
                </c:pt>
                <c:pt idx="299">
                  <c:v>16286</c:v>
                </c:pt>
                <c:pt idx="300">
                  <c:v>16287</c:v>
                </c:pt>
                <c:pt idx="301">
                  <c:v>16288</c:v>
                </c:pt>
                <c:pt idx="302">
                  <c:v>16289</c:v>
                </c:pt>
                <c:pt idx="303">
                  <c:v>16290</c:v>
                </c:pt>
                <c:pt idx="304">
                  <c:v>16293</c:v>
                </c:pt>
                <c:pt idx="305">
                  <c:v>16294</c:v>
                </c:pt>
                <c:pt idx="306">
                  <c:v>16295</c:v>
                </c:pt>
                <c:pt idx="307">
                  <c:v>16296</c:v>
                </c:pt>
                <c:pt idx="308">
                  <c:v>16297</c:v>
                </c:pt>
                <c:pt idx="309">
                  <c:v>16300</c:v>
                </c:pt>
                <c:pt idx="310">
                  <c:v>16301</c:v>
                </c:pt>
                <c:pt idx="311">
                  <c:v>16302</c:v>
                </c:pt>
                <c:pt idx="312">
                  <c:v>16303</c:v>
                </c:pt>
                <c:pt idx="313">
                  <c:v>16304</c:v>
                </c:pt>
                <c:pt idx="314">
                  <c:v>16307</c:v>
                </c:pt>
                <c:pt idx="315">
                  <c:v>16308</c:v>
                </c:pt>
                <c:pt idx="316">
                  <c:v>16309</c:v>
                </c:pt>
                <c:pt idx="317">
                  <c:v>16310</c:v>
                </c:pt>
                <c:pt idx="318">
                  <c:v>16311</c:v>
                </c:pt>
                <c:pt idx="319">
                  <c:v>16315</c:v>
                </c:pt>
                <c:pt idx="320">
                  <c:v>16316</c:v>
                </c:pt>
                <c:pt idx="321">
                  <c:v>16317</c:v>
                </c:pt>
                <c:pt idx="322">
                  <c:v>16318</c:v>
                </c:pt>
                <c:pt idx="323">
                  <c:v>16321</c:v>
                </c:pt>
                <c:pt idx="324">
                  <c:v>16322</c:v>
                </c:pt>
                <c:pt idx="325">
                  <c:v>16323</c:v>
                </c:pt>
                <c:pt idx="326">
                  <c:v>16324</c:v>
                </c:pt>
                <c:pt idx="327">
                  <c:v>16325</c:v>
                </c:pt>
                <c:pt idx="328">
                  <c:v>16328</c:v>
                </c:pt>
                <c:pt idx="329">
                  <c:v>16329</c:v>
                </c:pt>
                <c:pt idx="330">
                  <c:v>16330</c:v>
                </c:pt>
                <c:pt idx="331">
                  <c:v>16331</c:v>
                </c:pt>
                <c:pt idx="332">
                  <c:v>16332</c:v>
                </c:pt>
                <c:pt idx="333">
                  <c:v>16335</c:v>
                </c:pt>
                <c:pt idx="334">
                  <c:v>16336</c:v>
                </c:pt>
                <c:pt idx="335">
                  <c:v>16337</c:v>
                </c:pt>
                <c:pt idx="336">
                  <c:v>16338</c:v>
                </c:pt>
                <c:pt idx="337">
                  <c:v>16339</c:v>
                </c:pt>
                <c:pt idx="338">
                  <c:v>16342</c:v>
                </c:pt>
                <c:pt idx="339">
                  <c:v>16343</c:v>
                </c:pt>
                <c:pt idx="340">
                  <c:v>16344</c:v>
                </c:pt>
                <c:pt idx="341">
                  <c:v>16345</c:v>
                </c:pt>
                <c:pt idx="342">
                  <c:v>16346</c:v>
                </c:pt>
                <c:pt idx="343">
                  <c:v>16349</c:v>
                </c:pt>
                <c:pt idx="344">
                  <c:v>16350</c:v>
                </c:pt>
                <c:pt idx="345">
                  <c:v>16351</c:v>
                </c:pt>
                <c:pt idx="346">
                  <c:v>16352</c:v>
                </c:pt>
                <c:pt idx="347">
                  <c:v>16353</c:v>
                </c:pt>
                <c:pt idx="348">
                  <c:v>16356</c:v>
                </c:pt>
                <c:pt idx="349">
                  <c:v>16357</c:v>
                </c:pt>
                <c:pt idx="350">
                  <c:v>16358</c:v>
                </c:pt>
                <c:pt idx="351">
                  <c:v>16359</c:v>
                </c:pt>
                <c:pt idx="352">
                  <c:v>16360</c:v>
                </c:pt>
                <c:pt idx="353">
                  <c:v>16363</c:v>
                </c:pt>
                <c:pt idx="354">
                  <c:v>16364</c:v>
                </c:pt>
                <c:pt idx="355">
                  <c:v>16365</c:v>
                </c:pt>
                <c:pt idx="356">
                  <c:v>16366</c:v>
                </c:pt>
                <c:pt idx="357">
                  <c:v>16367</c:v>
                </c:pt>
                <c:pt idx="358">
                  <c:v>16370</c:v>
                </c:pt>
                <c:pt idx="359">
                  <c:v>16371</c:v>
                </c:pt>
                <c:pt idx="360">
                  <c:v>16372</c:v>
                </c:pt>
                <c:pt idx="361">
                  <c:v>16373</c:v>
                </c:pt>
                <c:pt idx="362">
                  <c:v>16374</c:v>
                </c:pt>
                <c:pt idx="363">
                  <c:v>16377</c:v>
                </c:pt>
                <c:pt idx="364">
                  <c:v>16378</c:v>
                </c:pt>
                <c:pt idx="365">
                  <c:v>16379</c:v>
                </c:pt>
                <c:pt idx="366">
                  <c:v>16380</c:v>
                </c:pt>
                <c:pt idx="367">
                  <c:v>16381</c:v>
                </c:pt>
                <c:pt idx="368">
                  <c:v>16384</c:v>
                </c:pt>
                <c:pt idx="369">
                  <c:v>16385</c:v>
                </c:pt>
                <c:pt idx="370">
                  <c:v>16386</c:v>
                </c:pt>
                <c:pt idx="371">
                  <c:v>16387</c:v>
                </c:pt>
                <c:pt idx="372">
                  <c:v>16388</c:v>
                </c:pt>
                <c:pt idx="373">
                  <c:v>16391</c:v>
                </c:pt>
                <c:pt idx="374">
                  <c:v>16392</c:v>
                </c:pt>
                <c:pt idx="375">
                  <c:v>16393</c:v>
                </c:pt>
                <c:pt idx="376">
                  <c:v>16394</c:v>
                </c:pt>
                <c:pt idx="377">
                  <c:v>16395</c:v>
                </c:pt>
                <c:pt idx="378">
                  <c:v>16398</c:v>
                </c:pt>
                <c:pt idx="379">
                  <c:v>16399</c:v>
                </c:pt>
                <c:pt idx="380">
                  <c:v>16400</c:v>
                </c:pt>
                <c:pt idx="381">
                  <c:v>16402</c:v>
                </c:pt>
                <c:pt idx="382">
                  <c:v>16405</c:v>
                </c:pt>
                <c:pt idx="383">
                  <c:v>16406</c:v>
                </c:pt>
                <c:pt idx="384">
                  <c:v>16407</c:v>
                </c:pt>
                <c:pt idx="385">
                  <c:v>16408</c:v>
                </c:pt>
                <c:pt idx="386">
                  <c:v>16409</c:v>
                </c:pt>
                <c:pt idx="387">
                  <c:v>16412</c:v>
                </c:pt>
                <c:pt idx="388">
                  <c:v>16413</c:v>
                </c:pt>
                <c:pt idx="389">
                  <c:v>16414</c:v>
                </c:pt>
                <c:pt idx="390">
                  <c:v>16415</c:v>
                </c:pt>
                <c:pt idx="391">
                  <c:v>16416</c:v>
                </c:pt>
                <c:pt idx="392">
                  <c:v>16419</c:v>
                </c:pt>
                <c:pt idx="393">
                  <c:v>16420</c:v>
                </c:pt>
                <c:pt idx="394">
                  <c:v>16421</c:v>
                </c:pt>
                <c:pt idx="395">
                  <c:v>16422</c:v>
                </c:pt>
                <c:pt idx="396">
                  <c:v>16423</c:v>
                </c:pt>
                <c:pt idx="397">
                  <c:v>16426</c:v>
                </c:pt>
                <c:pt idx="398">
                  <c:v>16427</c:v>
                </c:pt>
                <c:pt idx="399">
                  <c:v>16428</c:v>
                </c:pt>
                <c:pt idx="400">
                  <c:v>16430</c:v>
                </c:pt>
                <c:pt idx="401">
                  <c:v>16433</c:v>
                </c:pt>
                <c:pt idx="402">
                  <c:v>16434</c:v>
                </c:pt>
                <c:pt idx="403">
                  <c:v>16435</c:v>
                </c:pt>
                <c:pt idx="404">
                  <c:v>16437</c:v>
                </c:pt>
                <c:pt idx="405">
                  <c:v>16440</c:v>
                </c:pt>
                <c:pt idx="406">
                  <c:v>16441</c:v>
                </c:pt>
                <c:pt idx="407">
                  <c:v>16442</c:v>
                </c:pt>
                <c:pt idx="408">
                  <c:v>16443</c:v>
                </c:pt>
                <c:pt idx="409">
                  <c:v>16444</c:v>
                </c:pt>
                <c:pt idx="410">
                  <c:v>16447</c:v>
                </c:pt>
                <c:pt idx="411">
                  <c:v>16448</c:v>
                </c:pt>
                <c:pt idx="412">
                  <c:v>16449</c:v>
                </c:pt>
                <c:pt idx="413">
                  <c:v>16450</c:v>
                </c:pt>
                <c:pt idx="414">
                  <c:v>16451</c:v>
                </c:pt>
                <c:pt idx="415">
                  <c:v>16455</c:v>
                </c:pt>
                <c:pt idx="416">
                  <c:v>16456</c:v>
                </c:pt>
                <c:pt idx="417">
                  <c:v>16457</c:v>
                </c:pt>
                <c:pt idx="418">
                  <c:v>16458</c:v>
                </c:pt>
                <c:pt idx="419">
                  <c:v>16461</c:v>
                </c:pt>
                <c:pt idx="420">
                  <c:v>16462</c:v>
                </c:pt>
                <c:pt idx="421">
                  <c:v>16463</c:v>
                </c:pt>
                <c:pt idx="422">
                  <c:v>16464</c:v>
                </c:pt>
                <c:pt idx="423">
                  <c:v>16465</c:v>
                </c:pt>
                <c:pt idx="424">
                  <c:v>16468</c:v>
                </c:pt>
                <c:pt idx="425">
                  <c:v>16469</c:v>
                </c:pt>
                <c:pt idx="426">
                  <c:v>16470</c:v>
                </c:pt>
                <c:pt idx="427">
                  <c:v>16471</c:v>
                </c:pt>
                <c:pt idx="428">
                  <c:v>16472</c:v>
                </c:pt>
                <c:pt idx="429">
                  <c:v>16475</c:v>
                </c:pt>
                <c:pt idx="430">
                  <c:v>16476</c:v>
                </c:pt>
                <c:pt idx="431">
                  <c:v>16477</c:v>
                </c:pt>
                <c:pt idx="432">
                  <c:v>16478</c:v>
                </c:pt>
                <c:pt idx="433">
                  <c:v>16479</c:v>
                </c:pt>
                <c:pt idx="434">
                  <c:v>16483</c:v>
                </c:pt>
                <c:pt idx="435">
                  <c:v>16484</c:v>
                </c:pt>
                <c:pt idx="436">
                  <c:v>16485</c:v>
                </c:pt>
                <c:pt idx="437">
                  <c:v>16486</c:v>
                </c:pt>
                <c:pt idx="438">
                  <c:v>16489</c:v>
                </c:pt>
                <c:pt idx="439">
                  <c:v>16490</c:v>
                </c:pt>
                <c:pt idx="440">
                  <c:v>16491</c:v>
                </c:pt>
                <c:pt idx="441">
                  <c:v>16492</c:v>
                </c:pt>
                <c:pt idx="442">
                  <c:v>16493</c:v>
                </c:pt>
                <c:pt idx="443">
                  <c:v>16496</c:v>
                </c:pt>
                <c:pt idx="444">
                  <c:v>16497</c:v>
                </c:pt>
                <c:pt idx="445">
                  <c:v>16498</c:v>
                </c:pt>
                <c:pt idx="446">
                  <c:v>16499</c:v>
                </c:pt>
                <c:pt idx="447">
                  <c:v>16500</c:v>
                </c:pt>
                <c:pt idx="448">
                  <c:v>16503</c:v>
                </c:pt>
                <c:pt idx="449">
                  <c:v>16504</c:v>
                </c:pt>
                <c:pt idx="450">
                  <c:v>16505</c:v>
                </c:pt>
                <c:pt idx="451">
                  <c:v>16506</c:v>
                </c:pt>
                <c:pt idx="452">
                  <c:v>16507</c:v>
                </c:pt>
                <c:pt idx="453">
                  <c:v>16510</c:v>
                </c:pt>
                <c:pt idx="454">
                  <c:v>16511</c:v>
                </c:pt>
                <c:pt idx="455">
                  <c:v>16512</c:v>
                </c:pt>
                <c:pt idx="456">
                  <c:v>16513</c:v>
                </c:pt>
                <c:pt idx="457">
                  <c:v>16514</c:v>
                </c:pt>
                <c:pt idx="458">
                  <c:v>16517</c:v>
                </c:pt>
                <c:pt idx="459">
                  <c:v>16518</c:v>
                </c:pt>
                <c:pt idx="460">
                  <c:v>16519</c:v>
                </c:pt>
                <c:pt idx="461">
                  <c:v>16520</c:v>
                </c:pt>
                <c:pt idx="462">
                  <c:v>16521</c:v>
                </c:pt>
                <c:pt idx="463">
                  <c:v>16524</c:v>
                </c:pt>
                <c:pt idx="464">
                  <c:v>16525</c:v>
                </c:pt>
                <c:pt idx="465">
                  <c:v>16526</c:v>
                </c:pt>
                <c:pt idx="466">
                  <c:v>16527</c:v>
                </c:pt>
                <c:pt idx="467">
                  <c:v>16531</c:v>
                </c:pt>
                <c:pt idx="468">
                  <c:v>16532</c:v>
                </c:pt>
                <c:pt idx="469">
                  <c:v>16533</c:v>
                </c:pt>
                <c:pt idx="470">
                  <c:v>16534</c:v>
                </c:pt>
                <c:pt idx="471">
                  <c:v>16535</c:v>
                </c:pt>
                <c:pt idx="472">
                  <c:v>16538</c:v>
                </c:pt>
                <c:pt idx="473">
                  <c:v>16539</c:v>
                </c:pt>
                <c:pt idx="474">
                  <c:v>16540</c:v>
                </c:pt>
                <c:pt idx="475">
                  <c:v>16541</c:v>
                </c:pt>
                <c:pt idx="476">
                  <c:v>16542</c:v>
                </c:pt>
                <c:pt idx="477">
                  <c:v>16545</c:v>
                </c:pt>
                <c:pt idx="478">
                  <c:v>16546</c:v>
                </c:pt>
                <c:pt idx="479">
                  <c:v>16547</c:v>
                </c:pt>
                <c:pt idx="480">
                  <c:v>16548</c:v>
                </c:pt>
                <c:pt idx="481">
                  <c:v>16549</c:v>
                </c:pt>
                <c:pt idx="482">
                  <c:v>16552</c:v>
                </c:pt>
                <c:pt idx="483">
                  <c:v>16553</c:v>
                </c:pt>
                <c:pt idx="484">
                  <c:v>16554</c:v>
                </c:pt>
                <c:pt idx="485">
                  <c:v>16555</c:v>
                </c:pt>
                <c:pt idx="486">
                  <c:v>16556</c:v>
                </c:pt>
                <c:pt idx="487">
                  <c:v>16559</c:v>
                </c:pt>
                <c:pt idx="488">
                  <c:v>16560</c:v>
                </c:pt>
                <c:pt idx="489">
                  <c:v>16561</c:v>
                </c:pt>
                <c:pt idx="490">
                  <c:v>16562</c:v>
                </c:pt>
                <c:pt idx="491">
                  <c:v>16563</c:v>
                </c:pt>
                <c:pt idx="492">
                  <c:v>16566</c:v>
                </c:pt>
                <c:pt idx="493">
                  <c:v>16567</c:v>
                </c:pt>
                <c:pt idx="494">
                  <c:v>16568</c:v>
                </c:pt>
                <c:pt idx="495">
                  <c:v>16569</c:v>
                </c:pt>
                <c:pt idx="496">
                  <c:v>16570</c:v>
                </c:pt>
                <c:pt idx="497">
                  <c:v>16573</c:v>
                </c:pt>
                <c:pt idx="498">
                  <c:v>16574</c:v>
                </c:pt>
                <c:pt idx="499">
                  <c:v>16575</c:v>
                </c:pt>
                <c:pt idx="500">
                  <c:v>16576</c:v>
                </c:pt>
                <c:pt idx="501">
                  <c:v>16577</c:v>
                </c:pt>
                <c:pt idx="502">
                  <c:v>16581</c:v>
                </c:pt>
                <c:pt idx="503">
                  <c:v>16582</c:v>
                </c:pt>
                <c:pt idx="504">
                  <c:v>16583</c:v>
                </c:pt>
                <c:pt idx="505">
                  <c:v>16584</c:v>
                </c:pt>
                <c:pt idx="506">
                  <c:v>16587</c:v>
                </c:pt>
                <c:pt idx="507">
                  <c:v>16588</c:v>
                </c:pt>
                <c:pt idx="508">
                  <c:v>16589</c:v>
                </c:pt>
                <c:pt idx="509">
                  <c:v>16590</c:v>
                </c:pt>
                <c:pt idx="510">
                  <c:v>16591</c:v>
                </c:pt>
                <c:pt idx="511">
                  <c:v>16594</c:v>
                </c:pt>
                <c:pt idx="512">
                  <c:v>16595</c:v>
                </c:pt>
                <c:pt idx="513">
                  <c:v>16596</c:v>
                </c:pt>
                <c:pt idx="514">
                  <c:v>16597</c:v>
                </c:pt>
                <c:pt idx="515">
                  <c:v>16598</c:v>
                </c:pt>
                <c:pt idx="516">
                  <c:v>16601</c:v>
                </c:pt>
                <c:pt idx="517">
                  <c:v>16602</c:v>
                </c:pt>
                <c:pt idx="518">
                  <c:v>16603</c:v>
                </c:pt>
                <c:pt idx="519">
                  <c:v>16604</c:v>
                </c:pt>
                <c:pt idx="520">
                  <c:v>16605</c:v>
                </c:pt>
                <c:pt idx="521">
                  <c:v>16608</c:v>
                </c:pt>
                <c:pt idx="522">
                  <c:v>16609</c:v>
                </c:pt>
                <c:pt idx="523">
                  <c:v>16610</c:v>
                </c:pt>
                <c:pt idx="524">
                  <c:v>16611</c:v>
                </c:pt>
                <c:pt idx="525">
                  <c:v>16612</c:v>
                </c:pt>
                <c:pt idx="526">
                  <c:v>16615</c:v>
                </c:pt>
                <c:pt idx="527">
                  <c:v>16616</c:v>
                </c:pt>
                <c:pt idx="528">
                  <c:v>16617</c:v>
                </c:pt>
                <c:pt idx="529">
                  <c:v>16618</c:v>
                </c:pt>
                <c:pt idx="530">
                  <c:v>16622</c:v>
                </c:pt>
                <c:pt idx="531">
                  <c:v>16623</c:v>
                </c:pt>
                <c:pt idx="532">
                  <c:v>16624</c:v>
                </c:pt>
                <c:pt idx="533">
                  <c:v>16625</c:v>
                </c:pt>
                <c:pt idx="534">
                  <c:v>16626</c:v>
                </c:pt>
                <c:pt idx="535">
                  <c:v>16629</c:v>
                </c:pt>
                <c:pt idx="536">
                  <c:v>16630</c:v>
                </c:pt>
                <c:pt idx="537">
                  <c:v>16631</c:v>
                </c:pt>
                <c:pt idx="538">
                  <c:v>16632</c:v>
                </c:pt>
                <c:pt idx="539">
                  <c:v>16633</c:v>
                </c:pt>
                <c:pt idx="540">
                  <c:v>16636</c:v>
                </c:pt>
                <c:pt idx="541">
                  <c:v>16637</c:v>
                </c:pt>
                <c:pt idx="542">
                  <c:v>16638</c:v>
                </c:pt>
                <c:pt idx="543">
                  <c:v>16639</c:v>
                </c:pt>
                <c:pt idx="544">
                  <c:v>16640</c:v>
                </c:pt>
                <c:pt idx="545">
                  <c:v>16643</c:v>
                </c:pt>
                <c:pt idx="546">
                  <c:v>16644</c:v>
                </c:pt>
                <c:pt idx="547">
                  <c:v>16645</c:v>
                </c:pt>
                <c:pt idx="548">
                  <c:v>16646</c:v>
                </c:pt>
                <c:pt idx="549">
                  <c:v>16647</c:v>
                </c:pt>
                <c:pt idx="550">
                  <c:v>16650</c:v>
                </c:pt>
                <c:pt idx="551">
                  <c:v>16651</c:v>
                </c:pt>
                <c:pt idx="552">
                  <c:v>16652</c:v>
                </c:pt>
                <c:pt idx="553">
                  <c:v>16653</c:v>
                </c:pt>
                <c:pt idx="554">
                  <c:v>16654</c:v>
                </c:pt>
                <c:pt idx="555">
                  <c:v>16657</c:v>
                </c:pt>
                <c:pt idx="556">
                  <c:v>16658</c:v>
                </c:pt>
                <c:pt idx="557">
                  <c:v>16659</c:v>
                </c:pt>
                <c:pt idx="558">
                  <c:v>16660</c:v>
                </c:pt>
                <c:pt idx="559">
                  <c:v>16661</c:v>
                </c:pt>
                <c:pt idx="560">
                  <c:v>16664</c:v>
                </c:pt>
                <c:pt idx="561">
                  <c:v>16665</c:v>
                </c:pt>
                <c:pt idx="562">
                  <c:v>16666</c:v>
                </c:pt>
                <c:pt idx="563">
                  <c:v>16667</c:v>
                </c:pt>
                <c:pt idx="564">
                  <c:v>16668</c:v>
                </c:pt>
                <c:pt idx="565">
                  <c:v>16671</c:v>
                </c:pt>
                <c:pt idx="566">
                  <c:v>16672</c:v>
                </c:pt>
                <c:pt idx="567">
                  <c:v>16673</c:v>
                </c:pt>
                <c:pt idx="568">
                  <c:v>16674</c:v>
                </c:pt>
                <c:pt idx="569">
                  <c:v>16675</c:v>
                </c:pt>
                <c:pt idx="570">
                  <c:v>16678</c:v>
                </c:pt>
                <c:pt idx="571">
                  <c:v>16679</c:v>
                </c:pt>
                <c:pt idx="572">
                  <c:v>16680</c:v>
                </c:pt>
                <c:pt idx="573">
                  <c:v>16681</c:v>
                </c:pt>
                <c:pt idx="574">
                  <c:v>16682</c:v>
                </c:pt>
                <c:pt idx="575">
                  <c:v>16686</c:v>
                </c:pt>
                <c:pt idx="576">
                  <c:v>16687</c:v>
                </c:pt>
                <c:pt idx="577">
                  <c:v>16688</c:v>
                </c:pt>
                <c:pt idx="578">
                  <c:v>16689</c:v>
                </c:pt>
                <c:pt idx="579">
                  <c:v>16692</c:v>
                </c:pt>
                <c:pt idx="580">
                  <c:v>16693</c:v>
                </c:pt>
                <c:pt idx="581">
                  <c:v>16694</c:v>
                </c:pt>
                <c:pt idx="582">
                  <c:v>16695</c:v>
                </c:pt>
                <c:pt idx="583">
                  <c:v>16696</c:v>
                </c:pt>
                <c:pt idx="584">
                  <c:v>16699</c:v>
                </c:pt>
                <c:pt idx="585">
                  <c:v>16700</c:v>
                </c:pt>
                <c:pt idx="586">
                  <c:v>16701</c:v>
                </c:pt>
                <c:pt idx="587">
                  <c:v>16702</c:v>
                </c:pt>
                <c:pt idx="588">
                  <c:v>16703</c:v>
                </c:pt>
                <c:pt idx="589">
                  <c:v>16706</c:v>
                </c:pt>
                <c:pt idx="590">
                  <c:v>16707</c:v>
                </c:pt>
                <c:pt idx="591">
                  <c:v>16708</c:v>
                </c:pt>
                <c:pt idx="592">
                  <c:v>16709</c:v>
                </c:pt>
                <c:pt idx="593">
                  <c:v>16710</c:v>
                </c:pt>
                <c:pt idx="594">
                  <c:v>16713</c:v>
                </c:pt>
                <c:pt idx="595">
                  <c:v>16714</c:v>
                </c:pt>
                <c:pt idx="596">
                  <c:v>16715</c:v>
                </c:pt>
                <c:pt idx="597">
                  <c:v>16716</c:v>
                </c:pt>
                <c:pt idx="598">
                  <c:v>16717</c:v>
                </c:pt>
                <c:pt idx="599">
                  <c:v>16720</c:v>
                </c:pt>
                <c:pt idx="600">
                  <c:v>16721</c:v>
                </c:pt>
                <c:pt idx="601">
                  <c:v>16722</c:v>
                </c:pt>
                <c:pt idx="602">
                  <c:v>16723</c:v>
                </c:pt>
                <c:pt idx="603">
                  <c:v>16724</c:v>
                </c:pt>
                <c:pt idx="604">
                  <c:v>16727</c:v>
                </c:pt>
                <c:pt idx="605">
                  <c:v>16728</c:v>
                </c:pt>
                <c:pt idx="606">
                  <c:v>16729</c:v>
                </c:pt>
                <c:pt idx="607">
                  <c:v>16730</c:v>
                </c:pt>
                <c:pt idx="608">
                  <c:v>16731</c:v>
                </c:pt>
                <c:pt idx="609">
                  <c:v>16734</c:v>
                </c:pt>
                <c:pt idx="610">
                  <c:v>16735</c:v>
                </c:pt>
                <c:pt idx="611">
                  <c:v>16736</c:v>
                </c:pt>
                <c:pt idx="612">
                  <c:v>16737</c:v>
                </c:pt>
                <c:pt idx="613">
                  <c:v>16738</c:v>
                </c:pt>
                <c:pt idx="614">
                  <c:v>16741</c:v>
                </c:pt>
                <c:pt idx="615">
                  <c:v>16742</c:v>
                </c:pt>
                <c:pt idx="616">
                  <c:v>16743</c:v>
                </c:pt>
                <c:pt idx="617">
                  <c:v>16744</c:v>
                </c:pt>
                <c:pt idx="618">
                  <c:v>16745</c:v>
                </c:pt>
                <c:pt idx="619">
                  <c:v>16748</c:v>
                </c:pt>
                <c:pt idx="620">
                  <c:v>16749</c:v>
                </c:pt>
                <c:pt idx="621">
                  <c:v>16750</c:v>
                </c:pt>
                <c:pt idx="622">
                  <c:v>16751</c:v>
                </c:pt>
                <c:pt idx="623">
                  <c:v>16752</c:v>
                </c:pt>
                <c:pt idx="624">
                  <c:v>16755</c:v>
                </c:pt>
                <c:pt idx="625">
                  <c:v>16756</c:v>
                </c:pt>
                <c:pt idx="626">
                  <c:v>16757</c:v>
                </c:pt>
                <c:pt idx="627">
                  <c:v>16758</c:v>
                </c:pt>
                <c:pt idx="628">
                  <c:v>16759</c:v>
                </c:pt>
                <c:pt idx="629">
                  <c:v>16762</c:v>
                </c:pt>
                <c:pt idx="630">
                  <c:v>16763</c:v>
                </c:pt>
                <c:pt idx="631">
                  <c:v>16764</c:v>
                </c:pt>
                <c:pt idx="632">
                  <c:v>16766</c:v>
                </c:pt>
                <c:pt idx="633">
                  <c:v>16769</c:v>
                </c:pt>
                <c:pt idx="634">
                  <c:v>16770</c:v>
                </c:pt>
                <c:pt idx="635">
                  <c:v>16771</c:v>
                </c:pt>
                <c:pt idx="636">
                  <c:v>16772</c:v>
                </c:pt>
                <c:pt idx="637">
                  <c:v>16773</c:v>
                </c:pt>
                <c:pt idx="638">
                  <c:v>16776</c:v>
                </c:pt>
                <c:pt idx="639">
                  <c:v>16777</c:v>
                </c:pt>
                <c:pt idx="640">
                  <c:v>16778</c:v>
                </c:pt>
                <c:pt idx="641">
                  <c:v>16779</c:v>
                </c:pt>
                <c:pt idx="642">
                  <c:v>16780</c:v>
                </c:pt>
                <c:pt idx="643">
                  <c:v>16783</c:v>
                </c:pt>
                <c:pt idx="644">
                  <c:v>16784</c:v>
                </c:pt>
                <c:pt idx="645">
                  <c:v>16785</c:v>
                </c:pt>
                <c:pt idx="646">
                  <c:v>16786</c:v>
                </c:pt>
                <c:pt idx="647">
                  <c:v>16787</c:v>
                </c:pt>
                <c:pt idx="648">
                  <c:v>16790</c:v>
                </c:pt>
                <c:pt idx="649">
                  <c:v>16791</c:v>
                </c:pt>
                <c:pt idx="650">
                  <c:v>16792</c:v>
                </c:pt>
                <c:pt idx="651">
                  <c:v>16793</c:v>
                </c:pt>
                <c:pt idx="652">
                  <c:v>16797</c:v>
                </c:pt>
                <c:pt idx="653">
                  <c:v>16798</c:v>
                </c:pt>
                <c:pt idx="654">
                  <c:v>16799</c:v>
                </c:pt>
                <c:pt idx="655">
                  <c:v>16800</c:v>
                </c:pt>
                <c:pt idx="656">
                  <c:v>16804</c:v>
                </c:pt>
                <c:pt idx="657">
                  <c:v>16805</c:v>
                </c:pt>
                <c:pt idx="658">
                  <c:v>16806</c:v>
                </c:pt>
                <c:pt idx="659">
                  <c:v>16807</c:v>
                </c:pt>
                <c:pt idx="660">
                  <c:v>16808</c:v>
                </c:pt>
                <c:pt idx="661">
                  <c:v>16811</c:v>
                </c:pt>
                <c:pt idx="662">
                  <c:v>16812</c:v>
                </c:pt>
                <c:pt idx="663">
                  <c:v>16813</c:v>
                </c:pt>
                <c:pt idx="664">
                  <c:v>16814</c:v>
                </c:pt>
                <c:pt idx="665">
                  <c:v>16815</c:v>
                </c:pt>
                <c:pt idx="666">
                  <c:v>16819</c:v>
                </c:pt>
                <c:pt idx="667">
                  <c:v>16820</c:v>
                </c:pt>
                <c:pt idx="668">
                  <c:v>16821</c:v>
                </c:pt>
                <c:pt idx="669">
                  <c:v>16822</c:v>
                </c:pt>
                <c:pt idx="670">
                  <c:v>16825</c:v>
                </c:pt>
                <c:pt idx="671">
                  <c:v>16826</c:v>
                </c:pt>
                <c:pt idx="672">
                  <c:v>16827</c:v>
                </c:pt>
                <c:pt idx="673">
                  <c:v>16828</c:v>
                </c:pt>
                <c:pt idx="674">
                  <c:v>16829</c:v>
                </c:pt>
                <c:pt idx="675">
                  <c:v>16832</c:v>
                </c:pt>
                <c:pt idx="676">
                  <c:v>16833</c:v>
                </c:pt>
                <c:pt idx="677">
                  <c:v>16834</c:v>
                </c:pt>
                <c:pt idx="678">
                  <c:v>16835</c:v>
                </c:pt>
                <c:pt idx="679">
                  <c:v>16836</c:v>
                </c:pt>
                <c:pt idx="680">
                  <c:v>16839</c:v>
                </c:pt>
                <c:pt idx="681">
                  <c:v>16840</c:v>
                </c:pt>
                <c:pt idx="682">
                  <c:v>16841</c:v>
                </c:pt>
                <c:pt idx="683">
                  <c:v>16842</c:v>
                </c:pt>
                <c:pt idx="684">
                  <c:v>16843</c:v>
                </c:pt>
                <c:pt idx="685">
                  <c:v>16847</c:v>
                </c:pt>
                <c:pt idx="686">
                  <c:v>16848</c:v>
                </c:pt>
                <c:pt idx="687">
                  <c:v>16849</c:v>
                </c:pt>
                <c:pt idx="688">
                  <c:v>16850</c:v>
                </c:pt>
                <c:pt idx="689">
                  <c:v>16853</c:v>
                </c:pt>
                <c:pt idx="690">
                  <c:v>16854</c:v>
                </c:pt>
                <c:pt idx="691">
                  <c:v>16855</c:v>
                </c:pt>
                <c:pt idx="692">
                  <c:v>16856</c:v>
                </c:pt>
                <c:pt idx="693">
                  <c:v>16857</c:v>
                </c:pt>
                <c:pt idx="694">
                  <c:v>16860</c:v>
                </c:pt>
                <c:pt idx="695">
                  <c:v>16861</c:v>
                </c:pt>
                <c:pt idx="696">
                  <c:v>16862</c:v>
                </c:pt>
                <c:pt idx="697">
                  <c:v>16863</c:v>
                </c:pt>
                <c:pt idx="698">
                  <c:v>16864</c:v>
                </c:pt>
                <c:pt idx="699">
                  <c:v>16867</c:v>
                </c:pt>
                <c:pt idx="700">
                  <c:v>16868</c:v>
                </c:pt>
                <c:pt idx="701">
                  <c:v>16869</c:v>
                </c:pt>
                <c:pt idx="702">
                  <c:v>16870</c:v>
                </c:pt>
                <c:pt idx="703">
                  <c:v>16871</c:v>
                </c:pt>
                <c:pt idx="704">
                  <c:v>16874</c:v>
                </c:pt>
                <c:pt idx="705">
                  <c:v>16875</c:v>
                </c:pt>
                <c:pt idx="706">
                  <c:v>16876</c:v>
                </c:pt>
                <c:pt idx="707">
                  <c:v>16877</c:v>
                </c:pt>
                <c:pt idx="708">
                  <c:v>16878</c:v>
                </c:pt>
                <c:pt idx="709">
                  <c:v>16881</c:v>
                </c:pt>
                <c:pt idx="710">
                  <c:v>16882</c:v>
                </c:pt>
                <c:pt idx="711">
                  <c:v>16883</c:v>
                </c:pt>
                <c:pt idx="712">
                  <c:v>16884</c:v>
                </c:pt>
                <c:pt idx="713">
                  <c:v>16888</c:v>
                </c:pt>
                <c:pt idx="714">
                  <c:v>16889</c:v>
                </c:pt>
                <c:pt idx="715">
                  <c:v>16890</c:v>
                </c:pt>
                <c:pt idx="716">
                  <c:v>16891</c:v>
                </c:pt>
                <c:pt idx="717">
                  <c:v>16892</c:v>
                </c:pt>
                <c:pt idx="718">
                  <c:v>16895</c:v>
                </c:pt>
                <c:pt idx="719">
                  <c:v>16896</c:v>
                </c:pt>
                <c:pt idx="720">
                  <c:v>16897</c:v>
                </c:pt>
                <c:pt idx="721">
                  <c:v>16898</c:v>
                </c:pt>
                <c:pt idx="722">
                  <c:v>16899</c:v>
                </c:pt>
                <c:pt idx="723">
                  <c:v>16902</c:v>
                </c:pt>
                <c:pt idx="724">
                  <c:v>16903</c:v>
                </c:pt>
                <c:pt idx="725">
                  <c:v>16904</c:v>
                </c:pt>
                <c:pt idx="726">
                  <c:v>16905</c:v>
                </c:pt>
                <c:pt idx="727">
                  <c:v>16906</c:v>
                </c:pt>
                <c:pt idx="728">
                  <c:v>16909</c:v>
                </c:pt>
                <c:pt idx="729">
                  <c:v>16910</c:v>
                </c:pt>
                <c:pt idx="730">
                  <c:v>16911</c:v>
                </c:pt>
                <c:pt idx="731">
                  <c:v>16912</c:v>
                </c:pt>
                <c:pt idx="732">
                  <c:v>16913</c:v>
                </c:pt>
                <c:pt idx="733">
                  <c:v>16916</c:v>
                </c:pt>
                <c:pt idx="734">
                  <c:v>16917</c:v>
                </c:pt>
                <c:pt idx="735">
                  <c:v>16918</c:v>
                </c:pt>
                <c:pt idx="736">
                  <c:v>16919</c:v>
                </c:pt>
                <c:pt idx="737">
                  <c:v>16920</c:v>
                </c:pt>
                <c:pt idx="738">
                  <c:v>16923</c:v>
                </c:pt>
                <c:pt idx="739">
                  <c:v>16924</c:v>
                </c:pt>
                <c:pt idx="740">
                  <c:v>16925</c:v>
                </c:pt>
                <c:pt idx="741">
                  <c:v>16926</c:v>
                </c:pt>
                <c:pt idx="742">
                  <c:v>16927</c:v>
                </c:pt>
                <c:pt idx="743">
                  <c:v>16930</c:v>
                </c:pt>
                <c:pt idx="744">
                  <c:v>16931</c:v>
                </c:pt>
                <c:pt idx="745">
                  <c:v>16932</c:v>
                </c:pt>
                <c:pt idx="746">
                  <c:v>16933</c:v>
                </c:pt>
                <c:pt idx="747">
                  <c:v>16934</c:v>
                </c:pt>
                <c:pt idx="748">
                  <c:v>16937</c:v>
                </c:pt>
                <c:pt idx="749">
                  <c:v>16938</c:v>
                </c:pt>
                <c:pt idx="750">
                  <c:v>16939</c:v>
                </c:pt>
                <c:pt idx="751">
                  <c:v>16940</c:v>
                </c:pt>
                <c:pt idx="752">
                  <c:v>16941</c:v>
                </c:pt>
                <c:pt idx="753">
                  <c:v>16944</c:v>
                </c:pt>
                <c:pt idx="754">
                  <c:v>16945</c:v>
                </c:pt>
                <c:pt idx="755">
                  <c:v>16946</c:v>
                </c:pt>
                <c:pt idx="756">
                  <c:v>16947</c:v>
                </c:pt>
                <c:pt idx="757">
                  <c:v>16948</c:v>
                </c:pt>
                <c:pt idx="758">
                  <c:v>16952</c:v>
                </c:pt>
                <c:pt idx="759">
                  <c:v>16953</c:v>
                </c:pt>
                <c:pt idx="760">
                  <c:v>16954</c:v>
                </c:pt>
                <c:pt idx="761">
                  <c:v>16955</c:v>
                </c:pt>
                <c:pt idx="762">
                  <c:v>16958</c:v>
                </c:pt>
                <c:pt idx="763">
                  <c:v>16959</c:v>
                </c:pt>
                <c:pt idx="764">
                  <c:v>16960</c:v>
                </c:pt>
                <c:pt idx="765">
                  <c:v>16961</c:v>
                </c:pt>
                <c:pt idx="766">
                  <c:v>16962</c:v>
                </c:pt>
                <c:pt idx="767">
                  <c:v>16965</c:v>
                </c:pt>
                <c:pt idx="768">
                  <c:v>16966</c:v>
                </c:pt>
                <c:pt idx="769">
                  <c:v>16967</c:v>
                </c:pt>
                <c:pt idx="770">
                  <c:v>16968</c:v>
                </c:pt>
                <c:pt idx="771">
                  <c:v>16969</c:v>
                </c:pt>
                <c:pt idx="772">
                  <c:v>16972</c:v>
                </c:pt>
                <c:pt idx="773">
                  <c:v>16973</c:v>
                </c:pt>
                <c:pt idx="774">
                  <c:v>16974</c:v>
                </c:pt>
                <c:pt idx="775">
                  <c:v>16975</c:v>
                </c:pt>
                <c:pt idx="776">
                  <c:v>16976</c:v>
                </c:pt>
                <c:pt idx="777">
                  <c:v>16979</c:v>
                </c:pt>
                <c:pt idx="778">
                  <c:v>16980</c:v>
                </c:pt>
                <c:pt idx="779">
                  <c:v>16981</c:v>
                </c:pt>
                <c:pt idx="780">
                  <c:v>16982</c:v>
                </c:pt>
                <c:pt idx="781">
                  <c:v>16983</c:v>
                </c:pt>
                <c:pt idx="782">
                  <c:v>16987</c:v>
                </c:pt>
                <c:pt idx="783">
                  <c:v>16988</c:v>
                </c:pt>
                <c:pt idx="784">
                  <c:v>16989</c:v>
                </c:pt>
                <c:pt idx="785">
                  <c:v>16990</c:v>
                </c:pt>
                <c:pt idx="786">
                  <c:v>16993</c:v>
                </c:pt>
                <c:pt idx="787">
                  <c:v>16994</c:v>
                </c:pt>
                <c:pt idx="788">
                  <c:v>16995</c:v>
                </c:pt>
                <c:pt idx="789">
                  <c:v>16996</c:v>
                </c:pt>
                <c:pt idx="790">
                  <c:v>16997</c:v>
                </c:pt>
                <c:pt idx="791">
                  <c:v>17000</c:v>
                </c:pt>
                <c:pt idx="792">
                  <c:v>17001</c:v>
                </c:pt>
                <c:pt idx="793">
                  <c:v>17002</c:v>
                </c:pt>
                <c:pt idx="794">
                  <c:v>17003</c:v>
                </c:pt>
                <c:pt idx="795">
                  <c:v>17004</c:v>
                </c:pt>
                <c:pt idx="796">
                  <c:v>17007</c:v>
                </c:pt>
                <c:pt idx="797">
                  <c:v>17008</c:v>
                </c:pt>
                <c:pt idx="798">
                  <c:v>17009</c:v>
                </c:pt>
                <c:pt idx="799">
                  <c:v>17010</c:v>
                </c:pt>
                <c:pt idx="800">
                  <c:v>17011</c:v>
                </c:pt>
                <c:pt idx="801">
                  <c:v>17014</c:v>
                </c:pt>
                <c:pt idx="802">
                  <c:v>17015</c:v>
                </c:pt>
                <c:pt idx="803">
                  <c:v>17016</c:v>
                </c:pt>
                <c:pt idx="804">
                  <c:v>17017</c:v>
                </c:pt>
                <c:pt idx="805">
                  <c:v>17018</c:v>
                </c:pt>
                <c:pt idx="806">
                  <c:v>17021</c:v>
                </c:pt>
                <c:pt idx="807">
                  <c:v>17022</c:v>
                </c:pt>
                <c:pt idx="808">
                  <c:v>17023</c:v>
                </c:pt>
                <c:pt idx="809">
                  <c:v>17024</c:v>
                </c:pt>
                <c:pt idx="810">
                  <c:v>17025</c:v>
                </c:pt>
                <c:pt idx="811">
                  <c:v>17028</c:v>
                </c:pt>
                <c:pt idx="812">
                  <c:v>17029</c:v>
                </c:pt>
                <c:pt idx="813">
                  <c:v>17030</c:v>
                </c:pt>
                <c:pt idx="814">
                  <c:v>17031</c:v>
                </c:pt>
                <c:pt idx="815">
                  <c:v>17032</c:v>
                </c:pt>
                <c:pt idx="816">
                  <c:v>17035</c:v>
                </c:pt>
                <c:pt idx="817">
                  <c:v>17036</c:v>
                </c:pt>
                <c:pt idx="818">
                  <c:v>17037</c:v>
                </c:pt>
                <c:pt idx="819">
                  <c:v>17038</c:v>
                </c:pt>
                <c:pt idx="820">
                  <c:v>17039</c:v>
                </c:pt>
                <c:pt idx="821">
                  <c:v>17042</c:v>
                </c:pt>
                <c:pt idx="822">
                  <c:v>17043</c:v>
                </c:pt>
                <c:pt idx="823">
                  <c:v>17044</c:v>
                </c:pt>
                <c:pt idx="824">
                  <c:v>17045</c:v>
                </c:pt>
                <c:pt idx="825">
                  <c:v>17046</c:v>
                </c:pt>
                <c:pt idx="826">
                  <c:v>17050</c:v>
                </c:pt>
                <c:pt idx="827">
                  <c:v>17051</c:v>
                </c:pt>
                <c:pt idx="828">
                  <c:v>17052</c:v>
                </c:pt>
                <c:pt idx="829">
                  <c:v>17053</c:v>
                </c:pt>
                <c:pt idx="830">
                  <c:v>17056</c:v>
                </c:pt>
                <c:pt idx="831">
                  <c:v>17057</c:v>
                </c:pt>
                <c:pt idx="832">
                  <c:v>17058</c:v>
                </c:pt>
                <c:pt idx="833">
                  <c:v>17059</c:v>
                </c:pt>
                <c:pt idx="834">
                  <c:v>17060</c:v>
                </c:pt>
                <c:pt idx="835">
                  <c:v>17063</c:v>
                </c:pt>
                <c:pt idx="836">
                  <c:v>17064</c:v>
                </c:pt>
                <c:pt idx="837">
                  <c:v>17065</c:v>
                </c:pt>
                <c:pt idx="838">
                  <c:v>17066</c:v>
                </c:pt>
                <c:pt idx="839">
                  <c:v>17067</c:v>
                </c:pt>
                <c:pt idx="840">
                  <c:v>17070</c:v>
                </c:pt>
                <c:pt idx="841">
                  <c:v>17071</c:v>
                </c:pt>
                <c:pt idx="842">
                  <c:v>17072</c:v>
                </c:pt>
                <c:pt idx="843">
                  <c:v>17073</c:v>
                </c:pt>
                <c:pt idx="844">
                  <c:v>17074</c:v>
                </c:pt>
                <c:pt idx="845">
                  <c:v>17077</c:v>
                </c:pt>
                <c:pt idx="846">
                  <c:v>17078</c:v>
                </c:pt>
                <c:pt idx="847">
                  <c:v>17079</c:v>
                </c:pt>
                <c:pt idx="848">
                  <c:v>17080</c:v>
                </c:pt>
                <c:pt idx="849">
                  <c:v>17081</c:v>
                </c:pt>
                <c:pt idx="850">
                  <c:v>17084</c:v>
                </c:pt>
                <c:pt idx="851">
                  <c:v>17085</c:v>
                </c:pt>
                <c:pt idx="852">
                  <c:v>17086</c:v>
                </c:pt>
                <c:pt idx="853">
                  <c:v>17087</c:v>
                </c:pt>
                <c:pt idx="854">
                  <c:v>17088</c:v>
                </c:pt>
                <c:pt idx="855">
                  <c:v>17091</c:v>
                </c:pt>
                <c:pt idx="856">
                  <c:v>17092</c:v>
                </c:pt>
                <c:pt idx="857">
                  <c:v>17093</c:v>
                </c:pt>
                <c:pt idx="858">
                  <c:v>17094</c:v>
                </c:pt>
                <c:pt idx="859">
                  <c:v>17095</c:v>
                </c:pt>
                <c:pt idx="860">
                  <c:v>17098</c:v>
                </c:pt>
                <c:pt idx="861">
                  <c:v>17099</c:v>
                </c:pt>
                <c:pt idx="862">
                  <c:v>17100</c:v>
                </c:pt>
                <c:pt idx="863">
                  <c:v>17101</c:v>
                </c:pt>
                <c:pt idx="864">
                  <c:v>17102</c:v>
                </c:pt>
                <c:pt idx="865">
                  <c:v>17105</c:v>
                </c:pt>
                <c:pt idx="866">
                  <c:v>17106</c:v>
                </c:pt>
                <c:pt idx="867">
                  <c:v>17107</c:v>
                </c:pt>
                <c:pt idx="868">
                  <c:v>17108</c:v>
                </c:pt>
                <c:pt idx="869">
                  <c:v>17109</c:v>
                </c:pt>
                <c:pt idx="870">
                  <c:v>17112</c:v>
                </c:pt>
                <c:pt idx="871">
                  <c:v>17113</c:v>
                </c:pt>
                <c:pt idx="872">
                  <c:v>17114</c:v>
                </c:pt>
                <c:pt idx="873">
                  <c:v>17115</c:v>
                </c:pt>
                <c:pt idx="874">
                  <c:v>17116</c:v>
                </c:pt>
                <c:pt idx="875">
                  <c:v>17119</c:v>
                </c:pt>
                <c:pt idx="876">
                  <c:v>17120</c:v>
                </c:pt>
                <c:pt idx="877">
                  <c:v>17121</c:v>
                </c:pt>
                <c:pt idx="878">
                  <c:v>17122</c:v>
                </c:pt>
                <c:pt idx="879">
                  <c:v>17123</c:v>
                </c:pt>
                <c:pt idx="880">
                  <c:v>17126</c:v>
                </c:pt>
                <c:pt idx="881">
                  <c:v>17127</c:v>
                </c:pt>
                <c:pt idx="882">
                  <c:v>17128</c:v>
                </c:pt>
                <c:pt idx="883">
                  <c:v>17130</c:v>
                </c:pt>
                <c:pt idx="884">
                  <c:v>17133</c:v>
                </c:pt>
                <c:pt idx="885">
                  <c:v>17134</c:v>
                </c:pt>
                <c:pt idx="886">
                  <c:v>17135</c:v>
                </c:pt>
                <c:pt idx="887">
                  <c:v>17136</c:v>
                </c:pt>
                <c:pt idx="888">
                  <c:v>17137</c:v>
                </c:pt>
                <c:pt idx="889">
                  <c:v>17140</c:v>
                </c:pt>
                <c:pt idx="890">
                  <c:v>17141</c:v>
                </c:pt>
                <c:pt idx="891">
                  <c:v>17142</c:v>
                </c:pt>
                <c:pt idx="892">
                  <c:v>17143</c:v>
                </c:pt>
                <c:pt idx="893">
                  <c:v>17144</c:v>
                </c:pt>
                <c:pt idx="894">
                  <c:v>17147</c:v>
                </c:pt>
                <c:pt idx="895">
                  <c:v>17148</c:v>
                </c:pt>
                <c:pt idx="896">
                  <c:v>17149</c:v>
                </c:pt>
                <c:pt idx="897">
                  <c:v>17150</c:v>
                </c:pt>
                <c:pt idx="898">
                  <c:v>17151</c:v>
                </c:pt>
                <c:pt idx="899">
                  <c:v>17154</c:v>
                </c:pt>
                <c:pt idx="900">
                  <c:v>17155</c:v>
                </c:pt>
                <c:pt idx="901">
                  <c:v>17156</c:v>
                </c:pt>
                <c:pt idx="902">
                  <c:v>17157</c:v>
                </c:pt>
                <c:pt idx="903">
                  <c:v>17158</c:v>
                </c:pt>
                <c:pt idx="904">
                  <c:v>17162</c:v>
                </c:pt>
                <c:pt idx="905">
                  <c:v>17163</c:v>
                </c:pt>
                <c:pt idx="906">
                  <c:v>17164</c:v>
                </c:pt>
                <c:pt idx="907">
                  <c:v>17165</c:v>
                </c:pt>
                <c:pt idx="908">
                  <c:v>17169</c:v>
                </c:pt>
                <c:pt idx="909">
                  <c:v>17170</c:v>
                </c:pt>
                <c:pt idx="910">
                  <c:v>17171</c:v>
                </c:pt>
                <c:pt idx="911">
                  <c:v>17172</c:v>
                </c:pt>
                <c:pt idx="912">
                  <c:v>17175</c:v>
                </c:pt>
                <c:pt idx="913">
                  <c:v>17176</c:v>
                </c:pt>
                <c:pt idx="914">
                  <c:v>17177</c:v>
                </c:pt>
                <c:pt idx="915">
                  <c:v>17178</c:v>
                </c:pt>
                <c:pt idx="916">
                  <c:v>17179</c:v>
                </c:pt>
                <c:pt idx="917">
                  <c:v>17183</c:v>
                </c:pt>
                <c:pt idx="918">
                  <c:v>17184</c:v>
                </c:pt>
                <c:pt idx="919">
                  <c:v>17185</c:v>
                </c:pt>
                <c:pt idx="920">
                  <c:v>17186</c:v>
                </c:pt>
                <c:pt idx="921">
                  <c:v>17189</c:v>
                </c:pt>
                <c:pt idx="922">
                  <c:v>17190</c:v>
                </c:pt>
                <c:pt idx="923">
                  <c:v>17191</c:v>
                </c:pt>
                <c:pt idx="924">
                  <c:v>17192</c:v>
                </c:pt>
                <c:pt idx="925">
                  <c:v>17193</c:v>
                </c:pt>
                <c:pt idx="926">
                  <c:v>17196</c:v>
                </c:pt>
                <c:pt idx="927">
                  <c:v>17197</c:v>
                </c:pt>
                <c:pt idx="928">
                  <c:v>17198</c:v>
                </c:pt>
                <c:pt idx="929">
                  <c:v>17199</c:v>
                </c:pt>
                <c:pt idx="930">
                  <c:v>17200</c:v>
                </c:pt>
                <c:pt idx="931">
                  <c:v>17203</c:v>
                </c:pt>
                <c:pt idx="932">
                  <c:v>17204</c:v>
                </c:pt>
                <c:pt idx="933">
                  <c:v>17205</c:v>
                </c:pt>
                <c:pt idx="934">
                  <c:v>17206</c:v>
                </c:pt>
                <c:pt idx="935">
                  <c:v>17207</c:v>
                </c:pt>
                <c:pt idx="936">
                  <c:v>17210</c:v>
                </c:pt>
                <c:pt idx="937">
                  <c:v>17211</c:v>
                </c:pt>
                <c:pt idx="938">
                  <c:v>17212</c:v>
                </c:pt>
                <c:pt idx="939">
                  <c:v>17213</c:v>
                </c:pt>
                <c:pt idx="940">
                  <c:v>17214</c:v>
                </c:pt>
                <c:pt idx="941">
                  <c:v>17218</c:v>
                </c:pt>
                <c:pt idx="942">
                  <c:v>17219</c:v>
                </c:pt>
                <c:pt idx="943">
                  <c:v>17220</c:v>
                </c:pt>
                <c:pt idx="944">
                  <c:v>17221</c:v>
                </c:pt>
                <c:pt idx="945">
                  <c:v>17224</c:v>
                </c:pt>
                <c:pt idx="946">
                  <c:v>17225</c:v>
                </c:pt>
                <c:pt idx="947">
                  <c:v>17226</c:v>
                </c:pt>
                <c:pt idx="948">
                  <c:v>17227</c:v>
                </c:pt>
                <c:pt idx="949">
                  <c:v>17228</c:v>
                </c:pt>
                <c:pt idx="950">
                  <c:v>17231</c:v>
                </c:pt>
                <c:pt idx="951">
                  <c:v>17232</c:v>
                </c:pt>
                <c:pt idx="952">
                  <c:v>17233</c:v>
                </c:pt>
                <c:pt idx="953">
                  <c:v>17234</c:v>
                </c:pt>
                <c:pt idx="954">
                  <c:v>17235</c:v>
                </c:pt>
                <c:pt idx="955">
                  <c:v>17238</c:v>
                </c:pt>
                <c:pt idx="956">
                  <c:v>17239</c:v>
                </c:pt>
                <c:pt idx="957">
                  <c:v>17240</c:v>
                </c:pt>
                <c:pt idx="958">
                  <c:v>17241</c:v>
                </c:pt>
                <c:pt idx="959">
                  <c:v>17242</c:v>
                </c:pt>
                <c:pt idx="960">
                  <c:v>17245</c:v>
                </c:pt>
                <c:pt idx="961">
                  <c:v>17246</c:v>
                </c:pt>
                <c:pt idx="962">
                  <c:v>17247</c:v>
                </c:pt>
                <c:pt idx="963">
                  <c:v>17248</c:v>
                </c:pt>
                <c:pt idx="964">
                  <c:v>17249</c:v>
                </c:pt>
                <c:pt idx="965">
                  <c:v>17252</c:v>
                </c:pt>
                <c:pt idx="966">
                  <c:v>17253</c:v>
                </c:pt>
                <c:pt idx="967">
                  <c:v>17254</c:v>
                </c:pt>
                <c:pt idx="968">
                  <c:v>17255</c:v>
                </c:pt>
                <c:pt idx="969">
                  <c:v>17256</c:v>
                </c:pt>
                <c:pt idx="970">
                  <c:v>17259</c:v>
                </c:pt>
                <c:pt idx="971">
                  <c:v>17260</c:v>
                </c:pt>
                <c:pt idx="972">
                  <c:v>17261</c:v>
                </c:pt>
                <c:pt idx="973">
                  <c:v>17262</c:v>
                </c:pt>
                <c:pt idx="974">
                  <c:v>17263</c:v>
                </c:pt>
                <c:pt idx="975">
                  <c:v>17266</c:v>
                </c:pt>
                <c:pt idx="976">
                  <c:v>17267</c:v>
                </c:pt>
                <c:pt idx="977">
                  <c:v>17268</c:v>
                </c:pt>
                <c:pt idx="978">
                  <c:v>17269</c:v>
                </c:pt>
                <c:pt idx="979">
                  <c:v>17273</c:v>
                </c:pt>
                <c:pt idx="980">
                  <c:v>17274</c:v>
                </c:pt>
                <c:pt idx="981">
                  <c:v>17275</c:v>
                </c:pt>
                <c:pt idx="982">
                  <c:v>17276</c:v>
                </c:pt>
                <c:pt idx="983">
                  <c:v>17277</c:v>
                </c:pt>
                <c:pt idx="984">
                  <c:v>17280</c:v>
                </c:pt>
                <c:pt idx="985">
                  <c:v>17281</c:v>
                </c:pt>
                <c:pt idx="986">
                  <c:v>17282</c:v>
                </c:pt>
                <c:pt idx="987">
                  <c:v>17283</c:v>
                </c:pt>
                <c:pt idx="988">
                  <c:v>17284</c:v>
                </c:pt>
                <c:pt idx="989">
                  <c:v>17287</c:v>
                </c:pt>
                <c:pt idx="990">
                  <c:v>17288</c:v>
                </c:pt>
                <c:pt idx="991">
                  <c:v>17289</c:v>
                </c:pt>
                <c:pt idx="992">
                  <c:v>17290</c:v>
                </c:pt>
                <c:pt idx="993">
                  <c:v>17291</c:v>
                </c:pt>
                <c:pt idx="994">
                  <c:v>17294</c:v>
                </c:pt>
                <c:pt idx="995">
                  <c:v>17295</c:v>
                </c:pt>
                <c:pt idx="996">
                  <c:v>17296</c:v>
                </c:pt>
                <c:pt idx="997">
                  <c:v>17297</c:v>
                </c:pt>
                <c:pt idx="998">
                  <c:v>17298</c:v>
                </c:pt>
                <c:pt idx="999">
                  <c:v>17301</c:v>
                </c:pt>
                <c:pt idx="1000">
                  <c:v>17302</c:v>
                </c:pt>
                <c:pt idx="1001">
                  <c:v>17303</c:v>
                </c:pt>
                <c:pt idx="1002">
                  <c:v>17304</c:v>
                </c:pt>
                <c:pt idx="1003">
                  <c:v>17305</c:v>
                </c:pt>
                <c:pt idx="1004">
                  <c:v>17308</c:v>
                </c:pt>
                <c:pt idx="1005">
                  <c:v>17309</c:v>
                </c:pt>
                <c:pt idx="1006">
                  <c:v>17310</c:v>
                </c:pt>
                <c:pt idx="1007">
                  <c:v>17311</c:v>
                </c:pt>
                <c:pt idx="1008">
                  <c:v>17312</c:v>
                </c:pt>
                <c:pt idx="1009">
                  <c:v>17316</c:v>
                </c:pt>
                <c:pt idx="1010">
                  <c:v>17317</c:v>
                </c:pt>
                <c:pt idx="1011">
                  <c:v>17318</c:v>
                </c:pt>
                <c:pt idx="1012">
                  <c:v>17319</c:v>
                </c:pt>
                <c:pt idx="1013">
                  <c:v>17322</c:v>
                </c:pt>
                <c:pt idx="1014">
                  <c:v>17323</c:v>
                </c:pt>
                <c:pt idx="1015">
                  <c:v>17324</c:v>
                </c:pt>
                <c:pt idx="1016">
                  <c:v>17325</c:v>
                </c:pt>
                <c:pt idx="1017">
                  <c:v>17326</c:v>
                </c:pt>
                <c:pt idx="1018">
                  <c:v>17329</c:v>
                </c:pt>
                <c:pt idx="1019">
                  <c:v>17330</c:v>
                </c:pt>
                <c:pt idx="1020">
                  <c:v>17331</c:v>
                </c:pt>
                <c:pt idx="1021">
                  <c:v>17332</c:v>
                </c:pt>
                <c:pt idx="1022">
                  <c:v>17333</c:v>
                </c:pt>
                <c:pt idx="1023">
                  <c:v>17336</c:v>
                </c:pt>
                <c:pt idx="1024">
                  <c:v>17337</c:v>
                </c:pt>
                <c:pt idx="1025">
                  <c:v>17338</c:v>
                </c:pt>
                <c:pt idx="1026">
                  <c:v>17339</c:v>
                </c:pt>
                <c:pt idx="1027">
                  <c:v>17340</c:v>
                </c:pt>
                <c:pt idx="1028">
                  <c:v>17343</c:v>
                </c:pt>
                <c:pt idx="1029">
                  <c:v>17344</c:v>
                </c:pt>
                <c:pt idx="1030">
                  <c:v>17345</c:v>
                </c:pt>
                <c:pt idx="1031">
                  <c:v>17346</c:v>
                </c:pt>
                <c:pt idx="1032">
                  <c:v>17347</c:v>
                </c:pt>
                <c:pt idx="1033">
                  <c:v>17350</c:v>
                </c:pt>
                <c:pt idx="1034">
                  <c:v>17352</c:v>
                </c:pt>
                <c:pt idx="1035">
                  <c:v>17353</c:v>
                </c:pt>
                <c:pt idx="1036">
                  <c:v>17354</c:v>
                </c:pt>
                <c:pt idx="1037">
                  <c:v>17357</c:v>
                </c:pt>
                <c:pt idx="1038">
                  <c:v>17358</c:v>
                </c:pt>
                <c:pt idx="1039">
                  <c:v>17359</c:v>
                </c:pt>
                <c:pt idx="1040">
                  <c:v>17360</c:v>
                </c:pt>
                <c:pt idx="1041">
                  <c:v>17361</c:v>
                </c:pt>
                <c:pt idx="1042">
                  <c:v>17364</c:v>
                </c:pt>
                <c:pt idx="1043">
                  <c:v>17365</c:v>
                </c:pt>
                <c:pt idx="1044">
                  <c:v>17366</c:v>
                </c:pt>
                <c:pt idx="1045">
                  <c:v>17367</c:v>
                </c:pt>
                <c:pt idx="1046">
                  <c:v>17368</c:v>
                </c:pt>
                <c:pt idx="1047">
                  <c:v>17371</c:v>
                </c:pt>
                <c:pt idx="1048">
                  <c:v>17372</c:v>
                </c:pt>
                <c:pt idx="1049">
                  <c:v>17373</c:v>
                </c:pt>
                <c:pt idx="1050">
                  <c:v>17374</c:v>
                </c:pt>
                <c:pt idx="1051">
                  <c:v>17375</c:v>
                </c:pt>
                <c:pt idx="1052">
                  <c:v>17378</c:v>
                </c:pt>
                <c:pt idx="1053">
                  <c:v>17379</c:v>
                </c:pt>
                <c:pt idx="1054">
                  <c:v>17380</c:v>
                </c:pt>
                <c:pt idx="1055">
                  <c:v>17381</c:v>
                </c:pt>
                <c:pt idx="1056">
                  <c:v>17382</c:v>
                </c:pt>
                <c:pt idx="1057">
                  <c:v>17385</c:v>
                </c:pt>
                <c:pt idx="1058">
                  <c:v>17386</c:v>
                </c:pt>
                <c:pt idx="1059">
                  <c:v>17387</c:v>
                </c:pt>
                <c:pt idx="1060">
                  <c:v>17388</c:v>
                </c:pt>
                <c:pt idx="1061">
                  <c:v>17389</c:v>
                </c:pt>
                <c:pt idx="1062">
                  <c:v>17392</c:v>
                </c:pt>
                <c:pt idx="1063">
                  <c:v>17393</c:v>
                </c:pt>
                <c:pt idx="1064">
                  <c:v>17394</c:v>
                </c:pt>
                <c:pt idx="1065">
                  <c:v>17395</c:v>
                </c:pt>
                <c:pt idx="1066">
                  <c:v>17396</c:v>
                </c:pt>
                <c:pt idx="1067">
                  <c:v>17399</c:v>
                </c:pt>
                <c:pt idx="1068">
                  <c:v>17400</c:v>
                </c:pt>
                <c:pt idx="1069">
                  <c:v>17401</c:v>
                </c:pt>
                <c:pt idx="1070">
                  <c:v>17402</c:v>
                </c:pt>
                <c:pt idx="1071">
                  <c:v>17403</c:v>
                </c:pt>
                <c:pt idx="1072">
                  <c:v>17406</c:v>
                </c:pt>
                <c:pt idx="1073">
                  <c:v>17407</c:v>
                </c:pt>
                <c:pt idx="1074">
                  <c:v>17408</c:v>
                </c:pt>
                <c:pt idx="1075">
                  <c:v>17409</c:v>
                </c:pt>
                <c:pt idx="1076">
                  <c:v>17410</c:v>
                </c:pt>
                <c:pt idx="1077">
                  <c:v>17414</c:v>
                </c:pt>
                <c:pt idx="1078">
                  <c:v>17415</c:v>
                </c:pt>
                <c:pt idx="1079">
                  <c:v>17416</c:v>
                </c:pt>
                <c:pt idx="1080">
                  <c:v>17417</c:v>
                </c:pt>
                <c:pt idx="1081">
                  <c:v>17420</c:v>
                </c:pt>
                <c:pt idx="1082">
                  <c:v>17421</c:v>
                </c:pt>
                <c:pt idx="1083">
                  <c:v>17422</c:v>
                </c:pt>
                <c:pt idx="1084">
                  <c:v>17423</c:v>
                </c:pt>
                <c:pt idx="1085">
                  <c:v>17424</c:v>
                </c:pt>
                <c:pt idx="1086">
                  <c:v>17427</c:v>
                </c:pt>
                <c:pt idx="1087">
                  <c:v>17428</c:v>
                </c:pt>
                <c:pt idx="1088">
                  <c:v>17429</c:v>
                </c:pt>
                <c:pt idx="1089">
                  <c:v>17430</c:v>
                </c:pt>
                <c:pt idx="1090">
                  <c:v>17431</c:v>
                </c:pt>
                <c:pt idx="1091">
                  <c:v>17434</c:v>
                </c:pt>
                <c:pt idx="1092">
                  <c:v>17435</c:v>
                </c:pt>
                <c:pt idx="1093">
                  <c:v>17436</c:v>
                </c:pt>
                <c:pt idx="1094">
                  <c:v>17437</c:v>
                </c:pt>
                <c:pt idx="1095">
                  <c:v>17438</c:v>
                </c:pt>
                <c:pt idx="1096">
                  <c:v>17441</c:v>
                </c:pt>
                <c:pt idx="1097">
                  <c:v>17442</c:v>
                </c:pt>
                <c:pt idx="1098">
                  <c:v>17443</c:v>
                </c:pt>
                <c:pt idx="1099">
                  <c:v>17444</c:v>
                </c:pt>
                <c:pt idx="1100">
                  <c:v>17445</c:v>
                </c:pt>
                <c:pt idx="1101">
                  <c:v>17448</c:v>
                </c:pt>
                <c:pt idx="1102">
                  <c:v>17449</c:v>
                </c:pt>
                <c:pt idx="1103">
                  <c:v>17450</c:v>
                </c:pt>
                <c:pt idx="1104">
                  <c:v>17451</c:v>
                </c:pt>
                <c:pt idx="1105">
                  <c:v>17452</c:v>
                </c:pt>
                <c:pt idx="1106">
                  <c:v>17455</c:v>
                </c:pt>
                <c:pt idx="1107">
                  <c:v>17456</c:v>
                </c:pt>
                <c:pt idx="1108">
                  <c:v>17457</c:v>
                </c:pt>
                <c:pt idx="1109">
                  <c:v>17458</c:v>
                </c:pt>
                <c:pt idx="1110">
                  <c:v>17459</c:v>
                </c:pt>
                <c:pt idx="1111">
                  <c:v>17462</c:v>
                </c:pt>
                <c:pt idx="1112">
                  <c:v>17463</c:v>
                </c:pt>
                <c:pt idx="1113">
                  <c:v>17464</c:v>
                </c:pt>
                <c:pt idx="1114">
                  <c:v>17465</c:v>
                </c:pt>
                <c:pt idx="1115">
                  <c:v>17466</c:v>
                </c:pt>
                <c:pt idx="1116">
                  <c:v>17469</c:v>
                </c:pt>
                <c:pt idx="1117">
                  <c:v>17470</c:v>
                </c:pt>
                <c:pt idx="1118">
                  <c:v>17471</c:v>
                </c:pt>
                <c:pt idx="1119">
                  <c:v>17472</c:v>
                </c:pt>
                <c:pt idx="1120">
                  <c:v>17473</c:v>
                </c:pt>
                <c:pt idx="1121">
                  <c:v>17476</c:v>
                </c:pt>
                <c:pt idx="1122">
                  <c:v>17477</c:v>
                </c:pt>
                <c:pt idx="1123">
                  <c:v>17478</c:v>
                </c:pt>
                <c:pt idx="1124">
                  <c:v>17479</c:v>
                </c:pt>
                <c:pt idx="1125">
                  <c:v>17480</c:v>
                </c:pt>
                <c:pt idx="1126">
                  <c:v>17483</c:v>
                </c:pt>
                <c:pt idx="1127">
                  <c:v>17484</c:v>
                </c:pt>
                <c:pt idx="1128">
                  <c:v>17485</c:v>
                </c:pt>
                <c:pt idx="1129">
                  <c:v>17486</c:v>
                </c:pt>
                <c:pt idx="1130">
                  <c:v>17487</c:v>
                </c:pt>
                <c:pt idx="1131">
                  <c:v>17490</c:v>
                </c:pt>
                <c:pt idx="1132">
                  <c:v>17491</c:v>
                </c:pt>
                <c:pt idx="1133">
                  <c:v>17492</c:v>
                </c:pt>
                <c:pt idx="1134">
                  <c:v>17494</c:v>
                </c:pt>
                <c:pt idx="1135">
                  <c:v>17497</c:v>
                </c:pt>
                <c:pt idx="1136">
                  <c:v>17498</c:v>
                </c:pt>
                <c:pt idx="1137">
                  <c:v>17499</c:v>
                </c:pt>
                <c:pt idx="1138">
                  <c:v>17500</c:v>
                </c:pt>
                <c:pt idx="1139">
                  <c:v>17501</c:v>
                </c:pt>
                <c:pt idx="1140">
                  <c:v>17504</c:v>
                </c:pt>
                <c:pt idx="1141">
                  <c:v>17505</c:v>
                </c:pt>
                <c:pt idx="1142">
                  <c:v>17506</c:v>
                </c:pt>
                <c:pt idx="1143">
                  <c:v>17507</c:v>
                </c:pt>
                <c:pt idx="1144">
                  <c:v>17508</c:v>
                </c:pt>
                <c:pt idx="1145">
                  <c:v>17511</c:v>
                </c:pt>
                <c:pt idx="1146">
                  <c:v>17512</c:v>
                </c:pt>
                <c:pt idx="1147">
                  <c:v>17513</c:v>
                </c:pt>
                <c:pt idx="1148">
                  <c:v>17514</c:v>
                </c:pt>
                <c:pt idx="1149">
                  <c:v>17515</c:v>
                </c:pt>
                <c:pt idx="1150">
                  <c:v>17518</c:v>
                </c:pt>
                <c:pt idx="1151">
                  <c:v>17519</c:v>
                </c:pt>
                <c:pt idx="1152">
                  <c:v>17520</c:v>
                </c:pt>
                <c:pt idx="1153">
                  <c:v>17521</c:v>
                </c:pt>
                <c:pt idx="1154">
                  <c:v>17522</c:v>
                </c:pt>
                <c:pt idx="1155">
                  <c:v>17526</c:v>
                </c:pt>
                <c:pt idx="1156">
                  <c:v>17527</c:v>
                </c:pt>
                <c:pt idx="1157">
                  <c:v>17528</c:v>
                </c:pt>
                <c:pt idx="1158">
                  <c:v>17529</c:v>
                </c:pt>
                <c:pt idx="1159">
                  <c:v>17533</c:v>
                </c:pt>
                <c:pt idx="1160">
                  <c:v>17534</c:v>
                </c:pt>
                <c:pt idx="1161">
                  <c:v>17535</c:v>
                </c:pt>
                <c:pt idx="1162">
                  <c:v>17536</c:v>
                </c:pt>
                <c:pt idx="1163">
                  <c:v>17539</c:v>
                </c:pt>
                <c:pt idx="1164">
                  <c:v>17540</c:v>
                </c:pt>
                <c:pt idx="1165">
                  <c:v>17541</c:v>
                </c:pt>
                <c:pt idx="1166">
                  <c:v>17542</c:v>
                </c:pt>
                <c:pt idx="1167">
                  <c:v>17543</c:v>
                </c:pt>
                <c:pt idx="1168">
                  <c:v>17547</c:v>
                </c:pt>
                <c:pt idx="1169">
                  <c:v>17548</c:v>
                </c:pt>
                <c:pt idx="1170">
                  <c:v>17549</c:v>
                </c:pt>
                <c:pt idx="1171">
                  <c:v>17550</c:v>
                </c:pt>
                <c:pt idx="1172">
                  <c:v>17553</c:v>
                </c:pt>
                <c:pt idx="1173">
                  <c:v>17554</c:v>
                </c:pt>
                <c:pt idx="1174">
                  <c:v>17555</c:v>
                </c:pt>
                <c:pt idx="1175">
                  <c:v>17556</c:v>
                </c:pt>
                <c:pt idx="1176">
                  <c:v>17557</c:v>
                </c:pt>
                <c:pt idx="1177">
                  <c:v>17560</c:v>
                </c:pt>
                <c:pt idx="1178">
                  <c:v>17561</c:v>
                </c:pt>
                <c:pt idx="1179">
                  <c:v>17562</c:v>
                </c:pt>
                <c:pt idx="1180">
                  <c:v>17563</c:v>
                </c:pt>
                <c:pt idx="1181">
                  <c:v>17564</c:v>
                </c:pt>
                <c:pt idx="1182">
                  <c:v>17567</c:v>
                </c:pt>
                <c:pt idx="1183">
                  <c:v>17568</c:v>
                </c:pt>
                <c:pt idx="1184">
                  <c:v>17569</c:v>
                </c:pt>
                <c:pt idx="1185">
                  <c:v>17570</c:v>
                </c:pt>
                <c:pt idx="1186">
                  <c:v>17571</c:v>
                </c:pt>
                <c:pt idx="1187">
                  <c:v>17574</c:v>
                </c:pt>
                <c:pt idx="1188">
                  <c:v>17575</c:v>
                </c:pt>
                <c:pt idx="1189">
                  <c:v>17576</c:v>
                </c:pt>
                <c:pt idx="1190">
                  <c:v>17577</c:v>
                </c:pt>
                <c:pt idx="1191">
                  <c:v>17578</c:v>
                </c:pt>
                <c:pt idx="1192">
                  <c:v>17582</c:v>
                </c:pt>
                <c:pt idx="1193">
                  <c:v>17583</c:v>
                </c:pt>
                <c:pt idx="1194">
                  <c:v>17584</c:v>
                </c:pt>
                <c:pt idx="1195">
                  <c:v>17585</c:v>
                </c:pt>
                <c:pt idx="1196">
                  <c:v>17588</c:v>
                </c:pt>
                <c:pt idx="1197">
                  <c:v>17589</c:v>
                </c:pt>
                <c:pt idx="1198">
                  <c:v>17590</c:v>
                </c:pt>
                <c:pt idx="1199">
                  <c:v>17591</c:v>
                </c:pt>
                <c:pt idx="1200">
                  <c:v>17592</c:v>
                </c:pt>
                <c:pt idx="1201">
                  <c:v>17595</c:v>
                </c:pt>
                <c:pt idx="1202">
                  <c:v>17596</c:v>
                </c:pt>
                <c:pt idx="1203">
                  <c:v>17597</c:v>
                </c:pt>
                <c:pt idx="1204">
                  <c:v>17598</c:v>
                </c:pt>
                <c:pt idx="1205">
                  <c:v>17599</c:v>
                </c:pt>
                <c:pt idx="1206">
                  <c:v>17602</c:v>
                </c:pt>
                <c:pt idx="1207">
                  <c:v>17603</c:v>
                </c:pt>
                <c:pt idx="1208">
                  <c:v>17604</c:v>
                </c:pt>
                <c:pt idx="1209">
                  <c:v>17605</c:v>
                </c:pt>
                <c:pt idx="1210">
                  <c:v>17606</c:v>
                </c:pt>
                <c:pt idx="1211">
                  <c:v>17609</c:v>
                </c:pt>
                <c:pt idx="1212">
                  <c:v>17610</c:v>
                </c:pt>
                <c:pt idx="1213">
                  <c:v>17611</c:v>
                </c:pt>
                <c:pt idx="1214">
                  <c:v>17612</c:v>
                </c:pt>
                <c:pt idx="1215">
                  <c:v>17613</c:v>
                </c:pt>
                <c:pt idx="1216">
                  <c:v>17616</c:v>
                </c:pt>
                <c:pt idx="1217">
                  <c:v>17617</c:v>
                </c:pt>
                <c:pt idx="1218">
                  <c:v>17618</c:v>
                </c:pt>
                <c:pt idx="1219">
                  <c:v>17619</c:v>
                </c:pt>
                <c:pt idx="1220">
                  <c:v>17623</c:v>
                </c:pt>
                <c:pt idx="1221">
                  <c:v>17624</c:v>
                </c:pt>
                <c:pt idx="1222">
                  <c:v>17625</c:v>
                </c:pt>
                <c:pt idx="1223">
                  <c:v>17626</c:v>
                </c:pt>
                <c:pt idx="1224">
                  <c:v>17627</c:v>
                </c:pt>
                <c:pt idx="1225">
                  <c:v>17630</c:v>
                </c:pt>
                <c:pt idx="1226">
                  <c:v>17631</c:v>
                </c:pt>
                <c:pt idx="1227">
                  <c:v>17632</c:v>
                </c:pt>
                <c:pt idx="1228">
                  <c:v>17633</c:v>
                </c:pt>
                <c:pt idx="1229">
                  <c:v>17634</c:v>
                </c:pt>
                <c:pt idx="1230">
                  <c:v>17637</c:v>
                </c:pt>
                <c:pt idx="1231">
                  <c:v>17638</c:v>
                </c:pt>
                <c:pt idx="1232">
                  <c:v>17639</c:v>
                </c:pt>
                <c:pt idx="1233">
                  <c:v>17640</c:v>
                </c:pt>
                <c:pt idx="1234">
                  <c:v>17641</c:v>
                </c:pt>
                <c:pt idx="1235">
                  <c:v>17644</c:v>
                </c:pt>
                <c:pt idx="1236">
                  <c:v>17645</c:v>
                </c:pt>
                <c:pt idx="1237">
                  <c:v>17646</c:v>
                </c:pt>
                <c:pt idx="1238">
                  <c:v>17647</c:v>
                </c:pt>
                <c:pt idx="1239">
                  <c:v>17648</c:v>
                </c:pt>
                <c:pt idx="1240">
                  <c:v>17651</c:v>
                </c:pt>
                <c:pt idx="1241">
                  <c:v>17652</c:v>
                </c:pt>
                <c:pt idx="1242">
                  <c:v>17653</c:v>
                </c:pt>
                <c:pt idx="1243">
                  <c:v>17654</c:v>
                </c:pt>
                <c:pt idx="1244">
                  <c:v>17655</c:v>
                </c:pt>
                <c:pt idx="1245">
                  <c:v>17658</c:v>
                </c:pt>
                <c:pt idx="1246">
                  <c:v>17659</c:v>
                </c:pt>
                <c:pt idx="1247">
                  <c:v>17660</c:v>
                </c:pt>
                <c:pt idx="1248">
                  <c:v>17661</c:v>
                </c:pt>
                <c:pt idx="1249">
                  <c:v>17662</c:v>
                </c:pt>
                <c:pt idx="1250">
                  <c:v>17665</c:v>
                </c:pt>
                <c:pt idx="1251">
                  <c:v>17666</c:v>
                </c:pt>
                <c:pt idx="1252">
                  <c:v>17667</c:v>
                </c:pt>
                <c:pt idx="1253">
                  <c:v>17668</c:v>
                </c:pt>
                <c:pt idx="1254">
                  <c:v>17669</c:v>
                </c:pt>
                <c:pt idx="1255">
                  <c:v>17672</c:v>
                </c:pt>
                <c:pt idx="1256">
                  <c:v>17673</c:v>
                </c:pt>
                <c:pt idx="1257">
                  <c:v>17674</c:v>
                </c:pt>
                <c:pt idx="1258">
                  <c:v>17675</c:v>
                </c:pt>
                <c:pt idx="1259">
                  <c:v>17676</c:v>
                </c:pt>
                <c:pt idx="1260">
                  <c:v>17680</c:v>
                </c:pt>
                <c:pt idx="1261">
                  <c:v>17681</c:v>
                </c:pt>
                <c:pt idx="1262">
                  <c:v>17682</c:v>
                </c:pt>
                <c:pt idx="1263">
                  <c:v>17683</c:v>
                </c:pt>
                <c:pt idx="1264">
                  <c:v>17686</c:v>
                </c:pt>
                <c:pt idx="1265">
                  <c:v>17687</c:v>
                </c:pt>
                <c:pt idx="1266">
                  <c:v>17688</c:v>
                </c:pt>
                <c:pt idx="1267">
                  <c:v>17689</c:v>
                </c:pt>
                <c:pt idx="1268">
                  <c:v>17690</c:v>
                </c:pt>
                <c:pt idx="1269">
                  <c:v>17693</c:v>
                </c:pt>
                <c:pt idx="1270">
                  <c:v>17694</c:v>
                </c:pt>
                <c:pt idx="1271">
                  <c:v>17695</c:v>
                </c:pt>
                <c:pt idx="1272">
                  <c:v>17696</c:v>
                </c:pt>
                <c:pt idx="1273">
                  <c:v>17697</c:v>
                </c:pt>
                <c:pt idx="1274">
                  <c:v>17700</c:v>
                </c:pt>
                <c:pt idx="1275">
                  <c:v>17701</c:v>
                </c:pt>
                <c:pt idx="1276">
                  <c:v>17702</c:v>
                </c:pt>
                <c:pt idx="1277">
                  <c:v>17703</c:v>
                </c:pt>
                <c:pt idx="1278">
                  <c:v>17704</c:v>
                </c:pt>
                <c:pt idx="1279">
                  <c:v>17707</c:v>
                </c:pt>
                <c:pt idx="1280">
                  <c:v>17708</c:v>
                </c:pt>
                <c:pt idx="1281">
                  <c:v>17709</c:v>
                </c:pt>
                <c:pt idx="1282">
                  <c:v>17710</c:v>
                </c:pt>
                <c:pt idx="1283">
                  <c:v>17711</c:v>
                </c:pt>
                <c:pt idx="1284">
                  <c:v>17714</c:v>
                </c:pt>
                <c:pt idx="1285">
                  <c:v>17715</c:v>
                </c:pt>
                <c:pt idx="1286">
                  <c:v>17717</c:v>
                </c:pt>
                <c:pt idx="1287">
                  <c:v>17718</c:v>
                </c:pt>
                <c:pt idx="1288">
                  <c:v>17721</c:v>
                </c:pt>
                <c:pt idx="1289">
                  <c:v>17722</c:v>
                </c:pt>
                <c:pt idx="1290">
                  <c:v>17723</c:v>
                </c:pt>
                <c:pt idx="1291">
                  <c:v>17724</c:v>
                </c:pt>
                <c:pt idx="1292">
                  <c:v>17725</c:v>
                </c:pt>
                <c:pt idx="1293">
                  <c:v>17728</c:v>
                </c:pt>
                <c:pt idx="1294">
                  <c:v>17729</c:v>
                </c:pt>
                <c:pt idx="1295">
                  <c:v>17730</c:v>
                </c:pt>
                <c:pt idx="1296">
                  <c:v>17731</c:v>
                </c:pt>
                <c:pt idx="1297">
                  <c:v>17732</c:v>
                </c:pt>
                <c:pt idx="1298">
                  <c:v>17735</c:v>
                </c:pt>
                <c:pt idx="1299">
                  <c:v>17736</c:v>
                </c:pt>
                <c:pt idx="1300">
                  <c:v>17737</c:v>
                </c:pt>
                <c:pt idx="1301">
                  <c:v>17738</c:v>
                </c:pt>
                <c:pt idx="1302">
                  <c:v>17739</c:v>
                </c:pt>
                <c:pt idx="1303">
                  <c:v>17742</c:v>
                </c:pt>
                <c:pt idx="1304">
                  <c:v>17743</c:v>
                </c:pt>
                <c:pt idx="1305">
                  <c:v>17744</c:v>
                </c:pt>
                <c:pt idx="1306">
                  <c:v>17745</c:v>
                </c:pt>
                <c:pt idx="1307">
                  <c:v>17746</c:v>
                </c:pt>
                <c:pt idx="1308">
                  <c:v>17749</c:v>
                </c:pt>
                <c:pt idx="1309">
                  <c:v>17750</c:v>
                </c:pt>
                <c:pt idx="1310">
                  <c:v>17751</c:v>
                </c:pt>
                <c:pt idx="1311">
                  <c:v>17752</c:v>
                </c:pt>
                <c:pt idx="1312">
                  <c:v>17753</c:v>
                </c:pt>
                <c:pt idx="1313">
                  <c:v>17756</c:v>
                </c:pt>
                <c:pt idx="1314">
                  <c:v>17757</c:v>
                </c:pt>
                <c:pt idx="1315">
                  <c:v>17758</c:v>
                </c:pt>
                <c:pt idx="1316">
                  <c:v>17759</c:v>
                </c:pt>
                <c:pt idx="1317">
                  <c:v>17760</c:v>
                </c:pt>
                <c:pt idx="1318">
                  <c:v>17763</c:v>
                </c:pt>
                <c:pt idx="1319">
                  <c:v>17764</c:v>
                </c:pt>
                <c:pt idx="1320">
                  <c:v>17765</c:v>
                </c:pt>
                <c:pt idx="1321">
                  <c:v>17766</c:v>
                </c:pt>
                <c:pt idx="1322">
                  <c:v>17767</c:v>
                </c:pt>
                <c:pt idx="1323">
                  <c:v>17770</c:v>
                </c:pt>
                <c:pt idx="1324">
                  <c:v>17771</c:v>
                </c:pt>
                <c:pt idx="1325">
                  <c:v>17772</c:v>
                </c:pt>
                <c:pt idx="1326">
                  <c:v>17773</c:v>
                </c:pt>
                <c:pt idx="1327">
                  <c:v>17774</c:v>
                </c:pt>
                <c:pt idx="1328">
                  <c:v>17778</c:v>
                </c:pt>
                <c:pt idx="1329">
                  <c:v>17779</c:v>
                </c:pt>
                <c:pt idx="1330">
                  <c:v>17780</c:v>
                </c:pt>
                <c:pt idx="1331">
                  <c:v>17781</c:v>
                </c:pt>
                <c:pt idx="1332">
                  <c:v>17784</c:v>
                </c:pt>
                <c:pt idx="1333">
                  <c:v>17785</c:v>
                </c:pt>
                <c:pt idx="1334">
                  <c:v>17786</c:v>
                </c:pt>
                <c:pt idx="1335">
                  <c:v>17787</c:v>
                </c:pt>
                <c:pt idx="1336">
                  <c:v>17788</c:v>
                </c:pt>
                <c:pt idx="1337">
                  <c:v>17791</c:v>
                </c:pt>
                <c:pt idx="1338">
                  <c:v>17792</c:v>
                </c:pt>
                <c:pt idx="1339">
                  <c:v>17793</c:v>
                </c:pt>
                <c:pt idx="1340">
                  <c:v>17794</c:v>
                </c:pt>
                <c:pt idx="1341">
                  <c:v>17795</c:v>
                </c:pt>
                <c:pt idx="1342">
                  <c:v>17798</c:v>
                </c:pt>
                <c:pt idx="1343">
                  <c:v>17799</c:v>
                </c:pt>
                <c:pt idx="1344">
                  <c:v>17800</c:v>
                </c:pt>
                <c:pt idx="1345">
                  <c:v>17801</c:v>
                </c:pt>
                <c:pt idx="1346">
                  <c:v>17802</c:v>
                </c:pt>
                <c:pt idx="1347">
                  <c:v>17805</c:v>
                </c:pt>
                <c:pt idx="1348">
                  <c:v>17806</c:v>
                </c:pt>
                <c:pt idx="1349">
                  <c:v>17807</c:v>
                </c:pt>
                <c:pt idx="1350">
                  <c:v>17808</c:v>
                </c:pt>
                <c:pt idx="1351">
                  <c:v>17809</c:v>
                </c:pt>
                <c:pt idx="1352">
                  <c:v>17812</c:v>
                </c:pt>
                <c:pt idx="1353">
                  <c:v>17813</c:v>
                </c:pt>
                <c:pt idx="1354">
                  <c:v>17814</c:v>
                </c:pt>
                <c:pt idx="1355">
                  <c:v>17815</c:v>
                </c:pt>
                <c:pt idx="1356">
                  <c:v>17816</c:v>
                </c:pt>
                <c:pt idx="1357">
                  <c:v>17819</c:v>
                </c:pt>
                <c:pt idx="1358">
                  <c:v>17820</c:v>
                </c:pt>
                <c:pt idx="1359">
                  <c:v>17821</c:v>
                </c:pt>
                <c:pt idx="1360">
                  <c:v>17822</c:v>
                </c:pt>
                <c:pt idx="1361">
                  <c:v>17823</c:v>
                </c:pt>
                <c:pt idx="1362">
                  <c:v>17826</c:v>
                </c:pt>
                <c:pt idx="1363">
                  <c:v>17827</c:v>
                </c:pt>
                <c:pt idx="1364">
                  <c:v>17828</c:v>
                </c:pt>
                <c:pt idx="1365">
                  <c:v>17829</c:v>
                </c:pt>
                <c:pt idx="1366">
                  <c:v>17830</c:v>
                </c:pt>
                <c:pt idx="1367">
                  <c:v>17833</c:v>
                </c:pt>
                <c:pt idx="1368">
                  <c:v>17834</c:v>
                </c:pt>
                <c:pt idx="1369">
                  <c:v>17835</c:v>
                </c:pt>
                <c:pt idx="1370">
                  <c:v>17836</c:v>
                </c:pt>
                <c:pt idx="1371">
                  <c:v>17837</c:v>
                </c:pt>
                <c:pt idx="1372">
                  <c:v>17840</c:v>
                </c:pt>
                <c:pt idx="1373">
                  <c:v>17841</c:v>
                </c:pt>
                <c:pt idx="1374">
                  <c:v>17842</c:v>
                </c:pt>
                <c:pt idx="1375">
                  <c:v>17843</c:v>
                </c:pt>
                <c:pt idx="1376">
                  <c:v>17844</c:v>
                </c:pt>
                <c:pt idx="1377">
                  <c:v>17847</c:v>
                </c:pt>
                <c:pt idx="1378">
                  <c:v>17848</c:v>
                </c:pt>
                <c:pt idx="1379">
                  <c:v>17849</c:v>
                </c:pt>
                <c:pt idx="1380">
                  <c:v>17850</c:v>
                </c:pt>
                <c:pt idx="1381">
                  <c:v>17851</c:v>
                </c:pt>
                <c:pt idx="1382">
                  <c:v>17854</c:v>
                </c:pt>
                <c:pt idx="1383">
                  <c:v>17855</c:v>
                </c:pt>
                <c:pt idx="1384">
                  <c:v>17856</c:v>
                </c:pt>
                <c:pt idx="1385">
                  <c:v>17858</c:v>
                </c:pt>
                <c:pt idx="1386">
                  <c:v>17861</c:v>
                </c:pt>
                <c:pt idx="1387">
                  <c:v>17862</c:v>
                </c:pt>
                <c:pt idx="1388">
                  <c:v>17863</c:v>
                </c:pt>
                <c:pt idx="1389">
                  <c:v>17864</c:v>
                </c:pt>
                <c:pt idx="1390">
                  <c:v>17865</c:v>
                </c:pt>
                <c:pt idx="1391">
                  <c:v>17868</c:v>
                </c:pt>
                <c:pt idx="1392">
                  <c:v>17869</c:v>
                </c:pt>
                <c:pt idx="1393">
                  <c:v>17871</c:v>
                </c:pt>
                <c:pt idx="1394">
                  <c:v>17872</c:v>
                </c:pt>
                <c:pt idx="1395">
                  <c:v>17875</c:v>
                </c:pt>
                <c:pt idx="1396">
                  <c:v>17876</c:v>
                </c:pt>
                <c:pt idx="1397">
                  <c:v>17877</c:v>
                </c:pt>
                <c:pt idx="1398">
                  <c:v>17878</c:v>
                </c:pt>
                <c:pt idx="1399">
                  <c:v>17879</c:v>
                </c:pt>
                <c:pt idx="1400">
                  <c:v>17882</c:v>
                </c:pt>
                <c:pt idx="1401">
                  <c:v>17883</c:v>
                </c:pt>
                <c:pt idx="1402">
                  <c:v>17884</c:v>
                </c:pt>
                <c:pt idx="1403">
                  <c:v>17885</c:v>
                </c:pt>
                <c:pt idx="1404">
                  <c:v>17886</c:v>
                </c:pt>
                <c:pt idx="1405">
                  <c:v>17889</c:v>
                </c:pt>
                <c:pt idx="1406">
                  <c:v>17891</c:v>
                </c:pt>
                <c:pt idx="1407">
                  <c:v>17892</c:v>
                </c:pt>
                <c:pt idx="1408">
                  <c:v>17893</c:v>
                </c:pt>
                <c:pt idx="1409">
                  <c:v>17896</c:v>
                </c:pt>
                <c:pt idx="1410">
                  <c:v>17898</c:v>
                </c:pt>
                <c:pt idx="1411">
                  <c:v>17899</c:v>
                </c:pt>
                <c:pt idx="1412">
                  <c:v>17900</c:v>
                </c:pt>
                <c:pt idx="1413">
                  <c:v>17903</c:v>
                </c:pt>
                <c:pt idx="1414">
                  <c:v>17904</c:v>
                </c:pt>
                <c:pt idx="1415">
                  <c:v>17905</c:v>
                </c:pt>
                <c:pt idx="1416">
                  <c:v>17906</c:v>
                </c:pt>
                <c:pt idx="1417">
                  <c:v>17907</c:v>
                </c:pt>
                <c:pt idx="1418">
                  <c:v>17910</c:v>
                </c:pt>
                <c:pt idx="1419">
                  <c:v>17911</c:v>
                </c:pt>
                <c:pt idx="1420">
                  <c:v>17912</c:v>
                </c:pt>
                <c:pt idx="1421">
                  <c:v>17913</c:v>
                </c:pt>
                <c:pt idx="1422">
                  <c:v>17914</c:v>
                </c:pt>
                <c:pt idx="1423">
                  <c:v>17918</c:v>
                </c:pt>
                <c:pt idx="1424">
                  <c:v>17919</c:v>
                </c:pt>
                <c:pt idx="1425">
                  <c:v>17920</c:v>
                </c:pt>
                <c:pt idx="1426">
                  <c:v>17921</c:v>
                </c:pt>
                <c:pt idx="1427">
                  <c:v>17924</c:v>
                </c:pt>
                <c:pt idx="1428">
                  <c:v>17925</c:v>
                </c:pt>
                <c:pt idx="1429">
                  <c:v>17926</c:v>
                </c:pt>
                <c:pt idx="1430">
                  <c:v>17927</c:v>
                </c:pt>
                <c:pt idx="1431">
                  <c:v>17928</c:v>
                </c:pt>
                <c:pt idx="1432">
                  <c:v>17931</c:v>
                </c:pt>
                <c:pt idx="1433">
                  <c:v>17932</c:v>
                </c:pt>
                <c:pt idx="1434">
                  <c:v>17933</c:v>
                </c:pt>
                <c:pt idx="1435">
                  <c:v>17934</c:v>
                </c:pt>
                <c:pt idx="1436">
                  <c:v>17935</c:v>
                </c:pt>
                <c:pt idx="1437">
                  <c:v>17938</c:v>
                </c:pt>
                <c:pt idx="1438">
                  <c:v>17939</c:v>
                </c:pt>
                <c:pt idx="1439">
                  <c:v>17940</c:v>
                </c:pt>
                <c:pt idx="1440">
                  <c:v>17941</c:v>
                </c:pt>
                <c:pt idx="1441">
                  <c:v>17942</c:v>
                </c:pt>
                <c:pt idx="1442">
                  <c:v>17946</c:v>
                </c:pt>
                <c:pt idx="1443">
                  <c:v>17947</c:v>
                </c:pt>
                <c:pt idx="1444">
                  <c:v>17948</c:v>
                </c:pt>
                <c:pt idx="1445">
                  <c:v>17949</c:v>
                </c:pt>
                <c:pt idx="1446">
                  <c:v>17952</c:v>
                </c:pt>
                <c:pt idx="1447">
                  <c:v>17953</c:v>
                </c:pt>
                <c:pt idx="1448">
                  <c:v>17954</c:v>
                </c:pt>
                <c:pt idx="1449">
                  <c:v>17955</c:v>
                </c:pt>
                <c:pt idx="1450">
                  <c:v>17956</c:v>
                </c:pt>
                <c:pt idx="1451">
                  <c:v>17959</c:v>
                </c:pt>
                <c:pt idx="1452">
                  <c:v>17960</c:v>
                </c:pt>
                <c:pt idx="1453">
                  <c:v>17961</c:v>
                </c:pt>
                <c:pt idx="1454">
                  <c:v>17962</c:v>
                </c:pt>
                <c:pt idx="1455">
                  <c:v>17963</c:v>
                </c:pt>
                <c:pt idx="1456">
                  <c:v>17966</c:v>
                </c:pt>
                <c:pt idx="1457">
                  <c:v>17967</c:v>
                </c:pt>
                <c:pt idx="1458">
                  <c:v>17968</c:v>
                </c:pt>
                <c:pt idx="1459">
                  <c:v>17969</c:v>
                </c:pt>
                <c:pt idx="1460">
                  <c:v>17970</c:v>
                </c:pt>
                <c:pt idx="1461">
                  <c:v>17973</c:v>
                </c:pt>
                <c:pt idx="1462">
                  <c:v>17974</c:v>
                </c:pt>
                <c:pt idx="1463">
                  <c:v>17975</c:v>
                </c:pt>
                <c:pt idx="1464">
                  <c:v>17976</c:v>
                </c:pt>
                <c:pt idx="1465">
                  <c:v>17977</c:v>
                </c:pt>
                <c:pt idx="1466">
                  <c:v>17980</c:v>
                </c:pt>
                <c:pt idx="1467">
                  <c:v>17981</c:v>
                </c:pt>
                <c:pt idx="1468">
                  <c:v>17982</c:v>
                </c:pt>
                <c:pt idx="1469">
                  <c:v>17983</c:v>
                </c:pt>
                <c:pt idx="1470">
                  <c:v>17984</c:v>
                </c:pt>
                <c:pt idx="1471">
                  <c:v>17987</c:v>
                </c:pt>
                <c:pt idx="1472">
                  <c:v>17988</c:v>
                </c:pt>
                <c:pt idx="1473">
                  <c:v>17989</c:v>
                </c:pt>
                <c:pt idx="1474">
                  <c:v>17990</c:v>
                </c:pt>
                <c:pt idx="1475">
                  <c:v>17991</c:v>
                </c:pt>
                <c:pt idx="1476">
                  <c:v>17994</c:v>
                </c:pt>
                <c:pt idx="1477">
                  <c:v>17995</c:v>
                </c:pt>
                <c:pt idx="1478">
                  <c:v>17996</c:v>
                </c:pt>
                <c:pt idx="1479">
                  <c:v>17997</c:v>
                </c:pt>
                <c:pt idx="1480">
                  <c:v>17998</c:v>
                </c:pt>
                <c:pt idx="1481">
                  <c:v>18001</c:v>
                </c:pt>
                <c:pt idx="1482">
                  <c:v>18002</c:v>
                </c:pt>
                <c:pt idx="1483">
                  <c:v>18003</c:v>
                </c:pt>
                <c:pt idx="1484">
                  <c:v>18004</c:v>
                </c:pt>
                <c:pt idx="1485">
                  <c:v>18008</c:v>
                </c:pt>
                <c:pt idx="1486">
                  <c:v>18009</c:v>
                </c:pt>
                <c:pt idx="1487">
                  <c:v>18010</c:v>
                </c:pt>
                <c:pt idx="1488">
                  <c:v>18011</c:v>
                </c:pt>
                <c:pt idx="1489">
                  <c:v>18012</c:v>
                </c:pt>
                <c:pt idx="1490">
                  <c:v>18015</c:v>
                </c:pt>
                <c:pt idx="1491">
                  <c:v>18016</c:v>
                </c:pt>
                <c:pt idx="1492">
                  <c:v>18017</c:v>
                </c:pt>
                <c:pt idx="1493">
                  <c:v>18018</c:v>
                </c:pt>
                <c:pt idx="1494">
                  <c:v>18019</c:v>
                </c:pt>
                <c:pt idx="1495">
                  <c:v>18022</c:v>
                </c:pt>
                <c:pt idx="1496">
                  <c:v>18023</c:v>
                </c:pt>
                <c:pt idx="1497">
                  <c:v>18024</c:v>
                </c:pt>
                <c:pt idx="1498">
                  <c:v>18025</c:v>
                </c:pt>
                <c:pt idx="1499">
                  <c:v>18026</c:v>
                </c:pt>
                <c:pt idx="1500">
                  <c:v>18029</c:v>
                </c:pt>
                <c:pt idx="1501">
                  <c:v>18030</c:v>
                </c:pt>
                <c:pt idx="1502">
                  <c:v>18031</c:v>
                </c:pt>
                <c:pt idx="1503">
                  <c:v>18032</c:v>
                </c:pt>
                <c:pt idx="1504">
                  <c:v>18033</c:v>
                </c:pt>
                <c:pt idx="1505">
                  <c:v>18036</c:v>
                </c:pt>
                <c:pt idx="1506">
                  <c:v>18037</c:v>
                </c:pt>
                <c:pt idx="1507">
                  <c:v>18038</c:v>
                </c:pt>
                <c:pt idx="1508">
                  <c:v>18039</c:v>
                </c:pt>
                <c:pt idx="1509">
                  <c:v>18040</c:v>
                </c:pt>
                <c:pt idx="1510">
                  <c:v>18044</c:v>
                </c:pt>
                <c:pt idx="1511">
                  <c:v>18045</c:v>
                </c:pt>
                <c:pt idx="1512">
                  <c:v>18046</c:v>
                </c:pt>
                <c:pt idx="1513">
                  <c:v>18047</c:v>
                </c:pt>
                <c:pt idx="1514">
                  <c:v>18050</c:v>
                </c:pt>
                <c:pt idx="1515">
                  <c:v>18051</c:v>
                </c:pt>
                <c:pt idx="1516">
                  <c:v>18052</c:v>
                </c:pt>
                <c:pt idx="1517">
                  <c:v>18053</c:v>
                </c:pt>
                <c:pt idx="1518">
                  <c:v>18054</c:v>
                </c:pt>
                <c:pt idx="1519">
                  <c:v>18057</c:v>
                </c:pt>
                <c:pt idx="1520">
                  <c:v>18058</c:v>
                </c:pt>
                <c:pt idx="1521">
                  <c:v>18059</c:v>
                </c:pt>
                <c:pt idx="1522">
                  <c:v>18060</c:v>
                </c:pt>
                <c:pt idx="1523">
                  <c:v>18061</c:v>
                </c:pt>
                <c:pt idx="1524">
                  <c:v>18064</c:v>
                </c:pt>
                <c:pt idx="1525">
                  <c:v>18065</c:v>
                </c:pt>
                <c:pt idx="1526">
                  <c:v>18066</c:v>
                </c:pt>
                <c:pt idx="1527">
                  <c:v>18067</c:v>
                </c:pt>
                <c:pt idx="1528">
                  <c:v>18068</c:v>
                </c:pt>
                <c:pt idx="1529">
                  <c:v>18071</c:v>
                </c:pt>
                <c:pt idx="1530">
                  <c:v>18072</c:v>
                </c:pt>
                <c:pt idx="1531">
                  <c:v>18073</c:v>
                </c:pt>
                <c:pt idx="1532">
                  <c:v>18074</c:v>
                </c:pt>
                <c:pt idx="1533">
                  <c:v>18075</c:v>
                </c:pt>
                <c:pt idx="1534">
                  <c:v>18078</c:v>
                </c:pt>
                <c:pt idx="1535">
                  <c:v>18079</c:v>
                </c:pt>
                <c:pt idx="1536">
                  <c:v>18080</c:v>
                </c:pt>
                <c:pt idx="1537">
                  <c:v>18082</c:v>
                </c:pt>
                <c:pt idx="1538">
                  <c:v>18085</c:v>
                </c:pt>
                <c:pt idx="1539">
                  <c:v>18086</c:v>
                </c:pt>
                <c:pt idx="1540">
                  <c:v>18087</c:v>
                </c:pt>
                <c:pt idx="1541">
                  <c:v>18088</c:v>
                </c:pt>
                <c:pt idx="1542">
                  <c:v>18089</c:v>
                </c:pt>
                <c:pt idx="1543">
                  <c:v>18092</c:v>
                </c:pt>
                <c:pt idx="1544">
                  <c:v>18093</c:v>
                </c:pt>
                <c:pt idx="1545">
                  <c:v>18094</c:v>
                </c:pt>
                <c:pt idx="1546">
                  <c:v>18095</c:v>
                </c:pt>
                <c:pt idx="1547">
                  <c:v>18096</c:v>
                </c:pt>
                <c:pt idx="1548">
                  <c:v>18099</c:v>
                </c:pt>
                <c:pt idx="1549">
                  <c:v>18100</c:v>
                </c:pt>
                <c:pt idx="1550">
                  <c:v>18101</c:v>
                </c:pt>
                <c:pt idx="1551">
                  <c:v>18102</c:v>
                </c:pt>
                <c:pt idx="1552">
                  <c:v>18103</c:v>
                </c:pt>
                <c:pt idx="1553">
                  <c:v>18106</c:v>
                </c:pt>
                <c:pt idx="1554">
                  <c:v>18107</c:v>
                </c:pt>
                <c:pt idx="1555">
                  <c:v>18108</c:v>
                </c:pt>
                <c:pt idx="1556">
                  <c:v>18109</c:v>
                </c:pt>
                <c:pt idx="1557">
                  <c:v>18110</c:v>
                </c:pt>
                <c:pt idx="1558">
                  <c:v>18113</c:v>
                </c:pt>
                <c:pt idx="1559">
                  <c:v>18114</c:v>
                </c:pt>
                <c:pt idx="1560">
                  <c:v>18115</c:v>
                </c:pt>
                <c:pt idx="1561">
                  <c:v>18116</c:v>
                </c:pt>
                <c:pt idx="1562">
                  <c:v>18117</c:v>
                </c:pt>
                <c:pt idx="1563">
                  <c:v>18120</c:v>
                </c:pt>
                <c:pt idx="1564">
                  <c:v>18121</c:v>
                </c:pt>
                <c:pt idx="1565">
                  <c:v>18122</c:v>
                </c:pt>
                <c:pt idx="1566">
                  <c:v>18123</c:v>
                </c:pt>
                <c:pt idx="1567">
                  <c:v>18124</c:v>
                </c:pt>
                <c:pt idx="1568">
                  <c:v>18127</c:v>
                </c:pt>
                <c:pt idx="1569">
                  <c:v>18128</c:v>
                </c:pt>
                <c:pt idx="1570">
                  <c:v>18129</c:v>
                </c:pt>
                <c:pt idx="1571">
                  <c:v>18130</c:v>
                </c:pt>
                <c:pt idx="1572">
                  <c:v>18131</c:v>
                </c:pt>
                <c:pt idx="1573">
                  <c:v>18134</c:v>
                </c:pt>
                <c:pt idx="1574">
                  <c:v>18135</c:v>
                </c:pt>
                <c:pt idx="1575">
                  <c:v>18136</c:v>
                </c:pt>
                <c:pt idx="1576">
                  <c:v>18137</c:v>
                </c:pt>
                <c:pt idx="1577">
                  <c:v>18138</c:v>
                </c:pt>
                <c:pt idx="1578">
                  <c:v>18142</c:v>
                </c:pt>
                <c:pt idx="1579">
                  <c:v>18143</c:v>
                </c:pt>
                <c:pt idx="1580">
                  <c:v>18144</c:v>
                </c:pt>
                <c:pt idx="1581">
                  <c:v>18145</c:v>
                </c:pt>
                <c:pt idx="1582">
                  <c:v>18148</c:v>
                </c:pt>
                <c:pt idx="1583">
                  <c:v>18149</c:v>
                </c:pt>
                <c:pt idx="1584">
                  <c:v>18150</c:v>
                </c:pt>
                <c:pt idx="1585">
                  <c:v>18151</c:v>
                </c:pt>
                <c:pt idx="1586">
                  <c:v>18152</c:v>
                </c:pt>
                <c:pt idx="1587">
                  <c:v>18155</c:v>
                </c:pt>
                <c:pt idx="1588">
                  <c:v>18156</c:v>
                </c:pt>
                <c:pt idx="1589">
                  <c:v>18157</c:v>
                </c:pt>
                <c:pt idx="1590">
                  <c:v>18158</c:v>
                </c:pt>
                <c:pt idx="1591">
                  <c:v>18159</c:v>
                </c:pt>
                <c:pt idx="1592">
                  <c:v>18162</c:v>
                </c:pt>
                <c:pt idx="1593">
                  <c:v>18163</c:v>
                </c:pt>
                <c:pt idx="1594">
                  <c:v>18164</c:v>
                </c:pt>
                <c:pt idx="1595">
                  <c:v>18165</c:v>
                </c:pt>
                <c:pt idx="1596">
                  <c:v>18166</c:v>
                </c:pt>
                <c:pt idx="1597">
                  <c:v>18169</c:v>
                </c:pt>
                <c:pt idx="1598">
                  <c:v>18170</c:v>
                </c:pt>
                <c:pt idx="1599">
                  <c:v>18171</c:v>
                </c:pt>
                <c:pt idx="1600">
                  <c:v>18172</c:v>
                </c:pt>
                <c:pt idx="1601">
                  <c:v>18173</c:v>
                </c:pt>
                <c:pt idx="1602">
                  <c:v>18176</c:v>
                </c:pt>
                <c:pt idx="1603">
                  <c:v>18177</c:v>
                </c:pt>
                <c:pt idx="1604">
                  <c:v>18178</c:v>
                </c:pt>
                <c:pt idx="1605">
                  <c:v>18179</c:v>
                </c:pt>
                <c:pt idx="1606">
                  <c:v>18180</c:v>
                </c:pt>
                <c:pt idx="1607">
                  <c:v>18183</c:v>
                </c:pt>
                <c:pt idx="1608">
                  <c:v>18184</c:v>
                </c:pt>
                <c:pt idx="1609">
                  <c:v>18185</c:v>
                </c:pt>
                <c:pt idx="1610">
                  <c:v>18186</c:v>
                </c:pt>
                <c:pt idx="1611">
                  <c:v>18187</c:v>
                </c:pt>
                <c:pt idx="1612">
                  <c:v>18190</c:v>
                </c:pt>
                <c:pt idx="1613">
                  <c:v>18191</c:v>
                </c:pt>
                <c:pt idx="1614">
                  <c:v>18192</c:v>
                </c:pt>
                <c:pt idx="1615">
                  <c:v>18193</c:v>
                </c:pt>
                <c:pt idx="1616">
                  <c:v>18194</c:v>
                </c:pt>
                <c:pt idx="1617">
                  <c:v>18197</c:v>
                </c:pt>
                <c:pt idx="1618">
                  <c:v>18198</c:v>
                </c:pt>
                <c:pt idx="1619">
                  <c:v>18199</c:v>
                </c:pt>
                <c:pt idx="1620">
                  <c:v>18200</c:v>
                </c:pt>
                <c:pt idx="1621">
                  <c:v>18201</c:v>
                </c:pt>
                <c:pt idx="1622">
                  <c:v>18204</c:v>
                </c:pt>
                <c:pt idx="1623">
                  <c:v>18205</c:v>
                </c:pt>
                <c:pt idx="1624">
                  <c:v>18206</c:v>
                </c:pt>
                <c:pt idx="1625">
                  <c:v>18207</c:v>
                </c:pt>
                <c:pt idx="1626">
                  <c:v>18208</c:v>
                </c:pt>
                <c:pt idx="1627">
                  <c:v>18211</c:v>
                </c:pt>
                <c:pt idx="1628">
                  <c:v>18212</c:v>
                </c:pt>
                <c:pt idx="1629">
                  <c:v>18213</c:v>
                </c:pt>
                <c:pt idx="1630">
                  <c:v>18214</c:v>
                </c:pt>
                <c:pt idx="1631">
                  <c:v>18215</c:v>
                </c:pt>
                <c:pt idx="1632">
                  <c:v>18218</c:v>
                </c:pt>
                <c:pt idx="1633">
                  <c:v>18219</c:v>
                </c:pt>
                <c:pt idx="1634">
                  <c:v>18220</c:v>
                </c:pt>
                <c:pt idx="1635">
                  <c:v>18221</c:v>
                </c:pt>
                <c:pt idx="1636">
                  <c:v>18222</c:v>
                </c:pt>
                <c:pt idx="1637">
                  <c:v>18225</c:v>
                </c:pt>
                <c:pt idx="1638">
                  <c:v>18226</c:v>
                </c:pt>
                <c:pt idx="1639">
                  <c:v>18227</c:v>
                </c:pt>
                <c:pt idx="1640">
                  <c:v>18229</c:v>
                </c:pt>
                <c:pt idx="1641">
                  <c:v>18232</c:v>
                </c:pt>
                <c:pt idx="1642">
                  <c:v>18233</c:v>
                </c:pt>
                <c:pt idx="1643">
                  <c:v>18234</c:v>
                </c:pt>
                <c:pt idx="1644">
                  <c:v>18235</c:v>
                </c:pt>
                <c:pt idx="1645">
                  <c:v>18236</c:v>
                </c:pt>
                <c:pt idx="1646">
                  <c:v>18239</c:v>
                </c:pt>
                <c:pt idx="1647">
                  <c:v>18240</c:v>
                </c:pt>
                <c:pt idx="1648">
                  <c:v>18241</c:v>
                </c:pt>
                <c:pt idx="1649">
                  <c:v>18242</c:v>
                </c:pt>
                <c:pt idx="1650">
                  <c:v>18243</c:v>
                </c:pt>
                <c:pt idx="1651">
                  <c:v>18246</c:v>
                </c:pt>
                <c:pt idx="1652">
                  <c:v>18247</c:v>
                </c:pt>
                <c:pt idx="1653">
                  <c:v>18248</c:v>
                </c:pt>
                <c:pt idx="1654">
                  <c:v>18249</c:v>
                </c:pt>
                <c:pt idx="1655">
                  <c:v>18250</c:v>
                </c:pt>
                <c:pt idx="1656">
                  <c:v>18253</c:v>
                </c:pt>
                <c:pt idx="1657">
                  <c:v>18254</c:v>
                </c:pt>
                <c:pt idx="1658">
                  <c:v>18256</c:v>
                </c:pt>
                <c:pt idx="1659">
                  <c:v>18257</c:v>
                </c:pt>
                <c:pt idx="1660">
                  <c:v>18260</c:v>
                </c:pt>
                <c:pt idx="1661">
                  <c:v>18261</c:v>
                </c:pt>
                <c:pt idx="1662">
                  <c:v>18263</c:v>
                </c:pt>
                <c:pt idx="1663">
                  <c:v>18264</c:v>
                </c:pt>
                <c:pt idx="1664">
                  <c:v>18267</c:v>
                </c:pt>
                <c:pt idx="1665">
                  <c:v>18268</c:v>
                </c:pt>
                <c:pt idx="1666">
                  <c:v>18269</c:v>
                </c:pt>
                <c:pt idx="1667">
                  <c:v>18270</c:v>
                </c:pt>
                <c:pt idx="1668">
                  <c:v>18271</c:v>
                </c:pt>
                <c:pt idx="1669">
                  <c:v>18274</c:v>
                </c:pt>
                <c:pt idx="1670">
                  <c:v>18275</c:v>
                </c:pt>
                <c:pt idx="1671">
                  <c:v>18276</c:v>
                </c:pt>
                <c:pt idx="1672">
                  <c:v>18277</c:v>
                </c:pt>
                <c:pt idx="1673">
                  <c:v>18278</c:v>
                </c:pt>
                <c:pt idx="1674">
                  <c:v>18282</c:v>
                </c:pt>
                <c:pt idx="1675">
                  <c:v>18283</c:v>
                </c:pt>
                <c:pt idx="1676">
                  <c:v>18284</c:v>
                </c:pt>
                <c:pt idx="1677">
                  <c:v>18285</c:v>
                </c:pt>
                <c:pt idx="1678">
                  <c:v>18288</c:v>
                </c:pt>
                <c:pt idx="1679">
                  <c:v>18289</c:v>
                </c:pt>
                <c:pt idx="1680">
                  <c:v>18290</c:v>
                </c:pt>
                <c:pt idx="1681">
                  <c:v>18291</c:v>
                </c:pt>
                <c:pt idx="1682">
                  <c:v>18292</c:v>
                </c:pt>
                <c:pt idx="1683">
                  <c:v>18295</c:v>
                </c:pt>
                <c:pt idx="1684">
                  <c:v>18296</c:v>
                </c:pt>
                <c:pt idx="1685">
                  <c:v>18297</c:v>
                </c:pt>
                <c:pt idx="1686">
                  <c:v>18298</c:v>
                </c:pt>
                <c:pt idx="1687">
                  <c:v>18299</c:v>
                </c:pt>
                <c:pt idx="1688">
                  <c:v>18302</c:v>
                </c:pt>
                <c:pt idx="1689">
                  <c:v>18303</c:v>
                </c:pt>
                <c:pt idx="1690">
                  <c:v>18304</c:v>
                </c:pt>
                <c:pt idx="1691">
                  <c:v>18305</c:v>
                </c:pt>
                <c:pt idx="1692">
                  <c:v>18306</c:v>
                </c:pt>
                <c:pt idx="1693">
                  <c:v>18310</c:v>
                </c:pt>
                <c:pt idx="1694">
                  <c:v>18311</c:v>
                </c:pt>
                <c:pt idx="1695">
                  <c:v>18312</c:v>
                </c:pt>
                <c:pt idx="1696">
                  <c:v>18313</c:v>
                </c:pt>
                <c:pt idx="1697">
                  <c:v>18316</c:v>
                </c:pt>
                <c:pt idx="1698">
                  <c:v>18317</c:v>
                </c:pt>
                <c:pt idx="1699">
                  <c:v>18318</c:v>
                </c:pt>
                <c:pt idx="1700">
                  <c:v>18319</c:v>
                </c:pt>
                <c:pt idx="1701">
                  <c:v>18320</c:v>
                </c:pt>
                <c:pt idx="1702">
                  <c:v>18323</c:v>
                </c:pt>
                <c:pt idx="1703">
                  <c:v>18324</c:v>
                </c:pt>
                <c:pt idx="1704">
                  <c:v>18325</c:v>
                </c:pt>
                <c:pt idx="1705">
                  <c:v>18326</c:v>
                </c:pt>
                <c:pt idx="1706">
                  <c:v>18327</c:v>
                </c:pt>
                <c:pt idx="1707">
                  <c:v>18330</c:v>
                </c:pt>
                <c:pt idx="1708">
                  <c:v>18331</c:v>
                </c:pt>
                <c:pt idx="1709">
                  <c:v>18332</c:v>
                </c:pt>
                <c:pt idx="1710">
                  <c:v>18333</c:v>
                </c:pt>
                <c:pt idx="1711">
                  <c:v>18334</c:v>
                </c:pt>
                <c:pt idx="1712">
                  <c:v>18337</c:v>
                </c:pt>
                <c:pt idx="1713">
                  <c:v>18338</c:v>
                </c:pt>
                <c:pt idx="1714">
                  <c:v>18339</c:v>
                </c:pt>
                <c:pt idx="1715">
                  <c:v>18340</c:v>
                </c:pt>
                <c:pt idx="1716">
                  <c:v>18341</c:v>
                </c:pt>
                <c:pt idx="1717">
                  <c:v>18344</c:v>
                </c:pt>
                <c:pt idx="1718">
                  <c:v>18345</c:v>
                </c:pt>
                <c:pt idx="1719">
                  <c:v>18346</c:v>
                </c:pt>
                <c:pt idx="1720">
                  <c:v>18347</c:v>
                </c:pt>
                <c:pt idx="1721">
                  <c:v>18348</c:v>
                </c:pt>
                <c:pt idx="1722">
                  <c:v>18351</c:v>
                </c:pt>
                <c:pt idx="1723">
                  <c:v>18352</c:v>
                </c:pt>
                <c:pt idx="1724">
                  <c:v>18353</c:v>
                </c:pt>
                <c:pt idx="1725">
                  <c:v>18354</c:v>
                </c:pt>
                <c:pt idx="1726">
                  <c:v>18355</c:v>
                </c:pt>
                <c:pt idx="1727">
                  <c:v>18358</c:v>
                </c:pt>
                <c:pt idx="1728">
                  <c:v>18359</c:v>
                </c:pt>
                <c:pt idx="1729">
                  <c:v>18360</c:v>
                </c:pt>
                <c:pt idx="1730">
                  <c:v>18361</c:v>
                </c:pt>
                <c:pt idx="1731">
                  <c:v>18365</c:v>
                </c:pt>
                <c:pt idx="1732">
                  <c:v>18366</c:v>
                </c:pt>
                <c:pt idx="1733">
                  <c:v>18367</c:v>
                </c:pt>
                <c:pt idx="1734">
                  <c:v>18368</c:v>
                </c:pt>
                <c:pt idx="1735">
                  <c:v>18369</c:v>
                </c:pt>
                <c:pt idx="1736">
                  <c:v>18372</c:v>
                </c:pt>
                <c:pt idx="1737">
                  <c:v>18373</c:v>
                </c:pt>
                <c:pt idx="1738">
                  <c:v>18374</c:v>
                </c:pt>
                <c:pt idx="1739">
                  <c:v>18375</c:v>
                </c:pt>
                <c:pt idx="1740">
                  <c:v>18376</c:v>
                </c:pt>
                <c:pt idx="1741">
                  <c:v>18379</c:v>
                </c:pt>
                <c:pt idx="1742">
                  <c:v>18380</c:v>
                </c:pt>
                <c:pt idx="1743">
                  <c:v>18381</c:v>
                </c:pt>
                <c:pt idx="1744">
                  <c:v>18382</c:v>
                </c:pt>
                <c:pt idx="1745">
                  <c:v>18383</c:v>
                </c:pt>
                <c:pt idx="1746">
                  <c:v>18386</c:v>
                </c:pt>
                <c:pt idx="1747">
                  <c:v>18387</c:v>
                </c:pt>
                <c:pt idx="1748">
                  <c:v>18388</c:v>
                </c:pt>
                <c:pt idx="1749">
                  <c:v>18389</c:v>
                </c:pt>
                <c:pt idx="1750">
                  <c:v>18390</c:v>
                </c:pt>
                <c:pt idx="1751">
                  <c:v>18393</c:v>
                </c:pt>
                <c:pt idx="1752">
                  <c:v>18394</c:v>
                </c:pt>
                <c:pt idx="1753">
                  <c:v>18395</c:v>
                </c:pt>
                <c:pt idx="1754">
                  <c:v>18396</c:v>
                </c:pt>
                <c:pt idx="1755">
                  <c:v>18397</c:v>
                </c:pt>
                <c:pt idx="1756">
                  <c:v>18400</c:v>
                </c:pt>
                <c:pt idx="1757">
                  <c:v>18401</c:v>
                </c:pt>
                <c:pt idx="1758">
                  <c:v>18402</c:v>
                </c:pt>
                <c:pt idx="1759">
                  <c:v>18403</c:v>
                </c:pt>
                <c:pt idx="1760">
                  <c:v>18404</c:v>
                </c:pt>
                <c:pt idx="1761">
                  <c:v>18408</c:v>
                </c:pt>
                <c:pt idx="1762">
                  <c:v>18409</c:v>
                </c:pt>
                <c:pt idx="1763">
                  <c:v>18410</c:v>
                </c:pt>
                <c:pt idx="1764">
                  <c:v>18411</c:v>
                </c:pt>
                <c:pt idx="1765">
                  <c:v>18414</c:v>
                </c:pt>
                <c:pt idx="1766">
                  <c:v>18415</c:v>
                </c:pt>
                <c:pt idx="1767">
                  <c:v>18416</c:v>
                </c:pt>
                <c:pt idx="1768">
                  <c:v>18417</c:v>
                </c:pt>
                <c:pt idx="1769">
                  <c:v>18418</c:v>
                </c:pt>
                <c:pt idx="1770">
                  <c:v>18421</c:v>
                </c:pt>
                <c:pt idx="1771">
                  <c:v>18422</c:v>
                </c:pt>
                <c:pt idx="1772">
                  <c:v>18423</c:v>
                </c:pt>
                <c:pt idx="1773">
                  <c:v>18424</c:v>
                </c:pt>
                <c:pt idx="1774">
                  <c:v>18425</c:v>
                </c:pt>
                <c:pt idx="1775">
                  <c:v>18428</c:v>
                </c:pt>
                <c:pt idx="1776">
                  <c:v>18429</c:v>
                </c:pt>
                <c:pt idx="1777">
                  <c:v>18430</c:v>
                </c:pt>
                <c:pt idx="1778">
                  <c:v>18431</c:v>
                </c:pt>
                <c:pt idx="1779">
                  <c:v>18432</c:v>
                </c:pt>
                <c:pt idx="1780">
                  <c:v>18435</c:v>
                </c:pt>
                <c:pt idx="1781">
                  <c:v>18436</c:v>
                </c:pt>
                <c:pt idx="1782">
                  <c:v>18437</c:v>
                </c:pt>
                <c:pt idx="1783">
                  <c:v>18438</c:v>
                </c:pt>
                <c:pt idx="1784">
                  <c:v>18439</c:v>
                </c:pt>
                <c:pt idx="1785">
                  <c:v>18442</c:v>
                </c:pt>
                <c:pt idx="1786">
                  <c:v>18443</c:v>
                </c:pt>
                <c:pt idx="1787">
                  <c:v>18444</c:v>
                </c:pt>
                <c:pt idx="1788">
                  <c:v>18445</c:v>
                </c:pt>
                <c:pt idx="1789">
                  <c:v>18449</c:v>
                </c:pt>
                <c:pt idx="1790">
                  <c:v>18450</c:v>
                </c:pt>
                <c:pt idx="1791">
                  <c:v>18451</c:v>
                </c:pt>
                <c:pt idx="1792">
                  <c:v>18452</c:v>
                </c:pt>
                <c:pt idx="1793">
                  <c:v>18453</c:v>
                </c:pt>
                <c:pt idx="1794">
                  <c:v>18456</c:v>
                </c:pt>
                <c:pt idx="1795">
                  <c:v>18457</c:v>
                </c:pt>
                <c:pt idx="1796">
                  <c:v>18458</c:v>
                </c:pt>
                <c:pt idx="1797">
                  <c:v>18459</c:v>
                </c:pt>
                <c:pt idx="1798">
                  <c:v>18460</c:v>
                </c:pt>
                <c:pt idx="1799">
                  <c:v>18463</c:v>
                </c:pt>
                <c:pt idx="1800">
                  <c:v>18464</c:v>
                </c:pt>
                <c:pt idx="1801">
                  <c:v>18465</c:v>
                </c:pt>
                <c:pt idx="1802">
                  <c:v>18466</c:v>
                </c:pt>
                <c:pt idx="1803">
                  <c:v>18467</c:v>
                </c:pt>
                <c:pt idx="1804">
                  <c:v>18470</c:v>
                </c:pt>
                <c:pt idx="1805">
                  <c:v>18471</c:v>
                </c:pt>
                <c:pt idx="1806">
                  <c:v>18472</c:v>
                </c:pt>
                <c:pt idx="1807">
                  <c:v>18473</c:v>
                </c:pt>
                <c:pt idx="1808">
                  <c:v>18474</c:v>
                </c:pt>
                <c:pt idx="1809">
                  <c:v>18477</c:v>
                </c:pt>
                <c:pt idx="1810">
                  <c:v>18478</c:v>
                </c:pt>
                <c:pt idx="1811">
                  <c:v>18479</c:v>
                </c:pt>
                <c:pt idx="1812">
                  <c:v>18480</c:v>
                </c:pt>
                <c:pt idx="1813">
                  <c:v>18481</c:v>
                </c:pt>
                <c:pt idx="1814">
                  <c:v>18484</c:v>
                </c:pt>
                <c:pt idx="1815">
                  <c:v>18485</c:v>
                </c:pt>
                <c:pt idx="1816">
                  <c:v>18486</c:v>
                </c:pt>
                <c:pt idx="1817">
                  <c:v>18487</c:v>
                </c:pt>
                <c:pt idx="1818">
                  <c:v>18488</c:v>
                </c:pt>
                <c:pt idx="1819">
                  <c:v>18491</c:v>
                </c:pt>
                <c:pt idx="1820">
                  <c:v>18492</c:v>
                </c:pt>
                <c:pt idx="1821">
                  <c:v>18493</c:v>
                </c:pt>
                <c:pt idx="1822">
                  <c:v>18494</c:v>
                </c:pt>
                <c:pt idx="1823">
                  <c:v>18495</c:v>
                </c:pt>
                <c:pt idx="1824">
                  <c:v>18498</c:v>
                </c:pt>
                <c:pt idx="1825">
                  <c:v>18499</c:v>
                </c:pt>
                <c:pt idx="1826">
                  <c:v>18500</c:v>
                </c:pt>
                <c:pt idx="1827">
                  <c:v>18501</c:v>
                </c:pt>
                <c:pt idx="1828">
                  <c:v>18502</c:v>
                </c:pt>
                <c:pt idx="1829">
                  <c:v>18505</c:v>
                </c:pt>
                <c:pt idx="1830">
                  <c:v>18506</c:v>
                </c:pt>
                <c:pt idx="1831">
                  <c:v>18507</c:v>
                </c:pt>
                <c:pt idx="1832">
                  <c:v>18508</c:v>
                </c:pt>
                <c:pt idx="1833">
                  <c:v>18509</c:v>
                </c:pt>
                <c:pt idx="1834">
                  <c:v>18513</c:v>
                </c:pt>
                <c:pt idx="1835">
                  <c:v>18514</c:v>
                </c:pt>
                <c:pt idx="1836">
                  <c:v>18515</c:v>
                </c:pt>
                <c:pt idx="1837">
                  <c:v>18516</c:v>
                </c:pt>
                <c:pt idx="1838">
                  <c:v>18519</c:v>
                </c:pt>
                <c:pt idx="1839">
                  <c:v>18520</c:v>
                </c:pt>
                <c:pt idx="1840">
                  <c:v>18521</c:v>
                </c:pt>
                <c:pt idx="1841">
                  <c:v>18522</c:v>
                </c:pt>
                <c:pt idx="1842">
                  <c:v>18523</c:v>
                </c:pt>
                <c:pt idx="1843">
                  <c:v>18526</c:v>
                </c:pt>
                <c:pt idx="1844">
                  <c:v>18527</c:v>
                </c:pt>
                <c:pt idx="1845">
                  <c:v>18528</c:v>
                </c:pt>
                <c:pt idx="1846">
                  <c:v>18529</c:v>
                </c:pt>
                <c:pt idx="1847">
                  <c:v>18530</c:v>
                </c:pt>
                <c:pt idx="1848">
                  <c:v>18533</c:v>
                </c:pt>
                <c:pt idx="1849">
                  <c:v>18534</c:v>
                </c:pt>
                <c:pt idx="1850">
                  <c:v>18535</c:v>
                </c:pt>
                <c:pt idx="1851">
                  <c:v>18536</c:v>
                </c:pt>
                <c:pt idx="1852">
                  <c:v>18537</c:v>
                </c:pt>
                <c:pt idx="1853">
                  <c:v>18540</c:v>
                </c:pt>
                <c:pt idx="1854">
                  <c:v>18541</c:v>
                </c:pt>
                <c:pt idx="1855">
                  <c:v>18542</c:v>
                </c:pt>
                <c:pt idx="1856">
                  <c:v>18543</c:v>
                </c:pt>
                <c:pt idx="1857">
                  <c:v>18544</c:v>
                </c:pt>
                <c:pt idx="1858">
                  <c:v>18547</c:v>
                </c:pt>
                <c:pt idx="1859">
                  <c:v>18548</c:v>
                </c:pt>
                <c:pt idx="1860">
                  <c:v>18549</c:v>
                </c:pt>
                <c:pt idx="1861">
                  <c:v>18550</c:v>
                </c:pt>
                <c:pt idx="1862">
                  <c:v>18551</c:v>
                </c:pt>
                <c:pt idx="1863">
                  <c:v>18554</c:v>
                </c:pt>
                <c:pt idx="1864">
                  <c:v>18555</c:v>
                </c:pt>
                <c:pt idx="1865">
                  <c:v>18556</c:v>
                </c:pt>
                <c:pt idx="1866">
                  <c:v>18557</c:v>
                </c:pt>
                <c:pt idx="1867">
                  <c:v>18558</c:v>
                </c:pt>
                <c:pt idx="1868">
                  <c:v>18561</c:v>
                </c:pt>
                <c:pt idx="1869">
                  <c:v>18562</c:v>
                </c:pt>
                <c:pt idx="1870">
                  <c:v>18563</c:v>
                </c:pt>
                <c:pt idx="1871">
                  <c:v>18564</c:v>
                </c:pt>
                <c:pt idx="1872">
                  <c:v>18565</c:v>
                </c:pt>
                <c:pt idx="1873">
                  <c:v>18568</c:v>
                </c:pt>
                <c:pt idx="1874">
                  <c:v>18569</c:v>
                </c:pt>
                <c:pt idx="1875">
                  <c:v>18570</c:v>
                </c:pt>
                <c:pt idx="1876">
                  <c:v>18571</c:v>
                </c:pt>
                <c:pt idx="1877">
                  <c:v>18572</c:v>
                </c:pt>
                <c:pt idx="1878">
                  <c:v>18575</c:v>
                </c:pt>
                <c:pt idx="1879">
                  <c:v>18576</c:v>
                </c:pt>
                <c:pt idx="1880">
                  <c:v>18577</c:v>
                </c:pt>
                <c:pt idx="1881">
                  <c:v>18578</c:v>
                </c:pt>
                <c:pt idx="1882">
                  <c:v>18579</c:v>
                </c:pt>
                <c:pt idx="1883">
                  <c:v>18582</c:v>
                </c:pt>
                <c:pt idx="1884">
                  <c:v>18583</c:v>
                </c:pt>
                <c:pt idx="1885">
                  <c:v>18584</c:v>
                </c:pt>
                <c:pt idx="1886">
                  <c:v>18585</c:v>
                </c:pt>
                <c:pt idx="1887">
                  <c:v>18586</c:v>
                </c:pt>
                <c:pt idx="1888">
                  <c:v>18589</c:v>
                </c:pt>
                <c:pt idx="1889">
                  <c:v>18590</c:v>
                </c:pt>
                <c:pt idx="1890">
                  <c:v>18591</c:v>
                </c:pt>
                <c:pt idx="1891">
                  <c:v>18593</c:v>
                </c:pt>
                <c:pt idx="1892">
                  <c:v>18596</c:v>
                </c:pt>
                <c:pt idx="1893">
                  <c:v>18597</c:v>
                </c:pt>
                <c:pt idx="1894">
                  <c:v>18598</c:v>
                </c:pt>
                <c:pt idx="1895">
                  <c:v>18599</c:v>
                </c:pt>
                <c:pt idx="1896">
                  <c:v>18600</c:v>
                </c:pt>
                <c:pt idx="1897">
                  <c:v>18603</c:v>
                </c:pt>
                <c:pt idx="1898">
                  <c:v>18604</c:v>
                </c:pt>
                <c:pt idx="1899">
                  <c:v>18605</c:v>
                </c:pt>
                <c:pt idx="1900">
                  <c:v>18606</c:v>
                </c:pt>
                <c:pt idx="1901">
                  <c:v>18607</c:v>
                </c:pt>
                <c:pt idx="1902">
                  <c:v>18610</c:v>
                </c:pt>
                <c:pt idx="1903">
                  <c:v>18611</c:v>
                </c:pt>
                <c:pt idx="1904">
                  <c:v>18612</c:v>
                </c:pt>
                <c:pt idx="1905">
                  <c:v>18613</c:v>
                </c:pt>
                <c:pt idx="1906">
                  <c:v>18614</c:v>
                </c:pt>
                <c:pt idx="1907">
                  <c:v>18617</c:v>
                </c:pt>
                <c:pt idx="1908">
                  <c:v>18618</c:v>
                </c:pt>
                <c:pt idx="1909">
                  <c:v>18619</c:v>
                </c:pt>
                <c:pt idx="1910">
                  <c:v>18620</c:v>
                </c:pt>
                <c:pt idx="1911">
                  <c:v>18624</c:v>
                </c:pt>
                <c:pt idx="1912">
                  <c:v>18625</c:v>
                </c:pt>
                <c:pt idx="1913">
                  <c:v>18626</c:v>
                </c:pt>
                <c:pt idx="1914">
                  <c:v>18627</c:v>
                </c:pt>
                <c:pt idx="1915">
                  <c:v>18631</c:v>
                </c:pt>
                <c:pt idx="1916">
                  <c:v>18632</c:v>
                </c:pt>
                <c:pt idx="1917">
                  <c:v>18633</c:v>
                </c:pt>
                <c:pt idx="1918">
                  <c:v>18634</c:v>
                </c:pt>
                <c:pt idx="1919">
                  <c:v>18635</c:v>
                </c:pt>
                <c:pt idx="1920">
                  <c:v>18638</c:v>
                </c:pt>
                <c:pt idx="1921">
                  <c:v>18639</c:v>
                </c:pt>
                <c:pt idx="1922">
                  <c:v>18640</c:v>
                </c:pt>
                <c:pt idx="1923">
                  <c:v>18641</c:v>
                </c:pt>
                <c:pt idx="1924">
                  <c:v>18642</c:v>
                </c:pt>
                <c:pt idx="1925">
                  <c:v>18646</c:v>
                </c:pt>
                <c:pt idx="1926">
                  <c:v>18647</c:v>
                </c:pt>
                <c:pt idx="1927">
                  <c:v>18648</c:v>
                </c:pt>
                <c:pt idx="1928">
                  <c:v>18649</c:v>
                </c:pt>
                <c:pt idx="1929">
                  <c:v>18652</c:v>
                </c:pt>
                <c:pt idx="1930">
                  <c:v>18653</c:v>
                </c:pt>
                <c:pt idx="1931">
                  <c:v>18654</c:v>
                </c:pt>
                <c:pt idx="1932">
                  <c:v>18655</c:v>
                </c:pt>
                <c:pt idx="1933">
                  <c:v>18656</c:v>
                </c:pt>
                <c:pt idx="1934">
                  <c:v>18659</c:v>
                </c:pt>
                <c:pt idx="1935">
                  <c:v>18660</c:v>
                </c:pt>
                <c:pt idx="1936">
                  <c:v>18661</c:v>
                </c:pt>
                <c:pt idx="1937">
                  <c:v>18662</c:v>
                </c:pt>
                <c:pt idx="1938">
                  <c:v>18663</c:v>
                </c:pt>
                <c:pt idx="1939">
                  <c:v>18666</c:v>
                </c:pt>
                <c:pt idx="1940">
                  <c:v>18667</c:v>
                </c:pt>
                <c:pt idx="1941">
                  <c:v>18668</c:v>
                </c:pt>
                <c:pt idx="1942">
                  <c:v>18669</c:v>
                </c:pt>
                <c:pt idx="1943">
                  <c:v>18670</c:v>
                </c:pt>
                <c:pt idx="1944">
                  <c:v>18674</c:v>
                </c:pt>
                <c:pt idx="1945">
                  <c:v>18675</c:v>
                </c:pt>
                <c:pt idx="1946">
                  <c:v>18676</c:v>
                </c:pt>
                <c:pt idx="1947">
                  <c:v>18677</c:v>
                </c:pt>
                <c:pt idx="1948">
                  <c:v>18680</c:v>
                </c:pt>
                <c:pt idx="1949">
                  <c:v>18681</c:v>
                </c:pt>
                <c:pt idx="1950">
                  <c:v>18682</c:v>
                </c:pt>
                <c:pt idx="1951">
                  <c:v>18683</c:v>
                </c:pt>
                <c:pt idx="1952">
                  <c:v>18684</c:v>
                </c:pt>
                <c:pt idx="1953">
                  <c:v>18687</c:v>
                </c:pt>
                <c:pt idx="1954">
                  <c:v>18688</c:v>
                </c:pt>
                <c:pt idx="1955">
                  <c:v>18689</c:v>
                </c:pt>
                <c:pt idx="1956">
                  <c:v>18690</c:v>
                </c:pt>
                <c:pt idx="1957">
                  <c:v>18691</c:v>
                </c:pt>
                <c:pt idx="1958">
                  <c:v>18694</c:v>
                </c:pt>
                <c:pt idx="1959">
                  <c:v>18695</c:v>
                </c:pt>
                <c:pt idx="1960">
                  <c:v>18696</c:v>
                </c:pt>
                <c:pt idx="1961">
                  <c:v>18697</c:v>
                </c:pt>
                <c:pt idx="1962">
                  <c:v>18698</c:v>
                </c:pt>
                <c:pt idx="1963">
                  <c:v>18701</c:v>
                </c:pt>
                <c:pt idx="1964">
                  <c:v>18702</c:v>
                </c:pt>
                <c:pt idx="1965">
                  <c:v>18703</c:v>
                </c:pt>
                <c:pt idx="1966">
                  <c:v>18704</c:v>
                </c:pt>
                <c:pt idx="1967">
                  <c:v>18705</c:v>
                </c:pt>
                <c:pt idx="1968">
                  <c:v>18708</c:v>
                </c:pt>
                <c:pt idx="1969">
                  <c:v>18709</c:v>
                </c:pt>
                <c:pt idx="1970">
                  <c:v>18710</c:v>
                </c:pt>
                <c:pt idx="1971">
                  <c:v>18711</c:v>
                </c:pt>
                <c:pt idx="1972">
                  <c:v>18712</c:v>
                </c:pt>
                <c:pt idx="1973">
                  <c:v>18715</c:v>
                </c:pt>
                <c:pt idx="1974">
                  <c:v>18716</c:v>
                </c:pt>
                <c:pt idx="1975">
                  <c:v>18717</c:v>
                </c:pt>
                <c:pt idx="1976">
                  <c:v>18718</c:v>
                </c:pt>
                <c:pt idx="1977">
                  <c:v>18722</c:v>
                </c:pt>
                <c:pt idx="1978">
                  <c:v>18723</c:v>
                </c:pt>
                <c:pt idx="1979">
                  <c:v>18724</c:v>
                </c:pt>
                <c:pt idx="1980">
                  <c:v>18725</c:v>
                </c:pt>
                <c:pt idx="1981">
                  <c:v>18726</c:v>
                </c:pt>
                <c:pt idx="1982">
                  <c:v>18729</c:v>
                </c:pt>
                <c:pt idx="1983">
                  <c:v>18730</c:v>
                </c:pt>
                <c:pt idx="1984">
                  <c:v>18731</c:v>
                </c:pt>
                <c:pt idx="1985">
                  <c:v>18732</c:v>
                </c:pt>
                <c:pt idx="1986">
                  <c:v>18733</c:v>
                </c:pt>
                <c:pt idx="1987">
                  <c:v>18736</c:v>
                </c:pt>
                <c:pt idx="1988">
                  <c:v>18737</c:v>
                </c:pt>
                <c:pt idx="1989">
                  <c:v>18738</c:v>
                </c:pt>
                <c:pt idx="1990">
                  <c:v>18739</c:v>
                </c:pt>
                <c:pt idx="1991">
                  <c:v>18740</c:v>
                </c:pt>
                <c:pt idx="1992">
                  <c:v>18743</c:v>
                </c:pt>
                <c:pt idx="1993">
                  <c:v>18744</c:v>
                </c:pt>
                <c:pt idx="1994">
                  <c:v>18745</c:v>
                </c:pt>
                <c:pt idx="1995">
                  <c:v>18746</c:v>
                </c:pt>
                <c:pt idx="1996">
                  <c:v>18747</c:v>
                </c:pt>
                <c:pt idx="1997">
                  <c:v>18750</c:v>
                </c:pt>
                <c:pt idx="1998">
                  <c:v>18751</c:v>
                </c:pt>
                <c:pt idx="1999">
                  <c:v>18752</c:v>
                </c:pt>
                <c:pt idx="2000">
                  <c:v>18753</c:v>
                </c:pt>
                <c:pt idx="2001">
                  <c:v>18754</c:v>
                </c:pt>
                <c:pt idx="2002">
                  <c:v>18757</c:v>
                </c:pt>
                <c:pt idx="2003">
                  <c:v>18758</c:v>
                </c:pt>
                <c:pt idx="2004">
                  <c:v>18759</c:v>
                </c:pt>
                <c:pt idx="2005">
                  <c:v>18760</c:v>
                </c:pt>
                <c:pt idx="2006">
                  <c:v>18761</c:v>
                </c:pt>
                <c:pt idx="2007">
                  <c:v>18764</c:v>
                </c:pt>
                <c:pt idx="2008">
                  <c:v>18765</c:v>
                </c:pt>
                <c:pt idx="2009">
                  <c:v>18766</c:v>
                </c:pt>
                <c:pt idx="2010">
                  <c:v>18767</c:v>
                </c:pt>
                <c:pt idx="2011">
                  <c:v>18768</c:v>
                </c:pt>
                <c:pt idx="2012">
                  <c:v>18771</c:v>
                </c:pt>
                <c:pt idx="2013">
                  <c:v>18772</c:v>
                </c:pt>
                <c:pt idx="2014">
                  <c:v>18773</c:v>
                </c:pt>
                <c:pt idx="2015">
                  <c:v>18774</c:v>
                </c:pt>
                <c:pt idx="2016">
                  <c:v>18775</c:v>
                </c:pt>
                <c:pt idx="2017">
                  <c:v>18779</c:v>
                </c:pt>
                <c:pt idx="2018">
                  <c:v>18780</c:v>
                </c:pt>
                <c:pt idx="2019">
                  <c:v>18781</c:v>
                </c:pt>
                <c:pt idx="2020">
                  <c:v>18782</c:v>
                </c:pt>
                <c:pt idx="2021">
                  <c:v>18785</c:v>
                </c:pt>
                <c:pt idx="2022">
                  <c:v>18786</c:v>
                </c:pt>
                <c:pt idx="2023">
                  <c:v>18787</c:v>
                </c:pt>
                <c:pt idx="2024">
                  <c:v>18788</c:v>
                </c:pt>
                <c:pt idx="2025">
                  <c:v>18789</c:v>
                </c:pt>
                <c:pt idx="2026">
                  <c:v>18792</c:v>
                </c:pt>
                <c:pt idx="2027">
                  <c:v>18793</c:v>
                </c:pt>
                <c:pt idx="2028">
                  <c:v>18794</c:v>
                </c:pt>
                <c:pt idx="2029">
                  <c:v>18795</c:v>
                </c:pt>
                <c:pt idx="2030">
                  <c:v>18796</c:v>
                </c:pt>
                <c:pt idx="2031">
                  <c:v>18799</c:v>
                </c:pt>
                <c:pt idx="2032">
                  <c:v>18800</c:v>
                </c:pt>
                <c:pt idx="2033">
                  <c:v>18801</c:v>
                </c:pt>
                <c:pt idx="2034">
                  <c:v>18802</c:v>
                </c:pt>
                <c:pt idx="2035">
                  <c:v>18803</c:v>
                </c:pt>
                <c:pt idx="2036">
                  <c:v>18806</c:v>
                </c:pt>
                <c:pt idx="2037">
                  <c:v>18807</c:v>
                </c:pt>
                <c:pt idx="2038">
                  <c:v>18808</c:v>
                </c:pt>
                <c:pt idx="2039">
                  <c:v>18809</c:v>
                </c:pt>
                <c:pt idx="2040">
                  <c:v>18810</c:v>
                </c:pt>
                <c:pt idx="2041">
                  <c:v>18814</c:v>
                </c:pt>
                <c:pt idx="2042">
                  <c:v>18815</c:v>
                </c:pt>
                <c:pt idx="2043">
                  <c:v>18816</c:v>
                </c:pt>
                <c:pt idx="2044">
                  <c:v>18817</c:v>
                </c:pt>
                <c:pt idx="2045">
                  <c:v>18820</c:v>
                </c:pt>
                <c:pt idx="2046">
                  <c:v>18821</c:v>
                </c:pt>
                <c:pt idx="2047">
                  <c:v>18822</c:v>
                </c:pt>
                <c:pt idx="2048">
                  <c:v>18823</c:v>
                </c:pt>
                <c:pt idx="2049">
                  <c:v>18824</c:v>
                </c:pt>
                <c:pt idx="2050">
                  <c:v>18827</c:v>
                </c:pt>
                <c:pt idx="2051">
                  <c:v>18828</c:v>
                </c:pt>
                <c:pt idx="2052">
                  <c:v>18829</c:v>
                </c:pt>
                <c:pt idx="2053">
                  <c:v>18830</c:v>
                </c:pt>
                <c:pt idx="2054">
                  <c:v>18831</c:v>
                </c:pt>
                <c:pt idx="2055">
                  <c:v>18834</c:v>
                </c:pt>
                <c:pt idx="2056">
                  <c:v>18835</c:v>
                </c:pt>
                <c:pt idx="2057">
                  <c:v>18836</c:v>
                </c:pt>
                <c:pt idx="2058">
                  <c:v>18837</c:v>
                </c:pt>
                <c:pt idx="2059">
                  <c:v>18838</c:v>
                </c:pt>
                <c:pt idx="2060">
                  <c:v>18841</c:v>
                </c:pt>
                <c:pt idx="2061">
                  <c:v>18842</c:v>
                </c:pt>
                <c:pt idx="2062">
                  <c:v>18843</c:v>
                </c:pt>
                <c:pt idx="2063">
                  <c:v>18844</c:v>
                </c:pt>
                <c:pt idx="2064">
                  <c:v>18845</c:v>
                </c:pt>
                <c:pt idx="2065">
                  <c:v>18848</c:v>
                </c:pt>
                <c:pt idx="2066">
                  <c:v>18849</c:v>
                </c:pt>
                <c:pt idx="2067">
                  <c:v>18850</c:v>
                </c:pt>
                <c:pt idx="2068">
                  <c:v>18851</c:v>
                </c:pt>
                <c:pt idx="2069">
                  <c:v>18852</c:v>
                </c:pt>
                <c:pt idx="2070">
                  <c:v>18855</c:v>
                </c:pt>
                <c:pt idx="2071">
                  <c:v>18856</c:v>
                </c:pt>
                <c:pt idx="2072">
                  <c:v>18857</c:v>
                </c:pt>
                <c:pt idx="2073">
                  <c:v>18858</c:v>
                </c:pt>
                <c:pt idx="2074">
                  <c:v>18859</c:v>
                </c:pt>
                <c:pt idx="2075">
                  <c:v>18862</c:v>
                </c:pt>
                <c:pt idx="2076">
                  <c:v>18863</c:v>
                </c:pt>
                <c:pt idx="2077">
                  <c:v>18864</c:v>
                </c:pt>
                <c:pt idx="2078">
                  <c:v>18865</c:v>
                </c:pt>
                <c:pt idx="2079">
                  <c:v>18866</c:v>
                </c:pt>
                <c:pt idx="2080">
                  <c:v>18869</c:v>
                </c:pt>
                <c:pt idx="2081">
                  <c:v>18870</c:v>
                </c:pt>
                <c:pt idx="2082">
                  <c:v>18871</c:v>
                </c:pt>
                <c:pt idx="2083">
                  <c:v>18872</c:v>
                </c:pt>
                <c:pt idx="2084">
                  <c:v>18873</c:v>
                </c:pt>
                <c:pt idx="2085">
                  <c:v>18877</c:v>
                </c:pt>
                <c:pt idx="2086">
                  <c:v>18878</c:v>
                </c:pt>
                <c:pt idx="2087">
                  <c:v>18879</c:v>
                </c:pt>
                <c:pt idx="2088">
                  <c:v>18880</c:v>
                </c:pt>
                <c:pt idx="2089">
                  <c:v>18883</c:v>
                </c:pt>
                <c:pt idx="2090">
                  <c:v>18884</c:v>
                </c:pt>
                <c:pt idx="2091">
                  <c:v>18885</c:v>
                </c:pt>
                <c:pt idx="2092">
                  <c:v>18886</c:v>
                </c:pt>
                <c:pt idx="2093">
                  <c:v>18887</c:v>
                </c:pt>
                <c:pt idx="2094">
                  <c:v>18890</c:v>
                </c:pt>
                <c:pt idx="2095">
                  <c:v>18891</c:v>
                </c:pt>
                <c:pt idx="2096">
                  <c:v>18892</c:v>
                </c:pt>
                <c:pt idx="2097">
                  <c:v>18893</c:v>
                </c:pt>
                <c:pt idx="2098">
                  <c:v>18894</c:v>
                </c:pt>
                <c:pt idx="2099">
                  <c:v>18897</c:v>
                </c:pt>
                <c:pt idx="2100">
                  <c:v>18898</c:v>
                </c:pt>
                <c:pt idx="2101">
                  <c:v>18899</c:v>
                </c:pt>
                <c:pt idx="2102">
                  <c:v>18900</c:v>
                </c:pt>
                <c:pt idx="2103">
                  <c:v>18901</c:v>
                </c:pt>
                <c:pt idx="2104">
                  <c:v>18904</c:v>
                </c:pt>
                <c:pt idx="2105">
                  <c:v>18905</c:v>
                </c:pt>
                <c:pt idx="2106">
                  <c:v>18906</c:v>
                </c:pt>
                <c:pt idx="2107">
                  <c:v>18907</c:v>
                </c:pt>
                <c:pt idx="2108">
                  <c:v>18908</c:v>
                </c:pt>
                <c:pt idx="2109">
                  <c:v>18911</c:v>
                </c:pt>
                <c:pt idx="2110">
                  <c:v>18912</c:v>
                </c:pt>
                <c:pt idx="2111">
                  <c:v>18913</c:v>
                </c:pt>
                <c:pt idx="2112">
                  <c:v>18914</c:v>
                </c:pt>
                <c:pt idx="2113">
                  <c:v>18915</c:v>
                </c:pt>
                <c:pt idx="2114">
                  <c:v>18918</c:v>
                </c:pt>
                <c:pt idx="2115">
                  <c:v>18919</c:v>
                </c:pt>
                <c:pt idx="2116">
                  <c:v>18920</c:v>
                </c:pt>
                <c:pt idx="2117">
                  <c:v>18921</c:v>
                </c:pt>
                <c:pt idx="2118">
                  <c:v>18922</c:v>
                </c:pt>
                <c:pt idx="2119">
                  <c:v>18925</c:v>
                </c:pt>
                <c:pt idx="2120">
                  <c:v>18926</c:v>
                </c:pt>
                <c:pt idx="2121">
                  <c:v>18927</c:v>
                </c:pt>
                <c:pt idx="2122">
                  <c:v>18928</c:v>
                </c:pt>
                <c:pt idx="2123">
                  <c:v>18929</c:v>
                </c:pt>
                <c:pt idx="2124">
                  <c:v>18932</c:v>
                </c:pt>
                <c:pt idx="2125">
                  <c:v>18933</c:v>
                </c:pt>
                <c:pt idx="2126">
                  <c:v>18934</c:v>
                </c:pt>
                <c:pt idx="2127">
                  <c:v>18935</c:v>
                </c:pt>
                <c:pt idx="2128">
                  <c:v>18936</c:v>
                </c:pt>
                <c:pt idx="2129">
                  <c:v>18939</c:v>
                </c:pt>
                <c:pt idx="2130">
                  <c:v>18940</c:v>
                </c:pt>
                <c:pt idx="2131">
                  <c:v>18941</c:v>
                </c:pt>
                <c:pt idx="2132">
                  <c:v>18942</c:v>
                </c:pt>
                <c:pt idx="2133">
                  <c:v>18943</c:v>
                </c:pt>
                <c:pt idx="2134">
                  <c:v>18946</c:v>
                </c:pt>
                <c:pt idx="2135">
                  <c:v>18947</c:v>
                </c:pt>
                <c:pt idx="2136">
                  <c:v>18948</c:v>
                </c:pt>
                <c:pt idx="2137">
                  <c:v>18949</c:v>
                </c:pt>
                <c:pt idx="2138">
                  <c:v>18950</c:v>
                </c:pt>
                <c:pt idx="2139">
                  <c:v>18953</c:v>
                </c:pt>
                <c:pt idx="2140">
                  <c:v>18954</c:v>
                </c:pt>
                <c:pt idx="2141">
                  <c:v>18955</c:v>
                </c:pt>
                <c:pt idx="2142">
                  <c:v>18957</c:v>
                </c:pt>
                <c:pt idx="2143">
                  <c:v>18960</c:v>
                </c:pt>
                <c:pt idx="2144">
                  <c:v>18961</c:v>
                </c:pt>
                <c:pt idx="2145">
                  <c:v>18962</c:v>
                </c:pt>
                <c:pt idx="2146">
                  <c:v>18963</c:v>
                </c:pt>
                <c:pt idx="2147">
                  <c:v>18964</c:v>
                </c:pt>
                <c:pt idx="2148">
                  <c:v>18967</c:v>
                </c:pt>
                <c:pt idx="2149">
                  <c:v>18968</c:v>
                </c:pt>
                <c:pt idx="2150">
                  <c:v>18969</c:v>
                </c:pt>
                <c:pt idx="2151">
                  <c:v>18970</c:v>
                </c:pt>
                <c:pt idx="2152">
                  <c:v>18971</c:v>
                </c:pt>
                <c:pt idx="2153">
                  <c:v>18974</c:v>
                </c:pt>
                <c:pt idx="2154">
                  <c:v>18975</c:v>
                </c:pt>
                <c:pt idx="2155">
                  <c:v>18976</c:v>
                </c:pt>
                <c:pt idx="2156">
                  <c:v>18977</c:v>
                </c:pt>
                <c:pt idx="2157">
                  <c:v>18978</c:v>
                </c:pt>
                <c:pt idx="2158">
                  <c:v>18981</c:v>
                </c:pt>
                <c:pt idx="2159">
                  <c:v>18982</c:v>
                </c:pt>
                <c:pt idx="2160">
                  <c:v>18983</c:v>
                </c:pt>
                <c:pt idx="2161">
                  <c:v>18984</c:v>
                </c:pt>
                <c:pt idx="2162">
                  <c:v>18988</c:v>
                </c:pt>
                <c:pt idx="2163">
                  <c:v>18989</c:v>
                </c:pt>
                <c:pt idx="2164">
                  <c:v>18990</c:v>
                </c:pt>
                <c:pt idx="2165">
                  <c:v>18991</c:v>
                </c:pt>
                <c:pt idx="2166">
                  <c:v>18992</c:v>
                </c:pt>
                <c:pt idx="2167">
                  <c:v>18995</c:v>
                </c:pt>
                <c:pt idx="2168">
                  <c:v>18996</c:v>
                </c:pt>
                <c:pt idx="2169">
                  <c:v>18997</c:v>
                </c:pt>
                <c:pt idx="2170">
                  <c:v>18998</c:v>
                </c:pt>
                <c:pt idx="2171">
                  <c:v>18999</c:v>
                </c:pt>
                <c:pt idx="2172">
                  <c:v>19002</c:v>
                </c:pt>
                <c:pt idx="2173">
                  <c:v>19003</c:v>
                </c:pt>
                <c:pt idx="2174">
                  <c:v>19004</c:v>
                </c:pt>
                <c:pt idx="2175">
                  <c:v>19005</c:v>
                </c:pt>
                <c:pt idx="2176">
                  <c:v>19006</c:v>
                </c:pt>
                <c:pt idx="2177">
                  <c:v>19010</c:v>
                </c:pt>
                <c:pt idx="2178">
                  <c:v>19011</c:v>
                </c:pt>
                <c:pt idx="2179">
                  <c:v>19012</c:v>
                </c:pt>
                <c:pt idx="2180">
                  <c:v>19013</c:v>
                </c:pt>
                <c:pt idx="2181">
                  <c:v>19016</c:v>
                </c:pt>
                <c:pt idx="2182">
                  <c:v>19017</c:v>
                </c:pt>
                <c:pt idx="2183">
                  <c:v>19018</c:v>
                </c:pt>
                <c:pt idx="2184">
                  <c:v>19019</c:v>
                </c:pt>
                <c:pt idx="2185">
                  <c:v>19020</c:v>
                </c:pt>
                <c:pt idx="2186">
                  <c:v>19023</c:v>
                </c:pt>
                <c:pt idx="2187">
                  <c:v>19024</c:v>
                </c:pt>
                <c:pt idx="2188">
                  <c:v>19025</c:v>
                </c:pt>
                <c:pt idx="2189">
                  <c:v>19026</c:v>
                </c:pt>
                <c:pt idx="2190">
                  <c:v>19027</c:v>
                </c:pt>
                <c:pt idx="2191">
                  <c:v>19030</c:v>
                </c:pt>
                <c:pt idx="2192">
                  <c:v>19031</c:v>
                </c:pt>
                <c:pt idx="2193">
                  <c:v>19032</c:v>
                </c:pt>
                <c:pt idx="2194">
                  <c:v>19033</c:v>
                </c:pt>
                <c:pt idx="2195">
                  <c:v>19034</c:v>
                </c:pt>
                <c:pt idx="2196">
                  <c:v>19037</c:v>
                </c:pt>
                <c:pt idx="2197">
                  <c:v>19038</c:v>
                </c:pt>
                <c:pt idx="2198">
                  <c:v>19039</c:v>
                </c:pt>
                <c:pt idx="2199">
                  <c:v>19040</c:v>
                </c:pt>
                <c:pt idx="2200">
                  <c:v>19041</c:v>
                </c:pt>
                <c:pt idx="2201">
                  <c:v>19045</c:v>
                </c:pt>
                <c:pt idx="2202">
                  <c:v>19046</c:v>
                </c:pt>
                <c:pt idx="2203">
                  <c:v>19047</c:v>
                </c:pt>
                <c:pt idx="2204">
                  <c:v>19048</c:v>
                </c:pt>
                <c:pt idx="2205">
                  <c:v>19051</c:v>
                </c:pt>
                <c:pt idx="2206">
                  <c:v>19052</c:v>
                </c:pt>
                <c:pt idx="2207">
                  <c:v>19053</c:v>
                </c:pt>
                <c:pt idx="2208">
                  <c:v>19054</c:v>
                </c:pt>
                <c:pt idx="2209">
                  <c:v>19055</c:v>
                </c:pt>
                <c:pt idx="2210">
                  <c:v>19058</c:v>
                </c:pt>
                <c:pt idx="2211">
                  <c:v>19059</c:v>
                </c:pt>
                <c:pt idx="2212">
                  <c:v>19060</c:v>
                </c:pt>
                <c:pt idx="2213">
                  <c:v>19061</c:v>
                </c:pt>
                <c:pt idx="2214">
                  <c:v>19062</c:v>
                </c:pt>
                <c:pt idx="2215">
                  <c:v>19065</c:v>
                </c:pt>
                <c:pt idx="2216">
                  <c:v>19066</c:v>
                </c:pt>
                <c:pt idx="2217">
                  <c:v>19067</c:v>
                </c:pt>
                <c:pt idx="2218">
                  <c:v>19068</c:v>
                </c:pt>
                <c:pt idx="2219">
                  <c:v>19069</c:v>
                </c:pt>
                <c:pt idx="2220">
                  <c:v>19072</c:v>
                </c:pt>
                <c:pt idx="2221">
                  <c:v>19073</c:v>
                </c:pt>
                <c:pt idx="2222">
                  <c:v>19074</c:v>
                </c:pt>
                <c:pt idx="2223">
                  <c:v>19075</c:v>
                </c:pt>
                <c:pt idx="2224">
                  <c:v>19076</c:v>
                </c:pt>
                <c:pt idx="2225">
                  <c:v>19079</c:v>
                </c:pt>
                <c:pt idx="2226">
                  <c:v>19080</c:v>
                </c:pt>
                <c:pt idx="2227">
                  <c:v>19081</c:v>
                </c:pt>
                <c:pt idx="2228">
                  <c:v>19082</c:v>
                </c:pt>
                <c:pt idx="2229">
                  <c:v>19083</c:v>
                </c:pt>
                <c:pt idx="2230">
                  <c:v>19086</c:v>
                </c:pt>
                <c:pt idx="2231">
                  <c:v>19087</c:v>
                </c:pt>
                <c:pt idx="2232">
                  <c:v>19088</c:v>
                </c:pt>
                <c:pt idx="2233">
                  <c:v>19089</c:v>
                </c:pt>
                <c:pt idx="2234">
                  <c:v>19090</c:v>
                </c:pt>
                <c:pt idx="2235">
                  <c:v>19093</c:v>
                </c:pt>
                <c:pt idx="2236">
                  <c:v>19094</c:v>
                </c:pt>
                <c:pt idx="2237">
                  <c:v>19095</c:v>
                </c:pt>
                <c:pt idx="2238">
                  <c:v>19096</c:v>
                </c:pt>
                <c:pt idx="2239">
                  <c:v>19100</c:v>
                </c:pt>
                <c:pt idx="2240">
                  <c:v>19101</c:v>
                </c:pt>
                <c:pt idx="2241">
                  <c:v>19102</c:v>
                </c:pt>
                <c:pt idx="2242">
                  <c:v>19103</c:v>
                </c:pt>
                <c:pt idx="2243">
                  <c:v>19104</c:v>
                </c:pt>
                <c:pt idx="2244">
                  <c:v>19107</c:v>
                </c:pt>
                <c:pt idx="2245">
                  <c:v>19108</c:v>
                </c:pt>
                <c:pt idx="2246">
                  <c:v>19109</c:v>
                </c:pt>
                <c:pt idx="2247">
                  <c:v>19110</c:v>
                </c:pt>
                <c:pt idx="2248">
                  <c:v>19111</c:v>
                </c:pt>
                <c:pt idx="2249">
                  <c:v>19114</c:v>
                </c:pt>
                <c:pt idx="2250">
                  <c:v>19115</c:v>
                </c:pt>
                <c:pt idx="2251">
                  <c:v>19116</c:v>
                </c:pt>
                <c:pt idx="2252">
                  <c:v>19117</c:v>
                </c:pt>
                <c:pt idx="2253">
                  <c:v>19118</c:v>
                </c:pt>
                <c:pt idx="2254">
                  <c:v>19121</c:v>
                </c:pt>
                <c:pt idx="2255">
                  <c:v>19122</c:v>
                </c:pt>
                <c:pt idx="2256">
                  <c:v>19123</c:v>
                </c:pt>
                <c:pt idx="2257">
                  <c:v>19124</c:v>
                </c:pt>
                <c:pt idx="2258">
                  <c:v>19125</c:v>
                </c:pt>
                <c:pt idx="2259">
                  <c:v>19128</c:v>
                </c:pt>
                <c:pt idx="2260">
                  <c:v>19129</c:v>
                </c:pt>
                <c:pt idx="2261">
                  <c:v>19130</c:v>
                </c:pt>
                <c:pt idx="2262">
                  <c:v>19131</c:v>
                </c:pt>
                <c:pt idx="2263">
                  <c:v>19132</c:v>
                </c:pt>
                <c:pt idx="2264">
                  <c:v>19135</c:v>
                </c:pt>
                <c:pt idx="2265">
                  <c:v>19136</c:v>
                </c:pt>
                <c:pt idx="2266">
                  <c:v>19137</c:v>
                </c:pt>
                <c:pt idx="2267">
                  <c:v>19138</c:v>
                </c:pt>
                <c:pt idx="2268">
                  <c:v>19139</c:v>
                </c:pt>
                <c:pt idx="2269">
                  <c:v>19143</c:v>
                </c:pt>
                <c:pt idx="2270">
                  <c:v>19144</c:v>
                </c:pt>
                <c:pt idx="2271">
                  <c:v>19145</c:v>
                </c:pt>
                <c:pt idx="2272">
                  <c:v>19146</c:v>
                </c:pt>
                <c:pt idx="2273">
                  <c:v>19149</c:v>
                </c:pt>
                <c:pt idx="2274">
                  <c:v>19150</c:v>
                </c:pt>
                <c:pt idx="2275">
                  <c:v>19151</c:v>
                </c:pt>
                <c:pt idx="2276">
                  <c:v>19152</c:v>
                </c:pt>
                <c:pt idx="2277">
                  <c:v>19153</c:v>
                </c:pt>
                <c:pt idx="2278">
                  <c:v>19156</c:v>
                </c:pt>
                <c:pt idx="2279">
                  <c:v>19157</c:v>
                </c:pt>
                <c:pt idx="2280">
                  <c:v>19158</c:v>
                </c:pt>
                <c:pt idx="2281">
                  <c:v>19159</c:v>
                </c:pt>
                <c:pt idx="2282">
                  <c:v>19160</c:v>
                </c:pt>
                <c:pt idx="2283">
                  <c:v>19164</c:v>
                </c:pt>
                <c:pt idx="2284">
                  <c:v>19165</c:v>
                </c:pt>
                <c:pt idx="2285">
                  <c:v>19166</c:v>
                </c:pt>
                <c:pt idx="2286">
                  <c:v>19167</c:v>
                </c:pt>
                <c:pt idx="2287">
                  <c:v>19170</c:v>
                </c:pt>
                <c:pt idx="2288">
                  <c:v>19171</c:v>
                </c:pt>
                <c:pt idx="2289">
                  <c:v>19172</c:v>
                </c:pt>
                <c:pt idx="2290">
                  <c:v>19173</c:v>
                </c:pt>
                <c:pt idx="2291">
                  <c:v>19174</c:v>
                </c:pt>
                <c:pt idx="2292">
                  <c:v>19178</c:v>
                </c:pt>
                <c:pt idx="2293">
                  <c:v>19179</c:v>
                </c:pt>
                <c:pt idx="2294">
                  <c:v>19180</c:v>
                </c:pt>
                <c:pt idx="2295">
                  <c:v>19181</c:v>
                </c:pt>
                <c:pt idx="2296">
                  <c:v>19184</c:v>
                </c:pt>
                <c:pt idx="2297">
                  <c:v>19185</c:v>
                </c:pt>
                <c:pt idx="2298">
                  <c:v>19186</c:v>
                </c:pt>
                <c:pt idx="2299">
                  <c:v>19187</c:v>
                </c:pt>
                <c:pt idx="2300">
                  <c:v>19188</c:v>
                </c:pt>
                <c:pt idx="2301">
                  <c:v>19191</c:v>
                </c:pt>
                <c:pt idx="2302">
                  <c:v>19192</c:v>
                </c:pt>
                <c:pt idx="2303">
                  <c:v>19193</c:v>
                </c:pt>
                <c:pt idx="2304">
                  <c:v>19194</c:v>
                </c:pt>
                <c:pt idx="2305">
                  <c:v>19195</c:v>
                </c:pt>
                <c:pt idx="2306">
                  <c:v>19198</c:v>
                </c:pt>
                <c:pt idx="2307">
                  <c:v>19199</c:v>
                </c:pt>
                <c:pt idx="2308">
                  <c:v>19200</c:v>
                </c:pt>
                <c:pt idx="2309">
                  <c:v>19201</c:v>
                </c:pt>
                <c:pt idx="2310">
                  <c:v>19202</c:v>
                </c:pt>
                <c:pt idx="2311">
                  <c:v>19205</c:v>
                </c:pt>
                <c:pt idx="2312">
                  <c:v>19206</c:v>
                </c:pt>
                <c:pt idx="2313">
                  <c:v>19207</c:v>
                </c:pt>
                <c:pt idx="2314">
                  <c:v>19208</c:v>
                </c:pt>
                <c:pt idx="2315">
                  <c:v>19209</c:v>
                </c:pt>
                <c:pt idx="2316">
                  <c:v>19212</c:v>
                </c:pt>
                <c:pt idx="2317">
                  <c:v>19213</c:v>
                </c:pt>
                <c:pt idx="2318">
                  <c:v>19214</c:v>
                </c:pt>
                <c:pt idx="2319">
                  <c:v>19215</c:v>
                </c:pt>
                <c:pt idx="2320">
                  <c:v>19216</c:v>
                </c:pt>
                <c:pt idx="2321">
                  <c:v>19219</c:v>
                </c:pt>
                <c:pt idx="2322">
                  <c:v>19220</c:v>
                </c:pt>
                <c:pt idx="2323">
                  <c:v>19221</c:v>
                </c:pt>
                <c:pt idx="2324">
                  <c:v>19222</c:v>
                </c:pt>
                <c:pt idx="2325">
                  <c:v>19223</c:v>
                </c:pt>
                <c:pt idx="2326">
                  <c:v>19226</c:v>
                </c:pt>
                <c:pt idx="2327">
                  <c:v>19227</c:v>
                </c:pt>
                <c:pt idx="2328">
                  <c:v>19228</c:v>
                </c:pt>
                <c:pt idx="2329">
                  <c:v>19229</c:v>
                </c:pt>
                <c:pt idx="2330">
                  <c:v>19230</c:v>
                </c:pt>
                <c:pt idx="2331">
                  <c:v>19233</c:v>
                </c:pt>
                <c:pt idx="2332">
                  <c:v>19234</c:v>
                </c:pt>
                <c:pt idx="2333">
                  <c:v>19235</c:v>
                </c:pt>
                <c:pt idx="2334">
                  <c:v>19236</c:v>
                </c:pt>
                <c:pt idx="2335">
                  <c:v>19237</c:v>
                </c:pt>
                <c:pt idx="2336">
                  <c:v>19241</c:v>
                </c:pt>
                <c:pt idx="2337">
                  <c:v>19242</c:v>
                </c:pt>
                <c:pt idx="2338">
                  <c:v>19243</c:v>
                </c:pt>
                <c:pt idx="2339">
                  <c:v>19244</c:v>
                </c:pt>
                <c:pt idx="2340">
                  <c:v>19247</c:v>
                </c:pt>
                <c:pt idx="2341">
                  <c:v>19248</c:v>
                </c:pt>
                <c:pt idx="2342">
                  <c:v>19249</c:v>
                </c:pt>
                <c:pt idx="2343">
                  <c:v>19250</c:v>
                </c:pt>
                <c:pt idx="2344">
                  <c:v>19251</c:v>
                </c:pt>
                <c:pt idx="2345">
                  <c:v>19254</c:v>
                </c:pt>
                <c:pt idx="2346">
                  <c:v>19255</c:v>
                </c:pt>
                <c:pt idx="2347">
                  <c:v>19256</c:v>
                </c:pt>
                <c:pt idx="2348">
                  <c:v>19257</c:v>
                </c:pt>
                <c:pt idx="2349">
                  <c:v>19258</c:v>
                </c:pt>
                <c:pt idx="2350">
                  <c:v>19261</c:v>
                </c:pt>
                <c:pt idx="2351">
                  <c:v>19262</c:v>
                </c:pt>
                <c:pt idx="2352">
                  <c:v>19263</c:v>
                </c:pt>
                <c:pt idx="2353">
                  <c:v>19264</c:v>
                </c:pt>
                <c:pt idx="2354">
                  <c:v>19265</c:v>
                </c:pt>
                <c:pt idx="2355">
                  <c:v>19268</c:v>
                </c:pt>
                <c:pt idx="2356">
                  <c:v>19269</c:v>
                </c:pt>
                <c:pt idx="2357">
                  <c:v>19270</c:v>
                </c:pt>
                <c:pt idx="2358">
                  <c:v>19271</c:v>
                </c:pt>
                <c:pt idx="2359">
                  <c:v>19272</c:v>
                </c:pt>
                <c:pt idx="2360">
                  <c:v>19275</c:v>
                </c:pt>
                <c:pt idx="2361">
                  <c:v>19276</c:v>
                </c:pt>
                <c:pt idx="2362">
                  <c:v>19277</c:v>
                </c:pt>
                <c:pt idx="2363">
                  <c:v>19278</c:v>
                </c:pt>
                <c:pt idx="2364">
                  <c:v>19279</c:v>
                </c:pt>
                <c:pt idx="2365">
                  <c:v>19282</c:v>
                </c:pt>
                <c:pt idx="2366">
                  <c:v>19283</c:v>
                </c:pt>
                <c:pt idx="2367">
                  <c:v>19284</c:v>
                </c:pt>
                <c:pt idx="2368">
                  <c:v>19285</c:v>
                </c:pt>
                <c:pt idx="2369">
                  <c:v>19286</c:v>
                </c:pt>
                <c:pt idx="2370">
                  <c:v>19289</c:v>
                </c:pt>
                <c:pt idx="2371">
                  <c:v>19290</c:v>
                </c:pt>
                <c:pt idx="2372">
                  <c:v>19291</c:v>
                </c:pt>
                <c:pt idx="2373">
                  <c:v>19292</c:v>
                </c:pt>
                <c:pt idx="2374">
                  <c:v>19293</c:v>
                </c:pt>
                <c:pt idx="2375">
                  <c:v>19296</c:v>
                </c:pt>
                <c:pt idx="2376">
                  <c:v>19297</c:v>
                </c:pt>
                <c:pt idx="2377">
                  <c:v>19298</c:v>
                </c:pt>
                <c:pt idx="2378">
                  <c:v>19299</c:v>
                </c:pt>
                <c:pt idx="2379">
                  <c:v>19300</c:v>
                </c:pt>
                <c:pt idx="2380">
                  <c:v>19303</c:v>
                </c:pt>
                <c:pt idx="2381">
                  <c:v>19304</c:v>
                </c:pt>
                <c:pt idx="2382">
                  <c:v>19305</c:v>
                </c:pt>
                <c:pt idx="2383">
                  <c:v>19306</c:v>
                </c:pt>
                <c:pt idx="2384">
                  <c:v>19307</c:v>
                </c:pt>
                <c:pt idx="2385">
                  <c:v>19310</c:v>
                </c:pt>
                <c:pt idx="2386">
                  <c:v>19311</c:v>
                </c:pt>
                <c:pt idx="2387">
                  <c:v>19312</c:v>
                </c:pt>
                <c:pt idx="2388">
                  <c:v>19313</c:v>
                </c:pt>
                <c:pt idx="2389">
                  <c:v>19314</c:v>
                </c:pt>
                <c:pt idx="2390">
                  <c:v>19317</c:v>
                </c:pt>
                <c:pt idx="2391">
                  <c:v>19318</c:v>
                </c:pt>
                <c:pt idx="2392">
                  <c:v>19319</c:v>
                </c:pt>
                <c:pt idx="2393">
                  <c:v>19321</c:v>
                </c:pt>
                <c:pt idx="2394">
                  <c:v>19324</c:v>
                </c:pt>
                <c:pt idx="2395">
                  <c:v>19325</c:v>
                </c:pt>
                <c:pt idx="2396">
                  <c:v>19326</c:v>
                </c:pt>
                <c:pt idx="2397">
                  <c:v>19327</c:v>
                </c:pt>
                <c:pt idx="2398">
                  <c:v>19328</c:v>
                </c:pt>
                <c:pt idx="2399">
                  <c:v>19331</c:v>
                </c:pt>
                <c:pt idx="2400">
                  <c:v>19332</c:v>
                </c:pt>
                <c:pt idx="2401">
                  <c:v>19333</c:v>
                </c:pt>
                <c:pt idx="2402">
                  <c:v>19334</c:v>
                </c:pt>
                <c:pt idx="2403">
                  <c:v>19335</c:v>
                </c:pt>
                <c:pt idx="2404">
                  <c:v>19338</c:v>
                </c:pt>
                <c:pt idx="2405">
                  <c:v>19339</c:v>
                </c:pt>
                <c:pt idx="2406">
                  <c:v>19340</c:v>
                </c:pt>
                <c:pt idx="2407">
                  <c:v>19341</c:v>
                </c:pt>
                <c:pt idx="2408">
                  <c:v>19342</c:v>
                </c:pt>
                <c:pt idx="2409">
                  <c:v>19345</c:v>
                </c:pt>
                <c:pt idx="2410">
                  <c:v>19346</c:v>
                </c:pt>
                <c:pt idx="2411">
                  <c:v>19347</c:v>
                </c:pt>
                <c:pt idx="2412">
                  <c:v>19348</c:v>
                </c:pt>
                <c:pt idx="2413">
                  <c:v>19349</c:v>
                </c:pt>
                <c:pt idx="2414">
                  <c:v>19353</c:v>
                </c:pt>
                <c:pt idx="2415">
                  <c:v>19354</c:v>
                </c:pt>
                <c:pt idx="2416">
                  <c:v>19355</c:v>
                </c:pt>
                <c:pt idx="2417">
                  <c:v>19356</c:v>
                </c:pt>
                <c:pt idx="2418">
                  <c:v>19360</c:v>
                </c:pt>
                <c:pt idx="2419">
                  <c:v>19361</c:v>
                </c:pt>
                <c:pt idx="2420">
                  <c:v>19362</c:v>
                </c:pt>
                <c:pt idx="2421">
                  <c:v>19363</c:v>
                </c:pt>
                <c:pt idx="2422">
                  <c:v>19366</c:v>
                </c:pt>
                <c:pt idx="2423">
                  <c:v>19367</c:v>
                </c:pt>
                <c:pt idx="2424">
                  <c:v>19368</c:v>
                </c:pt>
                <c:pt idx="2425">
                  <c:v>19369</c:v>
                </c:pt>
                <c:pt idx="2426">
                  <c:v>19370</c:v>
                </c:pt>
                <c:pt idx="2427">
                  <c:v>19374</c:v>
                </c:pt>
                <c:pt idx="2428">
                  <c:v>19375</c:v>
                </c:pt>
                <c:pt idx="2429">
                  <c:v>19376</c:v>
                </c:pt>
                <c:pt idx="2430">
                  <c:v>19377</c:v>
                </c:pt>
                <c:pt idx="2431">
                  <c:v>19380</c:v>
                </c:pt>
                <c:pt idx="2432">
                  <c:v>19381</c:v>
                </c:pt>
                <c:pt idx="2433">
                  <c:v>19382</c:v>
                </c:pt>
                <c:pt idx="2434">
                  <c:v>19383</c:v>
                </c:pt>
                <c:pt idx="2435">
                  <c:v>19384</c:v>
                </c:pt>
                <c:pt idx="2436">
                  <c:v>19387</c:v>
                </c:pt>
                <c:pt idx="2437">
                  <c:v>19388</c:v>
                </c:pt>
                <c:pt idx="2438">
                  <c:v>19389</c:v>
                </c:pt>
                <c:pt idx="2439">
                  <c:v>19390</c:v>
                </c:pt>
                <c:pt idx="2440">
                  <c:v>19391</c:v>
                </c:pt>
                <c:pt idx="2441">
                  <c:v>19394</c:v>
                </c:pt>
                <c:pt idx="2442">
                  <c:v>19395</c:v>
                </c:pt>
                <c:pt idx="2443">
                  <c:v>19396</c:v>
                </c:pt>
                <c:pt idx="2444">
                  <c:v>19397</c:v>
                </c:pt>
                <c:pt idx="2445">
                  <c:v>19398</c:v>
                </c:pt>
                <c:pt idx="2446">
                  <c:v>19401</c:v>
                </c:pt>
                <c:pt idx="2447">
                  <c:v>19402</c:v>
                </c:pt>
                <c:pt idx="2448">
                  <c:v>19403</c:v>
                </c:pt>
                <c:pt idx="2449">
                  <c:v>19404</c:v>
                </c:pt>
                <c:pt idx="2450">
                  <c:v>19405</c:v>
                </c:pt>
                <c:pt idx="2451">
                  <c:v>19409</c:v>
                </c:pt>
                <c:pt idx="2452">
                  <c:v>19410</c:v>
                </c:pt>
                <c:pt idx="2453">
                  <c:v>19411</c:v>
                </c:pt>
                <c:pt idx="2454">
                  <c:v>19412</c:v>
                </c:pt>
                <c:pt idx="2455">
                  <c:v>19415</c:v>
                </c:pt>
                <c:pt idx="2456">
                  <c:v>19416</c:v>
                </c:pt>
                <c:pt idx="2457">
                  <c:v>19417</c:v>
                </c:pt>
                <c:pt idx="2458">
                  <c:v>19418</c:v>
                </c:pt>
                <c:pt idx="2459">
                  <c:v>19419</c:v>
                </c:pt>
                <c:pt idx="2460">
                  <c:v>19422</c:v>
                </c:pt>
                <c:pt idx="2461">
                  <c:v>19423</c:v>
                </c:pt>
                <c:pt idx="2462">
                  <c:v>19424</c:v>
                </c:pt>
                <c:pt idx="2463">
                  <c:v>19425</c:v>
                </c:pt>
                <c:pt idx="2464">
                  <c:v>19426</c:v>
                </c:pt>
                <c:pt idx="2465">
                  <c:v>19429</c:v>
                </c:pt>
                <c:pt idx="2466">
                  <c:v>19430</c:v>
                </c:pt>
                <c:pt idx="2467">
                  <c:v>19431</c:v>
                </c:pt>
                <c:pt idx="2468">
                  <c:v>19432</c:v>
                </c:pt>
                <c:pt idx="2469">
                  <c:v>19433</c:v>
                </c:pt>
                <c:pt idx="2470">
                  <c:v>19436</c:v>
                </c:pt>
                <c:pt idx="2471">
                  <c:v>19437</c:v>
                </c:pt>
                <c:pt idx="2472">
                  <c:v>19438</c:v>
                </c:pt>
                <c:pt idx="2473">
                  <c:v>19439</c:v>
                </c:pt>
                <c:pt idx="2474">
                  <c:v>19440</c:v>
                </c:pt>
                <c:pt idx="2475">
                  <c:v>19443</c:v>
                </c:pt>
                <c:pt idx="2476">
                  <c:v>19444</c:v>
                </c:pt>
                <c:pt idx="2477">
                  <c:v>19445</c:v>
                </c:pt>
                <c:pt idx="2478">
                  <c:v>19446</c:v>
                </c:pt>
                <c:pt idx="2479">
                  <c:v>19447</c:v>
                </c:pt>
                <c:pt idx="2480">
                  <c:v>19450</c:v>
                </c:pt>
                <c:pt idx="2481">
                  <c:v>19451</c:v>
                </c:pt>
                <c:pt idx="2482">
                  <c:v>19452</c:v>
                </c:pt>
                <c:pt idx="2483">
                  <c:v>19453</c:v>
                </c:pt>
                <c:pt idx="2484">
                  <c:v>19457</c:v>
                </c:pt>
                <c:pt idx="2485">
                  <c:v>19458</c:v>
                </c:pt>
                <c:pt idx="2486">
                  <c:v>19459</c:v>
                </c:pt>
                <c:pt idx="2487">
                  <c:v>19460</c:v>
                </c:pt>
                <c:pt idx="2488">
                  <c:v>19461</c:v>
                </c:pt>
                <c:pt idx="2489">
                  <c:v>19464</c:v>
                </c:pt>
                <c:pt idx="2490">
                  <c:v>19465</c:v>
                </c:pt>
                <c:pt idx="2491">
                  <c:v>19466</c:v>
                </c:pt>
                <c:pt idx="2492">
                  <c:v>19467</c:v>
                </c:pt>
                <c:pt idx="2493">
                  <c:v>19468</c:v>
                </c:pt>
                <c:pt idx="2494">
                  <c:v>19471</c:v>
                </c:pt>
                <c:pt idx="2495">
                  <c:v>19472</c:v>
                </c:pt>
                <c:pt idx="2496">
                  <c:v>19473</c:v>
                </c:pt>
                <c:pt idx="2497">
                  <c:v>19474</c:v>
                </c:pt>
                <c:pt idx="2498">
                  <c:v>19475</c:v>
                </c:pt>
                <c:pt idx="2499">
                  <c:v>19478</c:v>
                </c:pt>
                <c:pt idx="2500">
                  <c:v>19479</c:v>
                </c:pt>
                <c:pt idx="2501">
                  <c:v>19480</c:v>
                </c:pt>
                <c:pt idx="2502">
                  <c:v>19481</c:v>
                </c:pt>
                <c:pt idx="2503">
                  <c:v>19482</c:v>
                </c:pt>
                <c:pt idx="2504">
                  <c:v>19485</c:v>
                </c:pt>
                <c:pt idx="2505">
                  <c:v>19486</c:v>
                </c:pt>
                <c:pt idx="2506">
                  <c:v>19487</c:v>
                </c:pt>
                <c:pt idx="2507">
                  <c:v>19488</c:v>
                </c:pt>
                <c:pt idx="2508">
                  <c:v>19489</c:v>
                </c:pt>
                <c:pt idx="2509">
                  <c:v>19492</c:v>
                </c:pt>
                <c:pt idx="2510">
                  <c:v>19493</c:v>
                </c:pt>
                <c:pt idx="2511">
                  <c:v>19494</c:v>
                </c:pt>
                <c:pt idx="2512">
                  <c:v>19495</c:v>
                </c:pt>
                <c:pt idx="2513">
                  <c:v>19496</c:v>
                </c:pt>
                <c:pt idx="2514">
                  <c:v>19499</c:v>
                </c:pt>
                <c:pt idx="2515">
                  <c:v>19500</c:v>
                </c:pt>
                <c:pt idx="2516">
                  <c:v>19501</c:v>
                </c:pt>
                <c:pt idx="2517">
                  <c:v>19502</c:v>
                </c:pt>
                <c:pt idx="2518">
                  <c:v>19503</c:v>
                </c:pt>
              </c:numCache>
            </c:numRef>
          </c:xVal>
          <c:yVal>
            <c:numRef>
              <c:f>Sheet1!$A$2:$CRW$2</c:f>
              <c:numCache>
                <c:formatCode>General</c:formatCode>
                <c:ptCount val="2519"/>
                <c:pt idx="0">
                  <c:v>0</c:v>
                </c:pt>
                <c:pt idx="1">
                  <c:v>0.28999999999999998</c:v>
                </c:pt>
                <c:pt idx="2">
                  <c:v>1.82</c:v>
                </c:pt>
                <c:pt idx="3">
                  <c:v>0.57999999999999996</c:v>
                </c:pt>
                <c:pt idx="4">
                  <c:v>1.03</c:v>
                </c:pt>
                <c:pt idx="5">
                  <c:v>1.4</c:v>
                </c:pt>
                <c:pt idx="6">
                  <c:v>-0.14000000000000001</c:v>
                </c:pt>
                <c:pt idx="7">
                  <c:v>-0.27</c:v>
                </c:pt>
                <c:pt idx="8">
                  <c:v>1.19</c:v>
                </c:pt>
                <c:pt idx="9">
                  <c:v>1.72</c:v>
                </c:pt>
                <c:pt idx="10">
                  <c:v>-0.54</c:v>
                </c:pt>
                <c:pt idx="11">
                  <c:v>-1.63</c:v>
                </c:pt>
                <c:pt idx="12">
                  <c:v>0.31</c:v>
                </c:pt>
                <c:pt idx="13">
                  <c:v>-0.09</c:v>
                </c:pt>
                <c:pt idx="14">
                  <c:v>1.37</c:v>
                </c:pt>
                <c:pt idx="15">
                  <c:v>3.03</c:v>
                </c:pt>
                <c:pt idx="16">
                  <c:v>1.84</c:v>
                </c:pt>
                <c:pt idx="17">
                  <c:v>-1.33</c:v>
                </c:pt>
                <c:pt idx="18">
                  <c:v>-1.0900000000000001</c:v>
                </c:pt>
                <c:pt idx="19">
                  <c:v>-3.09</c:v>
                </c:pt>
                <c:pt idx="20">
                  <c:v>-0.74</c:v>
                </c:pt>
                <c:pt idx="21">
                  <c:v>-0.22</c:v>
                </c:pt>
                <c:pt idx="22">
                  <c:v>0.17</c:v>
                </c:pt>
                <c:pt idx="23">
                  <c:v>0.53</c:v>
                </c:pt>
                <c:pt idx="24">
                  <c:v>0.38</c:v>
                </c:pt>
                <c:pt idx="25">
                  <c:v>0.48</c:v>
                </c:pt>
                <c:pt idx="26">
                  <c:v>0.83</c:v>
                </c:pt>
                <c:pt idx="27">
                  <c:v>2.1800000000000002</c:v>
                </c:pt>
                <c:pt idx="28">
                  <c:v>0.12</c:v>
                </c:pt>
                <c:pt idx="29">
                  <c:v>1.17</c:v>
                </c:pt>
                <c:pt idx="30">
                  <c:v>2.31</c:v>
                </c:pt>
                <c:pt idx="31">
                  <c:v>4.43</c:v>
                </c:pt>
                <c:pt idx="32">
                  <c:v>5.08</c:v>
                </c:pt>
                <c:pt idx="33">
                  <c:v>5.0199999999999996</c:v>
                </c:pt>
                <c:pt idx="34">
                  <c:v>5.39</c:v>
                </c:pt>
                <c:pt idx="35">
                  <c:v>5.5</c:v>
                </c:pt>
                <c:pt idx="36">
                  <c:v>4.57</c:v>
                </c:pt>
                <c:pt idx="37">
                  <c:v>4.34</c:v>
                </c:pt>
                <c:pt idx="38">
                  <c:v>4.12</c:v>
                </c:pt>
                <c:pt idx="39">
                  <c:v>3.77</c:v>
                </c:pt>
                <c:pt idx="40">
                  <c:v>1.88</c:v>
                </c:pt>
                <c:pt idx="41">
                  <c:v>2.46</c:v>
                </c:pt>
                <c:pt idx="42">
                  <c:v>1.54</c:v>
                </c:pt>
                <c:pt idx="43">
                  <c:v>0.86</c:v>
                </c:pt>
                <c:pt idx="44">
                  <c:v>2.0699999999999998</c:v>
                </c:pt>
                <c:pt idx="45">
                  <c:v>2.54</c:v>
                </c:pt>
                <c:pt idx="46">
                  <c:v>4.43</c:v>
                </c:pt>
                <c:pt idx="47">
                  <c:v>3.74</c:v>
                </c:pt>
                <c:pt idx="48">
                  <c:v>3.48</c:v>
                </c:pt>
                <c:pt idx="49">
                  <c:v>2.73</c:v>
                </c:pt>
                <c:pt idx="50">
                  <c:v>1.76</c:v>
                </c:pt>
                <c:pt idx="51">
                  <c:v>1.8</c:v>
                </c:pt>
                <c:pt idx="52">
                  <c:v>1.25</c:v>
                </c:pt>
                <c:pt idx="53">
                  <c:v>1.65</c:v>
                </c:pt>
                <c:pt idx="54">
                  <c:v>2.82</c:v>
                </c:pt>
                <c:pt idx="55">
                  <c:v>1.1599999999999999</c:v>
                </c:pt>
                <c:pt idx="56">
                  <c:v>-1.0900000000000001</c:v>
                </c:pt>
                <c:pt idx="57">
                  <c:v>-0.75</c:v>
                </c:pt>
                <c:pt idx="58">
                  <c:v>-1.43</c:v>
                </c:pt>
                <c:pt idx="59">
                  <c:v>-0.88</c:v>
                </c:pt>
                <c:pt idx="60">
                  <c:v>-1.59</c:v>
                </c:pt>
                <c:pt idx="61">
                  <c:v>-0.45</c:v>
                </c:pt>
                <c:pt idx="62">
                  <c:v>-0.45</c:v>
                </c:pt>
                <c:pt idx="63">
                  <c:v>-0.65</c:v>
                </c:pt>
                <c:pt idx="64">
                  <c:v>-3.16</c:v>
                </c:pt>
                <c:pt idx="65">
                  <c:v>-2.0499999999999998</c:v>
                </c:pt>
                <c:pt idx="66">
                  <c:v>-0.88</c:v>
                </c:pt>
                <c:pt idx="67">
                  <c:v>-1.77</c:v>
                </c:pt>
                <c:pt idx="68">
                  <c:v>-0.92</c:v>
                </c:pt>
                <c:pt idx="69">
                  <c:v>1.64</c:v>
                </c:pt>
                <c:pt idx="70">
                  <c:v>2.38</c:v>
                </c:pt>
                <c:pt idx="71">
                  <c:v>1.97</c:v>
                </c:pt>
                <c:pt idx="72">
                  <c:v>3.32</c:v>
                </c:pt>
                <c:pt idx="73">
                  <c:v>5.3</c:v>
                </c:pt>
                <c:pt idx="74">
                  <c:v>4.96</c:v>
                </c:pt>
                <c:pt idx="75">
                  <c:v>4.32</c:v>
                </c:pt>
                <c:pt idx="76">
                  <c:v>4.78</c:v>
                </c:pt>
                <c:pt idx="77">
                  <c:v>5.24</c:v>
                </c:pt>
                <c:pt idx="78">
                  <c:v>5.89</c:v>
                </c:pt>
                <c:pt idx="79">
                  <c:v>6.81</c:v>
                </c:pt>
                <c:pt idx="80">
                  <c:v>6.47</c:v>
                </c:pt>
                <c:pt idx="81">
                  <c:v>5.84</c:v>
                </c:pt>
                <c:pt idx="82">
                  <c:v>5.44</c:v>
                </c:pt>
                <c:pt idx="83">
                  <c:v>6.18</c:v>
                </c:pt>
                <c:pt idx="84">
                  <c:v>6.23</c:v>
                </c:pt>
                <c:pt idx="85">
                  <c:v>6.17</c:v>
                </c:pt>
                <c:pt idx="86">
                  <c:v>5.34</c:v>
                </c:pt>
                <c:pt idx="87">
                  <c:v>5.34</c:v>
                </c:pt>
                <c:pt idx="88">
                  <c:v>6.4</c:v>
                </c:pt>
                <c:pt idx="89">
                  <c:v>6.26</c:v>
                </c:pt>
                <c:pt idx="90">
                  <c:v>5.98</c:v>
                </c:pt>
                <c:pt idx="91">
                  <c:v>6.82</c:v>
                </c:pt>
                <c:pt idx="92">
                  <c:v>6.26</c:v>
                </c:pt>
                <c:pt idx="93">
                  <c:v>4.4800000000000004</c:v>
                </c:pt>
                <c:pt idx="94">
                  <c:v>4.1100000000000003</c:v>
                </c:pt>
                <c:pt idx="95">
                  <c:v>6.55</c:v>
                </c:pt>
                <c:pt idx="96">
                  <c:v>6.75</c:v>
                </c:pt>
                <c:pt idx="97">
                  <c:v>7.52</c:v>
                </c:pt>
                <c:pt idx="98">
                  <c:v>6.56</c:v>
                </c:pt>
                <c:pt idx="99">
                  <c:v>7.65</c:v>
                </c:pt>
                <c:pt idx="100">
                  <c:v>8.4</c:v>
                </c:pt>
                <c:pt idx="101">
                  <c:v>8.69</c:v>
                </c:pt>
                <c:pt idx="102">
                  <c:v>9.0399999999999991</c:v>
                </c:pt>
                <c:pt idx="103">
                  <c:v>8.84</c:v>
                </c:pt>
                <c:pt idx="104">
                  <c:v>5.19</c:v>
                </c:pt>
                <c:pt idx="105">
                  <c:v>6.05</c:v>
                </c:pt>
                <c:pt idx="106">
                  <c:v>6.52</c:v>
                </c:pt>
                <c:pt idx="107">
                  <c:v>7.2</c:v>
                </c:pt>
                <c:pt idx="108">
                  <c:v>8.82</c:v>
                </c:pt>
                <c:pt idx="109">
                  <c:v>8.24</c:v>
                </c:pt>
                <c:pt idx="110">
                  <c:v>8.83</c:v>
                </c:pt>
                <c:pt idx="111">
                  <c:v>8.4700000000000006</c:v>
                </c:pt>
                <c:pt idx="112">
                  <c:v>8.31</c:v>
                </c:pt>
                <c:pt idx="113">
                  <c:v>7.98</c:v>
                </c:pt>
                <c:pt idx="114">
                  <c:v>8.36</c:v>
                </c:pt>
                <c:pt idx="115">
                  <c:v>6.28</c:v>
                </c:pt>
                <c:pt idx="116">
                  <c:v>7.52</c:v>
                </c:pt>
                <c:pt idx="117">
                  <c:v>7.4</c:v>
                </c:pt>
                <c:pt idx="118">
                  <c:v>8.08</c:v>
                </c:pt>
                <c:pt idx="119">
                  <c:v>9.0299999999999994</c:v>
                </c:pt>
                <c:pt idx="120">
                  <c:v>8.4700000000000006</c:v>
                </c:pt>
                <c:pt idx="121">
                  <c:v>9.23</c:v>
                </c:pt>
                <c:pt idx="122">
                  <c:v>8.2200000000000006</c:v>
                </c:pt>
                <c:pt idx="123">
                  <c:v>6.85</c:v>
                </c:pt>
                <c:pt idx="124">
                  <c:v>6.37</c:v>
                </c:pt>
                <c:pt idx="125">
                  <c:v>8.2200000000000006</c:v>
                </c:pt>
                <c:pt idx="126">
                  <c:v>8.3000000000000007</c:v>
                </c:pt>
                <c:pt idx="127">
                  <c:v>8.17</c:v>
                </c:pt>
                <c:pt idx="128">
                  <c:v>9.1</c:v>
                </c:pt>
                <c:pt idx="129">
                  <c:v>9.4600000000000009</c:v>
                </c:pt>
                <c:pt idx="130">
                  <c:v>9.51</c:v>
                </c:pt>
                <c:pt idx="131">
                  <c:v>9.33</c:v>
                </c:pt>
                <c:pt idx="132">
                  <c:v>9.7100000000000009</c:v>
                </c:pt>
                <c:pt idx="133">
                  <c:v>9.19</c:v>
                </c:pt>
                <c:pt idx="134">
                  <c:v>9.4499999999999993</c:v>
                </c:pt>
                <c:pt idx="135">
                  <c:v>10.66</c:v>
                </c:pt>
                <c:pt idx="136">
                  <c:v>10.92</c:v>
                </c:pt>
                <c:pt idx="137">
                  <c:v>10.6</c:v>
                </c:pt>
                <c:pt idx="138">
                  <c:v>9.49</c:v>
                </c:pt>
                <c:pt idx="139">
                  <c:v>8.56</c:v>
                </c:pt>
                <c:pt idx="140">
                  <c:v>8.5</c:v>
                </c:pt>
                <c:pt idx="141">
                  <c:v>9.92</c:v>
                </c:pt>
                <c:pt idx="142">
                  <c:v>11</c:v>
                </c:pt>
                <c:pt idx="143">
                  <c:v>11.83</c:v>
                </c:pt>
                <c:pt idx="144">
                  <c:v>11.13</c:v>
                </c:pt>
                <c:pt idx="145">
                  <c:v>12.05</c:v>
                </c:pt>
                <c:pt idx="146">
                  <c:v>13.03</c:v>
                </c:pt>
                <c:pt idx="147">
                  <c:v>13.4</c:v>
                </c:pt>
                <c:pt idx="148">
                  <c:v>13.71</c:v>
                </c:pt>
                <c:pt idx="149">
                  <c:v>13.74</c:v>
                </c:pt>
                <c:pt idx="150">
                  <c:v>14.09</c:v>
                </c:pt>
                <c:pt idx="151">
                  <c:v>14.83</c:v>
                </c:pt>
                <c:pt idx="152">
                  <c:v>13.27</c:v>
                </c:pt>
                <c:pt idx="153">
                  <c:v>13.04</c:v>
                </c:pt>
                <c:pt idx="154">
                  <c:v>12.41</c:v>
                </c:pt>
                <c:pt idx="155">
                  <c:v>13.2</c:v>
                </c:pt>
                <c:pt idx="156">
                  <c:v>14.99</c:v>
                </c:pt>
                <c:pt idx="157">
                  <c:v>14.07</c:v>
                </c:pt>
                <c:pt idx="158">
                  <c:v>14.54</c:v>
                </c:pt>
                <c:pt idx="159">
                  <c:v>13.25</c:v>
                </c:pt>
                <c:pt idx="160">
                  <c:v>15.81</c:v>
                </c:pt>
                <c:pt idx="161">
                  <c:v>16.8</c:v>
                </c:pt>
                <c:pt idx="162">
                  <c:v>16.12</c:v>
                </c:pt>
                <c:pt idx="163">
                  <c:v>15.5</c:v>
                </c:pt>
                <c:pt idx="164">
                  <c:v>16.22</c:v>
                </c:pt>
                <c:pt idx="165">
                  <c:v>17.5</c:v>
                </c:pt>
                <c:pt idx="166">
                  <c:v>16.21</c:v>
                </c:pt>
                <c:pt idx="167">
                  <c:v>13.51</c:v>
                </c:pt>
                <c:pt idx="168">
                  <c:v>12.73</c:v>
                </c:pt>
                <c:pt idx="169">
                  <c:v>13.22</c:v>
                </c:pt>
                <c:pt idx="170">
                  <c:v>12.71</c:v>
                </c:pt>
                <c:pt idx="171">
                  <c:v>14.17</c:v>
                </c:pt>
                <c:pt idx="172">
                  <c:v>13.57</c:v>
                </c:pt>
                <c:pt idx="173">
                  <c:v>11.06</c:v>
                </c:pt>
                <c:pt idx="174">
                  <c:v>11.25</c:v>
                </c:pt>
                <c:pt idx="175">
                  <c:v>11.27</c:v>
                </c:pt>
                <c:pt idx="176">
                  <c:v>13.03</c:v>
                </c:pt>
                <c:pt idx="177">
                  <c:v>14.89</c:v>
                </c:pt>
                <c:pt idx="178">
                  <c:v>15.47</c:v>
                </c:pt>
                <c:pt idx="179">
                  <c:v>16.940000000000001</c:v>
                </c:pt>
                <c:pt idx="180">
                  <c:v>17.93</c:v>
                </c:pt>
                <c:pt idx="181">
                  <c:v>19.329999999999998</c:v>
                </c:pt>
                <c:pt idx="182">
                  <c:v>20</c:v>
                </c:pt>
                <c:pt idx="183">
                  <c:v>20.28</c:v>
                </c:pt>
                <c:pt idx="184">
                  <c:v>20.190000000000001</c:v>
                </c:pt>
                <c:pt idx="185">
                  <c:v>21.06</c:v>
                </c:pt>
                <c:pt idx="186">
                  <c:v>20.45</c:v>
                </c:pt>
                <c:pt idx="187">
                  <c:v>20.91</c:v>
                </c:pt>
                <c:pt idx="188">
                  <c:v>20.3</c:v>
                </c:pt>
                <c:pt idx="189">
                  <c:v>21.11</c:v>
                </c:pt>
                <c:pt idx="190">
                  <c:v>21.09</c:v>
                </c:pt>
                <c:pt idx="191">
                  <c:v>21.01</c:v>
                </c:pt>
                <c:pt idx="192">
                  <c:v>20.239999999999998</c:v>
                </c:pt>
                <c:pt idx="193">
                  <c:v>22.36</c:v>
                </c:pt>
                <c:pt idx="194">
                  <c:v>22.61</c:v>
                </c:pt>
                <c:pt idx="195">
                  <c:v>23.41</c:v>
                </c:pt>
                <c:pt idx="196">
                  <c:v>23.28</c:v>
                </c:pt>
                <c:pt idx="197">
                  <c:v>23.02</c:v>
                </c:pt>
                <c:pt idx="198">
                  <c:v>22.35</c:v>
                </c:pt>
                <c:pt idx="199">
                  <c:v>23.39</c:v>
                </c:pt>
                <c:pt idx="200">
                  <c:v>21.29</c:v>
                </c:pt>
                <c:pt idx="201">
                  <c:v>20.72</c:v>
                </c:pt>
                <c:pt idx="202">
                  <c:v>22.23</c:v>
                </c:pt>
                <c:pt idx="203">
                  <c:v>23.88</c:v>
                </c:pt>
                <c:pt idx="204">
                  <c:v>23.77</c:v>
                </c:pt>
                <c:pt idx="205">
                  <c:v>26.12</c:v>
                </c:pt>
                <c:pt idx="206">
                  <c:v>25.02</c:v>
                </c:pt>
                <c:pt idx="207">
                  <c:v>24.45</c:v>
                </c:pt>
                <c:pt idx="208">
                  <c:v>25.41</c:v>
                </c:pt>
                <c:pt idx="209">
                  <c:v>24.02</c:v>
                </c:pt>
                <c:pt idx="210">
                  <c:v>23.05</c:v>
                </c:pt>
                <c:pt idx="211">
                  <c:v>23.94</c:v>
                </c:pt>
                <c:pt idx="212">
                  <c:v>25.93</c:v>
                </c:pt>
                <c:pt idx="213">
                  <c:v>27.89</c:v>
                </c:pt>
                <c:pt idx="214">
                  <c:v>27.69</c:v>
                </c:pt>
                <c:pt idx="215">
                  <c:v>27.9</c:v>
                </c:pt>
                <c:pt idx="216">
                  <c:v>24.31</c:v>
                </c:pt>
                <c:pt idx="217">
                  <c:v>23.17</c:v>
                </c:pt>
                <c:pt idx="218">
                  <c:v>24.73</c:v>
                </c:pt>
                <c:pt idx="219">
                  <c:v>26.14</c:v>
                </c:pt>
                <c:pt idx="220">
                  <c:v>22.15</c:v>
                </c:pt>
                <c:pt idx="221">
                  <c:v>20.260000000000002</c:v>
                </c:pt>
                <c:pt idx="222">
                  <c:v>21.26</c:v>
                </c:pt>
                <c:pt idx="223">
                  <c:v>22.12</c:v>
                </c:pt>
                <c:pt idx="224">
                  <c:v>21.88</c:v>
                </c:pt>
                <c:pt idx="225">
                  <c:v>24.14</c:v>
                </c:pt>
                <c:pt idx="226">
                  <c:v>25.23</c:v>
                </c:pt>
                <c:pt idx="227">
                  <c:v>26.43</c:v>
                </c:pt>
                <c:pt idx="228">
                  <c:v>26.29</c:v>
                </c:pt>
                <c:pt idx="229">
                  <c:v>26.98</c:v>
                </c:pt>
                <c:pt idx="230">
                  <c:v>22.8</c:v>
                </c:pt>
                <c:pt idx="231">
                  <c:v>22.02</c:v>
                </c:pt>
                <c:pt idx="232">
                  <c:v>22.98</c:v>
                </c:pt>
                <c:pt idx="233">
                  <c:v>23.61</c:v>
                </c:pt>
                <c:pt idx="234">
                  <c:v>23.16</c:v>
                </c:pt>
                <c:pt idx="235">
                  <c:v>23.51</c:v>
                </c:pt>
                <c:pt idx="236">
                  <c:v>23.61</c:v>
                </c:pt>
                <c:pt idx="237">
                  <c:v>23.08</c:v>
                </c:pt>
                <c:pt idx="238">
                  <c:v>23.19</c:v>
                </c:pt>
                <c:pt idx="239">
                  <c:v>24.01</c:v>
                </c:pt>
                <c:pt idx="240">
                  <c:v>23.61</c:v>
                </c:pt>
                <c:pt idx="241">
                  <c:v>25.87</c:v>
                </c:pt>
                <c:pt idx="242">
                  <c:v>24.88</c:v>
                </c:pt>
                <c:pt idx="243">
                  <c:v>23.79</c:v>
                </c:pt>
                <c:pt idx="244">
                  <c:v>22.33</c:v>
                </c:pt>
                <c:pt idx="245">
                  <c:v>23.62</c:v>
                </c:pt>
                <c:pt idx="246">
                  <c:v>24.92</c:v>
                </c:pt>
                <c:pt idx="247">
                  <c:v>24.17</c:v>
                </c:pt>
                <c:pt idx="248">
                  <c:v>24.87</c:v>
                </c:pt>
                <c:pt idx="249">
                  <c:v>25.4</c:v>
                </c:pt>
                <c:pt idx="250">
                  <c:v>26.61</c:v>
                </c:pt>
                <c:pt idx="251">
                  <c:v>28.15</c:v>
                </c:pt>
                <c:pt idx="252">
                  <c:v>28.27</c:v>
                </c:pt>
                <c:pt idx="253">
                  <c:v>28.55</c:v>
                </c:pt>
                <c:pt idx="254">
                  <c:v>28.68</c:v>
                </c:pt>
                <c:pt idx="255">
                  <c:v>29.38</c:v>
                </c:pt>
                <c:pt idx="256">
                  <c:v>30.58</c:v>
                </c:pt>
                <c:pt idx="257">
                  <c:v>31.16</c:v>
                </c:pt>
                <c:pt idx="258">
                  <c:v>31.84</c:v>
                </c:pt>
                <c:pt idx="259">
                  <c:v>32.47</c:v>
                </c:pt>
                <c:pt idx="260">
                  <c:v>32.729999999999997</c:v>
                </c:pt>
                <c:pt idx="261">
                  <c:v>33.119999999999997</c:v>
                </c:pt>
                <c:pt idx="262">
                  <c:v>33.81</c:v>
                </c:pt>
                <c:pt idx="263">
                  <c:v>33.35</c:v>
                </c:pt>
                <c:pt idx="264">
                  <c:v>34.67</c:v>
                </c:pt>
                <c:pt idx="265">
                  <c:v>35.409999999999997</c:v>
                </c:pt>
                <c:pt idx="266">
                  <c:v>36.39</c:v>
                </c:pt>
                <c:pt idx="267">
                  <c:v>35.9</c:v>
                </c:pt>
                <c:pt idx="268">
                  <c:v>36.07</c:v>
                </c:pt>
                <c:pt idx="269">
                  <c:v>36.369999999999997</c:v>
                </c:pt>
                <c:pt idx="270">
                  <c:v>35.880000000000003</c:v>
                </c:pt>
                <c:pt idx="271">
                  <c:v>34.89</c:v>
                </c:pt>
                <c:pt idx="272">
                  <c:v>35.4</c:v>
                </c:pt>
                <c:pt idx="273">
                  <c:v>34.840000000000003</c:v>
                </c:pt>
                <c:pt idx="274">
                  <c:v>35.049999999999997</c:v>
                </c:pt>
                <c:pt idx="275">
                  <c:v>36.479999999999997</c:v>
                </c:pt>
                <c:pt idx="276">
                  <c:v>38.369999999999997</c:v>
                </c:pt>
                <c:pt idx="277">
                  <c:v>38.6</c:v>
                </c:pt>
                <c:pt idx="278">
                  <c:v>39.619999999999997</c:v>
                </c:pt>
                <c:pt idx="279">
                  <c:v>38.67</c:v>
                </c:pt>
                <c:pt idx="280">
                  <c:v>37.92</c:v>
                </c:pt>
                <c:pt idx="281">
                  <c:v>38.76</c:v>
                </c:pt>
                <c:pt idx="282">
                  <c:v>38.1</c:v>
                </c:pt>
                <c:pt idx="283">
                  <c:v>38.19</c:v>
                </c:pt>
                <c:pt idx="284">
                  <c:v>38.67</c:v>
                </c:pt>
                <c:pt idx="285">
                  <c:v>38.31</c:v>
                </c:pt>
                <c:pt idx="286">
                  <c:v>39.880000000000003</c:v>
                </c:pt>
                <c:pt idx="287">
                  <c:v>36.35</c:v>
                </c:pt>
                <c:pt idx="288">
                  <c:v>38.1</c:v>
                </c:pt>
                <c:pt idx="289">
                  <c:v>38.43</c:v>
                </c:pt>
                <c:pt idx="290">
                  <c:v>39.36</c:v>
                </c:pt>
                <c:pt idx="291">
                  <c:v>36.17</c:v>
                </c:pt>
                <c:pt idx="292">
                  <c:v>35.020000000000003</c:v>
                </c:pt>
                <c:pt idx="293">
                  <c:v>32.35</c:v>
                </c:pt>
                <c:pt idx="294">
                  <c:v>32.21</c:v>
                </c:pt>
                <c:pt idx="295">
                  <c:v>31.87</c:v>
                </c:pt>
                <c:pt idx="296">
                  <c:v>33.19</c:v>
                </c:pt>
                <c:pt idx="297">
                  <c:v>30.39</c:v>
                </c:pt>
                <c:pt idx="298">
                  <c:v>30.87</c:v>
                </c:pt>
                <c:pt idx="299">
                  <c:v>31.41</c:v>
                </c:pt>
                <c:pt idx="300">
                  <c:v>29.91</c:v>
                </c:pt>
                <c:pt idx="301">
                  <c:v>30.43</c:v>
                </c:pt>
                <c:pt idx="302">
                  <c:v>28.64</c:v>
                </c:pt>
                <c:pt idx="303">
                  <c:v>30.11</c:v>
                </c:pt>
                <c:pt idx="304">
                  <c:v>31.35</c:v>
                </c:pt>
                <c:pt idx="305">
                  <c:v>31.2</c:v>
                </c:pt>
                <c:pt idx="306">
                  <c:v>32.409999999999997</c:v>
                </c:pt>
                <c:pt idx="307">
                  <c:v>32.69</c:v>
                </c:pt>
                <c:pt idx="308">
                  <c:v>34.049999999999997</c:v>
                </c:pt>
                <c:pt idx="309">
                  <c:v>34.67</c:v>
                </c:pt>
                <c:pt idx="310">
                  <c:v>35.53</c:v>
                </c:pt>
                <c:pt idx="311">
                  <c:v>36.630000000000003</c:v>
                </c:pt>
                <c:pt idx="312">
                  <c:v>37.159999999999997</c:v>
                </c:pt>
                <c:pt idx="313">
                  <c:v>37.299999999999997</c:v>
                </c:pt>
                <c:pt idx="314">
                  <c:v>36.770000000000003</c:v>
                </c:pt>
                <c:pt idx="315">
                  <c:v>36.83</c:v>
                </c:pt>
                <c:pt idx="316">
                  <c:v>37.049999999999997</c:v>
                </c:pt>
                <c:pt idx="317">
                  <c:v>37.46</c:v>
                </c:pt>
                <c:pt idx="318">
                  <c:v>38.479999999999997</c:v>
                </c:pt>
                <c:pt idx="319">
                  <c:v>37.9</c:v>
                </c:pt>
                <c:pt idx="320">
                  <c:v>38.229999999999997</c:v>
                </c:pt>
                <c:pt idx="321">
                  <c:v>38.58</c:v>
                </c:pt>
                <c:pt idx="322">
                  <c:v>39.770000000000003</c:v>
                </c:pt>
                <c:pt idx="323">
                  <c:v>40.04</c:v>
                </c:pt>
                <c:pt idx="324">
                  <c:v>38.75</c:v>
                </c:pt>
                <c:pt idx="325">
                  <c:v>38.76</c:v>
                </c:pt>
                <c:pt idx="326">
                  <c:v>39.1</c:v>
                </c:pt>
                <c:pt idx="327">
                  <c:v>37.33</c:v>
                </c:pt>
                <c:pt idx="328">
                  <c:v>35.69</c:v>
                </c:pt>
                <c:pt idx="329">
                  <c:v>38.03</c:v>
                </c:pt>
                <c:pt idx="330">
                  <c:v>39.04</c:v>
                </c:pt>
                <c:pt idx="331">
                  <c:v>41.08</c:v>
                </c:pt>
                <c:pt idx="332">
                  <c:v>39.4</c:v>
                </c:pt>
                <c:pt idx="333">
                  <c:v>37.65</c:v>
                </c:pt>
                <c:pt idx="334">
                  <c:v>37.33</c:v>
                </c:pt>
                <c:pt idx="335">
                  <c:v>38.97</c:v>
                </c:pt>
                <c:pt idx="336">
                  <c:v>36.369999999999997</c:v>
                </c:pt>
                <c:pt idx="337">
                  <c:v>38.07</c:v>
                </c:pt>
                <c:pt idx="338">
                  <c:v>38.270000000000003</c:v>
                </c:pt>
                <c:pt idx="339">
                  <c:v>37.03</c:v>
                </c:pt>
                <c:pt idx="340">
                  <c:v>33.79</c:v>
                </c:pt>
                <c:pt idx="341">
                  <c:v>32.99</c:v>
                </c:pt>
                <c:pt idx="342">
                  <c:v>33.729999999999997</c:v>
                </c:pt>
                <c:pt idx="343">
                  <c:v>32.630000000000003</c:v>
                </c:pt>
                <c:pt idx="344">
                  <c:v>30.1</c:v>
                </c:pt>
                <c:pt idx="345">
                  <c:v>33.06</c:v>
                </c:pt>
                <c:pt idx="346">
                  <c:v>29.41</c:v>
                </c:pt>
                <c:pt idx="347">
                  <c:v>20.49</c:v>
                </c:pt>
                <c:pt idx="348">
                  <c:v>17.93</c:v>
                </c:pt>
                <c:pt idx="349">
                  <c:v>20.12</c:v>
                </c:pt>
                <c:pt idx="350">
                  <c:v>20.69</c:v>
                </c:pt>
                <c:pt idx="351">
                  <c:v>22.49</c:v>
                </c:pt>
                <c:pt idx="352">
                  <c:v>23.48</c:v>
                </c:pt>
                <c:pt idx="353">
                  <c:v>25.37</c:v>
                </c:pt>
                <c:pt idx="354">
                  <c:v>29.9</c:v>
                </c:pt>
                <c:pt idx="355">
                  <c:v>28.11</c:v>
                </c:pt>
                <c:pt idx="356">
                  <c:v>29.98</c:v>
                </c:pt>
                <c:pt idx="357">
                  <c:v>31.36</c:v>
                </c:pt>
                <c:pt idx="358">
                  <c:v>31.83</c:v>
                </c:pt>
                <c:pt idx="359">
                  <c:v>33.81</c:v>
                </c:pt>
                <c:pt idx="360">
                  <c:v>33.96</c:v>
                </c:pt>
                <c:pt idx="361">
                  <c:v>32.409999999999997</c:v>
                </c:pt>
                <c:pt idx="362">
                  <c:v>37.54</c:v>
                </c:pt>
                <c:pt idx="363">
                  <c:v>38.380000000000003</c:v>
                </c:pt>
                <c:pt idx="364">
                  <c:v>38</c:v>
                </c:pt>
                <c:pt idx="365">
                  <c:v>39.299999999999997</c:v>
                </c:pt>
                <c:pt idx="366">
                  <c:v>38.06</c:v>
                </c:pt>
                <c:pt idx="367">
                  <c:v>36.82</c:v>
                </c:pt>
                <c:pt idx="368">
                  <c:v>37.840000000000003</c:v>
                </c:pt>
                <c:pt idx="369">
                  <c:v>37.450000000000003</c:v>
                </c:pt>
                <c:pt idx="370">
                  <c:v>37.31</c:v>
                </c:pt>
                <c:pt idx="371">
                  <c:v>37.31</c:v>
                </c:pt>
                <c:pt idx="372">
                  <c:v>38.549999999999997</c:v>
                </c:pt>
                <c:pt idx="373">
                  <c:v>37.9</c:v>
                </c:pt>
                <c:pt idx="374">
                  <c:v>40.53</c:v>
                </c:pt>
                <c:pt idx="375">
                  <c:v>39.54</c:v>
                </c:pt>
                <c:pt idx="376">
                  <c:v>40.85</c:v>
                </c:pt>
                <c:pt idx="377">
                  <c:v>42.28</c:v>
                </c:pt>
                <c:pt idx="378">
                  <c:v>43.68</c:v>
                </c:pt>
                <c:pt idx="379">
                  <c:v>43.66</c:v>
                </c:pt>
                <c:pt idx="380">
                  <c:v>46.69</c:v>
                </c:pt>
                <c:pt idx="381">
                  <c:v>47.17</c:v>
                </c:pt>
                <c:pt idx="382">
                  <c:v>45.23</c:v>
                </c:pt>
                <c:pt idx="383">
                  <c:v>46.23</c:v>
                </c:pt>
                <c:pt idx="384">
                  <c:v>49.22</c:v>
                </c:pt>
                <c:pt idx="385">
                  <c:v>49.41</c:v>
                </c:pt>
                <c:pt idx="386">
                  <c:v>50.9</c:v>
                </c:pt>
                <c:pt idx="387">
                  <c:v>48.73</c:v>
                </c:pt>
                <c:pt idx="388">
                  <c:v>48.7</c:v>
                </c:pt>
                <c:pt idx="389">
                  <c:v>45.93</c:v>
                </c:pt>
                <c:pt idx="390">
                  <c:v>46.62</c:v>
                </c:pt>
                <c:pt idx="391">
                  <c:v>44.08</c:v>
                </c:pt>
                <c:pt idx="392">
                  <c:v>42.88</c:v>
                </c:pt>
                <c:pt idx="393">
                  <c:v>41.93</c:v>
                </c:pt>
                <c:pt idx="394">
                  <c:v>44.99</c:v>
                </c:pt>
                <c:pt idx="395">
                  <c:v>47.68</c:v>
                </c:pt>
                <c:pt idx="396">
                  <c:v>47.25</c:v>
                </c:pt>
                <c:pt idx="397">
                  <c:v>49.52</c:v>
                </c:pt>
                <c:pt idx="398">
                  <c:v>49.23</c:v>
                </c:pt>
                <c:pt idx="399">
                  <c:v>49.45</c:v>
                </c:pt>
                <c:pt idx="400">
                  <c:v>49.59</c:v>
                </c:pt>
                <c:pt idx="401">
                  <c:v>49.18</c:v>
                </c:pt>
                <c:pt idx="402">
                  <c:v>48.3</c:v>
                </c:pt>
                <c:pt idx="403">
                  <c:v>47.42</c:v>
                </c:pt>
                <c:pt idx="404">
                  <c:v>47.39</c:v>
                </c:pt>
                <c:pt idx="405">
                  <c:v>44.57</c:v>
                </c:pt>
                <c:pt idx="406">
                  <c:v>41.4</c:v>
                </c:pt>
                <c:pt idx="407">
                  <c:v>42.78</c:v>
                </c:pt>
                <c:pt idx="408">
                  <c:v>46.94</c:v>
                </c:pt>
                <c:pt idx="409">
                  <c:v>47.13</c:v>
                </c:pt>
                <c:pt idx="410">
                  <c:v>44.19</c:v>
                </c:pt>
                <c:pt idx="411">
                  <c:v>42.85</c:v>
                </c:pt>
                <c:pt idx="412">
                  <c:v>42</c:v>
                </c:pt>
                <c:pt idx="413">
                  <c:v>40.9</c:v>
                </c:pt>
                <c:pt idx="414">
                  <c:v>42.48</c:v>
                </c:pt>
                <c:pt idx="415">
                  <c:v>43.92</c:v>
                </c:pt>
                <c:pt idx="416">
                  <c:v>45.55</c:v>
                </c:pt>
                <c:pt idx="417">
                  <c:v>46.47</c:v>
                </c:pt>
                <c:pt idx="418">
                  <c:v>46.06</c:v>
                </c:pt>
                <c:pt idx="419">
                  <c:v>46.45</c:v>
                </c:pt>
                <c:pt idx="420">
                  <c:v>43.75</c:v>
                </c:pt>
                <c:pt idx="421">
                  <c:v>42.95</c:v>
                </c:pt>
                <c:pt idx="422">
                  <c:v>43.07</c:v>
                </c:pt>
                <c:pt idx="423">
                  <c:v>40.18</c:v>
                </c:pt>
                <c:pt idx="424">
                  <c:v>40.619999999999997</c:v>
                </c:pt>
                <c:pt idx="425">
                  <c:v>43.14</c:v>
                </c:pt>
                <c:pt idx="426">
                  <c:v>43.61</c:v>
                </c:pt>
                <c:pt idx="427">
                  <c:v>45.02</c:v>
                </c:pt>
                <c:pt idx="428">
                  <c:v>44.19</c:v>
                </c:pt>
                <c:pt idx="429">
                  <c:v>42.62</c:v>
                </c:pt>
                <c:pt idx="430">
                  <c:v>47.45</c:v>
                </c:pt>
                <c:pt idx="431">
                  <c:v>47.93</c:v>
                </c:pt>
                <c:pt idx="432">
                  <c:v>50.27</c:v>
                </c:pt>
                <c:pt idx="433">
                  <c:v>51.32</c:v>
                </c:pt>
                <c:pt idx="434">
                  <c:v>51.77</c:v>
                </c:pt>
                <c:pt idx="435">
                  <c:v>51.34</c:v>
                </c:pt>
                <c:pt idx="436">
                  <c:v>51.73</c:v>
                </c:pt>
                <c:pt idx="437">
                  <c:v>52.65</c:v>
                </c:pt>
                <c:pt idx="438">
                  <c:v>51.67</c:v>
                </c:pt>
                <c:pt idx="439">
                  <c:v>53.69</c:v>
                </c:pt>
                <c:pt idx="440">
                  <c:v>52.81</c:v>
                </c:pt>
                <c:pt idx="441">
                  <c:v>53.81</c:v>
                </c:pt>
                <c:pt idx="442">
                  <c:v>53.38</c:v>
                </c:pt>
                <c:pt idx="443">
                  <c:v>57.64</c:v>
                </c:pt>
                <c:pt idx="444">
                  <c:v>54.58</c:v>
                </c:pt>
                <c:pt idx="445">
                  <c:v>54.43</c:v>
                </c:pt>
                <c:pt idx="446">
                  <c:v>54.58</c:v>
                </c:pt>
                <c:pt idx="447">
                  <c:v>52.9</c:v>
                </c:pt>
                <c:pt idx="448">
                  <c:v>53.46</c:v>
                </c:pt>
                <c:pt idx="449">
                  <c:v>50.51</c:v>
                </c:pt>
                <c:pt idx="450">
                  <c:v>50.91</c:v>
                </c:pt>
                <c:pt idx="451">
                  <c:v>50.83</c:v>
                </c:pt>
                <c:pt idx="452">
                  <c:v>51.91</c:v>
                </c:pt>
                <c:pt idx="453">
                  <c:v>54.21</c:v>
                </c:pt>
                <c:pt idx="454">
                  <c:v>53.07</c:v>
                </c:pt>
                <c:pt idx="455">
                  <c:v>54.2</c:v>
                </c:pt>
                <c:pt idx="456">
                  <c:v>54.57</c:v>
                </c:pt>
                <c:pt idx="457">
                  <c:v>56.87</c:v>
                </c:pt>
                <c:pt idx="458">
                  <c:v>55.38</c:v>
                </c:pt>
                <c:pt idx="459">
                  <c:v>54.05</c:v>
                </c:pt>
                <c:pt idx="460">
                  <c:v>46.96</c:v>
                </c:pt>
                <c:pt idx="461">
                  <c:v>44.92</c:v>
                </c:pt>
                <c:pt idx="462">
                  <c:v>49.02</c:v>
                </c:pt>
                <c:pt idx="463">
                  <c:v>51.04</c:v>
                </c:pt>
                <c:pt idx="464">
                  <c:v>49.26</c:v>
                </c:pt>
                <c:pt idx="465">
                  <c:v>48.34</c:v>
                </c:pt>
                <c:pt idx="466">
                  <c:v>47.91</c:v>
                </c:pt>
                <c:pt idx="467">
                  <c:v>48.66</c:v>
                </c:pt>
                <c:pt idx="468">
                  <c:v>48.72</c:v>
                </c:pt>
                <c:pt idx="469">
                  <c:v>49.69</c:v>
                </c:pt>
                <c:pt idx="470">
                  <c:v>51.56</c:v>
                </c:pt>
                <c:pt idx="471">
                  <c:v>52.18</c:v>
                </c:pt>
                <c:pt idx="472">
                  <c:v>51.2</c:v>
                </c:pt>
                <c:pt idx="473">
                  <c:v>49.77</c:v>
                </c:pt>
                <c:pt idx="474">
                  <c:v>52.23</c:v>
                </c:pt>
                <c:pt idx="475">
                  <c:v>51.54</c:v>
                </c:pt>
                <c:pt idx="476">
                  <c:v>49.39</c:v>
                </c:pt>
                <c:pt idx="477">
                  <c:v>50.73</c:v>
                </c:pt>
                <c:pt idx="478">
                  <c:v>51.76</c:v>
                </c:pt>
                <c:pt idx="479">
                  <c:v>53.84</c:v>
                </c:pt>
                <c:pt idx="480">
                  <c:v>51.41</c:v>
                </c:pt>
                <c:pt idx="481">
                  <c:v>48.89</c:v>
                </c:pt>
                <c:pt idx="482">
                  <c:v>49.4</c:v>
                </c:pt>
                <c:pt idx="483">
                  <c:v>49.43</c:v>
                </c:pt>
                <c:pt idx="484">
                  <c:v>48.56</c:v>
                </c:pt>
                <c:pt idx="485">
                  <c:v>47.29</c:v>
                </c:pt>
                <c:pt idx="486">
                  <c:v>51.41</c:v>
                </c:pt>
                <c:pt idx="487">
                  <c:v>51.1</c:v>
                </c:pt>
                <c:pt idx="488">
                  <c:v>47.74</c:v>
                </c:pt>
                <c:pt idx="489">
                  <c:v>47.54</c:v>
                </c:pt>
                <c:pt idx="490">
                  <c:v>49.2</c:v>
                </c:pt>
                <c:pt idx="491">
                  <c:v>50.69</c:v>
                </c:pt>
                <c:pt idx="492">
                  <c:v>50.73</c:v>
                </c:pt>
                <c:pt idx="493">
                  <c:v>49.41</c:v>
                </c:pt>
                <c:pt idx="494">
                  <c:v>50.26</c:v>
                </c:pt>
                <c:pt idx="495">
                  <c:v>52.02</c:v>
                </c:pt>
                <c:pt idx="496">
                  <c:v>52.28</c:v>
                </c:pt>
                <c:pt idx="497">
                  <c:v>53.78</c:v>
                </c:pt>
                <c:pt idx="498">
                  <c:v>53.11</c:v>
                </c:pt>
                <c:pt idx="499">
                  <c:v>53.34</c:v>
                </c:pt>
                <c:pt idx="500">
                  <c:v>54.19</c:v>
                </c:pt>
                <c:pt idx="501">
                  <c:v>54.57</c:v>
                </c:pt>
                <c:pt idx="502">
                  <c:v>53.4</c:v>
                </c:pt>
                <c:pt idx="503">
                  <c:v>59.32</c:v>
                </c:pt>
                <c:pt idx="504">
                  <c:v>59.52</c:v>
                </c:pt>
                <c:pt idx="505">
                  <c:v>59.98</c:v>
                </c:pt>
                <c:pt idx="506">
                  <c:v>60.12</c:v>
                </c:pt>
                <c:pt idx="507">
                  <c:v>58.23</c:v>
                </c:pt>
                <c:pt idx="508">
                  <c:v>57.25</c:v>
                </c:pt>
                <c:pt idx="509">
                  <c:v>55.77</c:v>
                </c:pt>
                <c:pt idx="510">
                  <c:v>55.88</c:v>
                </c:pt>
                <c:pt idx="511">
                  <c:v>52.89</c:v>
                </c:pt>
                <c:pt idx="512">
                  <c:v>52.72</c:v>
                </c:pt>
                <c:pt idx="513">
                  <c:v>54.73</c:v>
                </c:pt>
                <c:pt idx="514">
                  <c:v>54.64</c:v>
                </c:pt>
                <c:pt idx="515">
                  <c:v>53.27</c:v>
                </c:pt>
                <c:pt idx="516">
                  <c:v>52.94</c:v>
                </c:pt>
                <c:pt idx="517">
                  <c:v>53.47</c:v>
                </c:pt>
                <c:pt idx="518">
                  <c:v>53.5</c:v>
                </c:pt>
                <c:pt idx="519">
                  <c:v>55.73</c:v>
                </c:pt>
                <c:pt idx="520">
                  <c:v>55.25</c:v>
                </c:pt>
                <c:pt idx="521">
                  <c:v>56.29</c:v>
                </c:pt>
                <c:pt idx="522">
                  <c:v>55.36</c:v>
                </c:pt>
                <c:pt idx="523">
                  <c:v>53.77</c:v>
                </c:pt>
                <c:pt idx="524">
                  <c:v>53.63</c:v>
                </c:pt>
                <c:pt idx="525">
                  <c:v>49.88</c:v>
                </c:pt>
                <c:pt idx="526">
                  <c:v>45.53</c:v>
                </c:pt>
                <c:pt idx="527">
                  <c:v>46.06</c:v>
                </c:pt>
                <c:pt idx="528">
                  <c:v>46.4</c:v>
                </c:pt>
                <c:pt idx="529">
                  <c:v>47.12</c:v>
                </c:pt>
                <c:pt idx="530">
                  <c:v>44.89</c:v>
                </c:pt>
                <c:pt idx="531">
                  <c:v>44.42</c:v>
                </c:pt>
                <c:pt idx="532">
                  <c:v>40.630000000000003</c:v>
                </c:pt>
                <c:pt idx="533">
                  <c:v>38.78</c:v>
                </c:pt>
                <c:pt idx="534">
                  <c:v>41.41</c:v>
                </c:pt>
                <c:pt idx="535">
                  <c:v>42.5</c:v>
                </c:pt>
                <c:pt idx="536">
                  <c:v>44.04</c:v>
                </c:pt>
                <c:pt idx="537">
                  <c:v>43.15</c:v>
                </c:pt>
                <c:pt idx="538">
                  <c:v>43.5</c:v>
                </c:pt>
                <c:pt idx="539">
                  <c:v>43.16</c:v>
                </c:pt>
                <c:pt idx="540">
                  <c:v>42.19</c:v>
                </c:pt>
                <c:pt idx="541">
                  <c:v>42.26</c:v>
                </c:pt>
                <c:pt idx="542">
                  <c:v>38.67</c:v>
                </c:pt>
                <c:pt idx="543">
                  <c:v>40.69</c:v>
                </c:pt>
                <c:pt idx="544">
                  <c:v>37.89</c:v>
                </c:pt>
                <c:pt idx="545">
                  <c:v>36.9</c:v>
                </c:pt>
                <c:pt idx="546">
                  <c:v>39.700000000000003</c:v>
                </c:pt>
                <c:pt idx="547">
                  <c:v>39.880000000000003</c:v>
                </c:pt>
                <c:pt idx="548">
                  <c:v>40.39</c:v>
                </c:pt>
                <c:pt idx="549">
                  <c:v>38.71</c:v>
                </c:pt>
                <c:pt idx="550">
                  <c:v>38.29</c:v>
                </c:pt>
                <c:pt idx="551">
                  <c:v>36.75</c:v>
                </c:pt>
                <c:pt idx="552">
                  <c:v>38.35</c:v>
                </c:pt>
                <c:pt idx="553">
                  <c:v>35.880000000000003</c:v>
                </c:pt>
                <c:pt idx="554">
                  <c:v>36.67</c:v>
                </c:pt>
                <c:pt idx="555">
                  <c:v>40.07</c:v>
                </c:pt>
                <c:pt idx="556">
                  <c:v>36.9</c:v>
                </c:pt>
                <c:pt idx="557">
                  <c:v>37.68</c:v>
                </c:pt>
                <c:pt idx="558">
                  <c:v>36.26</c:v>
                </c:pt>
                <c:pt idx="559">
                  <c:v>35.43</c:v>
                </c:pt>
                <c:pt idx="560">
                  <c:v>36.770000000000003</c:v>
                </c:pt>
                <c:pt idx="561">
                  <c:v>33.92</c:v>
                </c:pt>
                <c:pt idx="562">
                  <c:v>32.700000000000003</c:v>
                </c:pt>
                <c:pt idx="563">
                  <c:v>27.65</c:v>
                </c:pt>
                <c:pt idx="564">
                  <c:v>24.18</c:v>
                </c:pt>
                <c:pt idx="565">
                  <c:v>21.6</c:v>
                </c:pt>
                <c:pt idx="566">
                  <c:v>20.100000000000001</c:v>
                </c:pt>
                <c:pt idx="567">
                  <c:v>26.16</c:v>
                </c:pt>
                <c:pt idx="568">
                  <c:v>30.87</c:v>
                </c:pt>
                <c:pt idx="569">
                  <c:v>31.76</c:v>
                </c:pt>
                <c:pt idx="570">
                  <c:v>31.14</c:v>
                </c:pt>
                <c:pt idx="571">
                  <c:v>26.65</c:v>
                </c:pt>
                <c:pt idx="572">
                  <c:v>29.58</c:v>
                </c:pt>
                <c:pt idx="573">
                  <c:v>30.61</c:v>
                </c:pt>
                <c:pt idx="574">
                  <c:v>28.26</c:v>
                </c:pt>
                <c:pt idx="575">
                  <c:v>33.94</c:v>
                </c:pt>
                <c:pt idx="576">
                  <c:v>31.53</c:v>
                </c:pt>
                <c:pt idx="577">
                  <c:v>32.06</c:v>
                </c:pt>
                <c:pt idx="578">
                  <c:v>32.17</c:v>
                </c:pt>
                <c:pt idx="579">
                  <c:v>32.56</c:v>
                </c:pt>
                <c:pt idx="580">
                  <c:v>34.17</c:v>
                </c:pt>
                <c:pt idx="581">
                  <c:v>34.47</c:v>
                </c:pt>
                <c:pt idx="582">
                  <c:v>33.29</c:v>
                </c:pt>
                <c:pt idx="583">
                  <c:v>31.08</c:v>
                </c:pt>
                <c:pt idx="584">
                  <c:v>30.65</c:v>
                </c:pt>
                <c:pt idx="585">
                  <c:v>27.71</c:v>
                </c:pt>
                <c:pt idx="586">
                  <c:v>26.78</c:v>
                </c:pt>
                <c:pt idx="587">
                  <c:v>26.56</c:v>
                </c:pt>
                <c:pt idx="588">
                  <c:v>27.24</c:v>
                </c:pt>
                <c:pt idx="589">
                  <c:v>23.71</c:v>
                </c:pt>
                <c:pt idx="590">
                  <c:v>24.58</c:v>
                </c:pt>
                <c:pt idx="591">
                  <c:v>29.36</c:v>
                </c:pt>
                <c:pt idx="592">
                  <c:v>27.83</c:v>
                </c:pt>
                <c:pt idx="593">
                  <c:v>30.59</c:v>
                </c:pt>
                <c:pt idx="594">
                  <c:v>33.03</c:v>
                </c:pt>
                <c:pt idx="595">
                  <c:v>33.479999999999997</c:v>
                </c:pt>
                <c:pt idx="596">
                  <c:v>35.49</c:v>
                </c:pt>
                <c:pt idx="597">
                  <c:v>36.24</c:v>
                </c:pt>
                <c:pt idx="598">
                  <c:v>35.1</c:v>
                </c:pt>
                <c:pt idx="599">
                  <c:v>35.33</c:v>
                </c:pt>
                <c:pt idx="600">
                  <c:v>33.549999999999997</c:v>
                </c:pt>
                <c:pt idx="601">
                  <c:v>38.58</c:v>
                </c:pt>
                <c:pt idx="602">
                  <c:v>39.909999999999997</c:v>
                </c:pt>
                <c:pt idx="603">
                  <c:v>40.07</c:v>
                </c:pt>
                <c:pt idx="604">
                  <c:v>40.119999999999997</c:v>
                </c:pt>
                <c:pt idx="605">
                  <c:v>39.9</c:v>
                </c:pt>
                <c:pt idx="606">
                  <c:v>40.200000000000003</c:v>
                </c:pt>
                <c:pt idx="607">
                  <c:v>45.07</c:v>
                </c:pt>
                <c:pt idx="608">
                  <c:v>46.74</c:v>
                </c:pt>
                <c:pt idx="609">
                  <c:v>43.84</c:v>
                </c:pt>
                <c:pt idx="610">
                  <c:v>42.88</c:v>
                </c:pt>
                <c:pt idx="611">
                  <c:v>45.34</c:v>
                </c:pt>
                <c:pt idx="612">
                  <c:v>40.99</c:v>
                </c:pt>
                <c:pt idx="613">
                  <c:v>42.19</c:v>
                </c:pt>
                <c:pt idx="614">
                  <c:v>43.48</c:v>
                </c:pt>
                <c:pt idx="615">
                  <c:v>44.16</c:v>
                </c:pt>
                <c:pt idx="616">
                  <c:v>44.54</c:v>
                </c:pt>
                <c:pt idx="617">
                  <c:v>41.51</c:v>
                </c:pt>
                <c:pt idx="618">
                  <c:v>45.18</c:v>
                </c:pt>
                <c:pt idx="619">
                  <c:v>43.78</c:v>
                </c:pt>
                <c:pt idx="620">
                  <c:v>41.21</c:v>
                </c:pt>
                <c:pt idx="621">
                  <c:v>41.28</c:v>
                </c:pt>
                <c:pt idx="622">
                  <c:v>39.450000000000003</c:v>
                </c:pt>
                <c:pt idx="623">
                  <c:v>38.15</c:v>
                </c:pt>
                <c:pt idx="624">
                  <c:v>39.94</c:v>
                </c:pt>
                <c:pt idx="625">
                  <c:v>40.75</c:v>
                </c:pt>
                <c:pt idx="626">
                  <c:v>42.11</c:v>
                </c:pt>
                <c:pt idx="627">
                  <c:v>42.43</c:v>
                </c:pt>
                <c:pt idx="628">
                  <c:v>42.88</c:v>
                </c:pt>
                <c:pt idx="629">
                  <c:v>41.04</c:v>
                </c:pt>
                <c:pt idx="630">
                  <c:v>42.85</c:v>
                </c:pt>
                <c:pt idx="631">
                  <c:v>42.96</c:v>
                </c:pt>
                <c:pt idx="632">
                  <c:v>43.9</c:v>
                </c:pt>
                <c:pt idx="633">
                  <c:v>45.33</c:v>
                </c:pt>
                <c:pt idx="634">
                  <c:v>47.34</c:v>
                </c:pt>
                <c:pt idx="635">
                  <c:v>46.52</c:v>
                </c:pt>
                <c:pt idx="636">
                  <c:v>45.67</c:v>
                </c:pt>
                <c:pt idx="637">
                  <c:v>48.41</c:v>
                </c:pt>
                <c:pt idx="638">
                  <c:v>46.98</c:v>
                </c:pt>
                <c:pt idx="639">
                  <c:v>45.73</c:v>
                </c:pt>
                <c:pt idx="640">
                  <c:v>43.86</c:v>
                </c:pt>
                <c:pt idx="641">
                  <c:v>44.7</c:v>
                </c:pt>
                <c:pt idx="642">
                  <c:v>41.82</c:v>
                </c:pt>
                <c:pt idx="643">
                  <c:v>40.9</c:v>
                </c:pt>
                <c:pt idx="644">
                  <c:v>43.04</c:v>
                </c:pt>
                <c:pt idx="645">
                  <c:v>44.16</c:v>
                </c:pt>
                <c:pt idx="646">
                  <c:v>42.02</c:v>
                </c:pt>
                <c:pt idx="647">
                  <c:v>40.299999999999997</c:v>
                </c:pt>
                <c:pt idx="648">
                  <c:v>42.96</c:v>
                </c:pt>
                <c:pt idx="649">
                  <c:v>43.17</c:v>
                </c:pt>
                <c:pt idx="650">
                  <c:v>44.18</c:v>
                </c:pt>
                <c:pt idx="651">
                  <c:v>44.74</c:v>
                </c:pt>
                <c:pt idx="652">
                  <c:v>44.17</c:v>
                </c:pt>
                <c:pt idx="653">
                  <c:v>45.89</c:v>
                </c:pt>
                <c:pt idx="654">
                  <c:v>44.46</c:v>
                </c:pt>
                <c:pt idx="655">
                  <c:v>42.4</c:v>
                </c:pt>
                <c:pt idx="656">
                  <c:v>40.85</c:v>
                </c:pt>
                <c:pt idx="657">
                  <c:v>39.39</c:v>
                </c:pt>
                <c:pt idx="658">
                  <c:v>35.47</c:v>
                </c:pt>
                <c:pt idx="659">
                  <c:v>30.97</c:v>
                </c:pt>
                <c:pt idx="660">
                  <c:v>28.88</c:v>
                </c:pt>
                <c:pt idx="661">
                  <c:v>29.53</c:v>
                </c:pt>
                <c:pt idx="662">
                  <c:v>30.61</c:v>
                </c:pt>
                <c:pt idx="663">
                  <c:v>26.52</c:v>
                </c:pt>
                <c:pt idx="664">
                  <c:v>29.11</c:v>
                </c:pt>
                <c:pt idx="665">
                  <c:v>23.25</c:v>
                </c:pt>
                <c:pt idx="666">
                  <c:v>23.44</c:v>
                </c:pt>
                <c:pt idx="667">
                  <c:v>24.25</c:v>
                </c:pt>
                <c:pt idx="668">
                  <c:v>26.1</c:v>
                </c:pt>
                <c:pt idx="669">
                  <c:v>28.43</c:v>
                </c:pt>
                <c:pt idx="670">
                  <c:v>26.58</c:v>
                </c:pt>
                <c:pt idx="671">
                  <c:v>27.88</c:v>
                </c:pt>
                <c:pt idx="672">
                  <c:v>26.34</c:v>
                </c:pt>
                <c:pt idx="673">
                  <c:v>25.95</c:v>
                </c:pt>
                <c:pt idx="674">
                  <c:v>31.71</c:v>
                </c:pt>
                <c:pt idx="675">
                  <c:v>32.340000000000003</c:v>
                </c:pt>
                <c:pt idx="676">
                  <c:v>27.85</c:v>
                </c:pt>
                <c:pt idx="677">
                  <c:v>28.15</c:v>
                </c:pt>
                <c:pt idx="678">
                  <c:v>30.43</c:v>
                </c:pt>
                <c:pt idx="679">
                  <c:v>25.82</c:v>
                </c:pt>
                <c:pt idx="680">
                  <c:v>22.64</c:v>
                </c:pt>
                <c:pt idx="681">
                  <c:v>21.9</c:v>
                </c:pt>
                <c:pt idx="682">
                  <c:v>20.97</c:v>
                </c:pt>
                <c:pt idx="683">
                  <c:v>20.010000000000002</c:v>
                </c:pt>
                <c:pt idx="684">
                  <c:v>22.74</c:v>
                </c:pt>
                <c:pt idx="685">
                  <c:v>27.04</c:v>
                </c:pt>
                <c:pt idx="686">
                  <c:v>30.07</c:v>
                </c:pt>
                <c:pt idx="687">
                  <c:v>29.31</c:v>
                </c:pt>
                <c:pt idx="688">
                  <c:v>29.94</c:v>
                </c:pt>
                <c:pt idx="689">
                  <c:v>31.99</c:v>
                </c:pt>
                <c:pt idx="690">
                  <c:v>29.82</c:v>
                </c:pt>
                <c:pt idx="691">
                  <c:v>31.64</c:v>
                </c:pt>
                <c:pt idx="692">
                  <c:v>33.29</c:v>
                </c:pt>
                <c:pt idx="693">
                  <c:v>34.06</c:v>
                </c:pt>
                <c:pt idx="694">
                  <c:v>33.520000000000003</c:v>
                </c:pt>
                <c:pt idx="695">
                  <c:v>37.33</c:v>
                </c:pt>
                <c:pt idx="696">
                  <c:v>38.07</c:v>
                </c:pt>
                <c:pt idx="697">
                  <c:v>38.19</c:v>
                </c:pt>
                <c:pt idx="698">
                  <c:v>39.64</c:v>
                </c:pt>
                <c:pt idx="699">
                  <c:v>40.08</c:v>
                </c:pt>
                <c:pt idx="700">
                  <c:v>36.93</c:v>
                </c:pt>
                <c:pt idx="701">
                  <c:v>38.06</c:v>
                </c:pt>
                <c:pt idx="702">
                  <c:v>38.770000000000003</c:v>
                </c:pt>
                <c:pt idx="703">
                  <c:v>41.47</c:v>
                </c:pt>
                <c:pt idx="704">
                  <c:v>40.869999999999997</c:v>
                </c:pt>
                <c:pt idx="705">
                  <c:v>40.659999999999997</c:v>
                </c:pt>
                <c:pt idx="706">
                  <c:v>41.9</c:v>
                </c:pt>
                <c:pt idx="707">
                  <c:v>42.93</c:v>
                </c:pt>
                <c:pt idx="708">
                  <c:v>44.87</c:v>
                </c:pt>
                <c:pt idx="709">
                  <c:v>45.07</c:v>
                </c:pt>
                <c:pt idx="710">
                  <c:v>44.93</c:v>
                </c:pt>
                <c:pt idx="711">
                  <c:v>43.04</c:v>
                </c:pt>
                <c:pt idx="712">
                  <c:v>42.97</c:v>
                </c:pt>
                <c:pt idx="713">
                  <c:v>42.77</c:v>
                </c:pt>
                <c:pt idx="714">
                  <c:v>44.68</c:v>
                </c:pt>
                <c:pt idx="715">
                  <c:v>46.11</c:v>
                </c:pt>
                <c:pt idx="716">
                  <c:v>45.27</c:v>
                </c:pt>
                <c:pt idx="717">
                  <c:v>46.28</c:v>
                </c:pt>
                <c:pt idx="718">
                  <c:v>44.95</c:v>
                </c:pt>
                <c:pt idx="719">
                  <c:v>44.08</c:v>
                </c:pt>
                <c:pt idx="720">
                  <c:v>45.56</c:v>
                </c:pt>
                <c:pt idx="721">
                  <c:v>43.25</c:v>
                </c:pt>
                <c:pt idx="722">
                  <c:v>44.08</c:v>
                </c:pt>
                <c:pt idx="723">
                  <c:v>43.92</c:v>
                </c:pt>
                <c:pt idx="724">
                  <c:v>43.74</c:v>
                </c:pt>
                <c:pt idx="725">
                  <c:v>47.05</c:v>
                </c:pt>
                <c:pt idx="726">
                  <c:v>45.79</c:v>
                </c:pt>
                <c:pt idx="727">
                  <c:v>44.55</c:v>
                </c:pt>
                <c:pt idx="728">
                  <c:v>44.65</c:v>
                </c:pt>
                <c:pt idx="729">
                  <c:v>42.85</c:v>
                </c:pt>
                <c:pt idx="730">
                  <c:v>44.26</c:v>
                </c:pt>
                <c:pt idx="731">
                  <c:v>43.3</c:v>
                </c:pt>
                <c:pt idx="732">
                  <c:v>43.59</c:v>
                </c:pt>
                <c:pt idx="733">
                  <c:v>42.79</c:v>
                </c:pt>
                <c:pt idx="734">
                  <c:v>44.74</c:v>
                </c:pt>
                <c:pt idx="735">
                  <c:v>46.21</c:v>
                </c:pt>
                <c:pt idx="736">
                  <c:v>42.23</c:v>
                </c:pt>
                <c:pt idx="737">
                  <c:v>38.5</c:v>
                </c:pt>
                <c:pt idx="738">
                  <c:v>39.56</c:v>
                </c:pt>
                <c:pt idx="739">
                  <c:v>37.92</c:v>
                </c:pt>
                <c:pt idx="740">
                  <c:v>36.26</c:v>
                </c:pt>
                <c:pt idx="741">
                  <c:v>36.67</c:v>
                </c:pt>
                <c:pt idx="742">
                  <c:v>36.82</c:v>
                </c:pt>
                <c:pt idx="743">
                  <c:v>36.61</c:v>
                </c:pt>
                <c:pt idx="744">
                  <c:v>38.28</c:v>
                </c:pt>
                <c:pt idx="745">
                  <c:v>37.85</c:v>
                </c:pt>
                <c:pt idx="746">
                  <c:v>35.380000000000003</c:v>
                </c:pt>
                <c:pt idx="747">
                  <c:v>35.909999999999997</c:v>
                </c:pt>
                <c:pt idx="748">
                  <c:v>38.07</c:v>
                </c:pt>
                <c:pt idx="749">
                  <c:v>37.119999999999997</c:v>
                </c:pt>
                <c:pt idx="750">
                  <c:v>39.36</c:v>
                </c:pt>
                <c:pt idx="751">
                  <c:v>38.369999999999997</c:v>
                </c:pt>
                <c:pt idx="752">
                  <c:v>42.74</c:v>
                </c:pt>
                <c:pt idx="753">
                  <c:v>43.68</c:v>
                </c:pt>
                <c:pt idx="754">
                  <c:v>47.15</c:v>
                </c:pt>
                <c:pt idx="755">
                  <c:v>47.97</c:v>
                </c:pt>
                <c:pt idx="756">
                  <c:v>48.43</c:v>
                </c:pt>
                <c:pt idx="757">
                  <c:v>49.31</c:v>
                </c:pt>
                <c:pt idx="758">
                  <c:v>50.1</c:v>
                </c:pt>
                <c:pt idx="759">
                  <c:v>50.94</c:v>
                </c:pt>
                <c:pt idx="760">
                  <c:v>50.97</c:v>
                </c:pt>
                <c:pt idx="761">
                  <c:v>51.44</c:v>
                </c:pt>
                <c:pt idx="762">
                  <c:v>51.03</c:v>
                </c:pt>
                <c:pt idx="763">
                  <c:v>52.5</c:v>
                </c:pt>
                <c:pt idx="764">
                  <c:v>52.42</c:v>
                </c:pt>
                <c:pt idx="765">
                  <c:v>52.58</c:v>
                </c:pt>
                <c:pt idx="766">
                  <c:v>50.03</c:v>
                </c:pt>
                <c:pt idx="767">
                  <c:v>49.25</c:v>
                </c:pt>
                <c:pt idx="768">
                  <c:v>49.26</c:v>
                </c:pt>
                <c:pt idx="769">
                  <c:v>49.13</c:v>
                </c:pt>
                <c:pt idx="770">
                  <c:v>49.11</c:v>
                </c:pt>
                <c:pt idx="771">
                  <c:v>47.89</c:v>
                </c:pt>
                <c:pt idx="772">
                  <c:v>49.61</c:v>
                </c:pt>
                <c:pt idx="773">
                  <c:v>50.1</c:v>
                </c:pt>
                <c:pt idx="774">
                  <c:v>49.86</c:v>
                </c:pt>
                <c:pt idx="775">
                  <c:v>53.81</c:v>
                </c:pt>
                <c:pt idx="776">
                  <c:v>44.95</c:v>
                </c:pt>
                <c:pt idx="777">
                  <c:v>39.14</c:v>
                </c:pt>
                <c:pt idx="778">
                  <c:v>42.88</c:v>
                </c:pt>
                <c:pt idx="779">
                  <c:v>45.81</c:v>
                </c:pt>
                <c:pt idx="780">
                  <c:v>48.45</c:v>
                </c:pt>
                <c:pt idx="781">
                  <c:v>47.02</c:v>
                </c:pt>
                <c:pt idx="782">
                  <c:v>44.33</c:v>
                </c:pt>
                <c:pt idx="783">
                  <c:v>44.56</c:v>
                </c:pt>
                <c:pt idx="784">
                  <c:v>46.33</c:v>
                </c:pt>
                <c:pt idx="785">
                  <c:v>50.46</c:v>
                </c:pt>
                <c:pt idx="786">
                  <c:v>52.15</c:v>
                </c:pt>
                <c:pt idx="787">
                  <c:v>54.17</c:v>
                </c:pt>
                <c:pt idx="788">
                  <c:v>54.29</c:v>
                </c:pt>
                <c:pt idx="789">
                  <c:v>55.43</c:v>
                </c:pt>
                <c:pt idx="790">
                  <c:v>55.31</c:v>
                </c:pt>
                <c:pt idx="791">
                  <c:v>57.65</c:v>
                </c:pt>
                <c:pt idx="792">
                  <c:v>57.05</c:v>
                </c:pt>
                <c:pt idx="793">
                  <c:v>59.62</c:v>
                </c:pt>
                <c:pt idx="794">
                  <c:v>58.45</c:v>
                </c:pt>
                <c:pt idx="795">
                  <c:v>59.33</c:v>
                </c:pt>
                <c:pt idx="796">
                  <c:v>60.2</c:v>
                </c:pt>
                <c:pt idx="797">
                  <c:v>66.31</c:v>
                </c:pt>
                <c:pt idx="798">
                  <c:v>66.319999999999993</c:v>
                </c:pt>
                <c:pt idx="799">
                  <c:v>65.37</c:v>
                </c:pt>
                <c:pt idx="800">
                  <c:v>64.569999999999993</c:v>
                </c:pt>
                <c:pt idx="801">
                  <c:v>64.83</c:v>
                </c:pt>
                <c:pt idx="802">
                  <c:v>62.19</c:v>
                </c:pt>
                <c:pt idx="803">
                  <c:v>62.37</c:v>
                </c:pt>
                <c:pt idx="804">
                  <c:v>63.88</c:v>
                </c:pt>
                <c:pt idx="805">
                  <c:v>66.069999999999993</c:v>
                </c:pt>
                <c:pt idx="806">
                  <c:v>65.78</c:v>
                </c:pt>
                <c:pt idx="807">
                  <c:v>67.14</c:v>
                </c:pt>
                <c:pt idx="808">
                  <c:v>65.86</c:v>
                </c:pt>
                <c:pt idx="809">
                  <c:v>66.599999999999994</c:v>
                </c:pt>
                <c:pt idx="810">
                  <c:v>67.37</c:v>
                </c:pt>
                <c:pt idx="811">
                  <c:v>69.64</c:v>
                </c:pt>
                <c:pt idx="812">
                  <c:v>68.39</c:v>
                </c:pt>
                <c:pt idx="813">
                  <c:v>68.39</c:v>
                </c:pt>
                <c:pt idx="814">
                  <c:v>69.58</c:v>
                </c:pt>
                <c:pt idx="815">
                  <c:v>71.06</c:v>
                </c:pt>
                <c:pt idx="816">
                  <c:v>71.11</c:v>
                </c:pt>
                <c:pt idx="817">
                  <c:v>71.98</c:v>
                </c:pt>
                <c:pt idx="818">
                  <c:v>70.48</c:v>
                </c:pt>
                <c:pt idx="819">
                  <c:v>71.150000000000006</c:v>
                </c:pt>
                <c:pt idx="820">
                  <c:v>72</c:v>
                </c:pt>
                <c:pt idx="821">
                  <c:v>72.47</c:v>
                </c:pt>
                <c:pt idx="822">
                  <c:v>72.14</c:v>
                </c:pt>
                <c:pt idx="823">
                  <c:v>72.010000000000005</c:v>
                </c:pt>
                <c:pt idx="824">
                  <c:v>73.489999999999995</c:v>
                </c:pt>
                <c:pt idx="825">
                  <c:v>73.19</c:v>
                </c:pt>
                <c:pt idx="826">
                  <c:v>72.790000000000006</c:v>
                </c:pt>
                <c:pt idx="827">
                  <c:v>71.52</c:v>
                </c:pt>
                <c:pt idx="828">
                  <c:v>71.17</c:v>
                </c:pt>
                <c:pt idx="829">
                  <c:v>64.91</c:v>
                </c:pt>
                <c:pt idx="830">
                  <c:v>68.25</c:v>
                </c:pt>
                <c:pt idx="831">
                  <c:v>66.7</c:v>
                </c:pt>
                <c:pt idx="832">
                  <c:v>68.2</c:v>
                </c:pt>
                <c:pt idx="833">
                  <c:v>72.08</c:v>
                </c:pt>
                <c:pt idx="834">
                  <c:v>72.03</c:v>
                </c:pt>
                <c:pt idx="835">
                  <c:v>72.349999999999994</c:v>
                </c:pt>
                <c:pt idx="836">
                  <c:v>71.510000000000005</c:v>
                </c:pt>
                <c:pt idx="837">
                  <c:v>73.98</c:v>
                </c:pt>
                <c:pt idx="838">
                  <c:v>74.599999999999994</c:v>
                </c:pt>
                <c:pt idx="839">
                  <c:v>72.680000000000007</c:v>
                </c:pt>
                <c:pt idx="840">
                  <c:v>70.97</c:v>
                </c:pt>
                <c:pt idx="841">
                  <c:v>74.02</c:v>
                </c:pt>
                <c:pt idx="842">
                  <c:v>74.37</c:v>
                </c:pt>
                <c:pt idx="843">
                  <c:v>76.56</c:v>
                </c:pt>
                <c:pt idx="844">
                  <c:v>79.34</c:v>
                </c:pt>
                <c:pt idx="845">
                  <c:v>78.02</c:v>
                </c:pt>
                <c:pt idx="846">
                  <c:v>77.56</c:v>
                </c:pt>
                <c:pt idx="847">
                  <c:v>78.930000000000007</c:v>
                </c:pt>
                <c:pt idx="848">
                  <c:v>79.98</c:v>
                </c:pt>
                <c:pt idx="849">
                  <c:v>79.64</c:v>
                </c:pt>
                <c:pt idx="850">
                  <c:v>78.760000000000005</c:v>
                </c:pt>
                <c:pt idx="851">
                  <c:v>74.98</c:v>
                </c:pt>
                <c:pt idx="852">
                  <c:v>74.400000000000006</c:v>
                </c:pt>
                <c:pt idx="853">
                  <c:v>72.349999999999994</c:v>
                </c:pt>
                <c:pt idx="854">
                  <c:v>73.709999999999994</c:v>
                </c:pt>
                <c:pt idx="855">
                  <c:v>72.77</c:v>
                </c:pt>
                <c:pt idx="856">
                  <c:v>74.86</c:v>
                </c:pt>
                <c:pt idx="857">
                  <c:v>74.040000000000006</c:v>
                </c:pt>
                <c:pt idx="858">
                  <c:v>75.28</c:v>
                </c:pt>
                <c:pt idx="859">
                  <c:v>74.81</c:v>
                </c:pt>
                <c:pt idx="860">
                  <c:v>78.09</c:v>
                </c:pt>
                <c:pt idx="861">
                  <c:v>77.849999999999994</c:v>
                </c:pt>
                <c:pt idx="862">
                  <c:v>77.540000000000006</c:v>
                </c:pt>
                <c:pt idx="863">
                  <c:v>76.790000000000006</c:v>
                </c:pt>
                <c:pt idx="864">
                  <c:v>75.75</c:v>
                </c:pt>
                <c:pt idx="865">
                  <c:v>76.739999999999995</c:v>
                </c:pt>
                <c:pt idx="866">
                  <c:v>75.150000000000006</c:v>
                </c:pt>
                <c:pt idx="867">
                  <c:v>73.959999999999994</c:v>
                </c:pt>
                <c:pt idx="868">
                  <c:v>73.41</c:v>
                </c:pt>
                <c:pt idx="869">
                  <c:v>72.31</c:v>
                </c:pt>
                <c:pt idx="870">
                  <c:v>77.25</c:v>
                </c:pt>
                <c:pt idx="871">
                  <c:v>77.64</c:v>
                </c:pt>
                <c:pt idx="872">
                  <c:v>76.760000000000005</c:v>
                </c:pt>
                <c:pt idx="873">
                  <c:v>73</c:v>
                </c:pt>
                <c:pt idx="874">
                  <c:v>79.69</c:v>
                </c:pt>
                <c:pt idx="875">
                  <c:v>78.58</c:v>
                </c:pt>
                <c:pt idx="876">
                  <c:v>81.98</c:v>
                </c:pt>
                <c:pt idx="877">
                  <c:v>84.05</c:v>
                </c:pt>
                <c:pt idx="878">
                  <c:v>86.04</c:v>
                </c:pt>
                <c:pt idx="879">
                  <c:v>87.28</c:v>
                </c:pt>
                <c:pt idx="880">
                  <c:v>88.65</c:v>
                </c:pt>
                <c:pt idx="881">
                  <c:v>90.64</c:v>
                </c:pt>
                <c:pt idx="882">
                  <c:v>90.86</c:v>
                </c:pt>
                <c:pt idx="883">
                  <c:v>91.22</c:v>
                </c:pt>
                <c:pt idx="884">
                  <c:v>90.42</c:v>
                </c:pt>
                <c:pt idx="885">
                  <c:v>89.99</c:v>
                </c:pt>
                <c:pt idx="886">
                  <c:v>88.75</c:v>
                </c:pt>
                <c:pt idx="887">
                  <c:v>79.59</c:v>
                </c:pt>
                <c:pt idx="888">
                  <c:v>81.93</c:v>
                </c:pt>
                <c:pt idx="889">
                  <c:v>84.17</c:v>
                </c:pt>
                <c:pt idx="890">
                  <c:v>86.72</c:v>
                </c:pt>
                <c:pt idx="891">
                  <c:v>90.68</c:v>
                </c:pt>
                <c:pt idx="892">
                  <c:v>92.23</c:v>
                </c:pt>
                <c:pt idx="893">
                  <c:v>91.55</c:v>
                </c:pt>
                <c:pt idx="894">
                  <c:v>90.04</c:v>
                </c:pt>
                <c:pt idx="895">
                  <c:v>92.2</c:v>
                </c:pt>
                <c:pt idx="896">
                  <c:v>91.93</c:v>
                </c:pt>
                <c:pt idx="897">
                  <c:v>95.3</c:v>
                </c:pt>
                <c:pt idx="898">
                  <c:v>93.34</c:v>
                </c:pt>
                <c:pt idx="899">
                  <c:v>95.24</c:v>
                </c:pt>
                <c:pt idx="900">
                  <c:v>97.02</c:v>
                </c:pt>
                <c:pt idx="901">
                  <c:v>97.09</c:v>
                </c:pt>
                <c:pt idx="902">
                  <c:v>98.11</c:v>
                </c:pt>
                <c:pt idx="903">
                  <c:v>99.15</c:v>
                </c:pt>
                <c:pt idx="904">
                  <c:v>101.57</c:v>
                </c:pt>
                <c:pt idx="905">
                  <c:v>97.68</c:v>
                </c:pt>
                <c:pt idx="906">
                  <c:v>97.71</c:v>
                </c:pt>
                <c:pt idx="907">
                  <c:v>94.55</c:v>
                </c:pt>
                <c:pt idx="908">
                  <c:v>94.73</c:v>
                </c:pt>
                <c:pt idx="909">
                  <c:v>95.25</c:v>
                </c:pt>
                <c:pt idx="910">
                  <c:v>93.52</c:v>
                </c:pt>
                <c:pt idx="911">
                  <c:v>95.02</c:v>
                </c:pt>
                <c:pt idx="912">
                  <c:v>97.15</c:v>
                </c:pt>
                <c:pt idx="913">
                  <c:v>98.11</c:v>
                </c:pt>
                <c:pt idx="914">
                  <c:v>98.85</c:v>
                </c:pt>
                <c:pt idx="915">
                  <c:v>97.06</c:v>
                </c:pt>
                <c:pt idx="916">
                  <c:v>98.45</c:v>
                </c:pt>
                <c:pt idx="917">
                  <c:v>95.19</c:v>
                </c:pt>
                <c:pt idx="918">
                  <c:v>97.96</c:v>
                </c:pt>
                <c:pt idx="919">
                  <c:v>97.03</c:v>
                </c:pt>
                <c:pt idx="920">
                  <c:v>99.6</c:v>
                </c:pt>
                <c:pt idx="921">
                  <c:v>98.26</c:v>
                </c:pt>
                <c:pt idx="922">
                  <c:v>102.26</c:v>
                </c:pt>
                <c:pt idx="923">
                  <c:v>105.19</c:v>
                </c:pt>
                <c:pt idx="924">
                  <c:v>103.96</c:v>
                </c:pt>
                <c:pt idx="925">
                  <c:v>106.52</c:v>
                </c:pt>
                <c:pt idx="926">
                  <c:v>105.36</c:v>
                </c:pt>
                <c:pt idx="927">
                  <c:v>102.66</c:v>
                </c:pt>
                <c:pt idx="928">
                  <c:v>106.06</c:v>
                </c:pt>
                <c:pt idx="929">
                  <c:v>105.84</c:v>
                </c:pt>
                <c:pt idx="930">
                  <c:v>106.9</c:v>
                </c:pt>
                <c:pt idx="931">
                  <c:v>107.62</c:v>
                </c:pt>
                <c:pt idx="932">
                  <c:v>108.31</c:v>
                </c:pt>
                <c:pt idx="933">
                  <c:v>108.64</c:v>
                </c:pt>
                <c:pt idx="934">
                  <c:v>106.85</c:v>
                </c:pt>
                <c:pt idx="935">
                  <c:v>106.69</c:v>
                </c:pt>
                <c:pt idx="936">
                  <c:v>107.26</c:v>
                </c:pt>
                <c:pt idx="937">
                  <c:v>106.6</c:v>
                </c:pt>
                <c:pt idx="938">
                  <c:v>108.3</c:v>
                </c:pt>
                <c:pt idx="939">
                  <c:v>108.45</c:v>
                </c:pt>
                <c:pt idx="940">
                  <c:v>109.64</c:v>
                </c:pt>
                <c:pt idx="941">
                  <c:v>112.57</c:v>
                </c:pt>
                <c:pt idx="942">
                  <c:v>112.49</c:v>
                </c:pt>
                <c:pt idx="943">
                  <c:v>109.01</c:v>
                </c:pt>
                <c:pt idx="944">
                  <c:v>108.92</c:v>
                </c:pt>
                <c:pt idx="945">
                  <c:v>110.84</c:v>
                </c:pt>
                <c:pt idx="946">
                  <c:v>108.05</c:v>
                </c:pt>
                <c:pt idx="947">
                  <c:v>111.46</c:v>
                </c:pt>
                <c:pt idx="948">
                  <c:v>109.11</c:v>
                </c:pt>
                <c:pt idx="949">
                  <c:v>109.03</c:v>
                </c:pt>
                <c:pt idx="950">
                  <c:v>109.08</c:v>
                </c:pt>
                <c:pt idx="951">
                  <c:v>109.65</c:v>
                </c:pt>
                <c:pt idx="952">
                  <c:v>110.11</c:v>
                </c:pt>
                <c:pt idx="953">
                  <c:v>110.43</c:v>
                </c:pt>
                <c:pt idx="954">
                  <c:v>112.89</c:v>
                </c:pt>
                <c:pt idx="955">
                  <c:v>114.49</c:v>
                </c:pt>
                <c:pt idx="956">
                  <c:v>113.83</c:v>
                </c:pt>
                <c:pt idx="957">
                  <c:v>115.62</c:v>
                </c:pt>
                <c:pt idx="958">
                  <c:v>115.22</c:v>
                </c:pt>
                <c:pt idx="959">
                  <c:v>115.61</c:v>
                </c:pt>
                <c:pt idx="960">
                  <c:v>117.26</c:v>
                </c:pt>
                <c:pt idx="961">
                  <c:v>112.14</c:v>
                </c:pt>
                <c:pt idx="962">
                  <c:v>114.48</c:v>
                </c:pt>
                <c:pt idx="963">
                  <c:v>113.94</c:v>
                </c:pt>
                <c:pt idx="964">
                  <c:v>115.55</c:v>
                </c:pt>
                <c:pt idx="965">
                  <c:v>115.9</c:v>
                </c:pt>
                <c:pt idx="966">
                  <c:v>116.55</c:v>
                </c:pt>
                <c:pt idx="967">
                  <c:v>116.01</c:v>
                </c:pt>
                <c:pt idx="968">
                  <c:v>117.15</c:v>
                </c:pt>
                <c:pt idx="969">
                  <c:v>117.07</c:v>
                </c:pt>
                <c:pt idx="970">
                  <c:v>115.86</c:v>
                </c:pt>
                <c:pt idx="971">
                  <c:v>114.72</c:v>
                </c:pt>
                <c:pt idx="972">
                  <c:v>113.23</c:v>
                </c:pt>
                <c:pt idx="973">
                  <c:v>113.48</c:v>
                </c:pt>
                <c:pt idx="974">
                  <c:v>114.48</c:v>
                </c:pt>
                <c:pt idx="975">
                  <c:v>112.82</c:v>
                </c:pt>
                <c:pt idx="976">
                  <c:v>111.05</c:v>
                </c:pt>
                <c:pt idx="977">
                  <c:v>107.44</c:v>
                </c:pt>
                <c:pt idx="978">
                  <c:v>106.04</c:v>
                </c:pt>
                <c:pt idx="979">
                  <c:v>108.73</c:v>
                </c:pt>
                <c:pt idx="980">
                  <c:v>109.61</c:v>
                </c:pt>
                <c:pt idx="981">
                  <c:v>110.77</c:v>
                </c:pt>
                <c:pt idx="982">
                  <c:v>114.09</c:v>
                </c:pt>
                <c:pt idx="983">
                  <c:v>113.11</c:v>
                </c:pt>
                <c:pt idx="984">
                  <c:v>116.29</c:v>
                </c:pt>
                <c:pt idx="985">
                  <c:v>118.44</c:v>
                </c:pt>
                <c:pt idx="986">
                  <c:v>116.58</c:v>
                </c:pt>
                <c:pt idx="987">
                  <c:v>119.62</c:v>
                </c:pt>
                <c:pt idx="988">
                  <c:v>115.81</c:v>
                </c:pt>
                <c:pt idx="989">
                  <c:v>117.93</c:v>
                </c:pt>
                <c:pt idx="990">
                  <c:v>115.61</c:v>
                </c:pt>
                <c:pt idx="991">
                  <c:v>116.35</c:v>
                </c:pt>
                <c:pt idx="992">
                  <c:v>116.08</c:v>
                </c:pt>
                <c:pt idx="993">
                  <c:v>116.99</c:v>
                </c:pt>
                <c:pt idx="994">
                  <c:v>116.16</c:v>
                </c:pt>
                <c:pt idx="995">
                  <c:v>118.38</c:v>
                </c:pt>
                <c:pt idx="996">
                  <c:v>122.97</c:v>
                </c:pt>
                <c:pt idx="997">
                  <c:v>123.73</c:v>
                </c:pt>
                <c:pt idx="998">
                  <c:v>124.33</c:v>
                </c:pt>
                <c:pt idx="999">
                  <c:v>127.72</c:v>
                </c:pt>
                <c:pt idx="1000">
                  <c:v>131.11000000000001</c:v>
                </c:pt>
                <c:pt idx="1001">
                  <c:v>121.02</c:v>
                </c:pt>
                <c:pt idx="1002">
                  <c:v>125.2</c:v>
                </c:pt>
                <c:pt idx="1003">
                  <c:v>127.66</c:v>
                </c:pt>
                <c:pt idx="1004">
                  <c:v>130.13999999999999</c:v>
                </c:pt>
                <c:pt idx="1005">
                  <c:v>129.19999999999999</c:v>
                </c:pt>
                <c:pt idx="1006">
                  <c:v>130.68</c:v>
                </c:pt>
                <c:pt idx="1007">
                  <c:v>131.94999999999999</c:v>
                </c:pt>
                <c:pt idx="1008">
                  <c:v>132.83000000000001</c:v>
                </c:pt>
                <c:pt idx="1009">
                  <c:v>134.25</c:v>
                </c:pt>
                <c:pt idx="1010">
                  <c:v>134.24</c:v>
                </c:pt>
                <c:pt idx="1011">
                  <c:v>134.47999999999999</c:v>
                </c:pt>
                <c:pt idx="1012">
                  <c:v>136.81</c:v>
                </c:pt>
                <c:pt idx="1013">
                  <c:v>137.41999999999999</c:v>
                </c:pt>
                <c:pt idx="1014">
                  <c:v>138.25</c:v>
                </c:pt>
                <c:pt idx="1015">
                  <c:v>140.01</c:v>
                </c:pt>
                <c:pt idx="1016">
                  <c:v>144.29</c:v>
                </c:pt>
                <c:pt idx="1017">
                  <c:v>133.94999999999999</c:v>
                </c:pt>
                <c:pt idx="1018">
                  <c:v>132.74</c:v>
                </c:pt>
                <c:pt idx="1019">
                  <c:v>134.22</c:v>
                </c:pt>
                <c:pt idx="1020">
                  <c:v>131.75</c:v>
                </c:pt>
                <c:pt idx="1021">
                  <c:v>129.81</c:v>
                </c:pt>
                <c:pt idx="1022">
                  <c:v>129.05000000000001</c:v>
                </c:pt>
                <c:pt idx="1023">
                  <c:v>133.49</c:v>
                </c:pt>
                <c:pt idx="1024">
                  <c:v>130.69</c:v>
                </c:pt>
                <c:pt idx="1025">
                  <c:v>133.38</c:v>
                </c:pt>
                <c:pt idx="1026">
                  <c:v>132.85</c:v>
                </c:pt>
                <c:pt idx="1027">
                  <c:v>133.61000000000001</c:v>
                </c:pt>
                <c:pt idx="1028">
                  <c:v>131.34</c:v>
                </c:pt>
                <c:pt idx="1029">
                  <c:v>125.06</c:v>
                </c:pt>
                <c:pt idx="1030">
                  <c:v>129.04</c:v>
                </c:pt>
                <c:pt idx="1031">
                  <c:v>123.29</c:v>
                </c:pt>
                <c:pt idx="1032">
                  <c:v>122.11</c:v>
                </c:pt>
                <c:pt idx="1033">
                  <c:v>119.02</c:v>
                </c:pt>
                <c:pt idx="1034">
                  <c:v>123.59</c:v>
                </c:pt>
                <c:pt idx="1035">
                  <c:v>122.57</c:v>
                </c:pt>
                <c:pt idx="1036">
                  <c:v>126.4</c:v>
                </c:pt>
                <c:pt idx="1037">
                  <c:v>129.02000000000001</c:v>
                </c:pt>
                <c:pt idx="1038">
                  <c:v>130.81</c:v>
                </c:pt>
                <c:pt idx="1039">
                  <c:v>134.55000000000001</c:v>
                </c:pt>
                <c:pt idx="1040">
                  <c:v>133.96</c:v>
                </c:pt>
                <c:pt idx="1041">
                  <c:v>137.01</c:v>
                </c:pt>
                <c:pt idx="1042">
                  <c:v>135.99</c:v>
                </c:pt>
                <c:pt idx="1043">
                  <c:v>136.80000000000001</c:v>
                </c:pt>
                <c:pt idx="1044">
                  <c:v>138.91</c:v>
                </c:pt>
                <c:pt idx="1045">
                  <c:v>139.65</c:v>
                </c:pt>
                <c:pt idx="1046">
                  <c:v>137.69999999999999</c:v>
                </c:pt>
                <c:pt idx="1047">
                  <c:v>136.72999999999999</c:v>
                </c:pt>
                <c:pt idx="1048">
                  <c:v>136.63999999999999</c:v>
                </c:pt>
                <c:pt idx="1049">
                  <c:v>139.38</c:v>
                </c:pt>
                <c:pt idx="1050">
                  <c:v>135.49</c:v>
                </c:pt>
                <c:pt idx="1051">
                  <c:v>134.58000000000001</c:v>
                </c:pt>
                <c:pt idx="1052">
                  <c:v>132.88999999999999</c:v>
                </c:pt>
                <c:pt idx="1053">
                  <c:v>134.18</c:v>
                </c:pt>
                <c:pt idx="1054">
                  <c:v>132.63999999999999</c:v>
                </c:pt>
                <c:pt idx="1055">
                  <c:v>131.53</c:v>
                </c:pt>
                <c:pt idx="1056">
                  <c:v>131.66999999999999</c:v>
                </c:pt>
                <c:pt idx="1057">
                  <c:v>135.71</c:v>
                </c:pt>
                <c:pt idx="1058">
                  <c:v>134.75</c:v>
                </c:pt>
                <c:pt idx="1059">
                  <c:v>134.04</c:v>
                </c:pt>
                <c:pt idx="1060">
                  <c:v>127.5</c:v>
                </c:pt>
                <c:pt idx="1061">
                  <c:v>128.83000000000001</c:v>
                </c:pt>
                <c:pt idx="1062">
                  <c:v>134.74</c:v>
                </c:pt>
                <c:pt idx="1063">
                  <c:v>135.32</c:v>
                </c:pt>
                <c:pt idx="1064">
                  <c:v>135.66999999999999</c:v>
                </c:pt>
                <c:pt idx="1065">
                  <c:v>129.58000000000001</c:v>
                </c:pt>
                <c:pt idx="1066">
                  <c:v>130.05000000000001</c:v>
                </c:pt>
                <c:pt idx="1067">
                  <c:v>128.47</c:v>
                </c:pt>
                <c:pt idx="1068">
                  <c:v>132.13999999999999</c:v>
                </c:pt>
                <c:pt idx="1069">
                  <c:v>133.16</c:v>
                </c:pt>
                <c:pt idx="1070">
                  <c:v>133.06</c:v>
                </c:pt>
                <c:pt idx="1071">
                  <c:v>131.9</c:v>
                </c:pt>
                <c:pt idx="1072">
                  <c:v>132.35</c:v>
                </c:pt>
                <c:pt idx="1073">
                  <c:v>132.83000000000001</c:v>
                </c:pt>
                <c:pt idx="1074">
                  <c:v>136.87</c:v>
                </c:pt>
                <c:pt idx="1075">
                  <c:v>139.15</c:v>
                </c:pt>
                <c:pt idx="1076">
                  <c:v>140.22999999999999</c:v>
                </c:pt>
                <c:pt idx="1077">
                  <c:v>136.86000000000001</c:v>
                </c:pt>
                <c:pt idx="1078">
                  <c:v>137.32</c:v>
                </c:pt>
                <c:pt idx="1079">
                  <c:v>137.66</c:v>
                </c:pt>
                <c:pt idx="1080">
                  <c:v>134.68</c:v>
                </c:pt>
                <c:pt idx="1081">
                  <c:v>139.4</c:v>
                </c:pt>
                <c:pt idx="1082">
                  <c:v>140.41999999999999</c:v>
                </c:pt>
                <c:pt idx="1083">
                  <c:v>140.81</c:v>
                </c:pt>
                <c:pt idx="1084">
                  <c:v>141.97</c:v>
                </c:pt>
                <c:pt idx="1085">
                  <c:v>146.1</c:v>
                </c:pt>
                <c:pt idx="1086">
                  <c:v>149.15</c:v>
                </c:pt>
                <c:pt idx="1087">
                  <c:v>150.03</c:v>
                </c:pt>
                <c:pt idx="1088">
                  <c:v>146.51</c:v>
                </c:pt>
                <c:pt idx="1089">
                  <c:v>145.5</c:v>
                </c:pt>
                <c:pt idx="1090">
                  <c:v>146.72</c:v>
                </c:pt>
                <c:pt idx="1091">
                  <c:v>141.86000000000001</c:v>
                </c:pt>
                <c:pt idx="1092">
                  <c:v>141.75</c:v>
                </c:pt>
                <c:pt idx="1093">
                  <c:v>147.46</c:v>
                </c:pt>
                <c:pt idx="1094">
                  <c:v>149.32</c:v>
                </c:pt>
                <c:pt idx="1095">
                  <c:v>151.47999999999999</c:v>
                </c:pt>
                <c:pt idx="1096">
                  <c:v>152.97999999999999</c:v>
                </c:pt>
                <c:pt idx="1097">
                  <c:v>153.77000000000001</c:v>
                </c:pt>
                <c:pt idx="1098">
                  <c:v>154.38</c:v>
                </c:pt>
                <c:pt idx="1099">
                  <c:v>154.55000000000001</c:v>
                </c:pt>
                <c:pt idx="1100">
                  <c:v>155.71</c:v>
                </c:pt>
                <c:pt idx="1101">
                  <c:v>157.51</c:v>
                </c:pt>
                <c:pt idx="1102">
                  <c:v>159.09</c:v>
                </c:pt>
                <c:pt idx="1103">
                  <c:v>160.80000000000001</c:v>
                </c:pt>
                <c:pt idx="1104">
                  <c:v>159.93</c:v>
                </c:pt>
                <c:pt idx="1105">
                  <c:v>161.66999999999999</c:v>
                </c:pt>
                <c:pt idx="1106">
                  <c:v>162.91</c:v>
                </c:pt>
                <c:pt idx="1107">
                  <c:v>162.72</c:v>
                </c:pt>
                <c:pt idx="1108">
                  <c:v>163.59</c:v>
                </c:pt>
                <c:pt idx="1109">
                  <c:v>162.91999999999999</c:v>
                </c:pt>
                <c:pt idx="1110">
                  <c:v>164.27</c:v>
                </c:pt>
                <c:pt idx="1111">
                  <c:v>165.51</c:v>
                </c:pt>
                <c:pt idx="1112">
                  <c:v>167.28</c:v>
                </c:pt>
                <c:pt idx="1113">
                  <c:v>163.82</c:v>
                </c:pt>
                <c:pt idx="1114">
                  <c:v>165.49</c:v>
                </c:pt>
                <c:pt idx="1115">
                  <c:v>171.18</c:v>
                </c:pt>
                <c:pt idx="1116">
                  <c:v>171.69</c:v>
                </c:pt>
                <c:pt idx="1117">
                  <c:v>173.77</c:v>
                </c:pt>
                <c:pt idx="1118">
                  <c:v>172.89</c:v>
                </c:pt>
                <c:pt idx="1119">
                  <c:v>174.14</c:v>
                </c:pt>
                <c:pt idx="1120">
                  <c:v>179</c:v>
                </c:pt>
                <c:pt idx="1121">
                  <c:v>182.73</c:v>
                </c:pt>
                <c:pt idx="1122">
                  <c:v>182.56</c:v>
                </c:pt>
                <c:pt idx="1123">
                  <c:v>183.54</c:v>
                </c:pt>
                <c:pt idx="1124">
                  <c:v>177.86</c:v>
                </c:pt>
                <c:pt idx="1125">
                  <c:v>179.66</c:v>
                </c:pt>
                <c:pt idx="1126">
                  <c:v>180.42</c:v>
                </c:pt>
                <c:pt idx="1127">
                  <c:v>180.08</c:v>
                </c:pt>
                <c:pt idx="1128">
                  <c:v>177.55</c:v>
                </c:pt>
                <c:pt idx="1129">
                  <c:v>181.82</c:v>
                </c:pt>
                <c:pt idx="1130">
                  <c:v>180.49</c:v>
                </c:pt>
                <c:pt idx="1131">
                  <c:v>183.9</c:v>
                </c:pt>
                <c:pt idx="1132">
                  <c:v>187.14</c:v>
                </c:pt>
                <c:pt idx="1133">
                  <c:v>185.25</c:v>
                </c:pt>
                <c:pt idx="1134">
                  <c:v>187.95</c:v>
                </c:pt>
                <c:pt idx="1135">
                  <c:v>184.19</c:v>
                </c:pt>
                <c:pt idx="1136">
                  <c:v>183.96</c:v>
                </c:pt>
                <c:pt idx="1137">
                  <c:v>171.5</c:v>
                </c:pt>
                <c:pt idx="1138">
                  <c:v>173.11</c:v>
                </c:pt>
                <c:pt idx="1139">
                  <c:v>170.13</c:v>
                </c:pt>
                <c:pt idx="1140">
                  <c:v>163.52000000000001</c:v>
                </c:pt>
                <c:pt idx="1141">
                  <c:v>163.66</c:v>
                </c:pt>
                <c:pt idx="1142">
                  <c:v>164.47</c:v>
                </c:pt>
                <c:pt idx="1143">
                  <c:v>167.1</c:v>
                </c:pt>
                <c:pt idx="1144">
                  <c:v>165.75</c:v>
                </c:pt>
                <c:pt idx="1145">
                  <c:v>167.33</c:v>
                </c:pt>
                <c:pt idx="1146">
                  <c:v>164.67</c:v>
                </c:pt>
                <c:pt idx="1147">
                  <c:v>164.64</c:v>
                </c:pt>
                <c:pt idx="1148">
                  <c:v>164.5</c:v>
                </c:pt>
                <c:pt idx="1149">
                  <c:v>168.47</c:v>
                </c:pt>
                <c:pt idx="1150">
                  <c:v>174.27</c:v>
                </c:pt>
                <c:pt idx="1151">
                  <c:v>173.97</c:v>
                </c:pt>
                <c:pt idx="1152">
                  <c:v>175.88</c:v>
                </c:pt>
                <c:pt idx="1153">
                  <c:v>172.96</c:v>
                </c:pt>
                <c:pt idx="1154">
                  <c:v>172.82</c:v>
                </c:pt>
                <c:pt idx="1155">
                  <c:v>170.18</c:v>
                </c:pt>
                <c:pt idx="1156">
                  <c:v>171.14</c:v>
                </c:pt>
                <c:pt idx="1157">
                  <c:v>171.77</c:v>
                </c:pt>
                <c:pt idx="1158">
                  <c:v>168.93</c:v>
                </c:pt>
                <c:pt idx="1159">
                  <c:v>176.37</c:v>
                </c:pt>
                <c:pt idx="1160">
                  <c:v>181.12</c:v>
                </c:pt>
                <c:pt idx="1161">
                  <c:v>182.71</c:v>
                </c:pt>
                <c:pt idx="1162">
                  <c:v>184.52</c:v>
                </c:pt>
                <c:pt idx="1163">
                  <c:v>186.63</c:v>
                </c:pt>
                <c:pt idx="1164">
                  <c:v>183.85</c:v>
                </c:pt>
                <c:pt idx="1165">
                  <c:v>180.34</c:v>
                </c:pt>
                <c:pt idx="1166">
                  <c:v>182.08</c:v>
                </c:pt>
                <c:pt idx="1167">
                  <c:v>183.75</c:v>
                </c:pt>
                <c:pt idx="1168">
                  <c:v>184.58</c:v>
                </c:pt>
                <c:pt idx="1169">
                  <c:v>192.8</c:v>
                </c:pt>
                <c:pt idx="1170">
                  <c:v>194.15</c:v>
                </c:pt>
                <c:pt idx="1171">
                  <c:v>194.47</c:v>
                </c:pt>
                <c:pt idx="1172">
                  <c:v>196.69</c:v>
                </c:pt>
                <c:pt idx="1173">
                  <c:v>198.94</c:v>
                </c:pt>
                <c:pt idx="1174">
                  <c:v>192.03</c:v>
                </c:pt>
                <c:pt idx="1175">
                  <c:v>187.08</c:v>
                </c:pt>
                <c:pt idx="1176">
                  <c:v>196.45</c:v>
                </c:pt>
                <c:pt idx="1177">
                  <c:v>195.84</c:v>
                </c:pt>
                <c:pt idx="1178">
                  <c:v>189.83</c:v>
                </c:pt>
                <c:pt idx="1179">
                  <c:v>192.21</c:v>
                </c:pt>
                <c:pt idx="1180">
                  <c:v>190.83</c:v>
                </c:pt>
                <c:pt idx="1181">
                  <c:v>182.87</c:v>
                </c:pt>
                <c:pt idx="1182">
                  <c:v>169.52</c:v>
                </c:pt>
                <c:pt idx="1183">
                  <c:v>179.36</c:v>
                </c:pt>
                <c:pt idx="1184">
                  <c:v>173.1</c:v>
                </c:pt>
                <c:pt idx="1185">
                  <c:v>161.55000000000001</c:v>
                </c:pt>
                <c:pt idx="1186">
                  <c:v>169.52</c:v>
                </c:pt>
                <c:pt idx="1187">
                  <c:v>174.53</c:v>
                </c:pt>
                <c:pt idx="1188">
                  <c:v>174.39</c:v>
                </c:pt>
                <c:pt idx="1189">
                  <c:v>180.52</c:v>
                </c:pt>
                <c:pt idx="1190">
                  <c:v>183.93</c:v>
                </c:pt>
                <c:pt idx="1191">
                  <c:v>182.94</c:v>
                </c:pt>
                <c:pt idx="1192">
                  <c:v>187.92</c:v>
                </c:pt>
                <c:pt idx="1193">
                  <c:v>184.45</c:v>
                </c:pt>
                <c:pt idx="1194">
                  <c:v>183.75</c:v>
                </c:pt>
                <c:pt idx="1195">
                  <c:v>189.97</c:v>
                </c:pt>
                <c:pt idx="1196">
                  <c:v>196.23</c:v>
                </c:pt>
                <c:pt idx="1197">
                  <c:v>195.04</c:v>
                </c:pt>
                <c:pt idx="1198">
                  <c:v>192.32</c:v>
                </c:pt>
                <c:pt idx="1199">
                  <c:v>187.62</c:v>
                </c:pt>
                <c:pt idx="1200">
                  <c:v>192.69</c:v>
                </c:pt>
                <c:pt idx="1201">
                  <c:v>195.29</c:v>
                </c:pt>
                <c:pt idx="1202">
                  <c:v>199.71</c:v>
                </c:pt>
                <c:pt idx="1203">
                  <c:v>200.57</c:v>
                </c:pt>
                <c:pt idx="1204">
                  <c:v>200.91</c:v>
                </c:pt>
                <c:pt idx="1205">
                  <c:v>207.16</c:v>
                </c:pt>
                <c:pt idx="1206">
                  <c:v>210.32</c:v>
                </c:pt>
                <c:pt idx="1207">
                  <c:v>205.5</c:v>
                </c:pt>
                <c:pt idx="1208">
                  <c:v>205.51</c:v>
                </c:pt>
                <c:pt idx="1209">
                  <c:v>205.2</c:v>
                </c:pt>
                <c:pt idx="1210">
                  <c:v>205.31</c:v>
                </c:pt>
                <c:pt idx="1211">
                  <c:v>199.36</c:v>
                </c:pt>
                <c:pt idx="1212">
                  <c:v>201.65</c:v>
                </c:pt>
                <c:pt idx="1213">
                  <c:v>202.18</c:v>
                </c:pt>
                <c:pt idx="1214">
                  <c:v>193.81</c:v>
                </c:pt>
                <c:pt idx="1215">
                  <c:v>184.14</c:v>
                </c:pt>
                <c:pt idx="1216">
                  <c:v>196.2</c:v>
                </c:pt>
                <c:pt idx="1217">
                  <c:v>185</c:v>
                </c:pt>
                <c:pt idx="1218">
                  <c:v>178.97</c:v>
                </c:pt>
                <c:pt idx="1219">
                  <c:v>185.21</c:v>
                </c:pt>
                <c:pt idx="1220">
                  <c:v>174.07</c:v>
                </c:pt>
                <c:pt idx="1221">
                  <c:v>179.45</c:v>
                </c:pt>
                <c:pt idx="1222">
                  <c:v>183.09</c:v>
                </c:pt>
                <c:pt idx="1223">
                  <c:v>180.13</c:v>
                </c:pt>
                <c:pt idx="1224">
                  <c:v>171.55</c:v>
                </c:pt>
                <c:pt idx="1225">
                  <c:v>173.38</c:v>
                </c:pt>
                <c:pt idx="1226">
                  <c:v>182.13</c:v>
                </c:pt>
                <c:pt idx="1227">
                  <c:v>182.24</c:v>
                </c:pt>
                <c:pt idx="1228">
                  <c:v>187.52</c:v>
                </c:pt>
                <c:pt idx="1229">
                  <c:v>185.31</c:v>
                </c:pt>
                <c:pt idx="1230">
                  <c:v>185.98</c:v>
                </c:pt>
                <c:pt idx="1231">
                  <c:v>191.39</c:v>
                </c:pt>
                <c:pt idx="1232">
                  <c:v>188.4</c:v>
                </c:pt>
                <c:pt idx="1233">
                  <c:v>175.98</c:v>
                </c:pt>
                <c:pt idx="1234">
                  <c:v>172.74</c:v>
                </c:pt>
                <c:pt idx="1235">
                  <c:v>169.13</c:v>
                </c:pt>
                <c:pt idx="1236">
                  <c:v>166.92</c:v>
                </c:pt>
                <c:pt idx="1237">
                  <c:v>166.6</c:v>
                </c:pt>
                <c:pt idx="1238">
                  <c:v>172.18</c:v>
                </c:pt>
                <c:pt idx="1239">
                  <c:v>170.01</c:v>
                </c:pt>
                <c:pt idx="1240">
                  <c:v>167.07</c:v>
                </c:pt>
                <c:pt idx="1241">
                  <c:v>171.7</c:v>
                </c:pt>
                <c:pt idx="1242">
                  <c:v>170.3</c:v>
                </c:pt>
                <c:pt idx="1243">
                  <c:v>172.02</c:v>
                </c:pt>
                <c:pt idx="1244">
                  <c:v>178.3</c:v>
                </c:pt>
                <c:pt idx="1245">
                  <c:v>180.82</c:v>
                </c:pt>
                <c:pt idx="1246">
                  <c:v>182.87</c:v>
                </c:pt>
                <c:pt idx="1247">
                  <c:v>186.88</c:v>
                </c:pt>
                <c:pt idx="1248">
                  <c:v>192.04</c:v>
                </c:pt>
                <c:pt idx="1249">
                  <c:v>189.84</c:v>
                </c:pt>
                <c:pt idx="1250">
                  <c:v>193.49</c:v>
                </c:pt>
                <c:pt idx="1251">
                  <c:v>189.97</c:v>
                </c:pt>
                <c:pt idx="1252">
                  <c:v>194.05</c:v>
                </c:pt>
                <c:pt idx="1253">
                  <c:v>192.93</c:v>
                </c:pt>
                <c:pt idx="1254">
                  <c:v>188.71</c:v>
                </c:pt>
                <c:pt idx="1255">
                  <c:v>191.74</c:v>
                </c:pt>
                <c:pt idx="1256">
                  <c:v>193.38</c:v>
                </c:pt>
                <c:pt idx="1257">
                  <c:v>194.88</c:v>
                </c:pt>
                <c:pt idx="1258">
                  <c:v>195.9</c:v>
                </c:pt>
                <c:pt idx="1259">
                  <c:v>198.5</c:v>
                </c:pt>
                <c:pt idx="1260">
                  <c:v>196.37</c:v>
                </c:pt>
                <c:pt idx="1261">
                  <c:v>198.3</c:v>
                </c:pt>
                <c:pt idx="1262">
                  <c:v>195.96</c:v>
                </c:pt>
                <c:pt idx="1263">
                  <c:v>202.89</c:v>
                </c:pt>
                <c:pt idx="1264">
                  <c:v>205.33</c:v>
                </c:pt>
                <c:pt idx="1265">
                  <c:v>206.59</c:v>
                </c:pt>
                <c:pt idx="1266">
                  <c:v>208.61</c:v>
                </c:pt>
                <c:pt idx="1267">
                  <c:v>205.69</c:v>
                </c:pt>
                <c:pt idx="1268">
                  <c:v>203.1</c:v>
                </c:pt>
                <c:pt idx="1269">
                  <c:v>202.4</c:v>
                </c:pt>
                <c:pt idx="1270">
                  <c:v>203.98</c:v>
                </c:pt>
                <c:pt idx="1271">
                  <c:v>203.58</c:v>
                </c:pt>
                <c:pt idx="1272">
                  <c:v>205.43</c:v>
                </c:pt>
                <c:pt idx="1273">
                  <c:v>205.2</c:v>
                </c:pt>
                <c:pt idx="1274">
                  <c:v>202.16</c:v>
                </c:pt>
                <c:pt idx="1275">
                  <c:v>198.66</c:v>
                </c:pt>
                <c:pt idx="1276">
                  <c:v>200.17</c:v>
                </c:pt>
                <c:pt idx="1277">
                  <c:v>196.39</c:v>
                </c:pt>
                <c:pt idx="1278">
                  <c:v>194.24</c:v>
                </c:pt>
                <c:pt idx="1279">
                  <c:v>185.02</c:v>
                </c:pt>
                <c:pt idx="1280">
                  <c:v>186.17</c:v>
                </c:pt>
                <c:pt idx="1281">
                  <c:v>179.11</c:v>
                </c:pt>
                <c:pt idx="1282">
                  <c:v>181.5</c:v>
                </c:pt>
                <c:pt idx="1283">
                  <c:v>181.95</c:v>
                </c:pt>
                <c:pt idx="1284">
                  <c:v>183.69</c:v>
                </c:pt>
                <c:pt idx="1285">
                  <c:v>178.51</c:v>
                </c:pt>
                <c:pt idx="1286">
                  <c:v>186.08</c:v>
                </c:pt>
                <c:pt idx="1287">
                  <c:v>189.56</c:v>
                </c:pt>
                <c:pt idx="1288">
                  <c:v>191.46</c:v>
                </c:pt>
                <c:pt idx="1289">
                  <c:v>194.51</c:v>
                </c:pt>
                <c:pt idx="1290">
                  <c:v>186.88</c:v>
                </c:pt>
                <c:pt idx="1291">
                  <c:v>188.92</c:v>
                </c:pt>
                <c:pt idx="1292">
                  <c:v>187.77</c:v>
                </c:pt>
                <c:pt idx="1293">
                  <c:v>187.43</c:v>
                </c:pt>
                <c:pt idx="1294">
                  <c:v>191.67</c:v>
                </c:pt>
                <c:pt idx="1295">
                  <c:v>193.91</c:v>
                </c:pt>
                <c:pt idx="1296">
                  <c:v>193.13</c:v>
                </c:pt>
                <c:pt idx="1297">
                  <c:v>191.71</c:v>
                </c:pt>
                <c:pt idx="1298">
                  <c:v>192.18</c:v>
                </c:pt>
                <c:pt idx="1299">
                  <c:v>189</c:v>
                </c:pt>
                <c:pt idx="1300">
                  <c:v>190.41</c:v>
                </c:pt>
                <c:pt idx="1301">
                  <c:v>195.84</c:v>
                </c:pt>
                <c:pt idx="1302">
                  <c:v>194.51</c:v>
                </c:pt>
                <c:pt idx="1303">
                  <c:v>191.57</c:v>
                </c:pt>
                <c:pt idx="1304">
                  <c:v>193.49</c:v>
                </c:pt>
                <c:pt idx="1305">
                  <c:v>192.98</c:v>
                </c:pt>
                <c:pt idx="1306">
                  <c:v>195.92</c:v>
                </c:pt>
                <c:pt idx="1307">
                  <c:v>196.53</c:v>
                </c:pt>
                <c:pt idx="1308">
                  <c:v>198.16</c:v>
                </c:pt>
                <c:pt idx="1309">
                  <c:v>200.47</c:v>
                </c:pt>
                <c:pt idx="1310">
                  <c:v>201.28</c:v>
                </c:pt>
                <c:pt idx="1311">
                  <c:v>198.12</c:v>
                </c:pt>
                <c:pt idx="1312">
                  <c:v>190.77</c:v>
                </c:pt>
                <c:pt idx="1313">
                  <c:v>191.19</c:v>
                </c:pt>
                <c:pt idx="1314">
                  <c:v>190.64</c:v>
                </c:pt>
                <c:pt idx="1315">
                  <c:v>186.49</c:v>
                </c:pt>
                <c:pt idx="1316">
                  <c:v>186.11</c:v>
                </c:pt>
                <c:pt idx="1317">
                  <c:v>184.03</c:v>
                </c:pt>
                <c:pt idx="1318">
                  <c:v>183.75</c:v>
                </c:pt>
                <c:pt idx="1319">
                  <c:v>189.37</c:v>
                </c:pt>
                <c:pt idx="1320">
                  <c:v>190.71</c:v>
                </c:pt>
                <c:pt idx="1321">
                  <c:v>191.05</c:v>
                </c:pt>
                <c:pt idx="1322">
                  <c:v>195.29</c:v>
                </c:pt>
                <c:pt idx="1323">
                  <c:v>199.92</c:v>
                </c:pt>
                <c:pt idx="1324">
                  <c:v>201.1</c:v>
                </c:pt>
                <c:pt idx="1325">
                  <c:v>201.84</c:v>
                </c:pt>
                <c:pt idx="1326">
                  <c:v>199</c:v>
                </c:pt>
                <c:pt idx="1327">
                  <c:v>200.73</c:v>
                </c:pt>
                <c:pt idx="1328">
                  <c:v>202.81</c:v>
                </c:pt>
                <c:pt idx="1329">
                  <c:v>201.29</c:v>
                </c:pt>
                <c:pt idx="1330">
                  <c:v>193.25</c:v>
                </c:pt>
                <c:pt idx="1331">
                  <c:v>192.05</c:v>
                </c:pt>
                <c:pt idx="1332">
                  <c:v>195.26</c:v>
                </c:pt>
                <c:pt idx="1333">
                  <c:v>192.29</c:v>
                </c:pt>
                <c:pt idx="1334">
                  <c:v>188.88</c:v>
                </c:pt>
                <c:pt idx="1335">
                  <c:v>192.36</c:v>
                </c:pt>
                <c:pt idx="1336">
                  <c:v>195.6</c:v>
                </c:pt>
                <c:pt idx="1337">
                  <c:v>191.34</c:v>
                </c:pt>
                <c:pt idx="1338">
                  <c:v>193.79</c:v>
                </c:pt>
                <c:pt idx="1339">
                  <c:v>194.39</c:v>
                </c:pt>
                <c:pt idx="1340">
                  <c:v>197.82</c:v>
                </c:pt>
                <c:pt idx="1341">
                  <c:v>196.84</c:v>
                </c:pt>
                <c:pt idx="1342">
                  <c:v>197.99</c:v>
                </c:pt>
                <c:pt idx="1343">
                  <c:v>192.92</c:v>
                </c:pt>
                <c:pt idx="1344">
                  <c:v>190.13</c:v>
                </c:pt>
                <c:pt idx="1345">
                  <c:v>191.43</c:v>
                </c:pt>
                <c:pt idx="1346">
                  <c:v>193.33</c:v>
                </c:pt>
                <c:pt idx="1347">
                  <c:v>194.12</c:v>
                </c:pt>
                <c:pt idx="1348">
                  <c:v>194.22</c:v>
                </c:pt>
                <c:pt idx="1349">
                  <c:v>194.55</c:v>
                </c:pt>
                <c:pt idx="1350">
                  <c:v>189.13</c:v>
                </c:pt>
                <c:pt idx="1351">
                  <c:v>182.41</c:v>
                </c:pt>
                <c:pt idx="1352">
                  <c:v>179.22</c:v>
                </c:pt>
                <c:pt idx="1353">
                  <c:v>179.04</c:v>
                </c:pt>
                <c:pt idx="1354">
                  <c:v>166.58</c:v>
                </c:pt>
                <c:pt idx="1355">
                  <c:v>163.85</c:v>
                </c:pt>
                <c:pt idx="1356">
                  <c:v>169.04</c:v>
                </c:pt>
                <c:pt idx="1357">
                  <c:v>166.52</c:v>
                </c:pt>
                <c:pt idx="1358">
                  <c:v>175.35</c:v>
                </c:pt>
                <c:pt idx="1359">
                  <c:v>174.14</c:v>
                </c:pt>
                <c:pt idx="1360">
                  <c:v>167.27</c:v>
                </c:pt>
                <c:pt idx="1361">
                  <c:v>163.11000000000001</c:v>
                </c:pt>
                <c:pt idx="1362">
                  <c:v>164.88</c:v>
                </c:pt>
                <c:pt idx="1363">
                  <c:v>163.47</c:v>
                </c:pt>
                <c:pt idx="1364">
                  <c:v>146.04</c:v>
                </c:pt>
                <c:pt idx="1365">
                  <c:v>151.79</c:v>
                </c:pt>
                <c:pt idx="1366">
                  <c:v>147.46</c:v>
                </c:pt>
                <c:pt idx="1367">
                  <c:v>144.69999999999999</c:v>
                </c:pt>
                <c:pt idx="1368">
                  <c:v>154.88</c:v>
                </c:pt>
                <c:pt idx="1369">
                  <c:v>158.04</c:v>
                </c:pt>
                <c:pt idx="1370">
                  <c:v>170.01</c:v>
                </c:pt>
                <c:pt idx="1371">
                  <c:v>165.95</c:v>
                </c:pt>
                <c:pt idx="1372">
                  <c:v>163.68</c:v>
                </c:pt>
                <c:pt idx="1373">
                  <c:v>166.69</c:v>
                </c:pt>
                <c:pt idx="1374">
                  <c:v>169.88</c:v>
                </c:pt>
                <c:pt idx="1375">
                  <c:v>168.75</c:v>
                </c:pt>
                <c:pt idx="1376">
                  <c:v>163.78</c:v>
                </c:pt>
                <c:pt idx="1377">
                  <c:v>152.07</c:v>
                </c:pt>
                <c:pt idx="1378">
                  <c:v>155.47999999999999</c:v>
                </c:pt>
                <c:pt idx="1379">
                  <c:v>156.41</c:v>
                </c:pt>
                <c:pt idx="1380">
                  <c:v>164.97</c:v>
                </c:pt>
                <c:pt idx="1381">
                  <c:v>161.87</c:v>
                </c:pt>
                <c:pt idx="1382">
                  <c:v>151.75</c:v>
                </c:pt>
                <c:pt idx="1383">
                  <c:v>152.13999999999999</c:v>
                </c:pt>
                <c:pt idx="1384">
                  <c:v>153.19</c:v>
                </c:pt>
                <c:pt idx="1385">
                  <c:v>153.09</c:v>
                </c:pt>
                <c:pt idx="1386">
                  <c:v>157.91</c:v>
                </c:pt>
                <c:pt idx="1387">
                  <c:v>158.41999999999999</c:v>
                </c:pt>
                <c:pt idx="1388">
                  <c:v>164.29</c:v>
                </c:pt>
                <c:pt idx="1389">
                  <c:v>162.13999999999999</c:v>
                </c:pt>
                <c:pt idx="1390">
                  <c:v>166.04</c:v>
                </c:pt>
                <c:pt idx="1391">
                  <c:v>173.15</c:v>
                </c:pt>
                <c:pt idx="1392">
                  <c:v>159.55000000000001</c:v>
                </c:pt>
                <c:pt idx="1393">
                  <c:v>158.15</c:v>
                </c:pt>
                <c:pt idx="1394">
                  <c:v>148.5</c:v>
                </c:pt>
                <c:pt idx="1395">
                  <c:v>152</c:v>
                </c:pt>
                <c:pt idx="1396">
                  <c:v>153.57</c:v>
                </c:pt>
                <c:pt idx="1397">
                  <c:v>157.31</c:v>
                </c:pt>
                <c:pt idx="1398">
                  <c:v>156.38</c:v>
                </c:pt>
                <c:pt idx="1399">
                  <c:v>152.72999999999999</c:v>
                </c:pt>
                <c:pt idx="1400">
                  <c:v>149.49</c:v>
                </c:pt>
                <c:pt idx="1401">
                  <c:v>152.69</c:v>
                </c:pt>
                <c:pt idx="1402">
                  <c:v>141.97</c:v>
                </c:pt>
                <c:pt idx="1403">
                  <c:v>139.88999999999999</c:v>
                </c:pt>
                <c:pt idx="1404">
                  <c:v>136.36000000000001</c:v>
                </c:pt>
                <c:pt idx="1405">
                  <c:v>129.51</c:v>
                </c:pt>
                <c:pt idx="1406">
                  <c:v>142.76</c:v>
                </c:pt>
                <c:pt idx="1407">
                  <c:v>144.56</c:v>
                </c:pt>
                <c:pt idx="1408">
                  <c:v>146.25</c:v>
                </c:pt>
                <c:pt idx="1409">
                  <c:v>147.91999999999999</c:v>
                </c:pt>
                <c:pt idx="1410">
                  <c:v>150.1</c:v>
                </c:pt>
                <c:pt idx="1411">
                  <c:v>135.22999999999999</c:v>
                </c:pt>
                <c:pt idx="1412">
                  <c:v>145.52000000000001</c:v>
                </c:pt>
                <c:pt idx="1413">
                  <c:v>150.30000000000001</c:v>
                </c:pt>
                <c:pt idx="1414">
                  <c:v>149.08000000000001</c:v>
                </c:pt>
                <c:pt idx="1415">
                  <c:v>155.36000000000001</c:v>
                </c:pt>
                <c:pt idx="1416">
                  <c:v>157.84</c:v>
                </c:pt>
                <c:pt idx="1417">
                  <c:v>160.34</c:v>
                </c:pt>
                <c:pt idx="1418">
                  <c:v>156.32</c:v>
                </c:pt>
                <c:pt idx="1419">
                  <c:v>156.91</c:v>
                </c:pt>
                <c:pt idx="1420">
                  <c:v>154.79</c:v>
                </c:pt>
                <c:pt idx="1421">
                  <c:v>157.71</c:v>
                </c:pt>
                <c:pt idx="1422">
                  <c:v>163.62</c:v>
                </c:pt>
                <c:pt idx="1423">
                  <c:v>156.12</c:v>
                </c:pt>
                <c:pt idx="1424">
                  <c:v>154.53</c:v>
                </c:pt>
                <c:pt idx="1425">
                  <c:v>169.11</c:v>
                </c:pt>
                <c:pt idx="1426">
                  <c:v>174.96</c:v>
                </c:pt>
                <c:pt idx="1427">
                  <c:v>169.22</c:v>
                </c:pt>
                <c:pt idx="1428">
                  <c:v>165.32</c:v>
                </c:pt>
                <c:pt idx="1429">
                  <c:v>172.94</c:v>
                </c:pt>
                <c:pt idx="1430">
                  <c:v>173.02</c:v>
                </c:pt>
                <c:pt idx="1431">
                  <c:v>176.3</c:v>
                </c:pt>
                <c:pt idx="1432">
                  <c:v>177.69</c:v>
                </c:pt>
                <c:pt idx="1433">
                  <c:v>179.03</c:v>
                </c:pt>
                <c:pt idx="1434">
                  <c:v>186.25</c:v>
                </c:pt>
                <c:pt idx="1435">
                  <c:v>179.85</c:v>
                </c:pt>
                <c:pt idx="1436">
                  <c:v>179.53</c:v>
                </c:pt>
                <c:pt idx="1437">
                  <c:v>180.91</c:v>
                </c:pt>
                <c:pt idx="1438">
                  <c:v>186.89</c:v>
                </c:pt>
                <c:pt idx="1439">
                  <c:v>187.74</c:v>
                </c:pt>
                <c:pt idx="1440">
                  <c:v>188.47</c:v>
                </c:pt>
                <c:pt idx="1441">
                  <c:v>189.99</c:v>
                </c:pt>
                <c:pt idx="1442">
                  <c:v>189.41</c:v>
                </c:pt>
                <c:pt idx="1443">
                  <c:v>191.94</c:v>
                </c:pt>
                <c:pt idx="1444">
                  <c:v>189.79</c:v>
                </c:pt>
                <c:pt idx="1445">
                  <c:v>192.91</c:v>
                </c:pt>
                <c:pt idx="1446">
                  <c:v>195.31</c:v>
                </c:pt>
                <c:pt idx="1447">
                  <c:v>193.29</c:v>
                </c:pt>
                <c:pt idx="1448">
                  <c:v>189.71</c:v>
                </c:pt>
                <c:pt idx="1449">
                  <c:v>189.78</c:v>
                </c:pt>
                <c:pt idx="1450">
                  <c:v>192.56</c:v>
                </c:pt>
                <c:pt idx="1451">
                  <c:v>192.58</c:v>
                </c:pt>
                <c:pt idx="1452">
                  <c:v>191.22</c:v>
                </c:pt>
                <c:pt idx="1453">
                  <c:v>186.26</c:v>
                </c:pt>
                <c:pt idx="1454">
                  <c:v>183.1</c:v>
                </c:pt>
                <c:pt idx="1455">
                  <c:v>182.91</c:v>
                </c:pt>
                <c:pt idx="1456">
                  <c:v>189.71</c:v>
                </c:pt>
                <c:pt idx="1457">
                  <c:v>190.84</c:v>
                </c:pt>
                <c:pt idx="1458">
                  <c:v>192.05</c:v>
                </c:pt>
                <c:pt idx="1459">
                  <c:v>190.39</c:v>
                </c:pt>
                <c:pt idx="1460">
                  <c:v>198.83</c:v>
                </c:pt>
                <c:pt idx="1461">
                  <c:v>198.06</c:v>
                </c:pt>
                <c:pt idx="1462">
                  <c:v>202.05</c:v>
                </c:pt>
                <c:pt idx="1463">
                  <c:v>198.97</c:v>
                </c:pt>
                <c:pt idx="1464">
                  <c:v>209.45</c:v>
                </c:pt>
                <c:pt idx="1465">
                  <c:v>200.55</c:v>
                </c:pt>
                <c:pt idx="1466">
                  <c:v>196.77</c:v>
                </c:pt>
                <c:pt idx="1467">
                  <c:v>199.77</c:v>
                </c:pt>
                <c:pt idx="1468">
                  <c:v>195.42</c:v>
                </c:pt>
                <c:pt idx="1469">
                  <c:v>194.85</c:v>
                </c:pt>
                <c:pt idx="1470">
                  <c:v>199.5</c:v>
                </c:pt>
                <c:pt idx="1471">
                  <c:v>206.96</c:v>
                </c:pt>
                <c:pt idx="1472">
                  <c:v>207.26</c:v>
                </c:pt>
                <c:pt idx="1473">
                  <c:v>214.25</c:v>
                </c:pt>
                <c:pt idx="1474">
                  <c:v>214.61</c:v>
                </c:pt>
                <c:pt idx="1475">
                  <c:v>217.13</c:v>
                </c:pt>
                <c:pt idx="1476">
                  <c:v>217.93</c:v>
                </c:pt>
                <c:pt idx="1477">
                  <c:v>214.31</c:v>
                </c:pt>
                <c:pt idx="1478">
                  <c:v>217.03</c:v>
                </c:pt>
                <c:pt idx="1479">
                  <c:v>216.79</c:v>
                </c:pt>
                <c:pt idx="1480">
                  <c:v>221.31</c:v>
                </c:pt>
                <c:pt idx="1481">
                  <c:v>218.89</c:v>
                </c:pt>
                <c:pt idx="1482">
                  <c:v>229.06</c:v>
                </c:pt>
                <c:pt idx="1483">
                  <c:v>234.18</c:v>
                </c:pt>
                <c:pt idx="1484">
                  <c:v>234.41</c:v>
                </c:pt>
                <c:pt idx="1485">
                  <c:v>234.44</c:v>
                </c:pt>
                <c:pt idx="1486">
                  <c:v>237.82</c:v>
                </c:pt>
                <c:pt idx="1487">
                  <c:v>241.04</c:v>
                </c:pt>
                <c:pt idx="1488">
                  <c:v>234.88</c:v>
                </c:pt>
                <c:pt idx="1489">
                  <c:v>232.1</c:v>
                </c:pt>
                <c:pt idx="1490">
                  <c:v>231.47</c:v>
                </c:pt>
                <c:pt idx="1491">
                  <c:v>233.99</c:v>
                </c:pt>
                <c:pt idx="1492">
                  <c:v>231.26</c:v>
                </c:pt>
                <c:pt idx="1493">
                  <c:v>234.94</c:v>
                </c:pt>
                <c:pt idx="1494">
                  <c:v>237.1</c:v>
                </c:pt>
                <c:pt idx="1495">
                  <c:v>231.31</c:v>
                </c:pt>
                <c:pt idx="1496">
                  <c:v>223.29</c:v>
                </c:pt>
                <c:pt idx="1497">
                  <c:v>220.74</c:v>
                </c:pt>
                <c:pt idx="1498">
                  <c:v>216.95</c:v>
                </c:pt>
                <c:pt idx="1499">
                  <c:v>217.39</c:v>
                </c:pt>
                <c:pt idx="1500">
                  <c:v>202.39</c:v>
                </c:pt>
                <c:pt idx="1501">
                  <c:v>209.66</c:v>
                </c:pt>
                <c:pt idx="1502">
                  <c:v>212.17</c:v>
                </c:pt>
                <c:pt idx="1503">
                  <c:v>206.93</c:v>
                </c:pt>
                <c:pt idx="1504">
                  <c:v>200.9</c:v>
                </c:pt>
                <c:pt idx="1505">
                  <c:v>188.79</c:v>
                </c:pt>
                <c:pt idx="1506">
                  <c:v>194.93</c:v>
                </c:pt>
                <c:pt idx="1507">
                  <c:v>188.67</c:v>
                </c:pt>
                <c:pt idx="1508">
                  <c:v>183.91</c:v>
                </c:pt>
                <c:pt idx="1509">
                  <c:v>181.57</c:v>
                </c:pt>
                <c:pt idx="1510">
                  <c:v>179.07</c:v>
                </c:pt>
                <c:pt idx="1511">
                  <c:v>180.2</c:v>
                </c:pt>
                <c:pt idx="1512">
                  <c:v>182.29</c:v>
                </c:pt>
                <c:pt idx="1513">
                  <c:v>178.19</c:v>
                </c:pt>
                <c:pt idx="1514">
                  <c:v>179.12</c:v>
                </c:pt>
                <c:pt idx="1515">
                  <c:v>190.87</c:v>
                </c:pt>
                <c:pt idx="1516">
                  <c:v>188.69</c:v>
                </c:pt>
                <c:pt idx="1517">
                  <c:v>192.56</c:v>
                </c:pt>
                <c:pt idx="1518">
                  <c:v>195.92</c:v>
                </c:pt>
                <c:pt idx="1519">
                  <c:v>203.45</c:v>
                </c:pt>
                <c:pt idx="1520">
                  <c:v>204.34</c:v>
                </c:pt>
                <c:pt idx="1521">
                  <c:v>197.24</c:v>
                </c:pt>
                <c:pt idx="1522">
                  <c:v>198.95</c:v>
                </c:pt>
                <c:pt idx="1523">
                  <c:v>191.14</c:v>
                </c:pt>
                <c:pt idx="1524">
                  <c:v>189.28</c:v>
                </c:pt>
                <c:pt idx="1525">
                  <c:v>201.79</c:v>
                </c:pt>
                <c:pt idx="1526">
                  <c:v>202.04</c:v>
                </c:pt>
                <c:pt idx="1527">
                  <c:v>204.98</c:v>
                </c:pt>
                <c:pt idx="1528">
                  <c:v>202.72</c:v>
                </c:pt>
                <c:pt idx="1529">
                  <c:v>203.06</c:v>
                </c:pt>
                <c:pt idx="1530">
                  <c:v>198.56</c:v>
                </c:pt>
                <c:pt idx="1531">
                  <c:v>208.16</c:v>
                </c:pt>
                <c:pt idx="1532">
                  <c:v>212.68</c:v>
                </c:pt>
                <c:pt idx="1533">
                  <c:v>213.12</c:v>
                </c:pt>
                <c:pt idx="1534">
                  <c:v>221.4</c:v>
                </c:pt>
                <c:pt idx="1535">
                  <c:v>216.96</c:v>
                </c:pt>
                <c:pt idx="1536">
                  <c:v>215.6</c:v>
                </c:pt>
                <c:pt idx="1537">
                  <c:v>213.71</c:v>
                </c:pt>
                <c:pt idx="1538">
                  <c:v>211.29</c:v>
                </c:pt>
                <c:pt idx="1539">
                  <c:v>213.61</c:v>
                </c:pt>
                <c:pt idx="1540">
                  <c:v>215.82</c:v>
                </c:pt>
                <c:pt idx="1541">
                  <c:v>216.84</c:v>
                </c:pt>
                <c:pt idx="1542">
                  <c:v>222.85</c:v>
                </c:pt>
                <c:pt idx="1543">
                  <c:v>225.35</c:v>
                </c:pt>
                <c:pt idx="1544">
                  <c:v>221.85</c:v>
                </c:pt>
                <c:pt idx="1545">
                  <c:v>222.76</c:v>
                </c:pt>
                <c:pt idx="1546">
                  <c:v>227.72</c:v>
                </c:pt>
                <c:pt idx="1547">
                  <c:v>227.06</c:v>
                </c:pt>
                <c:pt idx="1548">
                  <c:v>233.54</c:v>
                </c:pt>
                <c:pt idx="1549">
                  <c:v>237.65</c:v>
                </c:pt>
                <c:pt idx="1550">
                  <c:v>248.12</c:v>
                </c:pt>
                <c:pt idx="1551">
                  <c:v>242.13</c:v>
                </c:pt>
                <c:pt idx="1552">
                  <c:v>242.07</c:v>
                </c:pt>
                <c:pt idx="1553">
                  <c:v>242.97</c:v>
                </c:pt>
                <c:pt idx="1554">
                  <c:v>242.07</c:v>
                </c:pt>
                <c:pt idx="1555">
                  <c:v>231.04</c:v>
                </c:pt>
                <c:pt idx="1556">
                  <c:v>224.5</c:v>
                </c:pt>
                <c:pt idx="1557">
                  <c:v>219.45</c:v>
                </c:pt>
                <c:pt idx="1558">
                  <c:v>205.52</c:v>
                </c:pt>
                <c:pt idx="1559">
                  <c:v>209.43</c:v>
                </c:pt>
                <c:pt idx="1560">
                  <c:v>211.65</c:v>
                </c:pt>
                <c:pt idx="1561">
                  <c:v>220.05</c:v>
                </c:pt>
                <c:pt idx="1562">
                  <c:v>214.28</c:v>
                </c:pt>
                <c:pt idx="1563">
                  <c:v>210.55</c:v>
                </c:pt>
                <c:pt idx="1564">
                  <c:v>219.71</c:v>
                </c:pt>
                <c:pt idx="1565">
                  <c:v>209.6</c:v>
                </c:pt>
                <c:pt idx="1566">
                  <c:v>208.9</c:v>
                </c:pt>
                <c:pt idx="1567">
                  <c:v>217.48</c:v>
                </c:pt>
                <c:pt idx="1568">
                  <c:v>223.43</c:v>
                </c:pt>
                <c:pt idx="1569">
                  <c:v>221.69</c:v>
                </c:pt>
                <c:pt idx="1570">
                  <c:v>224.66</c:v>
                </c:pt>
                <c:pt idx="1571">
                  <c:v>224.56</c:v>
                </c:pt>
                <c:pt idx="1572">
                  <c:v>210.42</c:v>
                </c:pt>
                <c:pt idx="1573">
                  <c:v>213.11</c:v>
                </c:pt>
                <c:pt idx="1574">
                  <c:v>212.08</c:v>
                </c:pt>
                <c:pt idx="1575">
                  <c:v>213.96</c:v>
                </c:pt>
                <c:pt idx="1576">
                  <c:v>221.03</c:v>
                </c:pt>
                <c:pt idx="1577">
                  <c:v>222.99</c:v>
                </c:pt>
                <c:pt idx="1578">
                  <c:v>217.28</c:v>
                </c:pt>
                <c:pt idx="1579">
                  <c:v>226.13</c:v>
                </c:pt>
                <c:pt idx="1580">
                  <c:v>236.14</c:v>
                </c:pt>
                <c:pt idx="1581">
                  <c:v>236.6</c:v>
                </c:pt>
                <c:pt idx="1582">
                  <c:v>238.32</c:v>
                </c:pt>
                <c:pt idx="1583">
                  <c:v>239.78</c:v>
                </c:pt>
                <c:pt idx="1584">
                  <c:v>244.72</c:v>
                </c:pt>
                <c:pt idx="1585">
                  <c:v>245.71</c:v>
                </c:pt>
                <c:pt idx="1586">
                  <c:v>244.6</c:v>
                </c:pt>
                <c:pt idx="1587">
                  <c:v>242.21</c:v>
                </c:pt>
                <c:pt idx="1588">
                  <c:v>243.33</c:v>
                </c:pt>
                <c:pt idx="1589">
                  <c:v>243.6</c:v>
                </c:pt>
                <c:pt idx="1590">
                  <c:v>241.69</c:v>
                </c:pt>
                <c:pt idx="1591">
                  <c:v>235.45</c:v>
                </c:pt>
                <c:pt idx="1592">
                  <c:v>238.69</c:v>
                </c:pt>
                <c:pt idx="1593">
                  <c:v>233.09</c:v>
                </c:pt>
                <c:pt idx="1594">
                  <c:v>239.01</c:v>
                </c:pt>
                <c:pt idx="1595">
                  <c:v>239.12</c:v>
                </c:pt>
                <c:pt idx="1596">
                  <c:v>231.13</c:v>
                </c:pt>
                <c:pt idx="1597">
                  <c:v>234.54</c:v>
                </c:pt>
                <c:pt idx="1598">
                  <c:v>231.42</c:v>
                </c:pt>
                <c:pt idx="1599">
                  <c:v>226.17</c:v>
                </c:pt>
                <c:pt idx="1600">
                  <c:v>231.75</c:v>
                </c:pt>
                <c:pt idx="1601">
                  <c:v>237.9</c:v>
                </c:pt>
                <c:pt idx="1602">
                  <c:v>235.49</c:v>
                </c:pt>
                <c:pt idx="1603">
                  <c:v>225.03</c:v>
                </c:pt>
                <c:pt idx="1604">
                  <c:v>230.7</c:v>
                </c:pt>
                <c:pt idx="1605">
                  <c:v>233.9</c:v>
                </c:pt>
                <c:pt idx="1606">
                  <c:v>241.49</c:v>
                </c:pt>
                <c:pt idx="1607">
                  <c:v>241.33</c:v>
                </c:pt>
                <c:pt idx="1608">
                  <c:v>248.9</c:v>
                </c:pt>
                <c:pt idx="1609">
                  <c:v>243.78</c:v>
                </c:pt>
                <c:pt idx="1610">
                  <c:v>244.93</c:v>
                </c:pt>
                <c:pt idx="1611">
                  <c:v>241.27</c:v>
                </c:pt>
                <c:pt idx="1612">
                  <c:v>247.69</c:v>
                </c:pt>
                <c:pt idx="1613">
                  <c:v>245.02</c:v>
                </c:pt>
                <c:pt idx="1614">
                  <c:v>238.36</c:v>
                </c:pt>
                <c:pt idx="1615">
                  <c:v>246.72</c:v>
                </c:pt>
                <c:pt idx="1616">
                  <c:v>253.84</c:v>
                </c:pt>
                <c:pt idx="1617">
                  <c:v>260.04000000000002</c:v>
                </c:pt>
                <c:pt idx="1618">
                  <c:v>256.8</c:v>
                </c:pt>
                <c:pt idx="1619">
                  <c:v>256.58</c:v>
                </c:pt>
                <c:pt idx="1620">
                  <c:v>254.39</c:v>
                </c:pt>
                <c:pt idx="1621">
                  <c:v>262.69</c:v>
                </c:pt>
                <c:pt idx="1622">
                  <c:v>270.63</c:v>
                </c:pt>
                <c:pt idx="1623">
                  <c:v>271.32</c:v>
                </c:pt>
                <c:pt idx="1624">
                  <c:v>268.22000000000003</c:v>
                </c:pt>
                <c:pt idx="1625">
                  <c:v>270.8</c:v>
                </c:pt>
                <c:pt idx="1626">
                  <c:v>272.75</c:v>
                </c:pt>
                <c:pt idx="1627">
                  <c:v>270.77</c:v>
                </c:pt>
                <c:pt idx="1628">
                  <c:v>271.81</c:v>
                </c:pt>
                <c:pt idx="1629">
                  <c:v>271.91000000000003</c:v>
                </c:pt>
                <c:pt idx="1630">
                  <c:v>270.77</c:v>
                </c:pt>
                <c:pt idx="1631">
                  <c:v>274.07</c:v>
                </c:pt>
                <c:pt idx="1632">
                  <c:v>273.18</c:v>
                </c:pt>
                <c:pt idx="1633">
                  <c:v>271.39999999999998</c:v>
                </c:pt>
                <c:pt idx="1634">
                  <c:v>267.02999999999997</c:v>
                </c:pt>
                <c:pt idx="1635">
                  <c:v>262.89</c:v>
                </c:pt>
                <c:pt idx="1636">
                  <c:v>262.88</c:v>
                </c:pt>
                <c:pt idx="1637">
                  <c:v>271.70999999999998</c:v>
                </c:pt>
                <c:pt idx="1638">
                  <c:v>269.85000000000002</c:v>
                </c:pt>
                <c:pt idx="1639">
                  <c:v>272.56</c:v>
                </c:pt>
                <c:pt idx="1640">
                  <c:v>268.47000000000003</c:v>
                </c:pt>
                <c:pt idx="1641">
                  <c:v>263.08</c:v>
                </c:pt>
                <c:pt idx="1642">
                  <c:v>257.49</c:v>
                </c:pt>
                <c:pt idx="1643">
                  <c:v>263.02</c:v>
                </c:pt>
                <c:pt idx="1644">
                  <c:v>264.35000000000002</c:v>
                </c:pt>
                <c:pt idx="1645">
                  <c:v>270.05</c:v>
                </c:pt>
                <c:pt idx="1646">
                  <c:v>268.07</c:v>
                </c:pt>
                <c:pt idx="1647">
                  <c:v>269.33999999999997</c:v>
                </c:pt>
                <c:pt idx="1648">
                  <c:v>277.56</c:v>
                </c:pt>
                <c:pt idx="1649">
                  <c:v>287.79000000000002</c:v>
                </c:pt>
                <c:pt idx="1650">
                  <c:v>285.47000000000003</c:v>
                </c:pt>
                <c:pt idx="1651">
                  <c:v>289.17</c:v>
                </c:pt>
                <c:pt idx="1652">
                  <c:v>291.02</c:v>
                </c:pt>
                <c:pt idx="1653">
                  <c:v>290.67</c:v>
                </c:pt>
                <c:pt idx="1654">
                  <c:v>293.82</c:v>
                </c:pt>
                <c:pt idx="1655">
                  <c:v>297.88</c:v>
                </c:pt>
                <c:pt idx="1656">
                  <c:v>298.58</c:v>
                </c:pt>
                <c:pt idx="1657">
                  <c:v>299.66000000000003</c:v>
                </c:pt>
                <c:pt idx="1658">
                  <c:v>300.16000000000003</c:v>
                </c:pt>
                <c:pt idx="1659">
                  <c:v>298.89</c:v>
                </c:pt>
                <c:pt idx="1660">
                  <c:v>295.83999999999997</c:v>
                </c:pt>
                <c:pt idx="1661">
                  <c:v>296.97000000000003</c:v>
                </c:pt>
                <c:pt idx="1662">
                  <c:v>305.18</c:v>
                </c:pt>
                <c:pt idx="1663">
                  <c:v>297.89999999999998</c:v>
                </c:pt>
                <c:pt idx="1664">
                  <c:v>293.76</c:v>
                </c:pt>
                <c:pt idx="1665">
                  <c:v>300.76</c:v>
                </c:pt>
                <c:pt idx="1666">
                  <c:v>300.82</c:v>
                </c:pt>
                <c:pt idx="1667">
                  <c:v>303.20999999999998</c:v>
                </c:pt>
                <c:pt idx="1668">
                  <c:v>300.56</c:v>
                </c:pt>
                <c:pt idx="1669">
                  <c:v>305.8</c:v>
                </c:pt>
                <c:pt idx="1670">
                  <c:v>306.63</c:v>
                </c:pt>
                <c:pt idx="1671">
                  <c:v>301.8</c:v>
                </c:pt>
                <c:pt idx="1672">
                  <c:v>308.62</c:v>
                </c:pt>
                <c:pt idx="1673">
                  <c:v>311.33999999999997</c:v>
                </c:pt>
                <c:pt idx="1674">
                  <c:v>311</c:v>
                </c:pt>
                <c:pt idx="1675">
                  <c:v>314.27</c:v>
                </c:pt>
                <c:pt idx="1676">
                  <c:v>317.52</c:v>
                </c:pt>
                <c:pt idx="1677">
                  <c:v>312.93</c:v>
                </c:pt>
                <c:pt idx="1678">
                  <c:v>296.8</c:v>
                </c:pt>
                <c:pt idx="1679">
                  <c:v>306.33</c:v>
                </c:pt>
                <c:pt idx="1680">
                  <c:v>298.91000000000003</c:v>
                </c:pt>
                <c:pt idx="1681">
                  <c:v>298.29000000000002</c:v>
                </c:pt>
                <c:pt idx="1682">
                  <c:v>284.14999999999998</c:v>
                </c:pt>
                <c:pt idx="1683">
                  <c:v>288.93</c:v>
                </c:pt>
                <c:pt idx="1684">
                  <c:v>301.05</c:v>
                </c:pt>
                <c:pt idx="1685">
                  <c:v>309.82</c:v>
                </c:pt>
                <c:pt idx="1686">
                  <c:v>309.85000000000002</c:v>
                </c:pt>
                <c:pt idx="1687">
                  <c:v>300.13</c:v>
                </c:pt>
                <c:pt idx="1688">
                  <c:v>306.23</c:v>
                </c:pt>
                <c:pt idx="1689">
                  <c:v>314.45</c:v>
                </c:pt>
                <c:pt idx="1690">
                  <c:v>320.39999999999998</c:v>
                </c:pt>
                <c:pt idx="1691">
                  <c:v>320.73</c:v>
                </c:pt>
                <c:pt idx="1692">
                  <c:v>319.92</c:v>
                </c:pt>
                <c:pt idx="1693">
                  <c:v>314.02999999999997</c:v>
                </c:pt>
                <c:pt idx="1694">
                  <c:v>324.83999999999997</c:v>
                </c:pt>
                <c:pt idx="1695">
                  <c:v>318.35000000000002</c:v>
                </c:pt>
                <c:pt idx="1696">
                  <c:v>305.86</c:v>
                </c:pt>
                <c:pt idx="1697">
                  <c:v>286.58</c:v>
                </c:pt>
                <c:pt idx="1698">
                  <c:v>274.75</c:v>
                </c:pt>
                <c:pt idx="1699">
                  <c:v>275.57</c:v>
                </c:pt>
                <c:pt idx="1700">
                  <c:v>258.12</c:v>
                </c:pt>
                <c:pt idx="1701">
                  <c:v>266.04000000000002</c:v>
                </c:pt>
                <c:pt idx="1702">
                  <c:v>278.88</c:v>
                </c:pt>
                <c:pt idx="1703">
                  <c:v>265.98</c:v>
                </c:pt>
                <c:pt idx="1704">
                  <c:v>284.08</c:v>
                </c:pt>
                <c:pt idx="1705">
                  <c:v>272.16000000000003</c:v>
                </c:pt>
                <c:pt idx="1706">
                  <c:v>264.83</c:v>
                </c:pt>
                <c:pt idx="1707">
                  <c:v>234.41</c:v>
                </c:pt>
                <c:pt idx="1708">
                  <c:v>255.52</c:v>
                </c:pt>
                <c:pt idx="1709">
                  <c:v>235.35</c:v>
                </c:pt>
                <c:pt idx="1710">
                  <c:v>198.77</c:v>
                </c:pt>
                <c:pt idx="1711">
                  <c:v>231.43</c:v>
                </c:pt>
                <c:pt idx="1712">
                  <c:v>178.74</c:v>
                </c:pt>
                <c:pt idx="1713">
                  <c:v>206.16</c:v>
                </c:pt>
                <c:pt idx="1714">
                  <c:v>176.18</c:v>
                </c:pt>
                <c:pt idx="1715">
                  <c:v>187.85</c:v>
                </c:pt>
                <c:pt idx="1716">
                  <c:v>178.69</c:v>
                </c:pt>
                <c:pt idx="1717">
                  <c:v>188.05</c:v>
                </c:pt>
                <c:pt idx="1718">
                  <c:v>220.18</c:v>
                </c:pt>
                <c:pt idx="1719">
                  <c:v>216.04</c:v>
                </c:pt>
                <c:pt idx="1720">
                  <c:v>237.51</c:v>
                </c:pt>
                <c:pt idx="1721">
                  <c:v>219.51</c:v>
                </c:pt>
                <c:pt idx="1722">
                  <c:v>231.65</c:v>
                </c:pt>
                <c:pt idx="1723">
                  <c:v>224.2</c:v>
                </c:pt>
                <c:pt idx="1724">
                  <c:v>206.42</c:v>
                </c:pt>
                <c:pt idx="1725">
                  <c:v>216.48</c:v>
                </c:pt>
                <c:pt idx="1726">
                  <c:v>209.71</c:v>
                </c:pt>
                <c:pt idx="1727">
                  <c:v>241.86</c:v>
                </c:pt>
                <c:pt idx="1728">
                  <c:v>240.25</c:v>
                </c:pt>
                <c:pt idx="1729">
                  <c:v>251.95</c:v>
                </c:pt>
                <c:pt idx="1730">
                  <c:v>243.76</c:v>
                </c:pt>
                <c:pt idx="1731">
                  <c:v>248.47</c:v>
                </c:pt>
                <c:pt idx="1732">
                  <c:v>263.94</c:v>
                </c:pt>
                <c:pt idx="1733">
                  <c:v>253.68</c:v>
                </c:pt>
                <c:pt idx="1734">
                  <c:v>262.89</c:v>
                </c:pt>
                <c:pt idx="1735">
                  <c:v>266.06</c:v>
                </c:pt>
                <c:pt idx="1736">
                  <c:v>257.89</c:v>
                </c:pt>
                <c:pt idx="1737">
                  <c:v>240.97</c:v>
                </c:pt>
                <c:pt idx="1738">
                  <c:v>261.02</c:v>
                </c:pt>
                <c:pt idx="1739">
                  <c:v>257.27</c:v>
                </c:pt>
                <c:pt idx="1740">
                  <c:v>265.39999999999998</c:v>
                </c:pt>
                <c:pt idx="1741">
                  <c:v>270.23</c:v>
                </c:pt>
                <c:pt idx="1742">
                  <c:v>267.69</c:v>
                </c:pt>
                <c:pt idx="1743">
                  <c:v>285.83</c:v>
                </c:pt>
                <c:pt idx="1744">
                  <c:v>271.56</c:v>
                </c:pt>
                <c:pt idx="1745">
                  <c:v>252.92</c:v>
                </c:pt>
                <c:pt idx="1746">
                  <c:v>256.55</c:v>
                </c:pt>
                <c:pt idx="1747">
                  <c:v>262.60000000000002</c:v>
                </c:pt>
                <c:pt idx="1748">
                  <c:v>266.52</c:v>
                </c:pt>
                <c:pt idx="1749">
                  <c:v>270.2</c:v>
                </c:pt>
                <c:pt idx="1750">
                  <c:v>281.08</c:v>
                </c:pt>
                <c:pt idx="1751">
                  <c:v>280.8</c:v>
                </c:pt>
                <c:pt idx="1752">
                  <c:v>270.27</c:v>
                </c:pt>
                <c:pt idx="1753">
                  <c:v>263.04000000000002</c:v>
                </c:pt>
                <c:pt idx="1754">
                  <c:v>273.24</c:v>
                </c:pt>
                <c:pt idx="1755">
                  <c:v>265.05</c:v>
                </c:pt>
                <c:pt idx="1756">
                  <c:v>282.57</c:v>
                </c:pt>
                <c:pt idx="1757">
                  <c:v>281.08</c:v>
                </c:pt>
                <c:pt idx="1758">
                  <c:v>295.07</c:v>
                </c:pt>
                <c:pt idx="1759">
                  <c:v>284.38</c:v>
                </c:pt>
                <c:pt idx="1760">
                  <c:v>286.81</c:v>
                </c:pt>
                <c:pt idx="1761">
                  <c:v>290.72000000000003</c:v>
                </c:pt>
                <c:pt idx="1762">
                  <c:v>296.47000000000003</c:v>
                </c:pt>
                <c:pt idx="1763">
                  <c:v>287.32</c:v>
                </c:pt>
                <c:pt idx="1764">
                  <c:v>297.58</c:v>
                </c:pt>
                <c:pt idx="1765">
                  <c:v>295.60000000000002</c:v>
                </c:pt>
                <c:pt idx="1766">
                  <c:v>304.22000000000003</c:v>
                </c:pt>
                <c:pt idx="1767">
                  <c:v>315.82</c:v>
                </c:pt>
                <c:pt idx="1768">
                  <c:v>319.25</c:v>
                </c:pt>
                <c:pt idx="1769">
                  <c:v>330.05</c:v>
                </c:pt>
                <c:pt idx="1770">
                  <c:v>328.94</c:v>
                </c:pt>
                <c:pt idx="1771">
                  <c:v>328.83</c:v>
                </c:pt>
                <c:pt idx="1772">
                  <c:v>330.24</c:v>
                </c:pt>
                <c:pt idx="1773">
                  <c:v>302.77</c:v>
                </c:pt>
                <c:pt idx="1774">
                  <c:v>308.60000000000002</c:v>
                </c:pt>
                <c:pt idx="1775">
                  <c:v>314.43</c:v>
                </c:pt>
                <c:pt idx="1776">
                  <c:v>321.88</c:v>
                </c:pt>
                <c:pt idx="1777">
                  <c:v>325.82</c:v>
                </c:pt>
                <c:pt idx="1778">
                  <c:v>324.98</c:v>
                </c:pt>
                <c:pt idx="1779">
                  <c:v>322.11</c:v>
                </c:pt>
                <c:pt idx="1780">
                  <c:v>325.67</c:v>
                </c:pt>
                <c:pt idx="1781">
                  <c:v>326.61</c:v>
                </c:pt>
                <c:pt idx="1782">
                  <c:v>317.29000000000002</c:v>
                </c:pt>
                <c:pt idx="1783">
                  <c:v>320.88</c:v>
                </c:pt>
                <c:pt idx="1784">
                  <c:v>312.48</c:v>
                </c:pt>
                <c:pt idx="1785">
                  <c:v>317.2</c:v>
                </c:pt>
                <c:pt idx="1786">
                  <c:v>328.48</c:v>
                </c:pt>
                <c:pt idx="1787">
                  <c:v>322.14999999999998</c:v>
                </c:pt>
                <c:pt idx="1788">
                  <c:v>327.87</c:v>
                </c:pt>
                <c:pt idx="1789">
                  <c:v>339.29</c:v>
                </c:pt>
                <c:pt idx="1790">
                  <c:v>333.48</c:v>
                </c:pt>
                <c:pt idx="1791">
                  <c:v>339.92</c:v>
                </c:pt>
                <c:pt idx="1792">
                  <c:v>345.71</c:v>
                </c:pt>
                <c:pt idx="1793">
                  <c:v>344.22</c:v>
                </c:pt>
                <c:pt idx="1794">
                  <c:v>336.57</c:v>
                </c:pt>
                <c:pt idx="1795">
                  <c:v>344.22</c:v>
                </c:pt>
                <c:pt idx="1796">
                  <c:v>343.01</c:v>
                </c:pt>
                <c:pt idx="1797">
                  <c:v>341.24</c:v>
                </c:pt>
                <c:pt idx="1798">
                  <c:v>344.05</c:v>
                </c:pt>
                <c:pt idx="1799">
                  <c:v>352.95</c:v>
                </c:pt>
                <c:pt idx="1800">
                  <c:v>349.97</c:v>
                </c:pt>
                <c:pt idx="1801">
                  <c:v>351.87</c:v>
                </c:pt>
                <c:pt idx="1802">
                  <c:v>344.47</c:v>
                </c:pt>
                <c:pt idx="1803">
                  <c:v>337.55</c:v>
                </c:pt>
                <c:pt idx="1804">
                  <c:v>351.69</c:v>
                </c:pt>
                <c:pt idx="1805">
                  <c:v>342.2</c:v>
                </c:pt>
                <c:pt idx="1806">
                  <c:v>352.05</c:v>
                </c:pt>
                <c:pt idx="1807">
                  <c:v>360.91</c:v>
                </c:pt>
                <c:pt idx="1808">
                  <c:v>358.52</c:v>
                </c:pt>
                <c:pt idx="1809">
                  <c:v>367.29</c:v>
                </c:pt>
                <c:pt idx="1810">
                  <c:v>374.27</c:v>
                </c:pt>
                <c:pt idx="1811">
                  <c:v>373.79</c:v>
                </c:pt>
                <c:pt idx="1812">
                  <c:v>373.22</c:v>
                </c:pt>
                <c:pt idx="1813">
                  <c:v>367.63</c:v>
                </c:pt>
                <c:pt idx="1814">
                  <c:v>367.79</c:v>
                </c:pt>
                <c:pt idx="1815">
                  <c:v>362.46</c:v>
                </c:pt>
                <c:pt idx="1816">
                  <c:v>378.01</c:v>
                </c:pt>
                <c:pt idx="1817">
                  <c:v>372.68</c:v>
                </c:pt>
                <c:pt idx="1818">
                  <c:v>372.34</c:v>
                </c:pt>
                <c:pt idx="1819">
                  <c:v>378.09</c:v>
                </c:pt>
                <c:pt idx="1820">
                  <c:v>375.31</c:v>
                </c:pt>
                <c:pt idx="1821">
                  <c:v>372.33</c:v>
                </c:pt>
                <c:pt idx="1822">
                  <c:v>368.09</c:v>
                </c:pt>
                <c:pt idx="1823">
                  <c:v>371.81</c:v>
                </c:pt>
                <c:pt idx="1824">
                  <c:v>376.32</c:v>
                </c:pt>
                <c:pt idx="1825">
                  <c:v>381.41</c:v>
                </c:pt>
                <c:pt idx="1826">
                  <c:v>382.94</c:v>
                </c:pt>
                <c:pt idx="1827">
                  <c:v>376.49</c:v>
                </c:pt>
                <c:pt idx="1828">
                  <c:v>385.93</c:v>
                </c:pt>
                <c:pt idx="1829">
                  <c:v>385.13</c:v>
                </c:pt>
                <c:pt idx="1830">
                  <c:v>394.63</c:v>
                </c:pt>
                <c:pt idx="1831">
                  <c:v>408.69</c:v>
                </c:pt>
                <c:pt idx="1832">
                  <c:v>379.51</c:v>
                </c:pt>
                <c:pt idx="1833">
                  <c:v>374.9</c:v>
                </c:pt>
                <c:pt idx="1834">
                  <c:v>352.55</c:v>
                </c:pt>
                <c:pt idx="1835">
                  <c:v>365.64</c:v>
                </c:pt>
                <c:pt idx="1836">
                  <c:v>358.81</c:v>
                </c:pt>
                <c:pt idx="1837">
                  <c:v>358.51</c:v>
                </c:pt>
                <c:pt idx="1838">
                  <c:v>368.25</c:v>
                </c:pt>
                <c:pt idx="1839">
                  <c:v>376.28</c:v>
                </c:pt>
                <c:pt idx="1840">
                  <c:v>371.21</c:v>
                </c:pt>
                <c:pt idx="1841">
                  <c:v>370.91</c:v>
                </c:pt>
                <c:pt idx="1842">
                  <c:v>363.79</c:v>
                </c:pt>
                <c:pt idx="1843">
                  <c:v>362.35</c:v>
                </c:pt>
                <c:pt idx="1844">
                  <c:v>367.93</c:v>
                </c:pt>
                <c:pt idx="1845">
                  <c:v>356.43</c:v>
                </c:pt>
                <c:pt idx="1846">
                  <c:v>360.88</c:v>
                </c:pt>
                <c:pt idx="1847">
                  <c:v>367.41</c:v>
                </c:pt>
                <c:pt idx="1848">
                  <c:v>380.24</c:v>
                </c:pt>
                <c:pt idx="1849">
                  <c:v>381.29</c:v>
                </c:pt>
                <c:pt idx="1850">
                  <c:v>381.63</c:v>
                </c:pt>
                <c:pt idx="1851">
                  <c:v>391.86</c:v>
                </c:pt>
                <c:pt idx="1852">
                  <c:v>376.7</c:v>
                </c:pt>
                <c:pt idx="1853">
                  <c:v>392.67</c:v>
                </c:pt>
                <c:pt idx="1854">
                  <c:v>389.57</c:v>
                </c:pt>
                <c:pt idx="1855">
                  <c:v>399.82</c:v>
                </c:pt>
                <c:pt idx="1856">
                  <c:v>405.68</c:v>
                </c:pt>
                <c:pt idx="1857">
                  <c:v>414.67</c:v>
                </c:pt>
                <c:pt idx="1858">
                  <c:v>422.27</c:v>
                </c:pt>
                <c:pt idx="1859">
                  <c:v>421.55</c:v>
                </c:pt>
                <c:pt idx="1860">
                  <c:v>418.78</c:v>
                </c:pt>
                <c:pt idx="1861">
                  <c:v>417.48</c:v>
                </c:pt>
                <c:pt idx="1862">
                  <c:v>415.04</c:v>
                </c:pt>
                <c:pt idx="1863">
                  <c:v>412.05</c:v>
                </c:pt>
                <c:pt idx="1864">
                  <c:v>412.05</c:v>
                </c:pt>
                <c:pt idx="1865">
                  <c:v>408.06</c:v>
                </c:pt>
                <c:pt idx="1866">
                  <c:v>408.75</c:v>
                </c:pt>
                <c:pt idx="1867">
                  <c:v>406.55</c:v>
                </c:pt>
                <c:pt idx="1868">
                  <c:v>395.44</c:v>
                </c:pt>
                <c:pt idx="1869">
                  <c:v>393.82</c:v>
                </c:pt>
                <c:pt idx="1870">
                  <c:v>377.1</c:v>
                </c:pt>
                <c:pt idx="1871">
                  <c:v>390.12</c:v>
                </c:pt>
                <c:pt idx="1872">
                  <c:v>382.07</c:v>
                </c:pt>
                <c:pt idx="1873">
                  <c:v>385.06</c:v>
                </c:pt>
                <c:pt idx="1874">
                  <c:v>394.21</c:v>
                </c:pt>
                <c:pt idx="1875">
                  <c:v>411.7</c:v>
                </c:pt>
                <c:pt idx="1876">
                  <c:v>434.22</c:v>
                </c:pt>
                <c:pt idx="1877">
                  <c:v>442.83</c:v>
                </c:pt>
                <c:pt idx="1878">
                  <c:v>436.03</c:v>
                </c:pt>
                <c:pt idx="1879">
                  <c:v>419.88</c:v>
                </c:pt>
                <c:pt idx="1880">
                  <c:v>438.96</c:v>
                </c:pt>
                <c:pt idx="1881">
                  <c:v>431.92</c:v>
                </c:pt>
                <c:pt idx="1882">
                  <c:v>438.44</c:v>
                </c:pt>
                <c:pt idx="1883">
                  <c:v>451.78</c:v>
                </c:pt>
                <c:pt idx="1884">
                  <c:v>447.06</c:v>
                </c:pt>
                <c:pt idx="1885">
                  <c:v>443.12</c:v>
                </c:pt>
                <c:pt idx="1886">
                  <c:v>451.62</c:v>
                </c:pt>
                <c:pt idx="1887">
                  <c:v>448.46</c:v>
                </c:pt>
                <c:pt idx="1888">
                  <c:v>456.99</c:v>
                </c:pt>
                <c:pt idx="1889">
                  <c:v>459.94</c:v>
                </c:pt>
                <c:pt idx="1890">
                  <c:v>458.06</c:v>
                </c:pt>
                <c:pt idx="1891">
                  <c:v>464.78</c:v>
                </c:pt>
                <c:pt idx="1892">
                  <c:v>471.64</c:v>
                </c:pt>
                <c:pt idx="1893">
                  <c:v>481.56</c:v>
                </c:pt>
                <c:pt idx="1894">
                  <c:v>482.98</c:v>
                </c:pt>
                <c:pt idx="1895">
                  <c:v>482.94</c:v>
                </c:pt>
                <c:pt idx="1896">
                  <c:v>499.44</c:v>
                </c:pt>
                <c:pt idx="1897">
                  <c:v>502.35</c:v>
                </c:pt>
                <c:pt idx="1898">
                  <c:v>504.43</c:v>
                </c:pt>
                <c:pt idx="1899">
                  <c:v>486.94</c:v>
                </c:pt>
                <c:pt idx="1900">
                  <c:v>486.7</c:v>
                </c:pt>
                <c:pt idx="1901">
                  <c:v>480.35</c:v>
                </c:pt>
                <c:pt idx="1902">
                  <c:v>487.25</c:v>
                </c:pt>
                <c:pt idx="1903">
                  <c:v>495.53</c:v>
                </c:pt>
                <c:pt idx="1904">
                  <c:v>495.23</c:v>
                </c:pt>
                <c:pt idx="1905">
                  <c:v>496.24</c:v>
                </c:pt>
                <c:pt idx="1906">
                  <c:v>493.37</c:v>
                </c:pt>
                <c:pt idx="1907">
                  <c:v>489.62</c:v>
                </c:pt>
                <c:pt idx="1908">
                  <c:v>488.91</c:v>
                </c:pt>
                <c:pt idx="1909">
                  <c:v>484.52</c:v>
                </c:pt>
                <c:pt idx="1910">
                  <c:v>490.26</c:v>
                </c:pt>
                <c:pt idx="1911">
                  <c:v>488.98</c:v>
                </c:pt>
                <c:pt idx="1912">
                  <c:v>487.64</c:v>
                </c:pt>
                <c:pt idx="1913">
                  <c:v>497.45</c:v>
                </c:pt>
                <c:pt idx="1914">
                  <c:v>499.97</c:v>
                </c:pt>
                <c:pt idx="1915">
                  <c:v>497.33</c:v>
                </c:pt>
                <c:pt idx="1916">
                  <c:v>508.91</c:v>
                </c:pt>
                <c:pt idx="1917">
                  <c:v>506.94</c:v>
                </c:pt>
                <c:pt idx="1918">
                  <c:v>530.34</c:v>
                </c:pt>
                <c:pt idx="1919">
                  <c:v>530.22</c:v>
                </c:pt>
                <c:pt idx="1920">
                  <c:v>537.4</c:v>
                </c:pt>
                <c:pt idx="1921">
                  <c:v>541.29</c:v>
                </c:pt>
                <c:pt idx="1922">
                  <c:v>542.13</c:v>
                </c:pt>
                <c:pt idx="1923">
                  <c:v>555.79999999999995</c:v>
                </c:pt>
                <c:pt idx="1924">
                  <c:v>542.30999999999995</c:v>
                </c:pt>
                <c:pt idx="1925">
                  <c:v>563.89</c:v>
                </c:pt>
                <c:pt idx="1926">
                  <c:v>562.11</c:v>
                </c:pt>
                <c:pt idx="1927">
                  <c:v>572.23</c:v>
                </c:pt>
                <c:pt idx="1928">
                  <c:v>559.83000000000004</c:v>
                </c:pt>
                <c:pt idx="1929">
                  <c:v>560.86</c:v>
                </c:pt>
                <c:pt idx="1930">
                  <c:v>550.67999999999995</c:v>
                </c:pt>
                <c:pt idx="1931">
                  <c:v>517.05999999999995</c:v>
                </c:pt>
                <c:pt idx="1932">
                  <c:v>529.94000000000005</c:v>
                </c:pt>
                <c:pt idx="1933">
                  <c:v>519.63</c:v>
                </c:pt>
                <c:pt idx="1934">
                  <c:v>543.86</c:v>
                </c:pt>
                <c:pt idx="1935">
                  <c:v>554.02</c:v>
                </c:pt>
                <c:pt idx="1936">
                  <c:v>540.17999999999995</c:v>
                </c:pt>
                <c:pt idx="1937">
                  <c:v>545.66999999999996</c:v>
                </c:pt>
                <c:pt idx="1938">
                  <c:v>540.64</c:v>
                </c:pt>
                <c:pt idx="1939">
                  <c:v>560.70000000000005</c:v>
                </c:pt>
                <c:pt idx="1940">
                  <c:v>557.79999999999995</c:v>
                </c:pt>
                <c:pt idx="1941">
                  <c:v>559.92999999999995</c:v>
                </c:pt>
                <c:pt idx="1942">
                  <c:v>582.66999999999996</c:v>
                </c:pt>
                <c:pt idx="1943">
                  <c:v>591.04999999999995</c:v>
                </c:pt>
                <c:pt idx="1944">
                  <c:v>595.14</c:v>
                </c:pt>
                <c:pt idx="1945">
                  <c:v>582.11</c:v>
                </c:pt>
                <c:pt idx="1946">
                  <c:v>575.36</c:v>
                </c:pt>
                <c:pt idx="1947">
                  <c:v>591.82000000000005</c:v>
                </c:pt>
                <c:pt idx="1948">
                  <c:v>565.75</c:v>
                </c:pt>
                <c:pt idx="1949">
                  <c:v>561.86</c:v>
                </c:pt>
                <c:pt idx="1950">
                  <c:v>583.29</c:v>
                </c:pt>
                <c:pt idx="1951">
                  <c:v>543.67999999999995</c:v>
                </c:pt>
                <c:pt idx="1952">
                  <c:v>558.37</c:v>
                </c:pt>
                <c:pt idx="1953">
                  <c:v>580.15</c:v>
                </c:pt>
                <c:pt idx="1954">
                  <c:v>559.08000000000004</c:v>
                </c:pt>
                <c:pt idx="1955">
                  <c:v>538.62</c:v>
                </c:pt>
                <c:pt idx="1956">
                  <c:v>507.73</c:v>
                </c:pt>
                <c:pt idx="1957">
                  <c:v>526.85</c:v>
                </c:pt>
                <c:pt idx="1958">
                  <c:v>492.94</c:v>
                </c:pt>
                <c:pt idx="1959">
                  <c:v>529.30999999999995</c:v>
                </c:pt>
                <c:pt idx="1960">
                  <c:v>517.96</c:v>
                </c:pt>
                <c:pt idx="1961">
                  <c:v>543.24</c:v>
                </c:pt>
                <c:pt idx="1962">
                  <c:v>536.37</c:v>
                </c:pt>
                <c:pt idx="1963">
                  <c:v>550.74</c:v>
                </c:pt>
                <c:pt idx="1964">
                  <c:v>558.95000000000005</c:v>
                </c:pt>
                <c:pt idx="1965">
                  <c:v>567.02</c:v>
                </c:pt>
                <c:pt idx="1966">
                  <c:v>538.76</c:v>
                </c:pt>
                <c:pt idx="1967">
                  <c:v>546.29999999999995</c:v>
                </c:pt>
                <c:pt idx="1968">
                  <c:v>560.5</c:v>
                </c:pt>
                <c:pt idx="1969">
                  <c:v>542.62</c:v>
                </c:pt>
                <c:pt idx="1970">
                  <c:v>533.98</c:v>
                </c:pt>
                <c:pt idx="1971">
                  <c:v>535.25</c:v>
                </c:pt>
                <c:pt idx="1972">
                  <c:v>566.66999999999996</c:v>
                </c:pt>
                <c:pt idx="1973">
                  <c:v>555.58000000000004</c:v>
                </c:pt>
                <c:pt idx="1974">
                  <c:v>553.41999999999996</c:v>
                </c:pt>
                <c:pt idx="1975">
                  <c:v>570.67999999999995</c:v>
                </c:pt>
                <c:pt idx="1976">
                  <c:v>595.41</c:v>
                </c:pt>
                <c:pt idx="1977">
                  <c:v>609.41</c:v>
                </c:pt>
                <c:pt idx="1978">
                  <c:v>600.97</c:v>
                </c:pt>
                <c:pt idx="1979">
                  <c:v>601.04999999999995</c:v>
                </c:pt>
                <c:pt idx="1980">
                  <c:v>608.52</c:v>
                </c:pt>
                <c:pt idx="1981">
                  <c:v>607.07000000000005</c:v>
                </c:pt>
                <c:pt idx="1982">
                  <c:v>599.29999999999995</c:v>
                </c:pt>
                <c:pt idx="1983">
                  <c:v>598.09</c:v>
                </c:pt>
                <c:pt idx="1984">
                  <c:v>589.76</c:v>
                </c:pt>
                <c:pt idx="1985">
                  <c:v>602.09</c:v>
                </c:pt>
                <c:pt idx="1986">
                  <c:v>598.16999999999996</c:v>
                </c:pt>
                <c:pt idx="1987">
                  <c:v>580.55999999999995</c:v>
                </c:pt>
                <c:pt idx="1988">
                  <c:v>569.91999999999996</c:v>
                </c:pt>
                <c:pt idx="1989">
                  <c:v>588.34</c:v>
                </c:pt>
                <c:pt idx="1990">
                  <c:v>572.44000000000005</c:v>
                </c:pt>
                <c:pt idx="1991">
                  <c:v>586.14</c:v>
                </c:pt>
                <c:pt idx="1992">
                  <c:v>597.57000000000005</c:v>
                </c:pt>
                <c:pt idx="1993">
                  <c:v>592.28</c:v>
                </c:pt>
                <c:pt idx="1994">
                  <c:v>582.16999999999996</c:v>
                </c:pt>
                <c:pt idx="1995">
                  <c:v>587.32000000000005</c:v>
                </c:pt>
                <c:pt idx="1996">
                  <c:v>567.25</c:v>
                </c:pt>
                <c:pt idx="1997">
                  <c:v>559.61</c:v>
                </c:pt>
                <c:pt idx="1998">
                  <c:v>549.08000000000004</c:v>
                </c:pt>
                <c:pt idx="1999">
                  <c:v>553.05999999999995</c:v>
                </c:pt>
                <c:pt idx="2000">
                  <c:v>558.07000000000005</c:v>
                </c:pt>
                <c:pt idx="2001">
                  <c:v>567.9</c:v>
                </c:pt>
                <c:pt idx="2002">
                  <c:v>536.79999999999995</c:v>
                </c:pt>
                <c:pt idx="2003">
                  <c:v>538.71</c:v>
                </c:pt>
                <c:pt idx="2004">
                  <c:v>511.91</c:v>
                </c:pt>
                <c:pt idx="2005">
                  <c:v>521.1</c:v>
                </c:pt>
                <c:pt idx="2006">
                  <c:v>539.87</c:v>
                </c:pt>
                <c:pt idx="2007">
                  <c:v>534.12</c:v>
                </c:pt>
                <c:pt idx="2008">
                  <c:v>528.65</c:v>
                </c:pt>
                <c:pt idx="2009">
                  <c:v>541.13</c:v>
                </c:pt>
                <c:pt idx="2010">
                  <c:v>558.04999999999995</c:v>
                </c:pt>
                <c:pt idx="2011">
                  <c:v>555.04</c:v>
                </c:pt>
                <c:pt idx="2012">
                  <c:v>570.25</c:v>
                </c:pt>
                <c:pt idx="2013">
                  <c:v>572.76</c:v>
                </c:pt>
                <c:pt idx="2014">
                  <c:v>574.12</c:v>
                </c:pt>
                <c:pt idx="2015">
                  <c:v>578.04</c:v>
                </c:pt>
                <c:pt idx="2016">
                  <c:v>583.9</c:v>
                </c:pt>
                <c:pt idx="2017">
                  <c:v>581.27</c:v>
                </c:pt>
                <c:pt idx="2018">
                  <c:v>586.13</c:v>
                </c:pt>
                <c:pt idx="2019">
                  <c:v>573.73</c:v>
                </c:pt>
                <c:pt idx="2020">
                  <c:v>589.82000000000005</c:v>
                </c:pt>
                <c:pt idx="2021">
                  <c:v>584.99</c:v>
                </c:pt>
                <c:pt idx="2022">
                  <c:v>580.61</c:v>
                </c:pt>
                <c:pt idx="2023">
                  <c:v>577.87</c:v>
                </c:pt>
                <c:pt idx="2024">
                  <c:v>585.97</c:v>
                </c:pt>
                <c:pt idx="2025">
                  <c:v>588.94000000000005</c:v>
                </c:pt>
                <c:pt idx="2026">
                  <c:v>598.66</c:v>
                </c:pt>
                <c:pt idx="2027">
                  <c:v>592.36</c:v>
                </c:pt>
                <c:pt idx="2028">
                  <c:v>587</c:v>
                </c:pt>
                <c:pt idx="2029">
                  <c:v>593.59</c:v>
                </c:pt>
                <c:pt idx="2030">
                  <c:v>576.66</c:v>
                </c:pt>
                <c:pt idx="2031">
                  <c:v>580.77</c:v>
                </c:pt>
                <c:pt idx="2032">
                  <c:v>583.66</c:v>
                </c:pt>
                <c:pt idx="2033">
                  <c:v>586.19000000000005</c:v>
                </c:pt>
                <c:pt idx="2034">
                  <c:v>598.33000000000004</c:v>
                </c:pt>
                <c:pt idx="2035">
                  <c:v>595.69000000000005</c:v>
                </c:pt>
                <c:pt idx="2036">
                  <c:v>613.21</c:v>
                </c:pt>
                <c:pt idx="2037">
                  <c:v>618.73</c:v>
                </c:pt>
                <c:pt idx="2038">
                  <c:v>617.97</c:v>
                </c:pt>
                <c:pt idx="2039">
                  <c:v>607.19000000000005</c:v>
                </c:pt>
                <c:pt idx="2040">
                  <c:v>611.64</c:v>
                </c:pt>
                <c:pt idx="2041">
                  <c:v>609.95000000000005</c:v>
                </c:pt>
                <c:pt idx="2042">
                  <c:v>600.03</c:v>
                </c:pt>
                <c:pt idx="2043">
                  <c:v>591.67999999999995</c:v>
                </c:pt>
                <c:pt idx="2044">
                  <c:v>603.61</c:v>
                </c:pt>
                <c:pt idx="2045">
                  <c:v>612.32000000000005</c:v>
                </c:pt>
                <c:pt idx="2046">
                  <c:v>608.41999999999996</c:v>
                </c:pt>
                <c:pt idx="2047">
                  <c:v>605.91999999999996</c:v>
                </c:pt>
                <c:pt idx="2048">
                  <c:v>590.59</c:v>
                </c:pt>
                <c:pt idx="2049">
                  <c:v>575.08000000000004</c:v>
                </c:pt>
                <c:pt idx="2050">
                  <c:v>575.52</c:v>
                </c:pt>
                <c:pt idx="2051">
                  <c:v>584.84</c:v>
                </c:pt>
                <c:pt idx="2052">
                  <c:v>605.83000000000004</c:v>
                </c:pt>
                <c:pt idx="2053">
                  <c:v>599.54</c:v>
                </c:pt>
                <c:pt idx="2054">
                  <c:v>603.97</c:v>
                </c:pt>
                <c:pt idx="2055">
                  <c:v>603.29</c:v>
                </c:pt>
                <c:pt idx="2056">
                  <c:v>590.21</c:v>
                </c:pt>
                <c:pt idx="2057">
                  <c:v>602.33000000000004</c:v>
                </c:pt>
                <c:pt idx="2058">
                  <c:v>615.38</c:v>
                </c:pt>
                <c:pt idx="2059">
                  <c:v>620.38</c:v>
                </c:pt>
                <c:pt idx="2060">
                  <c:v>624.88</c:v>
                </c:pt>
                <c:pt idx="2061">
                  <c:v>628.99</c:v>
                </c:pt>
                <c:pt idx="2062">
                  <c:v>637.63</c:v>
                </c:pt>
                <c:pt idx="2063">
                  <c:v>634.96</c:v>
                </c:pt>
                <c:pt idx="2064">
                  <c:v>632.29</c:v>
                </c:pt>
                <c:pt idx="2065">
                  <c:v>629.66</c:v>
                </c:pt>
                <c:pt idx="2066">
                  <c:v>620.88</c:v>
                </c:pt>
                <c:pt idx="2067">
                  <c:v>619.17999999999995</c:v>
                </c:pt>
                <c:pt idx="2068">
                  <c:v>611.03</c:v>
                </c:pt>
                <c:pt idx="2069">
                  <c:v>615.77</c:v>
                </c:pt>
                <c:pt idx="2070">
                  <c:v>613.11</c:v>
                </c:pt>
                <c:pt idx="2071">
                  <c:v>598.98</c:v>
                </c:pt>
                <c:pt idx="2072">
                  <c:v>588.67999999999995</c:v>
                </c:pt>
                <c:pt idx="2073">
                  <c:v>594.48</c:v>
                </c:pt>
                <c:pt idx="2074">
                  <c:v>598.91</c:v>
                </c:pt>
                <c:pt idx="2075">
                  <c:v>617.26</c:v>
                </c:pt>
                <c:pt idx="2076">
                  <c:v>617.99</c:v>
                </c:pt>
                <c:pt idx="2077">
                  <c:v>623.82000000000005</c:v>
                </c:pt>
                <c:pt idx="2078">
                  <c:v>623.35</c:v>
                </c:pt>
                <c:pt idx="2079">
                  <c:v>637.53</c:v>
                </c:pt>
                <c:pt idx="2080">
                  <c:v>639.66999999999996</c:v>
                </c:pt>
                <c:pt idx="2081">
                  <c:v>633.51</c:v>
                </c:pt>
                <c:pt idx="2082">
                  <c:v>629.70000000000005</c:v>
                </c:pt>
                <c:pt idx="2083">
                  <c:v>632.14</c:v>
                </c:pt>
                <c:pt idx="2084">
                  <c:v>636.34</c:v>
                </c:pt>
                <c:pt idx="2085">
                  <c:v>633.94000000000005</c:v>
                </c:pt>
                <c:pt idx="2086">
                  <c:v>624.91999999999996</c:v>
                </c:pt>
                <c:pt idx="2087">
                  <c:v>627.74</c:v>
                </c:pt>
                <c:pt idx="2088">
                  <c:v>633.28</c:v>
                </c:pt>
                <c:pt idx="2089">
                  <c:v>640.37</c:v>
                </c:pt>
                <c:pt idx="2090">
                  <c:v>640.30999999999995</c:v>
                </c:pt>
                <c:pt idx="2091">
                  <c:v>643.82000000000005</c:v>
                </c:pt>
                <c:pt idx="2092">
                  <c:v>645.5</c:v>
                </c:pt>
                <c:pt idx="2093">
                  <c:v>634.25</c:v>
                </c:pt>
                <c:pt idx="2094">
                  <c:v>616.45000000000005</c:v>
                </c:pt>
                <c:pt idx="2095">
                  <c:v>617.91</c:v>
                </c:pt>
                <c:pt idx="2096">
                  <c:v>632.29</c:v>
                </c:pt>
                <c:pt idx="2097">
                  <c:v>642.04</c:v>
                </c:pt>
                <c:pt idx="2098">
                  <c:v>641.28</c:v>
                </c:pt>
                <c:pt idx="2099">
                  <c:v>639.46</c:v>
                </c:pt>
                <c:pt idx="2100">
                  <c:v>611.33000000000004</c:v>
                </c:pt>
                <c:pt idx="2101">
                  <c:v>600.48</c:v>
                </c:pt>
                <c:pt idx="2102">
                  <c:v>599.25</c:v>
                </c:pt>
                <c:pt idx="2103">
                  <c:v>599.91</c:v>
                </c:pt>
                <c:pt idx="2104">
                  <c:v>582.5</c:v>
                </c:pt>
                <c:pt idx="2105">
                  <c:v>592.63</c:v>
                </c:pt>
                <c:pt idx="2106">
                  <c:v>595.11</c:v>
                </c:pt>
                <c:pt idx="2107">
                  <c:v>602.77</c:v>
                </c:pt>
                <c:pt idx="2108">
                  <c:v>596.71</c:v>
                </c:pt>
                <c:pt idx="2109">
                  <c:v>591.34</c:v>
                </c:pt>
                <c:pt idx="2110">
                  <c:v>582.09</c:v>
                </c:pt>
                <c:pt idx="2111">
                  <c:v>585.23</c:v>
                </c:pt>
                <c:pt idx="2112">
                  <c:v>606.36</c:v>
                </c:pt>
                <c:pt idx="2113">
                  <c:v>611.34</c:v>
                </c:pt>
                <c:pt idx="2114">
                  <c:v>616.57000000000005</c:v>
                </c:pt>
                <c:pt idx="2115">
                  <c:v>625.73</c:v>
                </c:pt>
                <c:pt idx="2116">
                  <c:v>624.17999999999995</c:v>
                </c:pt>
                <c:pt idx="2117">
                  <c:v>632.29</c:v>
                </c:pt>
                <c:pt idx="2118">
                  <c:v>623.33000000000004</c:v>
                </c:pt>
                <c:pt idx="2119">
                  <c:v>628.07000000000005</c:v>
                </c:pt>
                <c:pt idx="2120">
                  <c:v>628.20000000000005</c:v>
                </c:pt>
                <c:pt idx="2121">
                  <c:v>621.17999999999995</c:v>
                </c:pt>
                <c:pt idx="2122">
                  <c:v>638.04</c:v>
                </c:pt>
                <c:pt idx="2123">
                  <c:v>640.71</c:v>
                </c:pt>
                <c:pt idx="2124">
                  <c:v>652.52</c:v>
                </c:pt>
                <c:pt idx="2125">
                  <c:v>661.65</c:v>
                </c:pt>
                <c:pt idx="2126">
                  <c:v>670.52</c:v>
                </c:pt>
                <c:pt idx="2127">
                  <c:v>697.48</c:v>
                </c:pt>
                <c:pt idx="2128">
                  <c:v>706.23</c:v>
                </c:pt>
                <c:pt idx="2129">
                  <c:v>716.27</c:v>
                </c:pt>
                <c:pt idx="2130">
                  <c:v>715.68</c:v>
                </c:pt>
                <c:pt idx="2131">
                  <c:v>692.6</c:v>
                </c:pt>
                <c:pt idx="2132">
                  <c:v>707.93</c:v>
                </c:pt>
                <c:pt idx="2133">
                  <c:v>714.38</c:v>
                </c:pt>
                <c:pt idx="2134">
                  <c:v>714.21</c:v>
                </c:pt>
                <c:pt idx="2135">
                  <c:v>728.3</c:v>
                </c:pt>
                <c:pt idx="2136">
                  <c:v>722.3</c:v>
                </c:pt>
                <c:pt idx="2137">
                  <c:v>737.01</c:v>
                </c:pt>
                <c:pt idx="2138">
                  <c:v>739.6</c:v>
                </c:pt>
                <c:pt idx="2139">
                  <c:v>725.67</c:v>
                </c:pt>
                <c:pt idx="2140">
                  <c:v>722.94</c:v>
                </c:pt>
                <c:pt idx="2141">
                  <c:v>730.58</c:v>
                </c:pt>
                <c:pt idx="2142">
                  <c:v>706.35</c:v>
                </c:pt>
                <c:pt idx="2143">
                  <c:v>739.28</c:v>
                </c:pt>
                <c:pt idx="2144">
                  <c:v>722.68</c:v>
                </c:pt>
                <c:pt idx="2145">
                  <c:v>717.86</c:v>
                </c:pt>
                <c:pt idx="2146">
                  <c:v>717.88</c:v>
                </c:pt>
                <c:pt idx="2147">
                  <c:v>716.53</c:v>
                </c:pt>
                <c:pt idx="2148">
                  <c:v>715.57</c:v>
                </c:pt>
                <c:pt idx="2149">
                  <c:v>756.06</c:v>
                </c:pt>
                <c:pt idx="2150">
                  <c:v>750.85</c:v>
                </c:pt>
                <c:pt idx="2151">
                  <c:v>732.62</c:v>
                </c:pt>
                <c:pt idx="2152">
                  <c:v>740.17</c:v>
                </c:pt>
                <c:pt idx="2153">
                  <c:v>718.65</c:v>
                </c:pt>
                <c:pt idx="2154">
                  <c:v>714.36</c:v>
                </c:pt>
                <c:pt idx="2155">
                  <c:v>744.41</c:v>
                </c:pt>
                <c:pt idx="2156">
                  <c:v>708.33</c:v>
                </c:pt>
                <c:pt idx="2157">
                  <c:v>707.19</c:v>
                </c:pt>
                <c:pt idx="2158">
                  <c:v>701.04</c:v>
                </c:pt>
                <c:pt idx="2159">
                  <c:v>727.85</c:v>
                </c:pt>
                <c:pt idx="2160">
                  <c:v>735.28</c:v>
                </c:pt>
                <c:pt idx="2161">
                  <c:v>743.97</c:v>
                </c:pt>
                <c:pt idx="2162">
                  <c:v>766.96</c:v>
                </c:pt>
                <c:pt idx="2163">
                  <c:v>756.8</c:v>
                </c:pt>
                <c:pt idx="2164">
                  <c:v>758.34</c:v>
                </c:pt>
                <c:pt idx="2165">
                  <c:v>748.19</c:v>
                </c:pt>
                <c:pt idx="2166">
                  <c:v>746.93</c:v>
                </c:pt>
                <c:pt idx="2167">
                  <c:v>764.32</c:v>
                </c:pt>
                <c:pt idx="2168">
                  <c:v>760.41</c:v>
                </c:pt>
                <c:pt idx="2169">
                  <c:v>732.7</c:v>
                </c:pt>
                <c:pt idx="2170">
                  <c:v>738.96</c:v>
                </c:pt>
                <c:pt idx="2171">
                  <c:v>714.77</c:v>
                </c:pt>
                <c:pt idx="2172">
                  <c:v>716.71</c:v>
                </c:pt>
                <c:pt idx="2173">
                  <c:v>731.75</c:v>
                </c:pt>
                <c:pt idx="2174">
                  <c:v>737.28</c:v>
                </c:pt>
                <c:pt idx="2175">
                  <c:v>718.1</c:v>
                </c:pt>
                <c:pt idx="2176">
                  <c:v>737.15</c:v>
                </c:pt>
                <c:pt idx="2177">
                  <c:v>699.94</c:v>
                </c:pt>
                <c:pt idx="2178">
                  <c:v>675.25</c:v>
                </c:pt>
                <c:pt idx="2179">
                  <c:v>650.04</c:v>
                </c:pt>
                <c:pt idx="2180">
                  <c:v>637.16999999999996</c:v>
                </c:pt>
                <c:pt idx="2181">
                  <c:v>646.87</c:v>
                </c:pt>
                <c:pt idx="2182">
                  <c:v>619.16</c:v>
                </c:pt>
                <c:pt idx="2183">
                  <c:v>631.21</c:v>
                </c:pt>
                <c:pt idx="2184">
                  <c:v>596.23</c:v>
                </c:pt>
                <c:pt idx="2185">
                  <c:v>608.97</c:v>
                </c:pt>
                <c:pt idx="2186">
                  <c:v>647.57000000000005</c:v>
                </c:pt>
                <c:pt idx="2187">
                  <c:v>653.5</c:v>
                </c:pt>
                <c:pt idx="2188">
                  <c:v>672.02</c:v>
                </c:pt>
                <c:pt idx="2189">
                  <c:v>636.69000000000005</c:v>
                </c:pt>
                <c:pt idx="2190">
                  <c:v>641.1</c:v>
                </c:pt>
                <c:pt idx="2191">
                  <c:v>640.94000000000005</c:v>
                </c:pt>
                <c:pt idx="2192">
                  <c:v>658.71</c:v>
                </c:pt>
                <c:pt idx="2193">
                  <c:v>684.16</c:v>
                </c:pt>
                <c:pt idx="2194">
                  <c:v>658.92</c:v>
                </c:pt>
                <c:pt idx="2195">
                  <c:v>622.25</c:v>
                </c:pt>
                <c:pt idx="2196">
                  <c:v>623.30999999999995</c:v>
                </c:pt>
                <c:pt idx="2197">
                  <c:v>662.86</c:v>
                </c:pt>
                <c:pt idx="2198">
                  <c:v>663.12</c:v>
                </c:pt>
                <c:pt idx="2199">
                  <c:v>634.55999999999995</c:v>
                </c:pt>
                <c:pt idx="2200">
                  <c:v>626.34</c:v>
                </c:pt>
                <c:pt idx="2201">
                  <c:v>620.28</c:v>
                </c:pt>
                <c:pt idx="2202">
                  <c:v>603.48</c:v>
                </c:pt>
                <c:pt idx="2203">
                  <c:v>629.53</c:v>
                </c:pt>
                <c:pt idx="2204">
                  <c:v>641.01</c:v>
                </c:pt>
                <c:pt idx="2205">
                  <c:v>636.04999999999995</c:v>
                </c:pt>
                <c:pt idx="2206">
                  <c:v>609.29</c:v>
                </c:pt>
                <c:pt idx="2207">
                  <c:v>633.17999999999995</c:v>
                </c:pt>
                <c:pt idx="2208">
                  <c:v>616.78</c:v>
                </c:pt>
                <c:pt idx="2209">
                  <c:v>599.42999999999995</c:v>
                </c:pt>
                <c:pt idx="2210">
                  <c:v>565.09</c:v>
                </c:pt>
                <c:pt idx="2211">
                  <c:v>577.53</c:v>
                </c:pt>
                <c:pt idx="2212">
                  <c:v>604.41999999999996</c:v>
                </c:pt>
                <c:pt idx="2213">
                  <c:v>589.16</c:v>
                </c:pt>
                <c:pt idx="2214">
                  <c:v>574.79999999999995</c:v>
                </c:pt>
                <c:pt idx="2215">
                  <c:v>554.04999999999995</c:v>
                </c:pt>
                <c:pt idx="2216">
                  <c:v>582.54</c:v>
                </c:pt>
                <c:pt idx="2217">
                  <c:v>616.84</c:v>
                </c:pt>
                <c:pt idx="2218">
                  <c:v>622.1</c:v>
                </c:pt>
                <c:pt idx="2219">
                  <c:v>636.64</c:v>
                </c:pt>
                <c:pt idx="2220">
                  <c:v>634.69000000000005</c:v>
                </c:pt>
                <c:pt idx="2221">
                  <c:v>639.54999999999995</c:v>
                </c:pt>
                <c:pt idx="2222">
                  <c:v>621.19000000000005</c:v>
                </c:pt>
                <c:pt idx="2223">
                  <c:v>658.19</c:v>
                </c:pt>
                <c:pt idx="2224">
                  <c:v>656.61</c:v>
                </c:pt>
                <c:pt idx="2225">
                  <c:v>661.29</c:v>
                </c:pt>
                <c:pt idx="2226">
                  <c:v>678.12</c:v>
                </c:pt>
                <c:pt idx="2227">
                  <c:v>653.02</c:v>
                </c:pt>
                <c:pt idx="2228">
                  <c:v>635.92999999999995</c:v>
                </c:pt>
                <c:pt idx="2229">
                  <c:v>622.54999999999995</c:v>
                </c:pt>
                <c:pt idx="2230">
                  <c:v>635.05999999999995</c:v>
                </c:pt>
                <c:pt idx="2231">
                  <c:v>601.77</c:v>
                </c:pt>
                <c:pt idx="2232">
                  <c:v>585.49</c:v>
                </c:pt>
                <c:pt idx="2233">
                  <c:v>586.23</c:v>
                </c:pt>
                <c:pt idx="2234">
                  <c:v>569.65</c:v>
                </c:pt>
                <c:pt idx="2235">
                  <c:v>555.67999999999995</c:v>
                </c:pt>
                <c:pt idx="2236">
                  <c:v>554.04999999999995</c:v>
                </c:pt>
                <c:pt idx="2237">
                  <c:v>569.47</c:v>
                </c:pt>
                <c:pt idx="2238">
                  <c:v>549.91999999999996</c:v>
                </c:pt>
                <c:pt idx="2239">
                  <c:v>562.14</c:v>
                </c:pt>
                <c:pt idx="2240">
                  <c:v>576.75</c:v>
                </c:pt>
                <c:pt idx="2241">
                  <c:v>574.38</c:v>
                </c:pt>
                <c:pt idx="2242">
                  <c:v>556.47</c:v>
                </c:pt>
                <c:pt idx="2243">
                  <c:v>541.67999999999995</c:v>
                </c:pt>
                <c:pt idx="2244">
                  <c:v>552.96</c:v>
                </c:pt>
                <c:pt idx="2245">
                  <c:v>524.35</c:v>
                </c:pt>
                <c:pt idx="2246">
                  <c:v>521.30999999999995</c:v>
                </c:pt>
                <c:pt idx="2247">
                  <c:v>555.96</c:v>
                </c:pt>
                <c:pt idx="2248">
                  <c:v>526.63</c:v>
                </c:pt>
                <c:pt idx="2249">
                  <c:v>548.63</c:v>
                </c:pt>
                <c:pt idx="2250">
                  <c:v>553.49</c:v>
                </c:pt>
                <c:pt idx="2251">
                  <c:v>579.01</c:v>
                </c:pt>
                <c:pt idx="2252">
                  <c:v>545.04999999999995</c:v>
                </c:pt>
                <c:pt idx="2253">
                  <c:v>540.01</c:v>
                </c:pt>
                <c:pt idx="2254">
                  <c:v>507.18</c:v>
                </c:pt>
                <c:pt idx="2255">
                  <c:v>522.41999999999996</c:v>
                </c:pt>
                <c:pt idx="2256">
                  <c:v>503.5</c:v>
                </c:pt>
                <c:pt idx="2257">
                  <c:v>506.78</c:v>
                </c:pt>
                <c:pt idx="2258">
                  <c:v>537.5</c:v>
                </c:pt>
                <c:pt idx="2259">
                  <c:v>526.70000000000005</c:v>
                </c:pt>
                <c:pt idx="2260">
                  <c:v>558.13</c:v>
                </c:pt>
                <c:pt idx="2261">
                  <c:v>524.11</c:v>
                </c:pt>
                <c:pt idx="2262">
                  <c:v>520.32000000000005</c:v>
                </c:pt>
                <c:pt idx="2263">
                  <c:v>518.66999999999996</c:v>
                </c:pt>
                <c:pt idx="2264">
                  <c:v>522.05999999999995</c:v>
                </c:pt>
                <c:pt idx="2265">
                  <c:v>506.74</c:v>
                </c:pt>
                <c:pt idx="2266">
                  <c:v>518.73</c:v>
                </c:pt>
                <c:pt idx="2267">
                  <c:v>542.70000000000005</c:v>
                </c:pt>
                <c:pt idx="2268">
                  <c:v>568.62</c:v>
                </c:pt>
                <c:pt idx="2269">
                  <c:v>565.04</c:v>
                </c:pt>
                <c:pt idx="2270">
                  <c:v>554.38</c:v>
                </c:pt>
                <c:pt idx="2271">
                  <c:v>577.77</c:v>
                </c:pt>
                <c:pt idx="2272">
                  <c:v>557.29</c:v>
                </c:pt>
                <c:pt idx="2273">
                  <c:v>557.32000000000005</c:v>
                </c:pt>
                <c:pt idx="2274">
                  <c:v>563.80999999999995</c:v>
                </c:pt>
                <c:pt idx="2275">
                  <c:v>547.96</c:v>
                </c:pt>
                <c:pt idx="2276">
                  <c:v>530.51</c:v>
                </c:pt>
                <c:pt idx="2277">
                  <c:v>507.8</c:v>
                </c:pt>
                <c:pt idx="2278">
                  <c:v>473.68</c:v>
                </c:pt>
                <c:pt idx="2279">
                  <c:v>477.3</c:v>
                </c:pt>
                <c:pt idx="2280">
                  <c:v>487.53</c:v>
                </c:pt>
                <c:pt idx="2281">
                  <c:v>450.9</c:v>
                </c:pt>
                <c:pt idx="2282">
                  <c:v>453.41</c:v>
                </c:pt>
                <c:pt idx="2283">
                  <c:v>468.61</c:v>
                </c:pt>
                <c:pt idx="2284">
                  <c:v>462.24</c:v>
                </c:pt>
                <c:pt idx="2285">
                  <c:v>458.6</c:v>
                </c:pt>
                <c:pt idx="2286">
                  <c:v>483.44</c:v>
                </c:pt>
                <c:pt idx="2287">
                  <c:v>482.37</c:v>
                </c:pt>
                <c:pt idx="2288">
                  <c:v>467.04</c:v>
                </c:pt>
                <c:pt idx="2289">
                  <c:v>454.57</c:v>
                </c:pt>
                <c:pt idx="2290">
                  <c:v>448.62</c:v>
                </c:pt>
                <c:pt idx="2291">
                  <c:v>427.63</c:v>
                </c:pt>
                <c:pt idx="2292">
                  <c:v>431.75</c:v>
                </c:pt>
                <c:pt idx="2293">
                  <c:v>435.29</c:v>
                </c:pt>
                <c:pt idx="2294">
                  <c:v>459.27</c:v>
                </c:pt>
                <c:pt idx="2295">
                  <c:v>461.88</c:v>
                </c:pt>
                <c:pt idx="2296">
                  <c:v>448.07</c:v>
                </c:pt>
                <c:pt idx="2297">
                  <c:v>449.03</c:v>
                </c:pt>
                <c:pt idx="2298">
                  <c:v>453.15</c:v>
                </c:pt>
                <c:pt idx="2299">
                  <c:v>463.79</c:v>
                </c:pt>
                <c:pt idx="2300">
                  <c:v>478.14</c:v>
                </c:pt>
                <c:pt idx="2301">
                  <c:v>475.09</c:v>
                </c:pt>
                <c:pt idx="2302">
                  <c:v>501.61</c:v>
                </c:pt>
                <c:pt idx="2303">
                  <c:v>516.59</c:v>
                </c:pt>
                <c:pt idx="2304">
                  <c:v>526.01</c:v>
                </c:pt>
                <c:pt idx="2305">
                  <c:v>510.04</c:v>
                </c:pt>
                <c:pt idx="2306">
                  <c:v>506.31</c:v>
                </c:pt>
                <c:pt idx="2307">
                  <c:v>496.42</c:v>
                </c:pt>
                <c:pt idx="2308">
                  <c:v>524.76</c:v>
                </c:pt>
                <c:pt idx="2309">
                  <c:v>531.95000000000005</c:v>
                </c:pt>
                <c:pt idx="2310">
                  <c:v>536.80999999999995</c:v>
                </c:pt>
                <c:pt idx="2311">
                  <c:v>539.21</c:v>
                </c:pt>
                <c:pt idx="2312">
                  <c:v>538.44000000000005</c:v>
                </c:pt>
                <c:pt idx="2313">
                  <c:v>555.33000000000004</c:v>
                </c:pt>
                <c:pt idx="2314">
                  <c:v>561.33000000000004</c:v>
                </c:pt>
                <c:pt idx="2315">
                  <c:v>555.32000000000005</c:v>
                </c:pt>
                <c:pt idx="2316">
                  <c:v>544.79</c:v>
                </c:pt>
                <c:pt idx="2317">
                  <c:v>515.29</c:v>
                </c:pt>
                <c:pt idx="2318">
                  <c:v>541.44000000000005</c:v>
                </c:pt>
                <c:pt idx="2319">
                  <c:v>539.29</c:v>
                </c:pt>
                <c:pt idx="2320">
                  <c:v>558.41999999999996</c:v>
                </c:pt>
                <c:pt idx="2321">
                  <c:v>560.46</c:v>
                </c:pt>
                <c:pt idx="2322">
                  <c:v>553.66</c:v>
                </c:pt>
                <c:pt idx="2323">
                  <c:v>537.45000000000005</c:v>
                </c:pt>
                <c:pt idx="2324">
                  <c:v>551.98</c:v>
                </c:pt>
                <c:pt idx="2325">
                  <c:v>533.85</c:v>
                </c:pt>
                <c:pt idx="2326">
                  <c:v>510.24</c:v>
                </c:pt>
                <c:pt idx="2327">
                  <c:v>514.74</c:v>
                </c:pt>
                <c:pt idx="2328">
                  <c:v>515.14</c:v>
                </c:pt>
                <c:pt idx="2329">
                  <c:v>537.65</c:v>
                </c:pt>
                <c:pt idx="2330">
                  <c:v>500.6</c:v>
                </c:pt>
                <c:pt idx="2331">
                  <c:v>489.02</c:v>
                </c:pt>
                <c:pt idx="2332">
                  <c:v>481.33</c:v>
                </c:pt>
                <c:pt idx="2333">
                  <c:v>474.62</c:v>
                </c:pt>
                <c:pt idx="2334">
                  <c:v>463.58</c:v>
                </c:pt>
                <c:pt idx="2335">
                  <c:v>457.85</c:v>
                </c:pt>
                <c:pt idx="2336">
                  <c:v>451.89</c:v>
                </c:pt>
                <c:pt idx="2337">
                  <c:v>460.48</c:v>
                </c:pt>
                <c:pt idx="2338">
                  <c:v>470.5</c:v>
                </c:pt>
                <c:pt idx="2339">
                  <c:v>484.15</c:v>
                </c:pt>
                <c:pt idx="2340">
                  <c:v>486.15</c:v>
                </c:pt>
                <c:pt idx="2341">
                  <c:v>449.91</c:v>
                </c:pt>
                <c:pt idx="2342">
                  <c:v>456.19</c:v>
                </c:pt>
                <c:pt idx="2343">
                  <c:v>447.18</c:v>
                </c:pt>
                <c:pt idx="2344">
                  <c:v>450.1</c:v>
                </c:pt>
                <c:pt idx="2345">
                  <c:v>453.28</c:v>
                </c:pt>
                <c:pt idx="2346">
                  <c:v>445.03</c:v>
                </c:pt>
                <c:pt idx="2347">
                  <c:v>439.76</c:v>
                </c:pt>
                <c:pt idx="2348">
                  <c:v>424.58</c:v>
                </c:pt>
                <c:pt idx="2349">
                  <c:v>417</c:v>
                </c:pt>
                <c:pt idx="2350">
                  <c:v>409.39</c:v>
                </c:pt>
                <c:pt idx="2351">
                  <c:v>414.67</c:v>
                </c:pt>
                <c:pt idx="2352">
                  <c:v>420.94</c:v>
                </c:pt>
                <c:pt idx="2353">
                  <c:v>403.79</c:v>
                </c:pt>
                <c:pt idx="2354">
                  <c:v>395.06</c:v>
                </c:pt>
                <c:pt idx="2355">
                  <c:v>413.65</c:v>
                </c:pt>
                <c:pt idx="2356">
                  <c:v>436.57</c:v>
                </c:pt>
                <c:pt idx="2357">
                  <c:v>441.62</c:v>
                </c:pt>
                <c:pt idx="2358">
                  <c:v>438.45</c:v>
                </c:pt>
                <c:pt idx="2359">
                  <c:v>405.81</c:v>
                </c:pt>
                <c:pt idx="2360">
                  <c:v>388.33</c:v>
                </c:pt>
                <c:pt idx="2361">
                  <c:v>376.13</c:v>
                </c:pt>
                <c:pt idx="2362">
                  <c:v>371.86</c:v>
                </c:pt>
                <c:pt idx="2363">
                  <c:v>385.74</c:v>
                </c:pt>
                <c:pt idx="2364">
                  <c:v>364.08</c:v>
                </c:pt>
                <c:pt idx="2365">
                  <c:v>374.67</c:v>
                </c:pt>
                <c:pt idx="2366">
                  <c:v>376.66</c:v>
                </c:pt>
                <c:pt idx="2367">
                  <c:v>380.26</c:v>
                </c:pt>
                <c:pt idx="2368">
                  <c:v>383.58</c:v>
                </c:pt>
                <c:pt idx="2369">
                  <c:v>401.5</c:v>
                </c:pt>
                <c:pt idx="2370">
                  <c:v>404.69</c:v>
                </c:pt>
                <c:pt idx="2371">
                  <c:v>416.09</c:v>
                </c:pt>
                <c:pt idx="2372">
                  <c:v>410.01</c:v>
                </c:pt>
                <c:pt idx="2373">
                  <c:v>402.34</c:v>
                </c:pt>
                <c:pt idx="2374">
                  <c:v>422.31</c:v>
                </c:pt>
                <c:pt idx="2375">
                  <c:v>411.75</c:v>
                </c:pt>
                <c:pt idx="2376">
                  <c:v>415.68</c:v>
                </c:pt>
                <c:pt idx="2377">
                  <c:v>399.74</c:v>
                </c:pt>
                <c:pt idx="2378">
                  <c:v>392.09</c:v>
                </c:pt>
                <c:pt idx="2379">
                  <c:v>414.71</c:v>
                </c:pt>
                <c:pt idx="2380">
                  <c:v>425.95</c:v>
                </c:pt>
                <c:pt idx="2381">
                  <c:v>437.28</c:v>
                </c:pt>
                <c:pt idx="2382">
                  <c:v>420.41</c:v>
                </c:pt>
                <c:pt idx="2383">
                  <c:v>473.57</c:v>
                </c:pt>
                <c:pt idx="2384">
                  <c:v>491.26</c:v>
                </c:pt>
                <c:pt idx="2385">
                  <c:v>485.49</c:v>
                </c:pt>
                <c:pt idx="2386">
                  <c:v>503.21</c:v>
                </c:pt>
                <c:pt idx="2387">
                  <c:v>477.5</c:v>
                </c:pt>
                <c:pt idx="2388">
                  <c:v>483.57</c:v>
                </c:pt>
                <c:pt idx="2389">
                  <c:v>484.63</c:v>
                </c:pt>
                <c:pt idx="2390">
                  <c:v>474.29</c:v>
                </c:pt>
                <c:pt idx="2391">
                  <c:v>491.67</c:v>
                </c:pt>
                <c:pt idx="2392">
                  <c:v>498.02</c:v>
                </c:pt>
                <c:pt idx="2393">
                  <c:v>490.48</c:v>
                </c:pt>
                <c:pt idx="2394">
                  <c:v>474.92</c:v>
                </c:pt>
                <c:pt idx="2395">
                  <c:v>473.18</c:v>
                </c:pt>
                <c:pt idx="2396">
                  <c:v>506.7</c:v>
                </c:pt>
                <c:pt idx="2397">
                  <c:v>501.94</c:v>
                </c:pt>
                <c:pt idx="2398">
                  <c:v>494.76</c:v>
                </c:pt>
                <c:pt idx="2399">
                  <c:v>487.64</c:v>
                </c:pt>
                <c:pt idx="2400">
                  <c:v>473.79</c:v>
                </c:pt>
                <c:pt idx="2401">
                  <c:v>473.73</c:v>
                </c:pt>
                <c:pt idx="2402">
                  <c:v>489.07</c:v>
                </c:pt>
                <c:pt idx="2403">
                  <c:v>483.98</c:v>
                </c:pt>
                <c:pt idx="2404">
                  <c:v>496.47</c:v>
                </c:pt>
                <c:pt idx="2405">
                  <c:v>505.56</c:v>
                </c:pt>
                <c:pt idx="2406">
                  <c:v>496.06</c:v>
                </c:pt>
                <c:pt idx="2407">
                  <c:v>471.19</c:v>
                </c:pt>
                <c:pt idx="2408">
                  <c:v>465.76</c:v>
                </c:pt>
                <c:pt idx="2409">
                  <c:v>457.98</c:v>
                </c:pt>
                <c:pt idx="2410">
                  <c:v>454.5</c:v>
                </c:pt>
                <c:pt idx="2411">
                  <c:v>467.56</c:v>
                </c:pt>
                <c:pt idx="2412">
                  <c:v>443.7</c:v>
                </c:pt>
                <c:pt idx="2413">
                  <c:v>444.17</c:v>
                </c:pt>
                <c:pt idx="2414">
                  <c:v>434.44</c:v>
                </c:pt>
                <c:pt idx="2415">
                  <c:v>426.57</c:v>
                </c:pt>
                <c:pt idx="2416">
                  <c:v>444.05</c:v>
                </c:pt>
                <c:pt idx="2417">
                  <c:v>443.44</c:v>
                </c:pt>
                <c:pt idx="2418">
                  <c:v>436.76</c:v>
                </c:pt>
                <c:pt idx="2419">
                  <c:v>451.46</c:v>
                </c:pt>
                <c:pt idx="2420">
                  <c:v>440.52</c:v>
                </c:pt>
                <c:pt idx="2421">
                  <c:v>465.76</c:v>
                </c:pt>
                <c:pt idx="2422">
                  <c:v>476.63</c:v>
                </c:pt>
                <c:pt idx="2423">
                  <c:v>484.04</c:v>
                </c:pt>
                <c:pt idx="2424">
                  <c:v>491.36</c:v>
                </c:pt>
                <c:pt idx="2425">
                  <c:v>498.72</c:v>
                </c:pt>
                <c:pt idx="2426">
                  <c:v>501.08</c:v>
                </c:pt>
                <c:pt idx="2427">
                  <c:v>502.54</c:v>
                </c:pt>
                <c:pt idx="2428">
                  <c:v>498.67</c:v>
                </c:pt>
                <c:pt idx="2429">
                  <c:v>481.71</c:v>
                </c:pt>
                <c:pt idx="2430">
                  <c:v>499.8</c:v>
                </c:pt>
                <c:pt idx="2431">
                  <c:v>529.87</c:v>
                </c:pt>
                <c:pt idx="2432">
                  <c:v>525.35</c:v>
                </c:pt>
                <c:pt idx="2433">
                  <c:v>526.47</c:v>
                </c:pt>
                <c:pt idx="2434">
                  <c:v>536.69000000000005</c:v>
                </c:pt>
                <c:pt idx="2435">
                  <c:v>532.11</c:v>
                </c:pt>
                <c:pt idx="2436">
                  <c:v>515.25</c:v>
                </c:pt>
                <c:pt idx="2437">
                  <c:v>527.1</c:v>
                </c:pt>
                <c:pt idx="2438">
                  <c:v>559.63</c:v>
                </c:pt>
                <c:pt idx="2439">
                  <c:v>574.29999999999995</c:v>
                </c:pt>
                <c:pt idx="2440">
                  <c:v>561.48</c:v>
                </c:pt>
                <c:pt idx="2441">
                  <c:v>550.24</c:v>
                </c:pt>
                <c:pt idx="2442">
                  <c:v>570.5</c:v>
                </c:pt>
                <c:pt idx="2443">
                  <c:v>555.79999999999995</c:v>
                </c:pt>
                <c:pt idx="2444">
                  <c:v>556.66</c:v>
                </c:pt>
                <c:pt idx="2445">
                  <c:v>546.25</c:v>
                </c:pt>
                <c:pt idx="2446">
                  <c:v>556.16</c:v>
                </c:pt>
                <c:pt idx="2447">
                  <c:v>569.96</c:v>
                </c:pt>
                <c:pt idx="2448">
                  <c:v>572.41999999999996</c:v>
                </c:pt>
                <c:pt idx="2449">
                  <c:v>555.71</c:v>
                </c:pt>
                <c:pt idx="2450">
                  <c:v>545.12</c:v>
                </c:pt>
                <c:pt idx="2451">
                  <c:v>523.74</c:v>
                </c:pt>
                <c:pt idx="2452">
                  <c:v>520.76</c:v>
                </c:pt>
                <c:pt idx="2453">
                  <c:v>541.46</c:v>
                </c:pt>
                <c:pt idx="2454">
                  <c:v>529.92999999999995</c:v>
                </c:pt>
                <c:pt idx="2455">
                  <c:v>533.39</c:v>
                </c:pt>
                <c:pt idx="2456">
                  <c:v>534.92999999999995</c:v>
                </c:pt>
                <c:pt idx="2457">
                  <c:v>534.38</c:v>
                </c:pt>
                <c:pt idx="2458">
                  <c:v>540.45000000000005</c:v>
                </c:pt>
                <c:pt idx="2459">
                  <c:v>549.94000000000005</c:v>
                </c:pt>
                <c:pt idx="2460">
                  <c:v>542.70000000000005</c:v>
                </c:pt>
                <c:pt idx="2461">
                  <c:v>535.79</c:v>
                </c:pt>
                <c:pt idx="2462">
                  <c:v>552.74</c:v>
                </c:pt>
                <c:pt idx="2463">
                  <c:v>539.61</c:v>
                </c:pt>
                <c:pt idx="2464">
                  <c:v>527.53</c:v>
                </c:pt>
                <c:pt idx="2465">
                  <c:v>527.05999999999995</c:v>
                </c:pt>
                <c:pt idx="2466">
                  <c:v>546.04</c:v>
                </c:pt>
                <c:pt idx="2467">
                  <c:v>539.01</c:v>
                </c:pt>
                <c:pt idx="2468">
                  <c:v>564.91</c:v>
                </c:pt>
                <c:pt idx="2469">
                  <c:v>561.78</c:v>
                </c:pt>
                <c:pt idx="2470">
                  <c:v>568.48</c:v>
                </c:pt>
                <c:pt idx="2471">
                  <c:v>568.95000000000005</c:v>
                </c:pt>
                <c:pt idx="2472">
                  <c:v>563.54</c:v>
                </c:pt>
                <c:pt idx="2473">
                  <c:v>581.28</c:v>
                </c:pt>
                <c:pt idx="2474">
                  <c:v>569.89</c:v>
                </c:pt>
                <c:pt idx="2475">
                  <c:v>561.79999999999995</c:v>
                </c:pt>
                <c:pt idx="2476">
                  <c:v>556.15</c:v>
                </c:pt>
                <c:pt idx="2477">
                  <c:v>577.58000000000004</c:v>
                </c:pt>
                <c:pt idx="2478">
                  <c:v>588.55999999999995</c:v>
                </c:pt>
                <c:pt idx="2479">
                  <c:v>593.41</c:v>
                </c:pt>
                <c:pt idx="2480">
                  <c:v>586.88</c:v>
                </c:pt>
                <c:pt idx="2481">
                  <c:v>574.44000000000005</c:v>
                </c:pt>
                <c:pt idx="2482">
                  <c:v>562.30999999999995</c:v>
                </c:pt>
                <c:pt idx="2483">
                  <c:v>559.26</c:v>
                </c:pt>
                <c:pt idx="2484">
                  <c:v>571.11</c:v>
                </c:pt>
                <c:pt idx="2485">
                  <c:v>567.34</c:v>
                </c:pt>
                <c:pt idx="2486">
                  <c:v>555.13</c:v>
                </c:pt>
                <c:pt idx="2487">
                  <c:v>559.94000000000005</c:v>
                </c:pt>
                <c:pt idx="2488">
                  <c:v>558.98</c:v>
                </c:pt>
                <c:pt idx="2489">
                  <c:v>558.16999999999996</c:v>
                </c:pt>
                <c:pt idx="2490">
                  <c:v>560.54</c:v>
                </c:pt>
                <c:pt idx="2491">
                  <c:v>553.80999999999995</c:v>
                </c:pt>
                <c:pt idx="2492">
                  <c:v>553.79</c:v>
                </c:pt>
                <c:pt idx="2493">
                  <c:v>548.46</c:v>
                </c:pt>
                <c:pt idx="2494">
                  <c:v>545.47</c:v>
                </c:pt>
                <c:pt idx="2495">
                  <c:v>523.75</c:v>
                </c:pt>
                <c:pt idx="2496">
                  <c:v>527.33000000000004</c:v>
                </c:pt>
                <c:pt idx="2497">
                  <c:v>531.32000000000005</c:v>
                </c:pt>
                <c:pt idx="2498">
                  <c:v>542.78</c:v>
                </c:pt>
                <c:pt idx="2499">
                  <c:v>547.96</c:v>
                </c:pt>
                <c:pt idx="2500">
                  <c:v>543.17999999999995</c:v>
                </c:pt>
                <c:pt idx="2501">
                  <c:v>534.71</c:v>
                </c:pt>
                <c:pt idx="2502">
                  <c:v>531.33000000000004</c:v>
                </c:pt>
                <c:pt idx="2503">
                  <c:v>545.51</c:v>
                </c:pt>
                <c:pt idx="2504">
                  <c:v>549.1</c:v>
                </c:pt>
                <c:pt idx="2505">
                  <c:v>536.96</c:v>
                </c:pt>
                <c:pt idx="2506">
                  <c:v>543.32000000000005</c:v>
                </c:pt>
                <c:pt idx="2507">
                  <c:v>539.29</c:v>
                </c:pt>
                <c:pt idx="2508">
                  <c:v>538.03</c:v>
                </c:pt>
                <c:pt idx="2509">
                  <c:v>555.16</c:v>
                </c:pt>
                <c:pt idx="2510">
                  <c:v>554.30999999999995</c:v>
                </c:pt>
                <c:pt idx="2511">
                  <c:v>570.62</c:v>
                </c:pt>
                <c:pt idx="2512">
                  <c:v>591.82000000000005</c:v>
                </c:pt>
                <c:pt idx="2513">
                  <c:v>587.53</c:v>
                </c:pt>
                <c:pt idx="2514">
                  <c:v>590.01</c:v>
                </c:pt>
                <c:pt idx="2515">
                  <c:v>581.94000000000005</c:v>
                </c:pt>
                <c:pt idx="2516">
                  <c:v>570.49</c:v>
                </c:pt>
                <c:pt idx="2517">
                  <c:v>616.13</c:v>
                </c:pt>
                <c:pt idx="2518">
                  <c:v>660.97</c:v>
                </c:pt>
              </c:numCache>
            </c:numRef>
          </c:yVal>
          <c:smooth val="0"/>
          <c:extLst>
            <c:ext xmlns:c16="http://schemas.microsoft.com/office/drawing/2014/chart" uri="{C3380CC4-5D6E-409C-BE32-E72D297353CC}">
              <c16:uniqueId val="{00000000-2C3D-EE44-94AB-B847D45E59DD}"/>
            </c:ext>
          </c:extLst>
        </c:ser>
        <c:ser>
          <c:idx val="1"/>
          <c:order val="1"/>
          <c:spPr>
            <a:ln w="28575" cmpd="sng" algn="ctr">
              <a:solidFill>
                <a:srgbClr val="A8B21C"/>
              </a:solidFill>
              <a:prstDash val="solid"/>
            </a:ln>
          </c:spPr>
          <c:marker>
            <c:symbol val="none"/>
          </c:marker>
          <c:xVal>
            <c:numRef>
              <c:f>Sheet1!$A$1:$CRW$1</c:f>
              <c:numCache>
                <c:formatCode>General</c:formatCode>
                <c:ptCount val="2519"/>
                <c:pt idx="0">
                  <c:v>15853</c:v>
                </c:pt>
                <c:pt idx="1">
                  <c:v>15854</c:v>
                </c:pt>
                <c:pt idx="2">
                  <c:v>15855</c:v>
                </c:pt>
                <c:pt idx="3">
                  <c:v>15856</c:v>
                </c:pt>
                <c:pt idx="4">
                  <c:v>15859</c:v>
                </c:pt>
                <c:pt idx="5">
                  <c:v>15860</c:v>
                </c:pt>
                <c:pt idx="6">
                  <c:v>15861</c:v>
                </c:pt>
                <c:pt idx="7">
                  <c:v>15862</c:v>
                </c:pt>
                <c:pt idx="8">
                  <c:v>15863</c:v>
                </c:pt>
                <c:pt idx="9">
                  <c:v>15866</c:v>
                </c:pt>
                <c:pt idx="10">
                  <c:v>15867</c:v>
                </c:pt>
                <c:pt idx="11">
                  <c:v>15868</c:v>
                </c:pt>
                <c:pt idx="12">
                  <c:v>15869</c:v>
                </c:pt>
                <c:pt idx="13">
                  <c:v>15870</c:v>
                </c:pt>
                <c:pt idx="14">
                  <c:v>15873</c:v>
                </c:pt>
                <c:pt idx="15">
                  <c:v>15874</c:v>
                </c:pt>
                <c:pt idx="16">
                  <c:v>15875</c:v>
                </c:pt>
                <c:pt idx="17">
                  <c:v>15876</c:v>
                </c:pt>
                <c:pt idx="18">
                  <c:v>15877</c:v>
                </c:pt>
                <c:pt idx="19">
                  <c:v>15880</c:v>
                </c:pt>
                <c:pt idx="20">
                  <c:v>15881</c:v>
                </c:pt>
                <c:pt idx="21">
                  <c:v>15882</c:v>
                </c:pt>
                <c:pt idx="22">
                  <c:v>15883</c:v>
                </c:pt>
                <c:pt idx="23">
                  <c:v>15884</c:v>
                </c:pt>
                <c:pt idx="24">
                  <c:v>15887</c:v>
                </c:pt>
                <c:pt idx="25">
                  <c:v>15888</c:v>
                </c:pt>
                <c:pt idx="26">
                  <c:v>15889</c:v>
                </c:pt>
                <c:pt idx="27">
                  <c:v>15891</c:v>
                </c:pt>
                <c:pt idx="28">
                  <c:v>15894</c:v>
                </c:pt>
                <c:pt idx="29">
                  <c:v>15895</c:v>
                </c:pt>
                <c:pt idx="30">
                  <c:v>15896</c:v>
                </c:pt>
                <c:pt idx="31">
                  <c:v>15897</c:v>
                </c:pt>
                <c:pt idx="32">
                  <c:v>15898</c:v>
                </c:pt>
                <c:pt idx="33">
                  <c:v>15901</c:v>
                </c:pt>
                <c:pt idx="34">
                  <c:v>15902</c:v>
                </c:pt>
                <c:pt idx="35">
                  <c:v>15903</c:v>
                </c:pt>
                <c:pt idx="36">
                  <c:v>15904</c:v>
                </c:pt>
                <c:pt idx="37">
                  <c:v>15905</c:v>
                </c:pt>
                <c:pt idx="38">
                  <c:v>15908</c:v>
                </c:pt>
                <c:pt idx="39">
                  <c:v>15909</c:v>
                </c:pt>
                <c:pt idx="40">
                  <c:v>15910</c:v>
                </c:pt>
                <c:pt idx="41">
                  <c:v>15911</c:v>
                </c:pt>
                <c:pt idx="42">
                  <c:v>15912</c:v>
                </c:pt>
                <c:pt idx="43">
                  <c:v>15915</c:v>
                </c:pt>
                <c:pt idx="44">
                  <c:v>15916</c:v>
                </c:pt>
                <c:pt idx="45">
                  <c:v>15917</c:v>
                </c:pt>
                <c:pt idx="46">
                  <c:v>15918</c:v>
                </c:pt>
                <c:pt idx="47">
                  <c:v>15919</c:v>
                </c:pt>
                <c:pt idx="48">
                  <c:v>15922</c:v>
                </c:pt>
                <c:pt idx="49">
                  <c:v>15923</c:v>
                </c:pt>
                <c:pt idx="50">
                  <c:v>15924</c:v>
                </c:pt>
                <c:pt idx="51">
                  <c:v>15925</c:v>
                </c:pt>
                <c:pt idx="52">
                  <c:v>15926</c:v>
                </c:pt>
                <c:pt idx="53">
                  <c:v>15929</c:v>
                </c:pt>
                <c:pt idx="54">
                  <c:v>15930</c:v>
                </c:pt>
                <c:pt idx="55">
                  <c:v>15931</c:v>
                </c:pt>
                <c:pt idx="56">
                  <c:v>15932</c:v>
                </c:pt>
                <c:pt idx="57">
                  <c:v>15933</c:v>
                </c:pt>
                <c:pt idx="58">
                  <c:v>15936</c:v>
                </c:pt>
                <c:pt idx="59">
                  <c:v>15937</c:v>
                </c:pt>
                <c:pt idx="60">
                  <c:v>15938</c:v>
                </c:pt>
                <c:pt idx="61">
                  <c:v>15939</c:v>
                </c:pt>
                <c:pt idx="62">
                  <c:v>15940</c:v>
                </c:pt>
                <c:pt idx="63">
                  <c:v>15943</c:v>
                </c:pt>
                <c:pt idx="64">
                  <c:v>15944</c:v>
                </c:pt>
                <c:pt idx="65">
                  <c:v>15945</c:v>
                </c:pt>
                <c:pt idx="66">
                  <c:v>15946</c:v>
                </c:pt>
                <c:pt idx="67">
                  <c:v>15947</c:v>
                </c:pt>
                <c:pt idx="68">
                  <c:v>15951</c:v>
                </c:pt>
                <c:pt idx="69">
                  <c:v>15952</c:v>
                </c:pt>
                <c:pt idx="70">
                  <c:v>15953</c:v>
                </c:pt>
                <c:pt idx="71">
                  <c:v>15954</c:v>
                </c:pt>
                <c:pt idx="72">
                  <c:v>15957</c:v>
                </c:pt>
                <c:pt idx="73">
                  <c:v>15958</c:v>
                </c:pt>
                <c:pt idx="74">
                  <c:v>15959</c:v>
                </c:pt>
                <c:pt idx="75">
                  <c:v>15960</c:v>
                </c:pt>
                <c:pt idx="76">
                  <c:v>15961</c:v>
                </c:pt>
                <c:pt idx="77">
                  <c:v>15964</c:v>
                </c:pt>
                <c:pt idx="78">
                  <c:v>15965</c:v>
                </c:pt>
                <c:pt idx="79">
                  <c:v>15966</c:v>
                </c:pt>
                <c:pt idx="80">
                  <c:v>15967</c:v>
                </c:pt>
                <c:pt idx="81">
                  <c:v>15968</c:v>
                </c:pt>
                <c:pt idx="82">
                  <c:v>15971</c:v>
                </c:pt>
                <c:pt idx="83">
                  <c:v>15972</c:v>
                </c:pt>
                <c:pt idx="84">
                  <c:v>15973</c:v>
                </c:pt>
                <c:pt idx="85">
                  <c:v>15974</c:v>
                </c:pt>
                <c:pt idx="86">
                  <c:v>15975</c:v>
                </c:pt>
                <c:pt idx="87">
                  <c:v>15978</c:v>
                </c:pt>
                <c:pt idx="88">
                  <c:v>15979</c:v>
                </c:pt>
                <c:pt idx="89">
                  <c:v>15980</c:v>
                </c:pt>
                <c:pt idx="90">
                  <c:v>15981</c:v>
                </c:pt>
                <c:pt idx="91">
                  <c:v>15982</c:v>
                </c:pt>
                <c:pt idx="92">
                  <c:v>15985</c:v>
                </c:pt>
                <c:pt idx="93">
                  <c:v>15986</c:v>
                </c:pt>
                <c:pt idx="94">
                  <c:v>15987</c:v>
                </c:pt>
                <c:pt idx="95">
                  <c:v>15988</c:v>
                </c:pt>
                <c:pt idx="96">
                  <c:v>15989</c:v>
                </c:pt>
                <c:pt idx="97">
                  <c:v>15992</c:v>
                </c:pt>
                <c:pt idx="98">
                  <c:v>15993</c:v>
                </c:pt>
                <c:pt idx="99">
                  <c:v>15994</c:v>
                </c:pt>
                <c:pt idx="100">
                  <c:v>15995</c:v>
                </c:pt>
                <c:pt idx="101">
                  <c:v>15996</c:v>
                </c:pt>
                <c:pt idx="102">
                  <c:v>15999</c:v>
                </c:pt>
                <c:pt idx="103">
                  <c:v>16000</c:v>
                </c:pt>
                <c:pt idx="104">
                  <c:v>16001</c:v>
                </c:pt>
                <c:pt idx="105">
                  <c:v>16002</c:v>
                </c:pt>
                <c:pt idx="106">
                  <c:v>16003</c:v>
                </c:pt>
                <c:pt idx="107">
                  <c:v>16006</c:v>
                </c:pt>
                <c:pt idx="108">
                  <c:v>16007</c:v>
                </c:pt>
                <c:pt idx="109">
                  <c:v>16008</c:v>
                </c:pt>
                <c:pt idx="110">
                  <c:v>16009</c:v>
                </c:pt>
                <c:pt idx="111">
                  <c:v>16010</c:v>
                </c:pt>
                <c:pt idx="112">
                  <c:v>16013</c:v>
                </c:pt>
                <c:pt idx="113">
                  <c:v>16014</c:v>
                </c:pt>
                <c:pt idx="114">
                  <c:v>16015</c:v>
                </c:pt>
                <c:pt idx="115">
                  <c:v>16016</c:v>
                </c:pt>
                <c:pt idx="116">
                  <c:v>16017</c:v>
                </c:pt>
                <c:pt idx="117">
                  <c:v>16020</c:v>
                </c:pt>
                <c:pt idx="118">
                  <c:v>16021</c:v>
                </c:pt>
                <c:pt idx="119">
                  <c:v>16022</c:v>
                </c:pt>
                <c:pt idx="120">
                  <c:v>16023</c:v>
                </c:pt>
                <c:pt idx="121">
                  <c:v>16024</c:v>
                </c:pt>
                <c:pt idx="122">
                  <c:v>16027</c:v>
                </c:pt>
                <c:pt idx="123">
                  <c:v>16028</c:v>
                </c:pt>
                <c:pt idx="124">
                  <c:v>16029</c:v>
                </c:pt>
                <c:pt idx="125">
                  <c:v>16030</c:v>
                </c:pt>
                <c:pt idx="126">
                  <c:v>16031</c:v>
                </c:pt>
                <c:pt idx="127">
                  <c:v>16034</c:v>
                </c:pt>
                <c:pt idx="128">
                  <c:v>16035</c:v>
                </c:pt>
                <c:pt idx="129">
                  <c:v>16036</c:v>
                </c:pt>
                <c:pt idx="130">
                  <c:v>16038</c:v>
                </c:pt>
                <c:pt idx="131">
                  <c:v>16041</c:v>
                </c:pt>
                <c:pt idx="132">
                  <c:v>16042</c:v>
                </c:pt>
                <c:pt idx="133">
                  <c:v>16043</c:v>
                </c:pt>
                <c:pt idx="134">
                  <c:v>16044</c:v>
                </c:pt>
                <c:pt idx="135">
                  <c:v>16045</c:v>
                </c:pt>
                <c:pt idx="136">
                  <c:v>16048</c:v>
                </c:pt>
                <c:pt idx="137">
                  <c:v>16049</c:v>
                </c:pt>
                <c:pt idx="138">
                  <c:v>16050</c:v>
                </c:pt>
                <c:pt idx="139">
                  <c:v>16051</c:v>
                </c:pt>
                <c:pt idx="140">
                  <c:v>16052</c:v>
                </c:pt>
                <c:pt idx="141">
                  <c:v>16055</c:v>
                </c:pt>
                <c:pt idx="142">
                  <c:v>16056</c:v>
                </c:pt>
                <c:pt idx="143">
                  <c:v>16057</c:v>
                </c:pt>
                <c:pt idx="144">
                  <c:v>16058</c:v>
                </c:pt>
                <c:pt idx="145">
                  <c:v>16059</c:v>
                </c:pt>
                <c:pt idx="146">
                  <c:v>16062</c:v>
                </c:pt>
                <c:pt idx="147">
                  <c:v>16063</c:v>
                </c:pt>
                <c:pt idx="148">
                  <c:v>16065</c:v>
                </c:pt>
                <c:pt idx="149">
                  <c:v>16066</c:v>
                </c:pt>
                <c:pt idx="150">
                  <c:v>16069</c:v>
                </c:pt>
                <c:pt idx="151">
                  <c:v>16070</c:v>
                </c:pt>
                <c:pt idx="152">
                  <c:v>16072</c:v>
                </c:pt>
                <c:pt idx="153">
                  <c:v>16073</c:v>
                </c:pt>
                <c:pt idx="154">
                  <c:v>16076</c:v>
                </c:pt>
                <c:pt idx="155">
                  <c:v>16077</c:v>
                </c:pt>
                <c:pt idx="156">
                  <c:v>16078</c:v>
                </c:pt>
                <c:pt idx="157">
                  <c:v>16079</c:v>
                </c:pt>
                <c:pt idx="158">
                  <c:v>16080</c:v>
                </c:pt>
                <c:pt idx="159">
                  <c:v>16083</c:v>
                </c:pt>
                <c:pt idx="160">
                  <c:v>16084</c:v>
                </c:pt>
                <c:pt idx="161">
                  <c:v>16085</c:v>
                </c:pt>
                <c:pt idx="162">
                  <c:v>16086</c:v>
                </c:pt>
                <c:pt idx="163">
                  <c:v>16087</c:v>
                </c:pt>
                <c:pt idx="164">
                  <c:v>16091</c:v>
                </c:pt>
                <c:pt idx="165">
                  <c:v>16092</c:v>
                </c:pt>
                <c:pt idx="166">
                  <c:v>16093</c:v>
                </c:pt>
                <c:pt idx="167">
                  <c:v>16094</c:v>
                </c:pt>
                <c:pt idx="168">
                  <c:v>16097</c:v>
                </c:pt>
                <c:pt idx="169">
                  <c:v>16098</c:v>
                </c:pt>
                <c:pt idx="170">
                  <c:v>16099</c:v>
                </c:pt>
                <c:pt idx="171">
                  <c:v>16100</c:v>
                </c:pt>
                <c:pt idx="172">
                  <c:v>16101</c:v>
                </c:pt>
                <c:pt idx="173">
                  <c:v>16104</c:v>
                </c:pt>
                <c:pt idx="174">
                  <c:v>16105</c:v>
                </c:pt>
                <c:pt idx="175">
                  <c:v>16106</c:v>
                </c:pt>
                <c:pt idx="176">
                  <c:v>16107</c:v>
                </c:pt>
                <c:pt idx="177">
                  <c:v>16108</c:v>
                </c:pt>
                <c:pt idx="178">
                  <c:v>16111</c:v>
                </c:pt>
                <c:pt idx="179">
                  <c:v>16112</c:v>
                </c:pt>
                <c:pt idx="180">
                  <c:v>16113</c:v>
                </c:pt>
                <c:pt idx="181">
                  <c:v>16114</c:v>
                </c:pt>
                <c:pt idx="182">
                  <c:v>16115</c:v>
                </c:pt>
                <c:pt idx="183">
                  <c:v>16119</c:v>
                </c:pt>
                <c:pt idx="184">
                  <c:v>16120</c:v>
                </c:pt>
                <c:pt idx="185">
                  <c:v>16121</c:v>
                </c:pt>
                <c:pt idx="186">
                  <c:v>16122</c:v>
                </c:pt>
                <c:pt idx="187">
                  <c:v>16125</c:v>
                </c:pt>
                <c:pt idx="188">
                  <c:v>16126</c:v>
                </c:pt>
                <c:pt idx="189">
                  <c:v>16127</c:v>
                </c:pt>
                <c:pt idx="190">
                  <c:v>16128</c:v>
                </c:pt>
                <c:pt idx="191">
                  <c:v>16129</c:v>
                </c:pt>
                <c:pt idx="192">
                  <c:v>16132</c:v>
                </c:pt>
                <c:pt idx="193">
                  <c:v>16133</c:v>
                </c:pt>
                <c:pt idx="194">
                  <c:v>16134</c:v>
                </c:pt>
                <c:pt idx="195">
                  <c:v>16135</c:v>
                </c:pt>
                <c:pt idx="196">
                  <c:v>16136</c:v>
                </c:pt>
                <c:pt idx="197">
                  <c:v>16139</c:v>
                </c:pt>
                <c:pt idx="198">
                  <c:v>16140</c:v>
                </c:pt>
                <c:pt idx="199">
                  <c:v>16141</c:v>
                </c:pt>
                <c:pt idx="200">
                  <c:v>16142</c:v>
                </c:pt>
                <c:pt idx="201">
                  <c:v>16143</c:v>
                </c:pt>
                <c:pt idx="202">
                  <c:v>16146</c:v>
                </c:pt>
                <c:pt idx="203">
                  <c:v>16147</c:v>
                </c:pt>
                <c:pt idx="204">
                  <c:v>16148</c:v>
                </c:pt>
                <c:pt idx="205">
                  <c:v>16149</c:v>
                </c:pt>
                <c:pt idx="206">
                  <c:v>16150</c:v>
                </c:pt>
                <c:pt idx="207">
                  <c:v>16153</c:v>
                </c:pt>
                <c:pt idx="208">
                  <c:v>16154</c:v>
                </c:pt>
                <c:pt idx="209">
                  <c:v>16155</c:v>
                </c:pt>
                <c:pt idx="210">
                  <c:v>16156</c:v>
                </c:pt>
                <c:pt idx="211">
                  <c:v>16157</c:v>
                </c:pt>
                <c:pt idx="212">
                  <c:v>16160</c:v>
                </c:pt>
                <c:pt idx="213">
                  <c:v>16161</c:v>
                </c:pt>
                <c:pt idx="214">
                  <c:v>16162</c:v>
                </c:pt>
                <c:pt idx="215">
                  <c:v>16163</c:v>
                </c:pt>
                <c:pt idx="216">
                  <c:v>16164</c:v>
                </c:pt>
                <c:pt idx="217">
                  <c:v>16167</c:v>
                </c:pt>
                <c:pt idx="218">
                  <c:v>16168</c:v>
                </c:pt>
                <c:pt idx="219">
                  <c:v>16169</c:v>
                </c:pt>
                <c:pt idx="220">
                  <c:v>16170</c:v>
                </c:pt>
                <c:pt idx="221">
                  <c:v>16171</c:v>
                </c:pt>
                <c:pt idx="222">
                  <c:v>16174</c:v>
                </c:pt>
                <c:pt idx="223">
                  <c:v>16175</c:v>
                </c:pt>
                <c:pt idx="224">
                  <c:v>16176</c:v>
                </c:pt>
                <c:pt idx="225">
                  <c:v>16177</c:v>
                </c:pt>
                <c:pt idx="226">
                  <c:v>16181</c:v>
                </c:pt>
                <c:pt idx="227">
                  <c:v>16182</c:v>
                </c:pt>
                <c:pt idx="228">
                  <c:v>16183</c:v>
                </c:pt>
                <c:pt idx="229">
                  <c:v>16184</c:v>
                </c:pt>
                <c:pt idx="230">
                  <c:v>16185</c:v>
                </c:pt>
                <c:pt idx="231">
                  <c:v>16188</c:v>
                </c:pt>
                <c:pt idx="232">
                  <c:v>16189</c:v>
                </c:pt>
                <c:pt idx="233">
                  <c:v>16190</c:v>
                </c:pt>
                <c:pt idx="234">
                  <c:v>16191</c:v>
                </c:pt>
                <c:pt idx="235">
                  <c:v>16192</c:v>
                </c:pt>
                <c:pt idx="236">
                  <c:v>16195</c:v>
                </c:pt>
                <c:pt idx="237">
                  <c:v>16196</c:v>
                </c:pt>
                <c:pt idx="238">
                  <c:v>16197</c:v>
                </c:pt>
                <c:pt idx="239">
                  <c:v>16198</c:v>
                </c:pt>
                <c:pt idx="240">
                  <c:v>16199</c:v>
                </c:pt>
                <c:pt idx="241">
                  <c:v>16202</c:v>
                </c:pt>
                <c:pt idx="242">
                  <c:v>16203</c:v>
                </c:pt>
                <c:pt idx="243">
                  <c:v>16204</c:v>
                </c:pt>
                <c:pt idx="244">
                  <c:v>16205</c:v>
                </c:pt>
                <c:pt idx="245">
                  <c:v>16206</c:v>
                </c:pt>
                <c:pt idx="246">
                  <c:v>16209</c:v>
                </c:pt>
                <c:pt idx="247">
                  <c:v>16210</c:v>
                </c:pt>
                <c:pt idx="248">
                  <c:v>16211</c:v>
                </c:pt>
                <c:pt idx="249">
                  <c:v>16212</c:v>
                </c:pt>
                <c:pt idx="250">
                  <c:v>16213</c:v>
                </c:pt>
                <c:pt idx="251">
                  <c:v>16217</c:v>
                </c:pt>
                <c:pt idx="252">
                  <c:v>16218</c:v>
                </c:pt>
                <c:pt idx="253">
                  <c:v>16219</c:v>
                </c:pt>
                <c:pt idx="254">
                  <c:v>16220</c:v>
                </c:pt>
                <c:pt idx="255">
                  <c:v>16223</c:v>
                </c:pt>
                <c:pt idx="256">
                  <c:v>16224</c:v>
                </c:pt>
                <c:pt idx="257">
                  <c:v>16225</c:v>
                </c:pt>
                <c:pt idx="258">
                  <c:v>16226</c:v>
                </c:pt>
                <c:pt idx="259">
                  <c:v>16227</c:v>
                </c:pt>
                <c:pt idx="260">
                  <c:v>16230</c:v>
                </c:pt>
                <c:pt idx="261">
                  <c:v>16231</c:v>
                </c:pt>
                <c:pt idx="262">
                  <c:v>16232</c:v>
                </c:pt>
                <c:pt idx="263">
                  <c:v>16233</c:v>
                </c:pt>
                <c:pt idx="264">
                  <c:v>16234</c:v>
                </c:pt>
                <c:pt idx="265">
                  <c:v>16237</c:v>
                </c:pt>
                <c:pt idx="266">
                  <c:v>16238</c:v>
                </c:pt>
                <c:pt idx="267">
                  <c:v>16239</c:v>
                </c:pt>
                <c:pt idx="268">
                  <c:v>16240</c:v>
                </c:pt>
                <c:pt idx="269">
                  <c:v>16241</c:v>
                </c:pt>
                <c:pt idx="270">
                  <c:v>16244</c:v>
                </c:pt>
                <c:pt idx="271">
                  <c:v>16245</c:v>
                </c:pt>
                <c:pt idx="272">
                  <c:v>16246</c:v>
                </c:pt>
                <c:pt idx="273">
                  <c:v>16247</c:v>
                </c:pt>
                <c:pt idx="274">
                  <c:v>16248</c:v>
                </c:pt>
                <c:pt idx="275">
                  <c:v>16251</c:v>
                </c:pt>
                <c:pt idx="276">
                  <c:v>16252</c:v>
                </c:pt>
                <c:pt idx="277">
                  <c:v>16253</c:v>
                </c:pt>
                <c:pt idx="278">
                  <c:v>16254</c:v>
                </c:pt>
                <c:pt idx="279">
                  <c:v>16258</c:v>
                </c:pt>
                <c:pt idx="280">
                  <c:v>16259</c:v>
                </c:pt>
                <c:pt idx="281">
                  <c:v>16260</c:v>
                </c:pt>
                <c:pt idx="282">
                  <c:v>16261</c:v>
                </c:pt>
                <c:pt idx="283">
                  <c:v>16262</c:v>
                </c:pt>
                <c:pt idx="284">
                  <c:v>16265</c:v>
                </c:pt>
                <c:pt idx="285">
                  <c:v>16266</c:v>
                </c:pt>
                <c:pt idx="286">
                  <c:v>16267</c:v>
                </c:pt>
                <c:pt idx="287">
                  <c:v>16268</c:v>
                </c:pt>
                <c:pt idx="288">
                  <c:v>16269</c:v>
                </c:pt>
                <c:pt idx="289">
                  <c:v>16272</c:v>
                </c:pt>
                <c:pt idx="290">
                  <c:v>16273</c:v>
                </c:pt>
                <c:pt idx="291">
                  <c:v>16274</c:v>
                </c:pt>
                <c:pt idx="292">
                  <c:v>16275</c:v>
                </c:pt>
                <c:pt idx="293">
                  <c:v>16276</c:v>
                </c:pt>
                <c:pt idx="294">
                  <c:v>16279</c:v>
                </c:pt>
                <c:pt idx="295">
                  <c:v>16280</c:v>
                </c:pt>
                <c:pt idx="296">
                  <c:v>16281</c:v>
                </c:pt>
                <c:pt idx="297">
                  <c:v>16282</c:v>
                </c:pt>
                <c:pt idx="298">
                  <c:v>16283</c:v>
                </c:pt>
                <c:pt idx="299">
                  <c:v>16286</c:v>
                </c:pt>
                <c:pt idx="300">
                  <c:v>16287</c:v>
                </c:pt>
                <c:pt idx="301">
                  <c:v>16288</c:v>
                </c:pt>
                <c:pt idx="302">
                  <c:v>16289</c:v>
                </c:pt>
                <c:pt idx="303">
                  <c:v>16290</c:v>
                </c:pt>
                <c:pt idx="304">
                  <c:v>16293</c:v>
                </c:pt>
                <c:pt idx="305">
                  <c:v>16294</c:v>
                </c:pt>
                <c:pt idx="306">
                  <c:v>16295</c:v>
                </c:pt>
                <c:pt idx="307">
                  <c:v>16296</c:v>
                </c:pt>
                <c:pt idx="308">
                  <c:v>16297</c:v>
                </c:pt>
                <c:pt idx="309">
                  <c:v>16300</c:v>
                </c:pt>
                <c:pt idx="310">
                  <c:v>16301</c:v>
                </c:pt>
                <c:pt idx="311">
                  <c:v>16302</c:v>
                </c:pt>
                <c:pt idx="312">
                  <c:v>16303</c:v>
                </c:pt>
                <c:pt idx="313">
                  <c:v>16304</c:v>
                </c:pt>
                <c:pt idx="314">
                  <c:v>16307</c:v>
                </c:pt>
                <c:pt idx="315">
                  <c:v>16308</c:v>
                </c:pt>
                <c:pt idx="316">
                  <c:v>16309</c:v>
                </c:pt>
                <c:pt idx="317">
                  <c:v>16310</c:v>
                </c:pt>
                <c:pt idx="318">
                  <c:v>16311</c:v>
                </c:pt>
                <c:pt idx="319">
                  <c:v>16315</c:v>
                </c:pt>
                <c:pt idx="320">
                  <c:v>16316</c:v>
                </c:pt>
                <c:pt idx="321">
                  <c:v>16317</c:v>
                </c:pt>
                <c:pt idx="322">
                  <c:v>16318</c:v>
                </c:pt>
                <c:pt idx="323">
                  <c:v>16321</c:v>
                </c:pt>
                <c:pt idx="324">
                  <c:v>16322</c:v>
                </c:pt>
                <c:pt idx="325">
                  <c:v>16323</c:v>
                </c:pt>
                <c:pt idx="326">
                  <c:v>16324</c:v>
                </c:pt>
                <c:pt idx="327">
                  <c:v>16325</c:v>
                </c:pt>
                <c:pt idx="328">
                  <c:v>16328</c:v>
                </c:pt>
                <c:pt idx="329">
                  <c:v>16329</c:v>
                </c:pt>
                <c:pt idx="330">
                  <c:v>16330</c:v>
                </c:pt>
                <c:pt idx="331">
                  <c:v>16331</c:v>
                </c:pt>
                <c:pt idx="332">
                  <c:v>16332</c:v>
                </c:pt>
                <c:pt idx="333">
                  <c:v>16335</c:v>
                </c:pt>
                <c:pt idx="334">
                  <c:v>16336</c:v>
                </c:pt>
                <c:pt idx="335">
                  <c:v>16337</c:v>
                </c:pt>
                <c:pt idx="336">
                  <c:v>16338</c:v>
                </c:pt>
                <c:pt idx="337">
                  <c:v>16339</c:v>
                </c:pt>
                <c:pt idx="338">
                  <c:v>16342</c:v>
                </c:pt>
                <c:pt idx="339">
                  <c:v>16343</c:v>
                </c:pt>
                <c:pt idx="340">
                  <c:v>16344</c:v>
                </c:pt>
                <c:pt idx="341">
                  <c:v>16345</c:v>
                </c:pt>
                <c:pt idx="342">
                  <c:v>16346</c:v>
                </c:pt>
                <c:pt idx="343">
                  <c:v>16349</c:v>
                </c:pt>
                <c:pt idx="344">
                  <c:v>16350</c:v>
                </c:pt>
                <c:pt idx="345">
                  <c:v>16351</c:v>
                </c:pt>
                <c:pt idx="346">
                  <c:v>16352</c:v>
                </c:pt>
                <c:pt idx="347">
                  <c:v>16353</c:v>
                </c:pt>
                <c:pt idx="348">
                  <c:v>16356</c:v>
                </c:pt>
                <c:pt idx="349">
                  <c:v>16357</c:v>
                </c:pt>
                <c:pt idx="350">
                  <c:v>16358</c:v>
                </c:pt>
                <c:pt idx="351">
                  <c:v>16359</c:v>
                </c:pt>
                <c:pt idx="352">
                  <c:v>16360</c:v>
                </c:pt>
                <c:pt idx="353">
                  <c:v>16363</c:v>
                </c:pt>
                <c:pt idx="354">
                  <c:v>16364</c:v>
                </c:pt>
                <c:pt idx="355">
                  <c:v>16365</c:v>
                </c:pt>
                <c:pt idx="356">
                  <c:v>16366</c:v>
                </c:pt>
                <c:pt idx="357">
                  <c:v>16367</c:v>
                </c:pt>
                <c:pt idx="358">
                  <c:v>16370</c:v>
                </c:pt>
                <c:pt idx="359">
                  <c:v>16371</c:v>
                </c:pt>
                <c:pt idx="360">
                  <c:v>16372</c:v>
                </c:pt>
                <c:pt idx="361">
                  <c:v>16373</c:v>
                </c:pt>
                <c:pt idx="362">
                  <c:v>16374</c:v>
                </c:pt>
                <c:pt idx="363">
                  <c:v>16377</c:v>
                </c:pt>
                <c:pt idx="364">
                  <c:v>16378</c:v>
                </c:pt>
                <c:pt idx="365">
                  <c:v>16379</c:v>
                </c:pt>
                <c:pt idx="366">
                  <c:v>16380</c:v>
                </c:pt>
                <c:pt idx="367">
                  <c:v>16381</c:v>
                </c:pt>
                <c:pt idx="368">
                  <c:v>16384</c:v>
                </c:pt>
                <c:pt idx="369">
                  <c:v>16385</c:v>
                </c:pt>
                <c:pt idx="370">
                  <c:v>16386</c:v>
                </c:pt>
                <c:pt idx="371">
                  <c:v>16387</c:v>
                </c:pt>
                <c:pt idx="372">
                  <c:v>16388</c:v>
                </c:pt>
                <c:pt idx="373">
                  <c:v>16391</c:v>
                </c:pt>
                <c:pt idx="374">
                  <c:v>16392</c:v>
                </c:pt>
                <c:pt idx="375">
                  <c:v>16393</c:v>
                </c:pt>
                <c:pt idx="376">
                  <c:v>16394</c:v>
                </c:pt>
                <c:pt idx="377">
                  <c:v>16395</c:v>
                </c:pt>
                <c:pt idx="378">
                  <c:v>16398</c:v>
                </c:pt>
                <c:pt idx="379">
                  <c:v>16399</c:v>
                </c:pt>
                <c:pt idx="380">
                  <c:v>16400</c:v>
                </c:pt>
                <c:pt idx="381">
                  <c:v>16402</c:v>
                </c:pt>
                <c:pt idx="382">
                  <c:v>16405</c:v>
                </c:pt>
                <c:pt idx="383">
                  <c:v>16406</c:v>
                </c:pt>
                <c:pt idx="384">
                  <c:v>16407</c:v>
                </c:pt>
                <c:pt idx="385">
                  <c:v>16408</c:v>
                </c:pt>
                <c:pt idx="386">
                  <c:v>16409</c:v>
                </c:pt>
                <c:pt idx="387">
                  <c:v>16412</c:v>
                </c:pt>
                <c:pt idx="388">
                  <c:v>16413</c:v>
                </c:pt>
                <c:pt idx="389">
                  <c:v>16414</c:v>
                </c:pt>
                <c:pt idx="390">
                  <c:v>16415</c:v>
                </c:pt>
                <c:pt idx="391">
                  <c:v>16416</c:v>
                </c:pt>
                <c:pt idx="392">
                  <c:v>16419</c:v>
                </c:pt>
                <c:pt idx="393">
                  <c:v>16420</c:v>
                </c:pt>
                <c:pt idx="394">
                  <c:v>16421</c:v>
                </c:pt>
                <c:pt idx="395">
                  <c:v>16422</c:v>
                </c:pt>
                <c:pt idx="396">
                  <c:v>16423</c:v>
                </c:pt>
                <c:pt idx="397">
                  <c:v>16426</c:v>
                </c:pt>
                <c:pt idx="398">
                  <c:v>16427</c:v>
                </c:pt>
                <c:pt idx="399">
                  <c:v>16428</c:v>
                </c:pt>
                <c:pt idx="400">
                  <c:v>16430</c:v>
                </c:pt>
                <c:pt idx="401">
                  <c:v>16433</c:v>
                </c:pt>
                <c:pt idx="402">
                  <c:v>16434</c:v>
                </c:pt>
                <c:pt idx="403">
                  <c:v>16435</c:v>
                </c:pt>
                <c:pt idx="404">
                  <c:v>16437</c:v>
                </c:pt>
                <c:pt idx="405">
                  <c:v>16440</c:v>
                </c:pt>
                <c:pt idx="406">
                  <c:v>16441</c:v>
                </c:pt>
                <c:pt idx="407">
                  <c:v>16442</c:v>
                </c:pt>
                <c:pt idx="408">
                  <c:v>16443</c:v>
                </c:pt>
                <c:pt idx="409">
                  <c:v>16444</c:v>
                </c:pt>
                <c:pt idx="410">
                  <c:v>16447</c:v>
                </c:pt>
                <c:pt idx="411">
                  <c:v>16448</c:v>
                </c:pt>
                <c:pt idx="412">
                  <c:v>16449</c:v>
                </c:pt>
                <c:pt idx="413">
                  <c:v>16450</c:v>
                </c:pt>
                <c:pt idx="414">
                  <c:v>16451</c:v>
                </c:pt>
                <c:pt idx="415">
                  <c:v>16455</c:v>
                </c:pt>
                <c:pt idx="416">
                  <c:v>16456</c:v>
                </c:pt>
                <c:pt idx="417">
                  <c:v>16457</c:v>
                </c:pt>
                <c:pt idx="418">
                  <c:v>16458</c:v>
                </c:pt>
                <c:pt idx="419">
                  <c:v>16461</c:v>
                </c:pt>
                <c:pt idx="420">
                  <c:v>16462</c:v>
                </c:pt>
                <c:pt idx="421">
                  <c:v>16463</c:v>
                </c:pt>
                <c:pt idx="422">
                  <c:v>16464</c:v>
                </c:pt>
                <c:pt idx="423">
                  <c:v>16465</c:v>
                </c:pt>
                <c:pt idx="424">
                  <c:v>16468</c:v>
                </c:pt>
                <c:pt idx="425">
                  <c:v>16469</c:v>
                </c:pt>
                <c:pt idx="426">
                  <c:v>16470</c:v>
                </c:pt>
                <c:pt idx="427">
                  <c:v>16471</c:v>
                </c:pt>
                <c:pt idx="428">
                  <c:v>16472</c:v>
                </c:pt>
                <c:pt idx="429">
                  <c:v>16475</c:v>
                </c:pt>
                <c:pt idx="430">
                  <c:v>16476</c:v>
                </c:pt>
                <c:pt idx="431">
                  <c:v>16477</c:v>
                </c:pt>
                <c:pt idx="432">
                  <c:v>16478</c:v>
                </c:pt>
                <c:pt idx="433">
                  <c:v>16479</c:v>
                </c:pt>
                <c:pt idx="434">
                  <c:v>16483</c:v>
                </c:pt>
                <c:pt idx="435">
                  <c:v>16484</c:v>
                </c:pt>
                <c:pt idx="436">
                  <c:v>16485</c:v>
                </c:pt>
                <c:pt idx="437">
                  <c:v>16486</c:v>
                </c:pt>
                <c:pt idx="438">
                  <c:v>16489</c:v>
                </c:pt>
                <c:pt idx="439">
                  <c:v>16490</c:v>
                </c:pt>
                <c:pt idx="440">
                  <c:v>16491</c:v>
                </c:pt>
                <c:pt idx="441">
                  <c:v>16492</c:v>
                </c:pt>
                <c:pt idx="442">
                  <c:v>16493</c:v>
                </c:pt>
                <c:pt idx="443">
                  <c:v>16496</c:v>
                </c:pt>
                <c:pt idx="444">
                  <c:v>16497</c:v>
                </c:pt>
                <c:pt idx="445">
                  <c:v>16498</c:v>
                </c:pt>
                <c:pt idx="446">
                  <c:v>16499</c:v>
                </c:pt>
                <c:pt idx="447">
                  <c:v>16500</c:v>
                </c:pt>
                <c:pt idx="448">
                  <c:v>16503</c:v>
                </c:pt>
                <c:pt idx="449">
                  <c:v>16504</c:v>
                </c:pt>
                <c:pt idx="450">
                  <c:v>16505</c:v>
                </c:pt>
                <c:pt idx="451">
                  <c:v>16506</c:v>
                </c:pt>
                <c:pt idx="452">
                  <c:v>16507</c:v>
                </c:pt>
                <c:pt idx="453">
                  <c:v>16510</c:v>
                </c:pt>
                <c:pt idx="454">
                  <c:v>16511</c:v>
                </c:pt>
                <c:pt idx="455">
                  <c:v>16512</c:v>
                </c:pt>
                <c:pt idx="456">
                  <c:v>16513</c:v>
                </c:pt>
                <c:pt idx="457">
                  <c:v>16514</c:v>
                </c:pt>
                <c:pt idx="458">
                  <c:v>16517</c:v>
                </c:pt>
                <c:pt idx="459">
                  <c:v>16518</c:v>
                </c:pt>
                <c:pt idx="460">
                  <c:v>16519</c:v>
                </c:pt>
                <c:pt idx="461">
                  <c:v>16520</c:v>
                </c:pt>
                <c:pt idx="462">
                  <c:v>16521</c:v>
                </c:pt>
                <c:pt idx="463">
                  <c:v>16524</c:v>
                </c:pt>
                <c:pt idx="464">
                  <c:v>16525</c:v>
                </c:pt>
                <c:pt idx="465">
                  <c:v>16526</c:v>
                </c:pt>
                <c:pt idx="466">
                  <c:v>16527</c:v>
                </c:pt>
                <c:pt idx="467">
                  <c:v>16531</c:v>
                </c:pt>
                <c:pt idx="468">
                  <c:v>16532</c:v>
                </c:pt>
                <c:pt idx="469">
                  <c:v>16533</c:v>
                </c:pt>
                <c:pt idx="470">
                  <c:v>16534</c:v>
                </c:pt>
                <c:pt idx="471">
                  <c:v>16535</c:v>
                </c:pt>
                <c:pt idx="472">
                  <c:v>16538</c:v>
                </c:pt>
                <c:pt idx="473">
                  <c:v>16539</c:v>
                </c:pt>
                <c:pt idx="474">
                  <c:v>16540</c:v>
                </c:pt>
                <c:pt idx="475">
                  <c:v>16541</c:v>
                </c:pt>
                <c:pt idx="476">
                  <c:v>16542</c:v>
                </c:pt>
                <c:pt idx="477">
                  <c:v>16545</c:v>
                </c:pt>
                <c:pt idx="478">
                  <c:v>16546</c:v>
                </c:pt>
                <c:pt idx="479">
                  <c:v>16547</c:v>
                </c:pt>
                <c:pt idx="480">
                  <c:v>16548</c:v>
                </c:pt>
                <c:pt idx="481">
                  <c:v>16549</c:v>
                </c:pt>
                <c:pt idx="482">
                  <c:v>16552</c:v>
                </c:pt>
                <c:pt idx="483">
                  <c:v>16553</c:v>
                </c:pt>
                <c:pt idx="484">
                  <c:v>16554</c:v>
                </c:pt>
                <c:pt idx="485">
                  <c:v>16555</c:v>
                </c:pt>
                <c:pt idx="486">
                  <c:v>16556</c:v>
                </c:pt>
                <c:pt idx="487">
                  <c:v>16559</c:v>
                </c:pt>
                <c:pt idx="488">
                  <c:v>16560</c:v>
                </c:pt>
                <c:pt idx="489">
                  <c:v>16561</c:v>
                </c:pt>
                <c:pt idx="490">
                  <c:v>16562</c:v>
                </c:pt>
                <c:pt idx="491">
                  <c:v>16563</c:v>
                </c:pt>
                <c:pt idx="492">
                  <c:v>16566</c:v>
                </c:pt>
                <c:pt idx="493">
                  <c:v>16567</c:v>
                </c:pt>
                <c:pt idx="494">
                  <c:v>16568</c:v>
                </c:pt>
                <c:pt idx="495">
                  <c:v>16569</c:v>
                </c:pt>
                <c:pt idx="496">
                  <c:v>16570</c:v>
                </c:pt>
                <c:pt idx="497">
                  <c:v>16573</c:v>
                </c:pt>
                <c:pt idx="498">
                  <c:v>16574</c:v>
                </c:pt>
                <c:pt idx="499">
                  <c:v>16575</c:v>
                </c:pt>
                <c:pt idx="500">
                  <c:v>16576</c:v>
                </c:pt>
                <c:pt idx="501">
                  <c:v>16577</c:v>
                </c:pt>
                <c:pt idx="502">
                  <c:v>16581</c:v>
                </c:pt>
                <c:pt idx="503">
                  <c:v>16582</c:v>
                </c:pt>
                <c:pt idx="504">
                  <c:v>16583</c:v>
                </c:pt>
                <c:pt idx="505">
                  <c:v>16584</c:v>
                </c:pt>
                <c:pt idx="506">
                  <c:v>16587</c:v>
                </c:pt>
                <c:pt idx="507">
                  <c:v>16588</c:v>
                </c:pt>
                <c:pt idx="508">
                  <c:v>16589</c:v>
                </c:pt>
                <c:pt idx="509">
                  <c:v>16590</c:v>
                </c:pt>
                <c:pt idx="510">
                  <c:v>16591</c:v>
                </c:pt>
                <c:pt idx="511">
                  <c:v>16594</c:v>
                </c:pt>
                <c:pt idx="512">
                  <c:v>16595</c:v>
                </c:pt>
                <c:pt idx="513">
                  <c:v>16596</c:v>
                </c:pt>
                <c:pt idx="514">
                  <c:v>16597</c:v>
                </c:pt>
                <c:pt idx="515">
                  <c:v>16598</c:v>
                </c:pt>
                <c:pt idx="516">
                  <c:v>16601</c:v>
                </c:pt>
                <c:pt idx="517">
                  <c:v>16602</c:v>
                </c:pt>
                <c:pt idx="518">
                  <c:v>16603</c:v>
                </c:pt>
                <c:pt idx="519">
                  <c:v>16604</c:v>
                </c:pt>
                <c:pt idx="520">
                  <c:v>16605</c:v>
                </c:pt>
                <c:pt idx="521">
                  <c:v>16608</c:v>
                </c:pt>
                <c:pt idx="522">
                  <c:v>16609</c:v>
                </c:pt>
                <c:pt idx="523">
                  <c:v>16610</c:v>
                </c:pt>
                <c:pt idx="524">
                  <c:v>16611</c:v>
                </c:pt>
                <c:pt idx="525">
                  <c:v>16612</c:v>
                </c:pt>
                <c:pt idx="526">
                  <c:v>16615</c:v>
                </c:pt>
                <c:pt idx="527">
                  <c:v>16616</c:v>
                </c:pt>
                <c:pt idx="528">
                  <c:v>16617</c:v>
                </c:pt>
                <c:pt idx="529">
                  <c:v>16618</c:v>
                </c:pt>
                <c:pt idx="530">
                  <c:v>16622</c:v>
                </c:pt>
                <c:pt idx="531">
                  <c:v>16623</c:v>
                </c:pt>
                <c:pt idx="532">
                  <c:v>16624</c:v>
                </c:pt>
                <c:pt idx="533">
                  <c:v>16625</c:v>
                </c:pt>
                <c:pt idx="534">
                  <c:v>16626</c:v>
                </c:pt>
                <c:pt idx="535">
                  <c:v>16629</c:v>
                </c:pt>
                <c:pt idx="536">
                  <c:v>16630</c:v>
                </c:pt>
                <c:pt idx="537">
                  <c:v>16631</c:v>
                </c:pt>
                <c:pt idx="538">
                  <c:v>16632</c:v>
                </c:pt>
                <c:pt idx="539">
                  <c:v>16633</c:v>
                </c:pt>
                <c:pt idx="540">
                  <c:v>16636</c:v>
                </c:pt>
                <c:pt idx="541">
                  <c:v>16637</c:v>
                </c:pt>
                <c:pt idx="542">
                  <c:v>16638</c:v>
                </c:pt>
                <c:pt idx="543">
                  <c:v>16639</c:v>
                </c:pt>
                <c:pt idx="544">
                  <c:v>16640</c:v>
                </c:pt>
                <c:pt idx="545">
                  <c:v>16643</c:v>
                </c:pt>
                <c:pt idx="546">
                  <c:v>16644</c:v>
                </c:pt>
                <c:pt idx="547">
                  <c:v>16645</c:v>
                </c:pt>
                <c:pt idx="548">
                  <c:v>16646</c:v>
                </c:pt>
                <c:pt idx="549">
                  <c:v>16647</c:v>
                </c:pt>
                <c:pt idx="550">
                  <c:v>16650</c:v>
                </c:pt>
                <c:pt idx="551">
                  <c:v>16651</c:v>
                </c:pt>
                <c:pt idx="552">
                  <c:v>16652</c:v>
                </c:pt>
                <c:pt idx="553">
                  <c:v>16653</c:v>
                </c:pt>
                <c:pt idx="554">
                  <c:v>16654</c:v>
                </c:pt>
                <c:pt idx="555">
                  <c:v>16657</c:v>
                </c:pt>
                <c:pt idx="556">
                  <c:v>16658</c:v>
                </c:pt>
                <c:pt idx="557">
                  <c:v>16659</c:v>
                </c:pt>
                <c:pt idx="558">
                  <c:v>16660</c:v>
                </c:pt>
                <c:pt idx="559">
                  <c:v>16661</c:v>
                </c:pt>
                <c:pt idx="560">
                  <c:v>16664</c:v>
                </c:pt>
                <c:pt idx="561">
                  <c:v>16665</c:v>
                </c:pt>
                <c:pt idx="562">
                  <c:v>16666</c:v>
                </c:pt>
                <c:pt idx="563">
                  <c:v>16667</c:v>
                </c:pt>
                <c:pt idx="564">
                  <c:v>16668</c:v>
                </c:pt>
                <c:pt idx="565">
                  <c:v>16671</c:v>
                </c:pt>
                <c:pt idx="566">
                  <c:v>16672</c:v>
                </c:pt>
                <c:pt idx="567">
                  <c:v>16673</c:v>
                </c:pt>
                <c:pt idx="568">
                  <c:v>16674</c:v>
                </c:pt>
                <c:pt idx="569">
                  <c:v>16675</c:v>
                </c:pt>
                <c:pt idx="570">
                  <c:v>16678</c:v>
                </c:pt>
                <c:pt idx="571">
                  <c:v>16679</c:v>
                </c:pt>
                <c:pt idx="572">
                  <c:v>16680</c:v>
                </c:pt>
                <c:pt idx="573">
                  <c:v>16681</c:v>
                </c:pt>
                <c:pt idx="574">
                  <c:v>16682</c:v>
                </c:pt>
                <c:pt idx="575">
                  <c:v>16686</c:v>
                </c:pt>
                <c:pt idx="576">
                  <c:v>16687</c:v>
                </c:pt>
                <c:pt idx="577">
                  <c:v>16688</c:v>
                </c:pt>
                <c:pt idx="578">
                  <c:v>16689</c:v>
                </c:pt>
                <c:pt idx="579">
                  <c:v>16692</c:v>
                </c:pt>
                <c:pt idx="580">
                  <c:v>16693</c:v>
                </c:pt>
                <c:pt idx="581">
                  <c:v>16694</c:v>
                </c:pt>
                <c:pt idx="582">
                  <c:v>16695</c:v>
                </c:pt>
                <c:pt idx="583">
                  <c:v>16696</c:v>
                </c:pt>
                <c:pt idx="584">
                  <c:v>16699</c:v>
                </c:pt>
                <c:pt idx="585">
                  <c:v>16700</c:v>
                </c:pt>
                <c:pt idx="586">
                  <c:v>16701</c:v>
                </c:pt>
                <c:pt idx="587">
                  <c:v>16702</c:v>
                </c:pt>
                <c:pt idx="588">
                  <c:v>16703</c:v>
                </c:pt>
                <c:pt idx="589">
                  <c:v>16706</c:v>
                </c:pt>
                <c:pt idx="590">
                  <c:v>16707</c:v>
                </c:pt>
                <c:pt idx="591">
                  <c:v>16708</c:v>
                </c:pt>
                <c:pt idx="592">
                  <c:v>16709</c:v>
                </c:pt>
                <c:pt idx="593">
                  <c:v>16710</c:v>
                </c:pt>
                <c:pt idx="594">
                  <c:v>16713</c:v>
                </c:pt>
                <c:pt idx="595">
                  <c:v>16714</c:v>
                </c:pt>
                <c:pt idx="596">
                  <c:v>16715</c:v>
                </c:pt>
                <c:pt idx="597">
                  <c:v>16716</c:v>
                </c:pt>
                <c:pt idx="598">
                  <c:v>16717</c:v>
                </c:pt>
                <c:pt idx="599">
                  <c:v>16720</c:v>
                </c:pt>
                <c:pt idx="600">
                  <c:v>16721</c:v>
                </c:pt>
                <c:pt idx="601">
                  <c:v>16722</c:v>
                </c:pt>
                <c:pt idx="602">
                  <c:v>16723</c:v>
                </c:pt>
                <c:pt idx="603">
                  <c:v>16724</c:v>
                </c:pt>
                <c:pt idx="604">
                  <c:v>16727</c:v>
                </c:pt>
                <c:pt idx="605">
                  <c:v>16728</c:v>
                </c:pt>
                <c:pt idx="606">
                  <c:v>16729</c:v>
                </c:pt>
                <c:pt idx="607">
                  <c:v>16730</c:v>
                </c:pt>
                <c:pt idx="608">
                  <c:v>16731</c:v>
                </c:pt>
                <c:pt idx="609">
                  <c:v>16734</c:v>
                </c:pt>
                <c:pt idx="610">
                  <c:v>16735</c:v>
                </c:pt>
                <c:pt idx="611">
                  <c:v>16736</c:v>
                </c:pt>
                <c:pt idx="612">
                  <c:v>16737</c:v>
                </c:pt>
                <c:pt idx="613">
                  <c:v>16738</c:v>
                </c:pt>
                <c:pt idx="614">
                  <c:v>16741</c:v>
                </c:pt>
                <c:pt idx="615">
                  <c:v>16742</c:v>
                </c:pt>
                <c:pt idx="616">
                  <c:v>16743</c:v>
                </c:pt>
                <c:pt idx="617">
                  <c:v>16744</c:v>
                </c:pt>
                <c:pt idx="618">
                  <c:v>16745</c:v>
                </c:pt>
                <c:pt idx="619">
                  <c:v>16748</c:v>
                </c:pt>
                <c:pt idx="620">
                  <c:v>16749</c:v>
                </c:pt>
                <c:pt idx="621">
                  <c:v>16750</c:v>
                </c:pt>
                <c:pt idx="622">
                  <c:v>16751</c:v>
                </c:pt>
                <c:pt idx="623">
                  <c:v>16752</c:v>
                </c:pt>
                <c:pt idx="624">
                  <c:v>16755</c:v>
                </c:pt>
                <c:pt idx="625">
                  <c:v>16756</c:v>
                </c:pt>
                <c:pt idx="626">
                  <c:v>16757</c:v>
                </c:pt>
                <c:pt idx="627">
                  <c:v>16758</c:v>
                </c:pt>
                <c:pt idx="628">
                  <c:v>16759</c:v>
                </c:pt>
                <c:pt idx="629">
                  <c:v>16762</c:v>
                </c:pt>
                <c:pt idx="630">
                  <c:v>16763</c:v>
                </c:pt>
                <c:pt idx="631">
                  <c:v>16764</c:v>
                </c:pt>
                <c:pt idx="632">
                  <c:v>16766</c:v>
                </c:pt>
                <c:pt idx="633">
                  <c:v>16769</c:v>
                </c:pt>
                <c:pt idx="634">
                  <c:v>16770</c:v>
                </c:pt>
                <c:pt idx="635">
                  <c:v>16771</c:v>
                </c:pt>
                <c:pt idx="636">
                  <c:v>16772</c:v>
                </c:pt>
                <c:pt idx="637">
                  <c:v>16773</c:v>
                </c:pt>
                <c:pt idx="638">
                  <c:v>16776</c:v>
                </c:pt>
                <c:pt idx="639">
                  <c:v>16777</c:v>
                </c:pt>
                <c:pt idx="640">
                  <c:v>16778</c:v>
                </c:pt>
                <c:pt idx="641">
                  <c:v>16779</c:v>
                </c:pt>
                <c:pt idx="642">
                  <c:v>16780</c:v>
                </c:pt>
                <c:pt idx="643">
                  <c:v>16783</c:v>
                </c:pt>
                <c:pt idx="644">
                  <c:v>16784</c:v>
                </c:pt>
                <c:pt idx="645">
                  <c:v>16785</c:v>
                </c:pt>
                <c:pt idx="646">
                  <c:v>16786</c:v>
                </c:pt>
                <c:pt idx="647">
                  <c:v>16787</c:v>
                </c:pt>
                <c:pt idx="648">
                  <c:v>16790</c:v>
                </c:pt>
                <c:pt idx="649">
                  <c:v>16791</c:v>
                </c:pt>
                <c:pt idx="650">
                  <c:v>16792</c:v>
                </c:pt>
                <c:pt idx="651">
                  <c:v>16793</c:v>
                </c:pt>
                <c:pt idx="652">
                  <c:v>16797</c:v>
                </c:pt>
                <c:pt idx="653">
                  <c:v>16798</c:v>
                </c:pt>
                <c:pt idx="654">
                  <c:v>16799</c:v>
                </c:pt>
                <c:pt idx="655">
                  <c:v>16800</c:v>
                </c:pt>
                <c:pt idx="656">
                  <c:v>16804</c:v>
                </c:pt>
                <c:pt idx="657">
                  <c:v>16805</c:v>
                </c:pt>
                <c:pt idx="658">
                  <c:v>16806</c:v>
                </c:pt>
                <c:pt idx="659">
                  <c:v>16807</c:v>
                </c:pt>
                <c:pt idx="660">
                  <c:v>16808</c:v>
                </c:pt>
                <c:pt idx="661">
                  <c:v>16811</c:v>
                </c:pt>
                <c:pt idx="662">
                  <c:v>16812</c:v>
                </c:pt>
                <c:pt idx="663">
                  <c:v>16813</c:v>
                </c:pt>
                <c:pt idx="664">
                  <c:v>16814</c:v>
                </c:pt>
                <c:pt idx="665">
                  <c:v>16815</c:v>
                </c:pt>
                <c:pt idx="666">
                  <c:v>16819</c:v>
                </c:pt>
                <c:pt idx="667">
                  <c:v>16820</c:v>
                </c:pt>
                <c:pt idx="668">
                  <c:v>16821</c:v>
                </c:pt>
                <c:pt idx="669">
                  <c:v>16822</c:v>
                </c:pt>
                <c:pt idx="670">
                  <c:v>16825</c:v>
                </c:pt>
                <c:pt idx="671">
                  <c:v>16826</c:v>
                </c:pt>
                <c:pt idx="672">
                  <c:v>16827</c:v>
                </c:pt>
                <c:pt idx="673">
                  <c:v>16828</c:v>
                </c:pt>
                <c:pt idx="674">
                  <c:v>16829</c:v>
                </c:pt>
                <c:pt idx="675">
                  <c:v>16832</c:v>
                </c:pt>
                <c:pt idx="676">
                  <c:v>16833</c:v>
                </c:pt>
                <c:pt idx="677">
                  <c:v>16834</c:v>
                </c:pt>
                <c:pt idx="678">
                  <c:v>16835</c:v>
                </c:pt>
                <c:pt idx="679">
                  <c:v>16836</c:v>
                </c:pt>
                <c:pt idx="680">
                  <c:v>16839</c:v>
                </c:pt>
                <c:pt idx="681">
                  <c:v>16840</c:v>
                </c:pt>
                <c:pt idx="682">
                  <c:v>16841</c:v>
                </c:pt>
                <c:pt idx="683">
                  <c:v>16842</c:v>
                </c:pt>
                <c:pt idx="684">
                  <c:v>16843</c:v>
                </c:pt>
                <c:pt idx="685">
                  <c:v>16847</c:v>
                </c:pt>
                <c:pt idx="686">
                  <c:v>16848</c:v>
                </c:pt>
                <c:pt idx="687">
                  <c:v>16849</c:v>
                </c:pt>
                <c:pt idx="688">
                  <c:v>16850</c:v>
                </c:pt>
                <c:pt idx="689">
                  <c:v>16853</c:v>
                </c:pt>
                <c:pt idx="690">
                  <c:v>16854</c:v>
                </c:pt>
                <c:pt idx="691">
                  <c:v>16855</c:v>
                </c:pt>
                <c:pt idx="692">
                  <c:v>16856</c:v>
                </c:pt>
                <c:pt idx="693">
                  <c:v>16857</c:v>
                </c:pt>
                <c:pt idx="694">
                  <c:v>16860</c:v>
                </c:pt>
                <c:pt idx="695">
                  <c:v>16861</c:v>
                </c:pt>
                <c:pt idx="696">
                  <c:v>16862</c:v>
                </c:pt>
                <c:pt idx="697">
                  <c:v>16863</c:v>
                </c:pt>
                <c:pt idx="698">
                  <c:v>16864</c:v>
                </c:pt>
                <c:pt idx="699">
                  <c:v>16867</c:v>
                </c:pt>
                <c:pt idx="700">
                  <c:v>16868</c:v>
                </c:pt>
                <c:pt idx="701">
                  <c:v>16869</c:v>
                </c:pt>
                <c:pt idx="702">
                  <c:v>16870</c:v>
                </c:pt>
                <c:pt idx="703">
                  <c:v>16871</c:v>
                </c:pt>
                <c:pt idx="704">
                  <c:v>16874</c:v>
                </c:pt>
                <c:pt idx="705">
                  <c:v>16875</c:v>
                </c:pt>
                <c:pt idx="706">
                  <c:v>16876</c:v>
                </c:pt>
                <c:pt idx="707">
                  <c:v>16877</c:v>
                </c:pt>
                <c:pt idx="708">
                  <c:v>16878</c:v>
                </c:pt>
                <c:pt idx="709">
                  <c:v>16881</c:v>
                </c:pt>
                <c:pt idx="710">
                  <c:v>16882</c:v>
                </c:pt>
                <c:pt idx="711">
                  <c:v>16883</c:v>
                </c:pt>
                <c:pt idx="712">
                  <c:v>16884</c:v>
                </c:pt>
                <c:pt idx="713">
                  <c:v>16888</c:v>
                </c:pt>
                <c:pt idx="714">
                  <c:v>16889</c:v>
                </c:pt>
                <c:pt idx="715">
                  <c:v>16890</c:v>
                </c:pt>
                <c:pt idx="716">
                  <c:v>16891</c:v>
                </c:pt>
                <c:pt idx="717">
                  <c:v>16892</c:v>
                </c:pt>
                <c:pt idx="718">
                  <c:v>16895</c:v>
                </c:pt>
                <c:pt idx="719">
                  <c:v>16896</c:v>
                </c:pt>
                <c:pt idx="720">
                  <c:v>16897</c:v>
                </c:pt>
                <c:pt idx="721">
                  <c:v>16898</c:v>
                </c:pt>
                <c:pt idx="722">
                  <c:v>16899</c:v>
                </c:pt>
                <c:pt idx="723">
                  <c:v>16902</c:v>
                </c:pt>
                <c:pt idx="724">
                  <c:v>16903</c:v>
                </c:pt>
                <c:pt idx="725">
                  <c:v>16904</c:v>
                </c:pt>
                <c:pt idx="726">
                  <c:v>16905</c:v>
                </c:pt>
                <c:pt idx="727">
                  <c:v>16906</c:v>
                </c:pt>
                <c:pt idx="728">
                  <c:v>16909</c:v>
                </c:pt>
                <c:pt idx="729">
                  <c:v>16910</c:v>
                </c:pt>
                <c:pt idx="730">
                  <c:v>16911</c:v>
                </c:pt>
                <c:pt idx="731">
                  <c:v>16912</c:v>
                </c:pt>
                <c:pt idx="732">
                  <c:v>16913</c:v>
                </c:pt>
                <c:pt idx="733">
                  <c:v>16916</c:v>
                </c:pt>
                <c:pt idx="734">
                  <c:v>16917</c:v>
                </c:pt>
                <c:pt idx="735">
                  <c:v>16918</c:v>
                </c:pt>
                <c:pt idx="736">
                  <c:v>16919</c:v>
                </c:pt>
                <c:pt idx="737">
                  <c:v>16920</c:v>
                </c:pt>
                <c:pt idx="738">
                  <c:v>16923</c:v>
                </c:pt>
                <c:pt idx="739">
                  <c:v>16924</c:v>
                </c:pt>
                <c:pt idx="740">
                  <c:v>16925</c:v>
                </c:pt>
                <c:pt idx="741">
                  <c:v>16926</c:v>
                </c:pt>
                <c:pt idx="742">
                  <c:v>16927</c:v>
                </c:pt>
                <c:pt idx="743">
                  <c:v>16930</c:v>
                </c:pt>
                <c:pt idx="744">
                  <c:v>16931</c:v>
                </c:pt>
                <c:pt idx="745">
                  <c:v>16932</c:v>
                </c:pt>
                <c:pt idx="746">
                  <c:v>16933</c:v>
                </c:pt>
                <c:pt idx="747">
                  <c:v>16934</c:v>
                </c:pt>
                <c:pt idx="748">
                  <c:v>16937</c:v>
                </c:pt>
                <c:pt idx="749">
                  <c:v>16938</c:v>
                </c:pt>
                <c:pt idx="750">
                  <c:v>16939</c:v>
                </c:pt>
                <c:pt idx="751">
                  <c:v>16940</c:v>
                </c:pt>
                <c:pt idx="752">
                  <c:v>16941</c:v>
                </c:pt>
                <c:pt idx="753">
                  <c:v>16944</c:v>
                </c:pt>
                <c:pt idx="754">
                  <c:v>16945</c:v>
                </c:pt>
                <c:pt idx="755">
                  <c:v>16946</c:v>
                </c:pt>
                <c:pt idx="756">
                  <c:v>16947</c:v>
                </c:pt>
                <c:pt idx="757">
                  <c:v>16948</c:v>
                </c:pt>
                <c:pt idx="758">
                  <c:v>16952</c:v>
                </c:pt>
                <c:pt idx="759">
                  <c:v>16953</c:v>
                </c:pt>
                <c:pt idx="760">
                  <c:v>16954</c:v>
                </c:pt>
                <c:pt idx="761">
                  <c:v>16955</c:v>
                </c:pt>
                <c:pt idx="762">
                  <c:v>16958</c:v>
                </c:pt>
                <c:pt idx="763">
                  <c:v>16959</c:v>
                </c:pt>
                <c:pt idx="764">
                  <c:v>16960</c:v>
                </c:pt>
                <c:pt idx="765">
                  <c:v>16961</c:v>
                </c:pt>
                <c:pt idx="766">
                  <c:v>16962</c:v>
                </c:pt>
                <c:pt idx="767">
                  <c:v>16965</c:v>
                </c:pt>
                <c:pt idx="768">
                  <c:v>16966</c:v>
                </c:pt>
                <c:pt idx="769">
                  <c:v>16967</c:v>
                </c:pt>
                <c:pt idx="770">
                  <c:v>16968</c:v>
                </c:pt>
                <c:pt idx="771">
                  <c:v>16969</c:v>
                </c:pt>
                <c:pt idx="772">
                  <c:v>16972</c:v>
                </c:pt>
                <c:pt idx="773">
                  <c:v>16973</c:v>
                </c:pt>
                <c:pt idx="774">
                  <c:v>16974</c:v>
                </c:pt>
                <c:pt idx="775">
                  <c:v>16975</c:v>
                </c:pt>
                <c:pt idx="776">
                  <c:v>16976</c:v>
                </c:pt>
                <c:pt idx="777">
                  <c:v>16979</c:v>
                </c:pt>
                <c:pt idx="778">
                  <c:v>16980</c:v>
                </c:pt>
                <c:pt idx="779">
                  <c:v>16981</c:v>
                </c:pt>
                <c:pt idx="780">
                  <c:v>16982</c:v>
                </c:pt>
                <c:pt idx="781">
                  <c:v>16983</c:v>
                </c:pt>
                <c:pt idx="782">
                  <c:v>16987</c:v>
                </c:pt>
                <c:pt idx="783">
                  <c:v>16988</c:v>
                </c:pt>
                <c:pt idx="784">
                  <c:v>16989</c:v>
                </c:pt>
                <c:pt idx="785">
                  <c:v>16990</c:v>
                </c:pt>
                <c:pt idx="786">
                  <c:v>16993</c:v>
                </c:pt>
                <c:pt idx="787">
                  <c:v>16994</c:v>
                </c:pt>
                <c:pt idx="788">
                  <c:v>16995</c:v>
                </c:pt>
                <c:pt idx="789">
                  <c:v>16996</c:v>
                </c:pt>
                <c:pt idx="790">
                  <c:v>16997</c:v>
                </c:pt>
                <c:pt idx="791">
                  <c:v>17000</c:v>
                </c:pt>
                <c:pt idx="792">
                  <c:v>17001</c:v>
                </c:pt>
                <c:pt idx="793">
                  <c:v>17002</c:v>
                </c:pt>
                <c:pt idx="794">
                  <c:v>17003</c:v>
                </c:pt>
                <c:pt idx="795">
                  <c:v>17004</c:v>
                </c:pt>
                <c:pt idx="796">
                  <c:v>17007</c:v>
                </c:pt>
                <c:pt idx="797">
                  <c:v>17008</c:v>
                </c:pt>
                <c:pt idx="798">
                  <c:v>17009</c:v>
                </c:pt>
                <c:pt idx="799">
                  <c:v>17010</c:v>
                </c:pt>
                <c:pt idx="800">
                  <c:v>17011</c:v>
                </c:pt>
                <c:pt idx="801">
                  <c:v>17014</c:v>
                </c:pt>
                <c:pt idx="802">
                  <c:v>17015</c:v>
                </c:pt>
                <c:pt idx="803">
                  <c:v>17016</c:v>
                </c:pt>
                <c:pt idx="804">
                  <c:v>17017</c:v>
                </c:pt>
                <c:pt idx="805">
                  <c:v>17018</c:v>
                </c:pt>
                <c:pt idx="806">
                  <c:v>17021</c:v>
                </c:pt>
                <c:pt idx="807">
                  <c:v>17022</c:v>
                </c:pt>
                <c:pt idx="808">
                  <c:v>17023</c:v>
                </c:pt>
                <c:pt idx="809">
                  <c:v>17024</c:v>
                </c:pt>
                <c:pt idx="810">
                  <c:v>17025</c:v>
                </c:pt>
                <c:pt idx="811">
                  <c:v>17028</c:v>
                </c:pt>
                <c:pt idx="812">
                  <c:v>17029</c:v>
                </c:pt>
                <c:pt idx="813">
                  <c:v>17030</c:v>
                </c:pt>
                <c:pt idx="814">
                  <c:v>17031</c:v>
                </c:pt>
                <c:pt idx="815">
                  <c:v>17032</c:v>
                </c:pt>
                <c:pt idx="816">
                  <c:v>17035</c:v>
                </c:pt>
                <c:pt idx="817">
                  <c:v>17036</c:v>
                </c:pt>
                <c:pt idx="818">
                  <c:v>17037</c:v>
                </c:pt>
                <c:pt idx="819">
                  <c:v>17038</c:v>
                </c:pt>
                <c:pt idx="820">
                  <c:v>17039</c:v>
                </c:pt>
                <c:pt idx="821">
                  <c:v>17042</c:v>
                </c:pt>
                <c:pt idx="822">
                  <c:v>17043</c:v>
                </c:pt>
                <c:pt idx="823">
                  <c:v>17044</c:v>
                </c:pt>
                <c:pt idx="824">
                  <c:v>17045</c:v>
                </c:pt>
                <c:pt idx="825">
                  <c:v>17046</c:v>
                </c:pt>
                <c:pt idx="826">
                  <c:v>17050</c:v>
                </c:pt>
                <c:pt idx="827">
                  <c:v>17051</c:v>
                </c:pt>
                <c:pt idx="828">
                  <c:v>17052</c:v>
                </c:pt>
                <c:pt idx="829">
                  <c:v>17053</c:v>
                </c:pt>
                <c:pt idx="830">
                  <c:v>17056</c:v>
                </c:pt>
                <c:pt idx="831">
                  <c:v>17057</c:v>
                </c:pt>
                <c:pt idx="832">
                  <c:v>17058</c:v>
                </c:pt>
                <c:pt idx="833">
                  <c:v>17059</c:v>
                </c:pt>
                <c:pt idx="834">
                  <c:v>17060</c:v>
                </c:pt>
                <c:pt idx="835">
                  <c:v>17063</c:v>
                </c:pt>
                <c:pt idx="836">
                  <c:v>17064</c:v>
                </c:pt>
                <c:pt idx="837">
                  <c:v>17065</c:v>
                </c:pt>
                <c:pt idx="838">
                  <c:v>17066</c:v>
                </c:pt>
                <c:pt idx="839">
                  <c:v>17067</c:v>
                </c:pt>
                <c:pt idx="840">
                  <c:v>17070</c:v>
                </c:pt>
                <c:pt idx="841">
                  <c:v>17071</c:v>
                </c:pt>
                <c:pt idx="842">
                  <c:v>17072</c:v>
                </c:pt>
                <c:pt idx="843">
                  <c:v>17073</c:v>
                </c:pt>
                <c:pt idx="844">
                  <c:v>17074</c:v>
                </c:pt>
                <c:pt idx="845">
                  <c:v>17077</c:v>
                </c:pt>
                <c:pt idx="846">
                  <c:v>17078</c:v>
                </c:pt>
                <c:pt idx="847">
                  <c:v>17079</c:v>
                </c:pt>
                <c:pt idx="848">
                  <c:v>17080</c:v>
                </c:pt>
                <c:pt idx="849">
                  <c:v>17081</c:v>
                </c:pt>
                <c:pt idx="850">
                  <c:v>17084</c:v>
                </c:pt>
                <c:pt idx="851">
                  <c:v>17085</c:v>
                </c:pt>
                <c:pt idx="852">
                  <c:v>17086</c:v>
                </c:pt>
                <c:pt idx="853">
                  <c:v>17087</c:v>
                </c:pt>
                <c:pt idx="854">
                  <c:v>17088</c:v>
                </c:pt>
                <c:pt idx="855">
                  <c:v>17091</c:v>
                </c:pt>
                <c:pt idx="856">
                  <c:v>17092</c:v>
                </c:pt>
                <c:pt idx="857">
                  <c:v>17093</c:v>
                </c:pt>
                <c:pt idx="858">
                  <c:v>17094</c:v>
                </c:pt>
                <c:pt idx="859">
                  <c:v>17095</c:v>
                </c:pt>
                <c:pt idx="860">
                  <c:v>17098</c:v>
                </c:pt>
                <c:pt idx="861">
                  <c:v>17099</c:v>
                </c:pt>
                <c:pt idx="862">
                  <c:v>17100</c:v>
                </c:pt>
                <c:pt idx="863">
                  <c:v>17101</c:v>
                </c:pt>
                <c:pt idx="864">
                  <c:v>17102</c:v>
                </c:pt>
                <c:pt idx="865">
                  <c:v>17105</c:v>
                </c:pt>
                <c:pt idx="866">
                  <c:v>17106</c:v>
                </c:pt>
                <c:pt idx="867">
                  <c:v>17107</c:v>
                </c:pt>
                <c:pt idx="868">
                  <c:v>17108</c:v>
                </c:pt>
                <c:pt idx="869">
                  <c:v>17109</c:v>
                </c:pt>
                <c:pt idx="870">
                  <c:v>17112</c:v>
                </c:pt>
                <c:pt idx="871">
                  <c:v>17113</c:v>
                </c:pt>
                <c:pt idx="872">
                  <c:v>17114</c:v>
                </c:pt>
                <c:pt idx="873">
                  <c:v>17115</c:v>
                </c:pt>
                <c:pt idx="874">
                  <c:v>17116</c:v>
                </c:pt>
                <c:pt idx="875">
                  <c:v>17119</c:v>
                </c:pt>
                <c:pt idx="876">
                  <c:v>17120</c:v>
                </c:pt>
                <c:pt idx="877">
                  <c:v>17121</c:v>
                </c:pt>
                <c:pt idx="878">
                  <c:v>17122</c:v>
                </c:pt>
                <c:pt idx="879">
                  <c:v>17123</c:v>
                </c:pt>
                <c:pt idx="880">
                  <c:v>17126</c:v>
                </c:pt>
                <c:pt idx="881">
                  <c:v>17127</c:v>
                </c:pt>
                <c:pt idx="882">
                  <c:v>17128</c:v>
                </c:pt>
                <c:pt idx="883">
                  <c:v>17130</c:v>
                </c:pt>
                <c:pt idx="884">
                  <c:v>17133</c:v>
                </c:pt>
                <c:pt idx="885">
                  <c:v>17134</c:v>
                </c:pt>
                <c:pt idx="886">
                  <c:v>17135</c:v>
                </c:pt>
                <c:pt idx="887">
                  <c:v>17136</c:v>
                </c:pt>
                <c:pt idx="888">
                  <c:v>17137</c:v>
                </c:pt>
                <c:pt idx="889">
                  <c:v>17140</c:v>
                </c:pt>
                <c:pt idx="890">
                  <c:v>17141</c:v>
                </c:pt>
                <c:pt idx="891">
                  <c:v>17142</c:v>
                </c:pt>
                <c:pt idx="892">
                  <c:v>17143</c:v>
                </c:pt>
                <c:pt idx="893">
                  <c:v>17144</c:v>
                </c:pt>
                <c:pt idx="894">
                  <c:v>17147</c:v>
                </c:pt>
                <c:pt idx="895">
                  <c:v>17148</c:v>
                </c:pt>
                <c:pt idx="896">
                  <c:v>17149</c:v>
                </c:pt>
                <c:pt idx="897">
                  <c:v>17150</c:v>
                </c:pt>
                <c:pt idx="898">
                  <c:v>17151</c:v>
                </c:pt>
                <c:pt idx="899">
                  <c:v>17154</c:v>
                </c:pt>
                <c:pt idx="900">
                  <c:v>17155</c:v>
                </c:pt>
                <c:pt idx="901">
                  <c:v>17156</c:v>
                </c:pt>
                <c:pt idx="902">
                  <c:v>17157</c:v>
                </c:pt>
                <c:pt idx="903">
                  <c:v>17158</c:v>
                </c:pt>
                <c:pt idx="904">
                  <c:v>17162</c:v>
                </c:pt>
                <c:pt idx="905">
                  <c:v>17163</c:v>
                </c:pt>
                <c:pt idx="906">
                  <c:v>17164</c:v>
                </c:pt>
                <c:pt idx="907">
                  <c:v>17165</c:v>
                </c:pt>
                <c:pt idx="908">
                  <c:v>17169</c:v>
                </c:pt>
                <c:pt idx="909">
                  <c:v>17170</c:v>
                </c:pt>
                <c:pt idx="910">
                  <c:v>17171</c:v>
                </c:pt>
                <c:pt idx="911">
                  <c:v>17172</c:v>
                </c:pt>
                <c:pt idx="912">
                  <c:v>17175</c:v>
                </c:pt>
                <c:pt idx="913">
                  <c:v>17176</c:v>
                </c:pt>
                <c:pt idx="914">
                  <c:v>17177</c:v>
                </c:pt>
                <c:pt idx="915">
                  <c:v>17178</c:v>
                </c:pt>
                <c:pt idx="916">
                  <c:v>17179</c:v>
                </c:pt>
                <c:pt idx="917">
                  <c:v>17183</c:v>
                </c:pt>
                <c:pt idx="918">
                  <c:v>17184</c:v>
                </c:pt>
                <c:pt idx="919">
                  <c:v>17185</c:v>
                </c:pt>
                <c:pt idx="920">
                  <c:v>17186</c:v>
                </c:pt>
                <c:pt idx="921">
                  <c:v>17189</c:v>
                </c:pt>
                <c:pt idx="922">
                  <c:v>17190</c:v>
                </c:pt>
                <c:pt idx="923">
                  <c:v>17191</c:v>
                </c:pt>
                <c:pt idx="924">
                  <c:v>17192</c:v>
                </c:pt>
                <c:pt idx="925">
                  <c:v>17193</c:v>
                </c:pt>
                <c:pt idx="926">
                  <c:v>17196</c:v>
                </c:pt>
                <c:pt idx="927">
                  <c:v>17197</c:v>
                </c:pt>
                <c:pt idx="928">
                  <c:v>17198</c:v>
                </c:pt>
                <c:pt idx="929">
                  <c:v>17199</c:v>
                </c:pt>
                <c:pt idx="930">
                  <c:v>17200</c:v>
                </c:pt>
                <c:pt idx="931">
                  <c:v>17203</c:v>
                </c:pt>
                <c:pt idx="932">
                  <c:v>17204</c:v>
                </c:pt>
                <c:pt idx="933">
                  <c:v>17205</c:v>
                </c:pt>
                <c:pt idx="934">
                  <c:v>17206</c:v>
                </c:pt>
                <c:pt idx="935">
                  <c:v>17207</c:v>
                </c:pt>
                <c:pt idx="936">
                  <c:v>17210</c:v>
                </c:pt>
                <c:pt idx="937">
                  <c:v>17211</c:v>
                </c:pt>
                <c:pt idx="938">
                  <c:v>17212</c:v>
                </c:pt>
                <c:pt idx="939">
                  <c:v>17213</c:v>
                </c:pt>
                <c:pt idx="940">
                  <c:v>17214</c:v>
                </c:pt>
                <c:pt idx="941">
                  <c:v>17218</c:v>
                </c:pt>
                <c:pt idx="942">
                  <c:v>17219</c:v>
                </c:pt>
                <c:pt idx="943">
                  <c:v>17220</c:v>
                </c:pt>
                <c:pt idx="944">
                  <c:v>17221</c:v>
                </c:pt>
                <c:pt idx="945">
                  <c:v>17224</c:v>
                </c:pt>
                <c:pt idx="946">
                  <c:v>17225</c:v>
                </c:pt>
                <c:pt idx="947">
                  <c:v>17226</c:v>
                </c:pt>
                <c:pt idx="948">
                  <c:v>17227</c:v>
                </c:pt>
                <c:pt idx="949">
                  <c:v>17228</c:v>
                </c:pt>
                <c:pt idx="950">
                  <c:v>17231</c:v>
                </c:pt>
                <c:pt idx="951">
                  <c:v>17232</c:v>
                </c:pt>
                <c:pt idx="952">
                  <c:v>17233</c:v>
                </c:pt>
                <c:pt idx="953">
                  <c:v>17234</c:v>
                </c:pt>
                <c:pt idx="954">
                  <c:v>17235</c:v>
                </c:pt>
                <c:pt idx="955">
                  <c:v>17238</c:v>
                </c:pt>
                <c:pt idx="956">
                  <c:v>17239</c:v>
                </c:pt>
                <c:pt idx="957">
                  <c:v>17240</c:v>
                </c:pt>
                <c:pt idx="958">
                  <c:v>17241</c:v>
                </c:pt>
                <c:pt idx="959">
                  <c:v>17242</c:v>
                </c:pt>
                <c:pt idx="960">
                  <c:v>17245</c:v>
                </c:pt>
                <c:pt idx="961">
                  <c:v>17246</c:v>
                </c:pt>
                <c:pt idx="962">
                  <c:v>17247</c:v>
                </c:pt>
                <c:pt idx="963">
                  <c:v>17248</c:v>
                </c:pt>
                <c:pt idx="964">
                  <c:v>17249</c:v>
                </c:pt>
                <c:pt idx="965">
                  <c:v>17252</c:v>
                </c:pt>
                <c:pt idx="966">
                  <c:v>17253</c:v>
                </c:pt>
                <c:pt idx="967">
                  <c:v>17254</c:v>
                </c:pt>
                <c:pt idx="968">
                  <c:v>17255</c:v>
                </c:pt>
                <c:pt idx="969">
                  <c:v>17256</c:v>
                </c:pt>
                <c:pt idx="970">
                  <c:v>17259</c:v>
                </c:pt>
                <c:pt idx="971">
                  <c:v>17260</c:v>
                </c:pt>
                <c:pt idx="972">
                  <c:v>17261</c:v>
                </c:pt>
                <c:pt idx="973">
                  <c:v>17262</c:v>
                </c:pt>
                <c:pt idx="974">
                  <c:v>17263</c:v>
                </c:pt>
                <c:pt idx="975">
                  <c:v>17266</c:v>
                </c:pt>
                <c:pt idx="976">
                  <c:v>17267</c:v>
                </c:pt>
                <c:pt idx="977">
                  <c:v>17268</c:v>
                </c:pt>
                <c:pt idx="978">
                  <c:v>17269</c:v>
                </c:pt>
                <c:pt idx="979">
                  <c:v>17273</c:v>
                </c:pt>
                <c:pt idx="980">
                  <c:v>17274</c:v>
                </c:pt>
                <c:pt idx="981">
                  <c:v>17275</c:v>
                </c:pt>
                <c:pt idx="982">
                  <c:v>17276</c:v>
                </c:pt>
                <c:pt idx="983">
                  <c:v>17277</c:v>
                </c:pt>
                <c:pt idx="984">
                  <c:v>17280</c:v>
                </c:pt>
                <c:pt idx="985">
                  <c:v>17281</c:v>
                </c:pt>
                <c:pt idx="986">
                  <c:v>17282</c:v>
                </c:pt>
                <c:pt idx="987">
                  <c:v>17283</c:v>
                </c:pt>
                <c:pt idx="988">
                  <c:v>17284</c:v>
                </c:pt>
                <c:pt idx="989">
                  <c:v>17287</c:v>
                </c:pt>
                <c:pt idx="990">
                  <c:v>17288</c:v>
                </c:pt>
                <c:pt idx="991">
                  <c:v>17289</c:v>
                </c:pt>
                <c:pt idx="992">
                  <c:v>17290</c:v>
                </c:pt>
                <c:pt idx="993">
                  <c:v>17291</c:v>
                </c:pt>
                <c:pt idx="994">
                  <c:v>17294</c:v>
                </c:pt>
                <c:pt idx="995">
                  <c:v>17295</c:v>
                </c:pt>
                <c:pt idx="996">
                  <c:v>17296</c:v>
                </c:pt>
                <c:pt idx="997">
                  <c:v>17297</c:v>
                </c:pt>
                <c:pt idx="998">
                  <c:v>17298</c:v>
                </c:pt>
                <c:pt idx="999">
                  <c:v>17301</c:v>
                </c:pt>
                <c:pt idx="1000">
                  <c:v>17302</c:v>
                </c:pt>
                <c:pt idx="1001">
                  <c:v>17303</c:v>
                </c:pt>
                <c:pt idx="1002">
                  <c:v>17304</c:v>
                </c:pt>
                <c:pt idx="1003">
                  <c:v>17305</c:v>
                </c:pt>
                <c:pt idx="1004">
                  <c:v>17308</c:v>
                </c:pt>
                <c:pt idx="1005">
                  <c:v>17309</c:v>
                </c:pt>
                <c:pt idx="1006">
                  <c:v>17310</c:v>
                </c:pt>
                <c:pt idx="1007">
                  <c:v>17311</c:v>
                </c:pt>
                <c:pt idx="1008">
                  <c:v>17312</c:v>
                </c:pt>
                <c:pt idx="1009">
                  <c:v>17316</c:v>
                </c:pt>
                <c:pt idx="1010">
                  <c:v>17317</c:v>
                </c:pt>
                <c:pt idx="1011">
                  <c:v>17318</c:v>
                </c:pt>
                <c:pt idx="1012">
                  <c:v>17319</c:v>
                </c:pt>
                <c:pt idx="1013">
                  <c:v>17322</c:v>
                </c:pt>
                <c:pt idx="1014">
                  <c:v>17323</c:v>
                </c:pt>
                <c:pt idx="1015">
                  <c:v>17324</c:v>
                </c:pt>
                <c:pt idx="1016">
                  <c:v>17325</c:v>
                </c:pt>
                <c:pt idx="1017">
                  <c:v>17326</c:v>
                </c:pt>
                <c:pt idx="1018">
                  <c:v>17329</c:v>
                </c:pt>
                <c:pt idx="1019">
                  <c:v>17330</c:v>
                </c:pt>
                <c:pt idx="1020">
                  <c:v>17331</c:v>
                </c:pt>
                <c:pt idx="1021">
                  <c:v>17332</c:v>
                </c:pt>
                <c:pt idx="1022">
                  <c:v>17333</c:v>
                </c:pt>
                <c:pt idx="1023">
                  <c:v>17336</c:v>
                </c:pt>
                <c:pt idx="1024">
                  <c:v>17337</c:v>
                </c:pt>
                <c:pt idx="1025">
                  <c:v>17338</c:v>
                </c:pt>
                <c:pt idx="1026">
                  <c:v>17339</c:v>
                </c:pt>
                <c:pt idx="1027">
                  <c:v>17340</c:v>
                </c:pt>
                <c:pt idx="1028">
                  <c:v>17343</c:v>
                </c:pt>
                <c:pt idx="1029">
                  <c:v>17344</c:v>
                </c:pt>
                <c:pt idx="1030">
                  <c:v>17345</c:v>
                </c:pt>
                <c:pt idx="1031">
                  <c:v>17346</c:v>
                </c:pt>
                <c:pt idx="1032">
                  <c:v>17347</c:v>
                </c:pt>
                <c:pt idx="1033">
                  <c:v>17350</c:v>
                </c:pt>
                <c:pt idx="1034">
                  <c:v>17352</c:v>
                </c:pt>
                <c:pt idx="1035">
                  <c:v>17353</c:v>
                </c:pt>
                <c:pt idx="1036">
                  <c:v>17354</c:v>
                </c:pt>
                <c:pt idx="1037">
                  <c:v>17357</c:v>
                </c:pt>
                <c:pt idx="1038">
                  <c:v>17358</c:v>
                </c:pt>
                <c:pt idx="1039">
                  <c:v>17359</c:v>
                </c:pt>
                <c:pt idx="1040">
                  <c:v>17360</c:v>
                </c:pt>
                <c:pt idx="1041">
                  <c:v>17361</c:v>
                </c:pt>
                <c:pt idx="1042">
                  <c:v>17364</c:v>
                </c:pt>
                <c:pt idx="1043">
                  <c:v>17365</c:v>
                </c:pt>
                <c:pt idx="1044">
                  <c:v>17366</c:v>
                </c:pt>
                <c:pt idx="1045">
                  <c:v>17367</c:v>
                </c:pt>
                <c:pt idx="1046">
                  <c:v>17368</c:v>
                </c:pt>
                <c:pt idx="1047">
                  <c:v>17371</c:v>
                </c:pt>
                <c:pt idx="1048">
                  <c:v>17372</c:v>
                </c:pt>
                <c:pt idx="1049">
                  <c:v>17373</c:v>
                </c:pt>
                <c:pt idx="1050">
                  <c:v>17374</c:v>
                </c:pt>
                <c:pt idx="1051">
                  <c:v>17375</c:v>
                </c:pt>
                <c:pt idx="1052">
                  <c:v>17378</c:v>
                </c:pt>
                <c:pt idx="1053">
                  <c:v>17379</c:v>
                </c:pt>
                <c:pt idx="1054">
                  <c:v>17380</c:v>
                </c:pt>
                <c:pt idx="1055">
                  <c:v>17381</c:v>
                </c:pt>
                <c:pt idx="1056">
                  <c:v>17382</c:v>
                </c:pt>
                <c:pt idx="1057">
                  <c:v>17385</c:v>
                </c:pt>
                <c:pt idx="1058">
                  <c:v>17386</c:v>
                </c:pt>
                <c:pt idx="1059">
                  <c:v>17387</c:v>
                </c:pt>
                <c:pt idx="1060">
                  <c:v>17388</c:v>
                </c:pt>
                <c:pt idx="1061">
                  <c:v>17389</c:v>
                </c:pt>
                <c:pt idx="1062">
                  <c:v>17392</c:v>
                </c:pt>
                <c:pt idx="1063">
                  <c:v>17393</c:v>
                </c:pt>
                <c:pt idx="1064">
                  <c:v>17394</c:v>
                </c:pt>
                <c:pt idx="1065">
                  <c:v>17395</c:v>
                </c:pt>
                <c:pt idx="1066">
                  <c:v>17396</c:v>
                </c:pt>
                <c:pt idx="1067">
                  <c:v>17399</c:v>
                </c:pt>
                <c:pt idx="1068">
                  <c:v>17400</c:v>
                </c:pt>
                <c:pt idx="1069">
                  <c:v>17401</c:v>
                </c:pt>
                <c:pt idx="1070">
                  <c:v>17402</c:v>
                </c:pt>
                <c:pt idx="1071">
                  <c:v>17403</c:v>
                </c:pt>
                <c:pt idx="1072">
                  <c:v>17406</c:v>
                </c:pt>
                <c:pt idx="1073">
                  <c:v>17407</c:v>
                </c:pt>
                <c:pt idx="1074">
                  <c:v>17408</c:v>
                </c:pt>
                <c:pt idx="1075">
                  <c:v>17409</c:v>
                </c:pt>
                <c:pt idx="1076">
                  <c:v>17410</c:v>
                </c:pt>
                <c:pt idx="1077">
                  <c:v>17414</c:v>
                </c:pt>
                <c:pt idx="1078">
                  <c:v>17415</c:v>
                </c:pt>
                <c:pt idx="1079">
                  <c:v>17416</c:v>
                </c:pt>
                <c:pt idx="1080">
                  <c:v>17417</c:v>
                </c:pt>
                <c:pt idx="1081">
                  <c:v>17420</c:v>
                </c:pt>
                <c:pt idx="1082">
                  <c:v>17421</c:v>
                </c:pt>
                <c:pt idx="1083">
                  <c:v>17422</c:v>
                </c:pt>
                <c:pt idx="1084">
                  <c:v>17423</c:v>
                </c:pt>
                <c:pt idx="1085">
                  <c:v>17424</c:v>
                </c:pt>
                <c:pt idx="1086">
                  <c:v>17427</c:v>
                </c:pt>
                <c:pt idx="1087">
                  <c:v>17428</c:v>
                </c:pt>
                <c:pt idx="1088">
                  <c:v>17429</c:v>
                </c:pt>
                <c:pt idx="1089">
                  <c:v>17430</c:v>
                </c:pt>
                <c:pt idx="1090">
                  <c:v>17431</c:v>
                </c:pt>
                <c:pt idx="1091">
                  <c:v>17434</c:v>
                </c:pt>
                <c:pt idx="1092">
                  <c:v>17435</c:v>
                </c:pt>
                <c:pt idx="1093">
                  <c:v>17436</c:v>
                </c:pt>
                <c:pt idx="1094">
                  <c:v>17437</c:v>
                </c:pt>
                <c:pt idx="1095">
                  <c:v>17438</c:v>
                </c:pt>
                <c:pt idx="1096">
                  <c:v>17441</c:v>
                </c:pt>
                <c:pt idx="1097">
                  <c:v>17442</c:v>
                </c:pt>
                <c:pt idx="1098">
                  <c:v>17443</c:v>
                </c:pt>
                <c:pt idx="1099">
                  <c:v>17444</c:v>
                </c:pt>
                <c:pt idx="1100">
                  <c:v>17445</c:v>
                </c:pt>
                <c:pt idx="1101">
                  <c:v>17448</c:v>
                </c:pt>
                <c:pt idx="1102">
                  <c:v>17449</c:v>
                </c:pt>
                <c:pt idx="1103">
                  <c:v>17450</c:v>
                </c:pt>
                <c:pt idx="1104">
                  <c:v>17451</c:v>
                </c:pt>
                <c:pt idx="1105">
                  <c:v>17452</c:v>
                </c:pt>
                <c:pt idx="1106">
                  <c:v>17455</c:v>
                </c:pt>
                <c:pt idx="1107">
                  <c:v>17456</c:v>
                </c:pt>
                <c:pt idx="1108">
                  <c:v>17457</c:v>
                </c:pt>
                <c:pt idx="1109">
                  <c:v>17458</c:v>
                </c:pt>
                <c:pt idx="1110">
                  <c:v>17459</c:v>
                </c:pt>
                <c:pt idx="1111">
                  <c:v>17462</c:v>
                </c:pt>
                <c:pt idx="1112">
                  <c:v>17463</c:v>
                </c:pt>
                <c:pt idx="1113">
                  <c:v>17464</c:v>
                </c:pt>
                <c:pt idx="1114">
                  <c:v>17465</c:v>
                </c:pt>
                <c:pt idx="1115">
                  <c:v>17466</c:v>
                </c:pt>
                <c:pt idx="1116">
                  <c:v>17469</c:v>
                </c:pt>
                <c:pt idx="1117">
                  <c:v>17470</c:v>
                </c:pt>
                <c:pt idx="1118">
                  <c:v>17471</c:v>
                </c:pt>
                <c:pt idx="1119">
                  <c:v>17472</c:v>
                </c:pt>
                <c:pt idx="1120">
                  <c:v>17473</c:v>
                </c:pt>
                <c:pt idx="1121">
                  <c:v>17476</c:v>
                </c:pt>
                <c:pt idx="1122">
                  <c:v>17477</c:v>
                </c:pt>
                <c:pt idx="1123">
                  <c:v>17478</c:v>
                </c:pt>
                <c:pt idx="1124">
                  <c:v>17479</c:v>
                </c:pt>
                <c:pt idx="1125">
                  <c:v>17480</c:v>
                </c:pt>
                <c:pt idx="1126">
                  <c:v>17483</c:v>
                </c:pt>
                <c:pt idx="1127">
                  <c:v>17484</c:v>
                </c:pt>
                <c:pt idx="1128">
                  <c:v>17485</c:v>
                </c:pt>
                <c:pt idx="1129">
                  <c:v>17486</c:v>
                </c:pt>
                <c:pt idx="1130">
                  <c:v>17487</c:v>
                </c:pt>
                <c:pt idx="1131">
                  <c:v>17490</c:v>
                </c:pt>
                <c:pt idx="1132">
                  <c:v>17491</c:v>
                </c:pt>
                <c:pt idx="1133">
                  <c:v>17492</c:v>
                </c:pt>
                <c:pt idx="1134">
                  <c:v>17494</c:v>
                </c:pt>
                <c:pt idx="1135">
                  <c:v>17497</c:v>
                </c:pt>
                <c:pt idx="1136">
                  <c:v>17498</c:v>
                </c:pt>
                <c:pt idx="1137">
                  <c:v>17499</c:v>
                </c:pt>
                <c:pt idx="1138">
                  <c:v>17500</c:v>
                </c:pt>
                <c:pt idx="1139">
                  <c:v>17501</c:v>
                </c:pt>
                <c:pt idx="1140">
                  <c:v>17504</c:v>
                </c:pt>
                <c:pt idx="1141">
                  <c:v>17505</c:v>
                </c:pt>
                <c:pt idx="1142">
                  <c:v>17506</c:v>
                </c:pt>
                <c:pt idx="1143">
                  <c:v>17507</c:v>
                </c:pt>
                <c:pt idx="1144">
                  <c:v>17508</c:v>
                </c:pt>
                <c:pt idx="1145">
                  <c:v>17511</c:v>
                </c:pt>
                <c:pt idx="1146">
                  <c:v>17512</c:v>
                </c:pt>
                <c:pt idx="1147">
                  <c:v>17513</c:v>
                </c:pt>
                <c:pt idx="1148">
                  <c:v>17514</c:v>
                </c:pt>
                <c:pt idx="1149">
                  <c:v>17515</c:v>
                </c:pt>
                <c:pt idx="1150">
                  <c:v>17518</c:v>
                </c:pt>
                <c:pt idx="1151">
                  <c:v>17519</c:v>
                </c:pt>
                <c:pt idx="1152">
                  <c:v>17520</c:v>
                </c:pt>
                <c:pt idx="1153">
                  <c:v>17521</c:v>
                </c:pt>
                <c:pt idx="1154">
                  <c:v>17522</c:v>
                </c:pt>
                <c:pt idx="1155">
                  <c:v>17526</c:v>
                </c:pt>
                <c:pt idx="1156">
                  <c:v>17527</c:v>
                </c:pt>
                <c:pt idx="1157">
                  <c:v>17528</c:v>
                </c:pt>
                <c:pt idx="1158">
                  <c:v>17529</c:v>
                </c:pt>
                <c:pt idx="1159">
                  <c:v>17533</c:v>
                </c:pt>
                <c:pt idx="1160">
                  <c:v>17534</c:v>
                </c:pt>
                <c:pt idx="1161">
                  <c:v>17535</c:v>
                </c:pt>
                <c:pt idx="1162">
                  <c:v>17536</c:v>
                </c:pt>
                <c:pt idx="1163">
                  <c:v>17539</c:v>
                </c:pt>
                <c:pt idx="1164">
                  <c:v>17540</c:v>
                </c:pt>
                <c:pt idx="1165">
                  <c:v>17541</c:v>
                </c:pt>
                <c:pt idx="1166">
                  <c:v>17542</c:v>
                </c:pt>
                <c:pt idx="1167">
                  <c:v>17543</c:v>
                </c:pt>
                <c:pt idx="1168">
                  <c:v>17547</c:v>
                </c:pt>
                <c:pt idx="1169">
                  <c:v>17548</c:v>
                </c:pt>
                <c:pt idx="1170">
                  <c:v>17549</c:v>
                </c:pt>
                <c:pt idx="1171">
                  <c:v>17550</c:v>
                </c:pt>
                <c:pt idx="1172">
                  <c:v>17553</c:v>
                </c:pt>
                <c:pt idx="1173">
                  <c:v>17554</c:v>
                </c:pt>
                <c:pt idx="1174">
                  <c:v>17555</c:v>
                </c:pt>
                <c:pt idx="1175">
                  <c:v>17556</c:v>
                </c:pt>
                <c:pt idx="1176">
                  <c:v>17557</c:v>
                </c:pt>
                <c:pt idx="1177">
                  <c:v>17560</c:v>
                </c:pt>
                <c:pt idx="1178">
                  <c:v>17561</c:v>
                </c:pt>
                <c:pt idx="1179">
                  <c:v>17562</c:v>
                </c:pt>
                <c:pt idx="1180">
                  <c:v>17563</c:v>
                </c:pt>
                <c:pt idx="1181">
                  <c:v>17564</c:v>
                </c:pt>
                <c:pt idx="1182">
                  <c:v>17567</c:v>
                </c:pt>
                <c:pt idx="1183">
                  <c:v>17568</c:v>
                </c:pt>
                <c:pt idx="1184">
                  <c:v>17569</c:v>
                </c:pt>
                <c:pt idx="1185">
                  <c:v>17570</c:v>
                </c:pt>
                <c:pt idx="1186">
                  <c:v>17571</c:v>
                </c:pt>
                <c:pt idx="1187">
                  <c:v>17574</c:v>
                </c:pt>
                <c:pt idx="1188">
                  <c:v>17575</c:v>
                </c:pt>
                <c:pt idx="1189">
                  <c:v>17576</c:v>
                </c:pt>
                <c:pt idx="1190">
                  <c:v>17577</c:v>
                </c:pt>
                <c:pt idx="1191">
                  <c:v>17578</c:v>
                </c:pt>
                <c:pt idx="1192">
                  <c:v>17582</c:v>
                </c:pt>
                <c:pt idx="1193">
                  <c:v>17583</c:v>
                </c:pt>
                <c:pt idx="1194">
                  <c:v>17584</c:v>
                </c:pt>
                <c:pt idx="1195">
                  <c:v>17585</c:v>
                </c:pt>
                <c:pt idx="1196">
                  <c:v>17588</c:v>
                </c:pt>
                <c:pt idx="1197">
                  <c:v>17589</c:v>
                </c:pt>
                <c:pt idx="1198">
                  <c:v>17590</c:v>
                </c:pt>
                <c:pt idx="1199">
                  <c:v>17591</c:v>
                </c:pt>
                <c:pt idx="1200">
                  <c:v>17592</c:v>
                </c:pt>
                <c:pt idx="1201">
                  <c:v>17595</c:v>
                </c:pt>
                <c:pt idx="1202">
                  <c:v>17596</c:v>
                </c:pt>
                <c:pt idx="1203">
                  <c:v>17597</c:v>
                </c:pt>
                <c:pt idx="1204">
                  <c:v>17598</c:v>
                </c:pt>
                <c:pt idx="1205">
                  <c:v>17599</c:v>
                </c:pt>
                <c:pt idx="1206">
                  <c:v>17602</c:v>
                </c:pt>
                <c:pt idx="1207">
                  <c:v>17603</c:v>
                </c:pt>
                <c:pt idx="1208">
                  <c:v>17604</c:v>
                </c:pt>
                <c:pt idx="1209">
                  <c:v>17605</c:v>
                </c:pt>
                <c:pt idx="1210">
                  <c:v>17606</c:v>
                </c:pt>
                <c:pt idx="1211">
                  <c:v>17609</c:v>
                </c:pt>
                <c:pt idx="1212">
                  <c:v>17610</c:v>
                </c:pt>
                <c:pt idx="1213">
                  <c:v>17611</c:v>
                </c:pt>
                <c:pt idx="1214">
                  <c:v>17612</c:v>
                </c:pt>
                <c:pt idx="1215">
                  <c:v>17613</c:v>
                </c:pt>
                <c:pt idx="1216">
                  <c:v>17616</c:v>
                </c:pt>
                <c:pt idx="1217">
                  <c:v>17617</c:v>
                </c:pt>
                <c:pt idx="1218">
                  <c:v>17618</c:v>
                </c:pt>
                <c:pt idx="1219">
                  <c:v>17619</c:v>
                </c:pt>
                <c:pt idx="1220">
                  <c:v>17623</c:v>
                </c:pt>
                <c:pt idx="1221">
                  <c:v>17624</c:v>
                </c:pt>
                <c:pt idx="1222">
                  <c:v>17625</c:v>
                </c:pt>
                <c:pt idx="1223">
                  <c:v>17626</c:v>
                </c:pt>
                <c:pt idx="1224">
                  <c:v>17627</c:v>
                </c:pt>
                <c:pt idx="1225">
                  <c:v>17630</c:v>
                </c:pt>
                <c:pt idx="1226">
                  <c:v>17631</c:v>
                </c:pt>
                <c:pt idx="1227">
                  <c:v>17632</c:v>
                </c:pt>
                <c:pt idx="1228">
                  <c:v>17633</c:v>
                </c:pt>
                <c:pt idx="1229">
                  <c:v>17634</c:v>
                </c:pt>
                <c:pt idx="1230">
                  <c:v>17637</c:v>
                </c:pt>
                <c:pt idx="1231">
                  <c:v>17638</c:v>
                </c:pt>
                <c:pt idx="1232">
                  <c:v>17639</c:v>
                </c:pt>
                <c:pt idx="1233">
                  <c:v>17640</c:v>
                </c:pt>
                <c:pt idx="1234">
                  <c:v>17641</c:v>
                </c:pt>
                <c:pt idx="1235">
                  <c:v>17644</c:v>
                </c:pt>
                <c:pt idx="1236">
                  <c:v>17645</c:v>
                </c:pt>
                <c:pt idx="1237">
                  <c:v>17646</c:v>
                </c:pt>
                <c:pt idx="1238">
                  <c:v>17647</c:v>
                </c:pt>
                <c:pt idx="1239">
                  <c:v>17648</c:v>
                </c:pt>
                <c:pt idx="1240">
                  <c:v>17651</c:v>
                </c:pt>
                <c:pt idx="1241">
                  <c:v>17652</c:v>
                </c:pt>
                <c:pt idx="1242">
                  <c:v>17653</c:v>
                </c:pt>
                <c:pt idx="1243">
                  <c:v>17654</c:v>
                </c:pt>
                <c:pt idx="1244">
                  <c:v>17655</c:v>
                </c:pt>
                <c:pt idx="1245">
                  <c:v>17658</c:v>
                </c:pt>
                <c:pt idx="1246">
                  <c:v>17659</c:v>
                </c:pt>
                <c:pt idx="1247">
                  <c:v>17660</c:v>
                </c:pt>
                <c:pt idx="1248">
                  <c:v>17661</c:v>
                </c:pt>
                <c:pt idx="1249">
                  <c:v>17662</c:v>
                </c:pt>
                <c:pt idx="1250">
                  <c:v>17665</c:v>
                </c:pt>
                <c:pt idx="1251">
                  <c:v>17666</c:v>
                </c:pt>
                <c:pt idx="1252">
                  <c:v>17667</c:v>
                </c:pt>
                <c:pt idx="1253">
                  <c:v>17668</c:v>
                </c:pt>
                <c:pt idx="1254">
                  <c:v>17669</c:v>
                </c:pt>
                <c:pt idx="1255">
                  <c:v>17672</c:v>
                </c:pt>
                <c:pt idx="1256">
                  <c:v>17673</c:v>
                </c:pt>
                <c:pt idx="1257">
                  <c:v>17674</c:v>
                </c:pt>
                <c:pt idx="1258">
                  <c:v>17675</c:v>
                </c:pt>
                <c:pt idx="1259">
                  <c:v>17676</c:v>
                </c:pt>
                <c:pt idx="1260">
                  <c:v>17680</c:v>
                </c:pt>
                <c:pt idx="1261">
                  <c:v>17681</c:v>
                </c:pt>
                <c:pt idx="1262">
                  <c:v>17682</c:v>
                </c:pt>
                <c:pt idx="1263">
                  <c:v>17683</c:v>
                </c:pt>
                <c:pt idx="1264">
                  <c:v>17686</c:v>
                </c:pt>
                <c:pt idx="1265">
                  <c:v>17687</c:v>
                </c:pt>
                <c:pt idx="1266">
                  <c:v>17688</c:v>
                </c:pt>
                <c:pt idx="1267">
                  <c:v>17689</c:v>
                </c:pt>
                <c:pt idx="1268">
                  <c:v>17690</c:v>
                </c:pt>
                <c:pt idx="1269">
                  <c:v>17693</c:v>
                </c:pt>
                <c:pt idx="1270">
                  <c:v>17694</c:v>
                </c:pt>
                <c:pt idx="1271">
                  <c:v>17695</c:v>
                </c:pt>
                <c:pt idx="1272">
                  <c:v>17696</c:v>
                </c:pt>
                <c:pt idx="1273">
                  <c:v>17697</c:v>
                </c:pt>
                <c:pt idx="1274">
                  <c:v>17700</c:v>
                </c:pt>
                <c:pt idx="1275">
                  <c:v>17701</c:v>
                </c:pt>
                <c:pt idx="1276">
                  <c:v>17702</c:v>
                </c:pt>
                <c:pt idx="1277">
                  <c:v>17703</c:v>
                </c:pt>
                <c:pt idx="1278">
                  <c:v>17704</c:v>
                </c:pt>
                <c:pt idx="1279">
                  <c:v>17707</c:v>
                </c:pt>
                <c:pt idx="1280">
                  <c:v>17708</c:v>
                </c:pt>
                <c:pt idx="1281">
                  <c:v>17709</c:v>
                </c:pt>
                <c:pt idx="1282">
                  <c:v>17710</c:v>
                </c:pt>
                <c:pt idx="1283">
                  <c:v>17711</c:v>
                </c:pt>
                <c:pt idx="1284">
                  <c:v>17714</c:v>
                </c:pt>
                <c:pt idx="1285">
                  <c:v>17715</c:v>
                </c:pt>
                <c:pt idx="1286">
                  <c:v>17717</c:v>
                </c:pt>
                <c:pt idx="1287">
                  <c:v>17718</c:v>
                </c:pt>
                <c:pt idx="1288">
                  <c:v>17721</c:v>
                </c:pt>
                <c:pt idx="1289">
                  <c:v>17722</c:v>
                </c:pt>
                <c:pt idx="1290">
                  <c:v>17723</c:v>
                </c:pt>
                <c:pt idx="1291">
                  <c:v>17724</c:v>
                </c:pt>
                <c:pt idx="1292">
                  <c:v>17725</c:v>
                </c:pt>
                <c:pt idx="1293">
                  <c:v>17728</c:v>
                </c:pt>
                <c:pt idx="1294">
                  <c:v>17729</c:v>
                </c:pt>
                <c:pt idx="1295">
                  <c:v>17730</c:v>
                </c:pt>
                <c:pt idx="1296">
                  <c:v>17731</c:v>
                </c:pt>
                <c:pt idx="1297">
                  <c:v>17732</c:v>
                </c:pt>
                <c:pt idx="1298">
                  <c:v>17735</c:v>
                </c:pt>
                <c:pt idx="1299">
                  <c:v>17736</c:v>
                </c:pt>
                <c:pt idx="1300">
                  <c:v>17737</c:v>
                </c:pt>
                <c:pt idx="1301">
                  <c:v>17738</c:v>
                </c:pt>
                <c:pt idx="1302">
                  <c:v>17739</c:v>
                </c:pt>
                <c:pt idx="1303">
                  <c:v>17742</c:v>
                </c:pt>
                <c:pt idx="1304">
                  <c:v>17743</c:v>
                </c:pt>
                <c:pt idx="1305">
                  <c:v>17744</c:v>
                </c:pt>
                <c:pt idx="1306">
                  <c:v>17745</c:v>
                </c:pt>
                <c:pt idx="1307">
                  <c:v>17746</c:v>
                </c:pt>
                <c:pt idx="1308">
                  <c:v>17749</c:v>
                </c:pt>
                <c:pt idx="1309">
                  <c:v>17750</c:v>
                </c:pt>
                <c:pt idx="1310">
                  <c:v>17751</c:v>
                </c:pt>
                <c:pt idx="1311">
                  <c:v>17752</c:v>
                </c:pt>
                <c:pt idx="1312">
                  <c:v>17753</c:v>
                </c:pt>
                <c:pt idx="1313">
                  <c:v>17756</c:v>
                </c:pt>
                <c:pt idx="1314">
                  <c:v>17757</c:v>
                </c:pt>
                <c:pt idx="1315">
                  <c:v>17758</c:v>
                </c:pt>
                <c:pt idx="1316">
                  <c:v>17759</c:v>
                </c:pt>
                <c:pt idx="1317">
                  <c:v>17760</c:v>
                </c:pt>
                <c:pt idx="1318">
                  <c:v>17763</c:v>
                </c:pt>
                <c:pt idx="1319">
                  <c:v>17764</c:v>
                </c:pt>
                <c:pt idx="1320">
                  <c:v>17765</c:v>
                </c:pt>
                <c:pt idx="1321">
                  <c:v>17766</c:v>
                </c:pt>
                <c:pt idx="1322">
                  <c:v>17767</c:v>
                </c:pt>
                <c:pt idx="1323">
                  <c:v>17770</c:v>
                </c:pt>
                <c:pt idx="1324">
                  <c:v>17771</c:v>
                </c:pt>
                <c:pt idx="1325">
                  <c:v>17772</c:v>
                </c:pt>
                <c:pt idx="1326">
                  <c:v>17773</c:v>
                </c:pt>
                <c:pt idx="1327">
                  <c:v>17774</c:v>
                </c:pt>
                <c:pt idx="1328">
                  <c:v>17778</c:v>
                </c:pt>
                <c:pt idx="1329">
                  <c:v>17779</c:v>
                </c:pt>
                <c:pt idx="1330">
                  <c:v>17780</c:v>
                </c:pt>
                <c:pt idx="1331">
                  <c:v>17781</c:v>
                </c:pt>
                <c:pt idx="1332">
                  <c:v>17784</c:v>
                </c:pt>
                <c:pt idx="1333">
                  <c:v>17785</c:v>
                </c:pt>
                <c:pt idx="1334">
                  <c:v>17786</c:v>
                </c:pt>
                <c:pt idx="1335">
                  <c:v>17787</c:v>
                </c:pt>
                <c:pt idx="1336">
                  <c:v>17788</c:v>
                </c:pt>
                <c:pt idx="1337">
                  <c:v>17791</c:v>
                </c:pt>
                <c:pt idx="1338">
                  <c:v>17792</c:v>
                </c:pt>
                <c:pt idx="1339">
                  <c:v>17793</c:v>
                </c:pt>
                <c:pt idx="1340">
                  <c:v>17794</c:v>
                </c:pt>
                <c:pt idx="1341">
                  <c:v>17795</c:v>
                </c:pt>
                <c:pt idx="1342">
                  <c:v>17798</c:v>
                </c:pt>
                <c:pt idx="1343">
                  <c:v>17799</c:v>
                </c:pt>
                <c:pt idx="1344">
                  <c:v>17800</c:v>
                </c:pt>
                <c:pt idx="1345">
                  <c:v>17801</c:v>
                </c:pt>
                <c:pt idx="1346">
                  <c:v>17802</c:v>
                </c:pt>
                <c:pt idx="1347">
                  <c:v>17805</c:v>
                </c:pt>
                <c:pt idx="1348">
                  <c:v>17806</c:v>
                </c:pt>
                <c:pt idx="1349">
                  <c:v>17807</c:v>
                </c:pt>
                <c:pt idx="1350">
                  <c:v>17808</c:v>
                </c:pt>
                <c:pt idx="1351">
                  <c:v>17809</c:v>
                </c:pt>
                <c:pt idx="1352">
                  <c:v>17812</c:v>
                </c:pt>
                <c:pt idx="1353">
                  <c:v>17813</c:v>
                </c:pt>
                <c:pt idx="1354">
                  <c:v>17814</c:v>
                </c:pt>
                <c:pt idx="1355">
                  <c:v>17815</c:v>
                </c:pt>
                <c:pt idx="1356">
                  <c:v>17816</c:v>
                </c:pt>
                <c:pt idx="1357">
                  <c:v>17819</c:v>
                </c:pt>
                <c:pt idx="1358">
                  <c:v>17820</c:v>
                </c:pt>
                <c:pt idx="1359">
                  <c:v>17821</c:v>
                </c:pt>
                <c:pt idx="1360">
                  <c:v>17822</c:v>
                </c:pt>
                <c:pt idx="1361">
                  <c:v>17823</c:v>
                </c:pt>
                <c:pt idx="1362">
                  <c:v>17826</c:v>
                </c:pt>
                <c:pt idx="1363">
                  <c:v>17827</c:v>
                </c:pt>
                <c:pt idx="1364">
                  <c:v>17828</c:v>
                </c:pt>
                <c:pt idx="1365">
                  <c:v>17829</c:v>
                </c:pt>
                <c:pt idx="1366">
                  <c:v>17830</c:v>
                </c:pt>
                <c:pt idx="1367">
                  <c:v>17833</c:v>
                </c:pt>
                <c:pt idx="1368">
                  <c:v>17834</c:v>
                </c:pt>
                <c:pt idx="1369">
                  <c:v>17835</c:v>
                </c:pt>
                <c:pt idx="1370">
                  <c:v>17836</c:v>
                </c:pt>
                <c:pt idx="1371">
                  <c:v>17837</c:v>
                </c:pt>
                <c:pt idx="1372">
                  <c:v>17840</c:v>
                </c:pt>
                <c:pt idx="1373">
                  <c:v>17841</c:v>
                </c:pt>
                <c:pt idx="1374">
                  <c:v>17842</c:v>
                </c:pt>
                <c:pt idx="1375">
                  <c:v>17843</c:v>
                </c:pt>
                <c:pt idx="1376">
                  <c:v>17844</c:v>
                </c:pt>
                <c:pt idx="1377">
                  <c:v>17847</c:v>
                </c:pt>
                <c:pt idx="1378">
                  <c:v>17848</c:v>
                </c:pt>
                <c:pt idx="1379">
                  <c:v>17849</c:v>
                </c:pt>
                <c:pt idx="1380">
                  <c:v>17850</c:v>
                </c:pt>
                <c:pt idx="1381">
                  <c:v>17851</c:v>
                </c:pt>
                <c:pt idx="1382">
                  <c:v>17854</c:v>
                </c:pt>
                <c:pt idx="1383">
                  <c:v>17855</c:v>
                </c:pt>
                <c:pt idx="1384">
                  <c:v>17856</c:v>
                </c:pt>
                <c:pt idx="1385">
                  <c:v>17858</c:v>
                </c:pt>
                <c:pt idx="1386">
                  <c:v>17861</c:v>
                </c:pt>
                <c:pt idx="1387">
                  <c:v>17862</c:v>
                </c:pt>
                <c:pt idx="1388">
                  <c:v>17863</c:v>
                </c:pt>
                <c:pt idx="1389">
                  <c:v>17864</c:v>
                </c:pt>
                <c:pt idx="1390">
                  <c:v>17865</c:v>
                </c:pt>
                <c:pt idx="1391">
                  <c:v>17868</c:v>
                </c:pt>
                <c:pt idx="1392">
                  <c:v>17869</c:v>
                </c:pt>
                <c:pt idx="1393">
                  <c:v>17871</c:v>
                </c:pt>
                <c:pt idx="1394">
                  <c:v>17872</c:v>
                </c:pt>
                <c:pt idx="1395">
                  <c:v>17875</c:v>
                </c:pt>
                <c:pt idx="1396">
                  <c:v>17876</c:v>
                </c:pt>
                <c:pt idx="1397">
                  <c:v>17877</c:v>
                </c:pt>
                <c:pt idx="1398">
                  <c:v>17878</c:v>
                </c:pt>
                <c:pt idx="1399">
                  <c:v>17879</c:v>
                </c:pt>
                <c:pt idx="1400">
                  <c:v>17882</c:v>
                </c:pt>
                <c:pt idx="1401">
                  <c:v>17883</c:v>
                </c:pt>
                <c:pt idx="1402">
                  <c:v>17884</c:v>
                </c:pt>
                <c:pt idx="1403">
                  <c:v>17885</c:v>
                </c:pt>
                <c:pt idx="1404">
                  <c:v>17886</c:v>
                </c:pt>
                <c:pt idx="1405">
                  <c:v>17889</c:v>
                </c:pt>
                <c:pt idx="1406">
                  <c:v>17891</c:v>
                </c:pt>
                <c:pt idx="1407">
                  <c:v>17892</c:v>
                </c:pt>
                <c:pt idx="1408">
                  <c:v>17893</c:v>
                </c:pt>
                <c:pt idx="1409">
                  <c:v>17896</c:v>
                </c:pt>
                <c:pt idx="1410">
                  <c:v>17898</c:v>
                </c:pt>
                <c:pt idx="1411">
                  <c:v>17899</c:v>
                </c:pt>
                <c:pt idx="1412">
                  <c:v>17900</c:v>
                </c:pt>
                <c:pt idx="1413">
                  <c:v>17903</c:v>
                </c:pt>
                <c:pt idx="1414">
                  <c:v>17904</c:v>
                </c:pt>
                <c:pt idx="1415">
                  <c:v>17905</c:v>
                </c:pt>
                <c:pt idx="1416">
                  <c:v>17906</c:v>
                </c:pt>
                <c:pt idx="1417">
                  <c:v>17907</c:v>
                </c:pt>
                <c:pt idx="1418">
                  <c:v>17910</c:v>
                </c:pt>
                <c:pt idx="1419">
                  <c:v>17911</c:v>
                </c:pt>
                <c:pt idx="1420">
                  <c:v>17912</c:v>
                </c:pt>
                <c:pt idx="1421">
                  <c:v>17913</c:v>
                </c:pt>
                <c:pt idx="1422">
                  <c:v>17914</c:v>
                </c:pt>
                <c:pt idx="1423">
                  <c:v>17918</c:v>
                </c:pt>
                <c:pt idx="1424">
                  <c:v>17919</c:v>
                </c:pt>
                <c:pt idx="1425">
                  <c:v>17920</c:v>
                </c:pt>
                <c:pt idx="1426">
                  <c:v>17921</c:v>
                </c:pt>
                <c:pt idx="1427">
                  <c:v>17924</c:v>
                </c:pt>
                <c:pt idx="1428">
                  <c:v>17925</c:v>
                </c:pt>
                <c:pt idx="1429">
                  <c:v>17926</c:v>
                </c:pt>
                <c:pt idx="1430">
                  <c:v>17927</c:v>
                </c:pt>
                <c:pt idx="1431">
                  <c:v>17928</c:v>
                </c:pt>
                <c:pt idx="1432">
                  <c:v>17931</c:v>
                </c:pt>
                <c:pt idx="1433">
                  <c:v>17932</c:v>
                </c:pt>
                <c:pt idx="1434">
                  <c:v>17933</c:v>
                </c:pt>
                <c:pt idx="1435">
                  <c:v>17934</c:v>
                </c:pt>
                <c:pt idx="1436">
                  <c:v>17935</c:v>
                </c:pt>
                <c:pt idx="1437">
                  <c:v>17938</c:v>
                </c:pt>
                <c:pt idx="1438">
                  <c:v>17939</c:v>
                </c:pt>
                <c:pt idx="1439">
                  <c:v>17940</c:v>
                </c:pt>
                <c:pt idx="1440">
                  <c:v>17941</c:v>
                </c:pt>
                <c:pt idx="1441">
                  <c:v>17942</c:v>
                </c:pt>
                <c:pt idx="1442">
                  <c:v>17946</c:v>
                </c:pt>
                <c:pt idx="1443">
                  <c:v>17947</c:v>
                </c:pt>
                <c:pt idx="1444">
                  <c:v>17948</c:v>
                </c:pt>
                <c:pt idx="1445">
                  <c:v>17949</c:v>
                </c:pt>
                <c:pt idx="1446">
                  <c:v>17952</c:v>
                </c:pt>
                <c:pt idx="1447">
                  <c:v>17953</c:v>
                </c:pt>
                <c:pt idx="1448">
                  <c:v>17954</c:v>
                </c:pt>
                <c:pt idx="1449">
                  <c:v>17955</c:v>
                </c:pt>
                <c:pt idx="1450">
                  <c:v>17956</c:v>
                </c:pt>
                <c:pt idx="1451">
                  <c:v>17959</c:v>
                </c:pt>
                <c:pt idx="1452">
                  <c:v>17960</c:v>
                </c:pt>
                <c:pt idx="1453">
                  <c:v>17961</c:v>
                </c:pt>
                <c:pt idx="1454">
                  <c:v>17962</c:v>
                </c:pt>
                <c:pt idx="1455">
                  <c:v>17963</c:v>
                </c:pt>
                <c:pt idx="1456">
                  <c:v>17966</c:v>
                </c:pt>
                <c:pt idx="1457">
                  <c:v>17967</c:v>
                </c:pt>
                <c:pt idx="1458">
                  <c:v>17968</c:v>
                </c:pt>
                <c:pt idx="1459">
                  <c:v>17969</c:v>
                </c:pt>
                <c:pt idx="1460">
                  <c:v>17970</c:v>
                </c:pt>
                <c:pt idx="1461">
                  <c:v>17973</c:v>
                </c:pt>
                <c:pt idx="1462">
                  <c:v>17974</c:v>
                </c:pt>
                <c:pt idx="1463">
                  <c:v>17975</c:v>
                </c:pt>
                <c:pt idx="1464">
                  <c:v>17976</c:v>
                </c:pt>
                <c:pt idx="1465">
                  <c:v>17977</c:v>
                </c:pt>
                <c:pt idx="1466">
                  <c:v>17980</c:v>
                </c:pt>
                <c:pt idx="1467">
                  <c:v>17981</c:v>
                </c:pt>
                <c:pt idx="1468">
                  <c:v>17982</c:v>
                </c:pt>
                <c:pt idx="1469">
                  <c:v>17983</c:v>
                </c:pt>
                <c:pt idx="1470">
                  <c:v>17984</c:v>
                </c:pt>
                <c:pt idx="1471">
                  <c:v>17987</c:v>
                </c:pt>
                <c:pt idx="1472">
                  <c:v>17988</c:v>
                </c:pt>
                <c:pt idx="1473">
                  <c:v>17989</c:v>
                </c:pt>
                <c:pt idx="1474">
                  <c:v>17990</c:v>
                </c:pt>
                <c:pt idx="1475">
                  <c:v>17991</c:v>
                </c:pt>
                <c:pt idx="1476">
                  <c:v>17994</c:v>
                </c:pt>
                <c:pt idx="1477">
                  <c:v>17995</c:v>
                </c:pt>
                <c:pt idx="1478">
                  <c:v>17996</c:v>
                </c:pt>
                <c:pt idx="1479">
                  <c:v>17997</c:v>
                </c:pt>
                <c:pt idx="1480">
                  <c:v>17998</c:v>
                </c:pt>
                <c:pt idx="1481">
                  <c:v>18001</c:v>
                </c:pt>
                <c:pt idx="1482">
                  <c:v>18002</c:v>
                </c:pt>
                <c:pt idx="1483">
                  <c:v>18003</c:v>
                </c:pt>
                <c:pt idx="1484">
                  <c:v>18004</c:v>
                </c:pt>
                <c:pt idx="1485">
                  <c:v>18008</c:v>
                </c:pt>
                <c:pt idx="1486">
                  <c:v>18009</c:v>
                </c:pt>
                <c:pt idx="1487">
                  <c:v>18010</c:v>
                </c:pt>
                <c:pt idx="1488">
                  <c:v>18011</c:v>
                </c:pt>
                <c:pt idx="1489">
                  <c:v>18012</c:v>
                </c:pt>
                <c:pt idx="1490">
                  <c:v>18015</c:v>
                </c:pt>
                <c:pt idx="1491">
                  <c:v>18016</c:v>
                </c:pt>
                <c:pt idx="1492">
                  <c:v>18017</c:v>
                </c:pt>
                <c:pt idx="1493">
                  <c:v>18018</c:v>
                </c:pt>
                <c:pt idx="1494">
                  <c:v>18019</c:v>
                </c:pt>
                <c:pt idx="1495">
                  <c:v>18022</c:v>
                </c:pt>
                <c:pt idx="1496">
                  <c:v>18023</c:v>
                </c:pt>
                <c:pt idx="1497">
                  <c:v>18024</c:v>
                </c:pt>
                <c:pt idx="1498">
                  <c:v>18025</c:v>
                </c:pt>
                <c:pt idx="1499">
                  <c:v>18026</c:v>
                </c:pt>
                <c:pt idx="1500">
                  <c:v>18029</c:v>
                </c:pt>
                <c:pt idx="1501">
                  <c:v>18030</c:v>
                </c:pt>
                <c:pt idx="1502">
                  <c:v>18031</c:v>
                </c:pt>
                <c:pt idx="1503">
                  <c:v>18032</c:v>
                </c:pt>
                <c:pt idx="1504">
                  <c:v>18033</c:v>
                </c:pt>
                <c:pt idx="1505">
                  <c:v>18036</c:v>
                </c:pt>
                <c:pt idx="1506">
                  <c:v>18037</c:v>
                </c:pt>
                <c:pt idx="1507">
                  <c:v>18038</c:v>
                </c:pt>
                <c:pt idx="1508">
                  <c:v>18039</c:v>
                </c:pt>
                <c:pt idx="1509">
                  <c:v>18040</c:v>
                </c:pt>
                <c:pt idx="1510">
                  <c:v>18044</c:v>
                </c:pt>
                <c:pt idx="1511">
                  <c:v>18045</c:v>
                </c:pt>
                <c:pt idx="1512">
                  <c:v>18046</c:v>
                </c:pt>
                <c:pt idx="1513">
                  <c:v>18047</c:v>
                </c:pt>
                <c:pt idx="1514">
                  <c:v>18050</c:v>
                </c:pt>
                <c:pt idx="1515">
                  <c:v>18051</c:v>
                </c:pt>
                <c:pt idx="1516">
                  <c:v>18052</c:v>
                </c:pt>
                <c:pt idx="1517">
                  <c:v>18053</c:v>
                </c:pt>
                <c:pt idx="1518">
                  <c:v>18054</c:v>
                </c:pt>
                <c:pt idx="1519">
                  <c:v>18057</c:v>
                </c:pt>
                <c:pt idx="1520">
                  <c:v>18058</c:v>
                </c:pt>
                <c:pt idx="1521">
                  <c:v>18059</c:v>
                </c:pt>
                <c:pt idx="1522">
                  <c:v>18060</c:v>
                </c:pt>
                <c:pt idx="1523">
                  <c:v>18061</c:v>
                </c:pt>
                <c:pt idx="1524">
                  <c:v>18064</c:v>
                </c:pt>
                <c:pt idx="1525">
                  <c:v>18065</c:v>
                </c:pt>
                <c:pt idx="1526">
                  <c:v>18066</c:v>
                </c:pt>
                <c:pt idx="1527">
                  <c:v>18067</c:v>
                </c:pt>
                <c:pt idx="1528">
                  <c:v>18068</c:v>
                </c:pt>
                <c:pt idx="1529">
                  <c:v>18071</c:v>
                </c:pt>
                <c:pt idx="1530">
                  <c:v>18072</c:v>
                </c:pt>
                <c:pt idx="1531">
                  <c:v>18073</c:v>
                </c:pt>
                <c:pt idx="1532">
                  <c:v>18074</c:v>
                </c:pt>
                <c:pt idx="1533">
                  <c:v>18075</c:v>
                </c:pt>
                <c:pt idx="1534">
                  <c:v>18078</c:v>
                </c:pt>
                <c:pt idx="1535">
                  <c:v>18079</c:v>
                </c:pt>
                <c:pt idx="1536">
                  <c:v>18080</c:v>
                </c:pt>
                <c:pt idx="1537">
                  <c:v>18082</c:v>
                </c:pt>
                <c:pt idx="1538">
                  <c:v>18085</c:v>
                </c:pt>
                <c:pt idx="1539">
                  <c:v>18086</c:v>
                </c:pt>
                <c:pt idx="1540">
                  <c:v>18087</c:v>
                </c:pt>
                <c:pt idx="1541">
                  <c:v>18088</c:v>
                </c:pt>
                <c:pt idx="1542">
                  <c:v>18089</c:v>
                </c:pt>
                <c:pt idx="1543">
                  <c:v>18092</c:v>
                </c:pt>
                <c:pt idx="1544">
                  <c:v>18093</c:v>
                </c:pt>
                <c:pt idx="1545">
                  <c:v>18094</c:v>
                </c:pt>
                <c:pt idx="1546">
                  <c:v>18095</c:v>
                </c:pt>
                <c:pt idx="1547">
                  <c:v>18096</c:v>
                </c:pt>
                <c:pt idx="1548">
                  <c:v>18099</c:v>
                </c:pt>
                <c:pt idx="1549">
                  <c:v>18100</c:v>
                </c:pt>
                <c:pt idx="1550">
                  <c:v>18101</c:v>
                </c:pt>
                <c:pt idx="1551">
                  <c:v>18102</c:v>
                </c:pt>
                <c:pt idx="1552">
                  <c:v>18103</c:v>
                </c:pt>
                <c:pt idx="1553">
                  <c:v>18106</c:v>
                </c:pt>
                <c:pt idx="1554">
                  <c:v>18107</c:v>
                </c:pt>
                <c:pt idx="1555">
                  <c:v>18108</c:v>
                </c:pt>
                <c:pt idx="1556">
                  <c:v>18109</c:v>
                </c:pt>
                <c:pt idx="1557">
                  <c:v>18110</c:v>
                </c:pt>
                <c:pt idx="1558">
                  <c:v>18113</c:v>
                </c:pt>
                <c:pt idx="1559">
                  <c:v>18114</c:v>
                </c:pt>
                <c:pt idx="1560">
                  <c:v>18115</c:v>
                </c:pt>
                <c:pt idx="1561">
                  <c:v>18116</c:v>
                </c:pt>
                <c:pt idx="1562">
                  <c:v>18117</c:v>
                </c:pt>
                <c:pt idx="1563">
                  <c:v>18120</c:v>
                </c:pt>
                <c:pt idx="1564">
                  <c:v>18121</c:v>
                </c:pt>
                <c:pt idx="1565">
                  <c:v>18122</c:v>
                </c:pt>
                <c:pt idx="1566">
                  <c:v>18123</c:v>
                </c:pt>
                <c:pt idx="1567">
                  <c:v>18124</c:v>
                </c:pt>
                <c:pt idx="1568">
                  <c:v>18127</c:v>
                </c:pt>
                <c:pt idx="1569">
                  <c:v>18128</c:v>
                </c:pt>
                <c:pt idx="1570">
                  <c:v>18129</c:v>
                </c:pt>
                <c:pt idx="1571">
                  <c:v>18130</c:v>
                </c:pt>
                <c:pt idx="1572">
                  <c:v>18131</c:v>
                </c:pt>
                <c:pt idx="1573">
                  <c:v>18134</c:v>
                </c:pt>
                <c:pt idx="1574">
                  <c:v>18135</c:v>
                </c:pt>
                <c:pt idx="1575">
                  <c:v>18136</c:v>
                </c:pt>
                <c:pt idx="1576">
                  <c:v>18137</c:v>
                </c:pt>
                <c:pt idx="1577">
                  <c:v>18138</c:v>
                </c:pt>
                <c:pt idx="1578">
                  <c:v>18142</c:v>
                </c:pt>
                <c:pt idx="1579">
                  <c:v>18143</c:v>
                </c:pt>
                <c:pt idx="1580">
                  <c:v>18144</c:v>
                </c:pt>
                <c:pt idx="1581">
                  <c:v>18145</c:v>
                </c:pt>
                <c:pt idx="1582">
                  <c:v>18148</c:v>
                </c:pt>
                <c:pt idx="1583">
                  <c:v>18149</c:v>
                </c:pt>
                <c:pt idx="1584">
                  <c:v>18150</c:v>
                </c:pt>
                <c:pt idx="1585">
                  <c:v>18151</c:v>
                </c:pt>
                <c:pt idx="1586">
                  <c:v>18152</c:v>
                </c:pt>
                <c:pt idx="1587">
                  <c:v>18155</c:v>
                </c:pt>
                <c:pt idx="1588">
                  <c:v>18156</c:v>
                </c:pt>
                <c:pt idx="1589">
                  <c:v>18157</c:v>
                </c:pt>
                <c:pt idx="1590">
                  <c:v>18158</c:v>
                </c:pt>
                <c:pt idx="1591">
                  <c:v>18159</c:v>
                </c:pt>
                <c:pt idx="1592">
                  <c:v>18162</c:v>
                </c:pt>
                <c:pt idx="1593">
                  <c:v>18163</c:v>
                </c:pt>
                <c:pt idx="1594">
                  <c:v>18164</c:v>
                </c:pt>
                <c:pt idx="1595">
                  <c:v>18165</c:v>
                </c:pt>
                <c:pt idx="1596">
                  <c:v>18166</c:v>
                </c:pt>
                <c:pt idx="1597">
                  <c:v>18169</c:v>
                </c:pt>
                <c:pt idx="1598">
                  <c:v>18170</c:v>
                </c:pt>
                <c:pt idx="1599">
                  <c:v>18171</c:v>
                </c:pt>
                <c:pt idx="1600">
                  <c:v>18172</c:v>
                </c:pt>
                <c:pt idx="1601">
                  <c:v>18173</c:v>
                </c:pt>
                <c:pt idx="1602">
                  <c:v>18176</c:v>
                </c:pt>
                <c:pt idx="1603">
                  <c:v>18177</c:v>
                </c:pt>
                <c:pt idx="1604">
                  <c:v>18178</c:v>
                </c:pt>
                <c:pt idx="1605">
                  <c:v>18179</c:v>
                </c:pt>
                <c:pt idx="1606">
                  <c:v>18180</c:v>
                </c:pt>
                <c:pt idx="1607">
                  <c:v>18183</c:v>
                </c:pt>
                <c:pt idx="1608">
                  <c:v>18184</c:v>
                </c:pt>
                <c:pt idx="1609">
                  <c:v>18185</c:v>
                </c:pt>
                <c:pt idx="1610">
                  <c:v>18186</c:v>
                </c:pt>
                <c:pt idx="1611">
                  <c:v>18187</c:v>
                </c:pt>
                <c:pt idx="1612">
                  <c:v>18190</c:v>
                </c:pt>
                <c:pt idx="1613">
                  <c:v>18191</c:v>
                </c:pt>
                <c:pt idx="1614">
                  <c:v>18192</c:v>
                </c:pt>
                <c:pt idx="1615">
                  <c:v>18193</c:v>
                </c:pt>
                <c:pt idx="1616">
                  <c:v>18194</c:v>
                </c:pt>
                <c:pt idx="1617">
                  <c:v>18197</c:v>
                </c:pt>
                <c:pt idx="1618">
                  <c:v>18198</c:v>
                </c:pt>
                <c:pt idx="1619">
                  <c:v>18199</c:v>
                </c:pt>
                <c:pt idx="1620">
                  <c:v>18200</c:v>
                </c:pt>
                <c:pt idx="1621">
                  <c:v>18201</c:v>
                </c:pt>
                <c:pt idx="1622">
                  <c:v>18204</c:v>
                </c:pt>
                <c:pt idx="1623">
                  <c:v>18205</c:v>
                </c:pt>
                <c:pt idx="1624">
                  <c:v>18206</c:v>
                </c:pt>
                <c:pt idx="1625">
                  <c:v>18207</c:v>
                </c:pt>
                <c:pt idx="1626">
                  <c:v>18208</c:v>
                </c:pt>
                <c:pt idx="1627">
                  <c:v>18211</c:v>
                </c:pt>
                <c:pt idx="1628">
                  <c:v>18212</c:v>
                </c:pt>
                <c:pt idx="1629">
                  <c:v>18213</c:v>
                </c:pt>
                <c:pt idx="1630">
                  <c:v>18214</c:v>
                </c:pt>
                <c:pt idx="1631">
                  <c:v>18215</c:v>
                </c:pt>
                <c:pt idx="1632">
                  <c:v>18218</c:v>
                </c:pt>
                <c:pt idx="1633">
                  <c:v>18219</c:v>
                </c:pt>
                <c:pt idx="1634">
                  <c:v>18220</c:v>
                </c:pt>
                <c:pt idx="1635">
                  <c:v>18221</c:v>
                </c:pt>
                <c:pt idx="1636">
                  <c:v>18222</c:v>
                </c:pt>
                <c:pt idx="1637">
                  <c:v>18225</c:v>
                </c:pt>
                <c:pt idx="1638">
                  <c:v>18226</c:v>
                </c:pt>
                <c:pt idx="1639">
                  <c:v>18227</c:v>
                </c:pt>
                <c:pt idx="1640">
                  <c:v>18229</c:v>
                </c:pt>
                <c:pt idx="1641">
                  <c:v>18232</c:v>
                </c:pt>
                <c:pt idx="1642">
                  <c:v>18233</c:v>
                </c:pt>
                <c:pt idx="1643">
                  <c:v>18234</c:v>
                </c:pt>
                <c:pt idx="1644">
                  <c:v>18235</c:v>
                </c:pt>
                <c:pt idx="1645">
                  <c:v>18236</c:v>
                </c:pt>
                <c:pt idx="1646">
                  <c:v>18239</c:v>
                </c:pt>
                <c:pt idx="1647">
                  <c:v>18240</c:v>
                </c:pt>
                <c:pt idx="1648">
                  <c:v>18241</c:v>
                </c:pt>
                <c:pt idx="1649">
                  <c:v>18242</c:v>
                </c:pt>
                <c:pt idx="1650">
                  <c:v>18243</c:v>
                </c:pt>
                <c:pt idx="1651">
                  <c:v>18246</c:v>
                </c:pt>
                <c:pt idx="1652">
                  <c:v>18247</c:v>
                </c:pt>
                <c:pt idx="1653">
                  <c:v>18248</c:v>
                </c:pt>
                <c:pt idx="1654">
                  <c:v>18249</c:v>
                </c:pt>
                <c:pt idx="1655">
                  <c:v>18250</c:v>
                </c:pt>
                <c:pt idx="1656">
                  <c:v>18253</c:v>
                </c:pt>
                <c:pt idx="1657">
                  <c:v>18254</c:v>
                </c:pt>
                <c:pt idx="1658">
                  <c:v>18256</c:v>
                </c:pt>
                <c:pt idx="1659">
                  <c:v>18257</c:v>
                </c:pt>
                <c:pt idx="1660">
                  <c:v>18260</c:v>
                </c:pt>
                <c:pt idx="1661">
                  <c:v>18261</c:v>
                </c:pt>
                <c:pt idx="1662">
                  <c:v>18263</c:v>
                </c:pt>
                <c:pt idx="1663">
                  <c:v>18264</c:v>
                </c:pt>
                <c:pt idx="1664">
                  <c:v>18267</c:v>
                </c:pt>
                <c:pt idx="1665">
                  <c:v>18268</c:v>
                </c:pt>
                <c:pt idx="1666">
                  <c:v>18269</c:v>
                </c:pt>
                <c:pt idx="1667">
                  <c:v>18270</c:v>
                </c:pt>
                <c:pt idx="1668">
                  <c:v>18271</c:v>
                </c:pt>
                <c:pt idx="1669">
                  <c:v>18274</c:v>
                </c:pt>
                <c:pt idx="1670">
                  <c:v>18275</c:v>
                </c:pt>
                <c:pt idx="1671">
                  <c:v>18276</c:v>
                </c:pt>
                <c:pt idx="1672">
                  <c:v>18277</c:v>
                </c:pt>
                <c:pt idx="1673">
                  <c:v>18278</c:v>
                </c:pt>
                <c:pt idx="1674">
                  <c:v>18282</c:v>
                </c:pt>
                <c:pt idx="1675">
                  <c:v>18283</c:v>
                </c:pt>
                <c:pt idx="1676">
                  <c:v>18284</c:v>
                </c:pt>
                <c:pt idx="1677">
                  <c:v>18285</c:v>
                </c:pt>
                <c:pt idx="1678">
                  <c:v>18288</c:v>
                </c:pt>
                <c:pt idx="1679">
                  <c:v>18289</c:v>
                </c:pt>
                <c:pt idx="1680">
                  <c:v>18290</c:v>
                </c:pt>
                <c:pt idx="1681">
                  <c:v>18291</c:v>
                </c:pt>
                <c:pt idx="1682">
                  <c:v>18292</c:v>
                </c:pt>
                <c:pt idx="1683">
                  <c:v>18295</c:v>
                </c:pt>
                <c:pt idx="1684">
                  <c:v>18296</c:v>
                </c:pt>
                <c:pt idx="1685">
                  <c:v>18297</c:v>
                </c:pt>
                <c:pt idx="1686">
                  <c:v>18298</c:v>
                </c:pt>
                <c:pt idx="1687">
                  <c:v>18299</c:v>
                </c:pt>
                <c:pt idx="1688">
                  <c:v>18302</c:v>
                </c:pt>
                <c:pt idx="1689">
                  <c:v>18303</c:v>
                </c:pt>
                <c:pt idx="1690">
                  <c:v>18304</c:v>
                </c:pt>
                <c:pt idx="1691">
                  <c:v>18305</c:v>
                </c:pt>
                <c:pt idx="1692">
                  <c:v>18306</c:v>
                </c:pt>
                <c:pt idx="1693">
                  <c:v>18310</c:v>
                </c:pt>
                <c:pt idx="1694">
                  <c:v>18311</c:v>
                </c:pt>
                <c:pt idx="1695">
                  <c:v>18312</c:v>
                </c:pt>
                <c:pt idx="1696">
                  <c:v>18313</c:v>
                </c:pt>
                <c:pt idx="1697">
                  <c:v>18316</c:v>
                </c:pt>
                <c:pt idx="1698">
                  <c:v>18317</c:v>
                </c:pt>
                <c:pt idx="1699">
                  <c:v>18318</c:v>
                </c:pt>
                <c:pt idx="1700">
                  <c:v>18319</c:v>
                </c:pt>
                <c:pt idx="1701">
                  <c:v>18320</c:v>
                </c:pt>
                <c:pt idx="1702">
                  <c:v>18323</c:v>
                </c:pt>
                <c:pt idx="1703">
                  <c:v>18324</c:v>
                </c:pt>
                <c:pt idx="1704">
                  <c:v>18325</c:v>
                </c:pt>
                <c:pt idx="1705">
                  <c:v>18326</c:v>
                </c:pt>
                <c:pt idx="1706">
                  <c:v>18327</c:v>
                </c:pt>
                <c:pt idx="1707">
                  <c:v>18330</c:v>
                </c:pt>
                <c:pt idx="1708">
                  <c:v>18331</c:v>
                </c:pt>
                <c:pt idx="1709">
                  <c:v>18332</c:v>
                </c:pt>
                <c:pt idx="1710">
                  <c:v>18333</c:v>
                </c:pt>
                <c:pt idx="1711">
                  <c:v>18334</c:v>
                </c:pt>
                <c:pt idx="1712">
                  <c:v>18337</c:v>
                </c:pt>
                <c:pt idx="1713">
                  <c:v>18338</c:v>
                </c:pt>
                <c:pt idx="1714">
                  <c:v>18339</c:v>
                </c:pt>
                <c:pt idx="1715">
                  <c:v>18340</c:v>
                </c:pt>
                <c:pt idx="1716">
                  <c:v>18341</c:v>
                </c:pt>
                <c:pt idx="1717">
                  <c:v>18344</c:v>
                </c:pt>
                <c:pt idx="1718">
                  <c:v>18345</c:v>
                </c:pt>
                <c:pt idx="1719">
                  <c:v>18346</c:v>
                </c:pt>
                <c:pt idx="1720">
                  <c:v>18347</c:v>
                </c:pt>
                <c:pt idx="1721">
                  <c:v>18348</c:v>
                </c:pt>
                <c:pt idx="1722">
                  <c:v>18351</c:v>
                </c:pt>
                <c:pt idx="1723">
                  <c:v>18352</c:v>
                </c:pt>
                <c:pt idx="1724">
                  <c:v>18353</c:v>
                </c:pt>
                <c:pt idx="1725">
                  <c:v>18354</c:v>
                </c:pt>
                <c:pt idx="1726">
                  <c:v>18355</c:v>
                </c:pt>
                <c:pt idx="1727">
                  <c:v>18358</c:v>
                </c:pt>
                <c:pt idx="1728">
                  <c:v>18359</c:v>
                </c:pt>
                <c:pt idx="1729">
                  <c:v>18360</c:v>
                </c:pt>
                <c:pt idx="1730">
                  <c:v>18361</c:v>
                </c:pt>
                <c:pt idx="1731">
                  <c:v>18365</c:v>
                </c:pt>
                <c:pt idx="1732">
                  <c:v>18366</c:v>
                </c:pt>
                <c:pt idx="1733">
                  <c:v>18367</c:v>
                </c:pt>
                <c:pt idx="1734">
                  <c:v>18368</c:v>
                </c:pt>
                <c:pt idx="1735">
                  <c:v>18369</c:v>
                </c:pt>
                <c:pt idx="1736">
                  <c:v>18372</c:v>
                </c:pt>
                <c:pt idx="1737">
                  <c:v>18373</c:v>
                </c:pt>
                <c:pt idx="1738">
                  <c:v>18374</c:v>
                </c:pt>
                <c:pt idx="1739">
                  <c:v>18375</c:v>
                </c:pt>
                <c:pt idx="1740">
                  <c:v>18376</c:v>
                </c:pt>
                <c:pt idx="1741">
                  <c:v>18379</c:v>
                </c:pt>
                <c:pt idx="1742">
                  <c:v>18380</c:v>
                </c:pt>
                <c:pt idx="1743">
                  <c:v>18381</c:v>
                </c:pt>
                <c:pt idx="1744">
                  <c:v>18382</c:v>
                </c:pt>
                <c:pt idx="1745">
                  <c:v>18383</c:v>
                </c:pt>
                <c:pt idx="1746">
                  <c:v>18386</c:v>
                </c:pt>
                <c:pt idx="1747">
                  <c:v>18387</c:v>
                </c:pt>
                <c:pt idx="1748">
                  <c:v>18388</c:v>
                </c:pt>
                <c:pt idx="1749">
                  <c:v>18389</c:v>
                </c:pt>
                <c:pt idx="1750">
                  <c:v>18390</c:v>
                </c:pt>
                <c:pt idx="1751">
                  <c:v>18393</c:v>
                </c:pt>
                <c:pt idx="1752">
                  <c:v>18394</c:v>
                </c:pt>
                <c:pt idx="1753">
                  <c:v>18395</c:v>
                </c:pt>
                <c:pt idx="1754">
                  <c:v>18396</c:v>
                </c:pt>
                <c:pt idx="1755">
                  <c:v>18397</c:v>
                </c:pt>
                <c:pt idx="1756">
                  <c:v>18400</c:v>
                </c:pt>
                <c:pt idx="1757">
                  <c:v>18401</c:v>
                </c:pt>
                <c:pt idx="1758">
                  <c:v>18402</c:v>
                </c:pt>
                <c:pt idx="1759">
                  <c:v>18403</c:v>
                </c:pt>
                <c:pt idx="1760">
                  <c:v>18404</c:v>
                </c:pt>
                <c:pt idx="1761">
                  <c:v>18408</c:v>
                </c:pt>
                <c:pt idx="1762">
                  <c:v>18409</c:v>
                </c:pt>
                <c:pt idx="1763">
                  <c:v>18410</c:v>
                </c:pt>
                <c:pt idx="1764">
                  <c:v>18411</c:v>
                </c:pt>
                <c:pt idx="1765">
                  <c:v>18414</c:v>
                </c:pt>
                <c:pt idx="1766">
                  <c:v>18415</c:v>
                </c:pt>
                <c:pt idx="1767">
                  <c:v>18416</c:v>
                </c:pt>
                <c:pt idx="1768">
                  <c:v>18417</c:v>
                </c:pt>
                <c:pt idx="1769">
                  <c:v>18418</c:v>
                </c:pt>
                <c:pt idx="1770">
                  <c:v>18421</c:v>
                </c:pt>
                <c:pt idx="1771">
                  <c:v>18422</c:v>
                </c:pt>
                <c:pt idx="1772">
                  <c:v>18423</c:v>
                </c:pt>
                <c:pt idx="1773">
                  <c:v>18424</c:v>
                </c:pt>
                <c:pt idx="1774">
                  <c:v>18425</c:v>
                </c:pt>
                <c:pt idx="1775">
                  <c:v>18428</c:v>
                </c:pt>
                <c:pt idx="1776">
                  <c:v>18429</c:v>
                </c:pt>
                <c:pt idx="1777">
                  <c:v>18430</c:v>
                </c:pt>
                <c:pt idx="1778">
                  <c:v>18431</c:v>
                </c:pt>
                <c:pt idx="1779">
                  <c:v>18432</c:v>
                </c:pt>
                <c:pt idx="1780">
                  <c:v>18435</c:v>
                </c:pt>
                <c:pt idx="1781">
                  <c:v>18436</c:v>
                </c:pt>
                <c:pt idx="1782">
                  <c:v>18437</c:v>
                </c:pt>
                <c:pt idx="1783">
                  <c:v>18438</c:v>
                </c:pt>
                <c:pt idx="1784">
                  <c:v>18439</c:v>
                </c:pt>
                <c:pt idx="1785">
                  <c:v>18442</c:v>
                </c:pt>
                <c:pt idx="1786">
                  <c:v>18443</c:v>
                </c:pt>
                <c:pt idx="1787">
                  <c:v>18444</c:v>
                </c:pt>
                <c:pt idx="1788">
                  <c:v>18445</c:v>
                </c:pt>
                <c:pt idx="1789">
                  <c:v>18449</c:v>
                </c:pt>
                <c:pt idx="1790">
                  <c:v>18450</c:v>
                </c:pt>
                <c:pt idx="1791">
                  <c:v>18451</c:v>
                </c:pt>
                <c:pt idx="1792">
                  <c:v>18452</c:v>
                </c:pt>
                <c:pt idx="1793">
                  <c:v>18453</c:v>
                </c:pt>
                <c:pt idx="1794">
                  <c:v>18456</c:v>
                </c:pt>
                <c:pt idx="1795">
                  <c:v>18457</c:v>
                </c:pt>
                <c:pt idx="1796">
                  <c:v>18458</c:v>
                </c:pt>
                <c:pt idx="1797">
                  <c:v>18459</c:v>
                </c:pt>
                <c:pt idx="1798">
                  <c:v>18460</c:v>
                </c:pt>
                <c:pt idx="1799">
                  <c:v>18463</c:v>
                </c:pt>
                <c:pt idx="1800">
                  <c:v>18464</c:v>
                </c:pt>
                <c:pt idx="1801">
                  <c:v>18465</c:v>
                </c:pt>
                <c:pt idx="1802">
                  <c:v>18466</c:v>
                </c:pt>
                <c:pt idx="1803">
                  <c:v>18467</c:v>
                </c:pt>
                <c:pt idx="1804">
                  <c:v>18470</c:v>
                </c:pt>
                <c:pt idx="1805">
                  <c:v>18471</c:v>
                </c:pt>
                <c:pt idx="1806">
                  <c:v>18472</c:v>
                </c:pt>
                <c:pt idx="1807">
                  <c:v>18473</c:v>
                </c:pt>
                <c:pt idx="1808">
                  <c:v>18474</c:v>
                </c:pt>
                <c:pt idx="1809">
                  <c:v>18477</c:v>
                </c:pt>
                <c:pt idx="1810">
                  <c:v>18478</c:v>
                </c:pt>
                <c:pt idx="1811">
                  <c:v>18479</c:v>
                </c:pt>
                <c:pt idx="1812">
                  <c:v>18480</c:v>
                </c:pt>
                <c:pt idx="1813">
                  <c:v>18481</c:v>
                </c:pt>
                <c:pt idx="1814">
                  <c:v>18484</c:v>
                </c:pt>
                <c:pt idx="1815">
                  <c:v>18485</c:v>
                </c:pt>
                <c:pt idx="1816">
                  <c:v>18486</c:v>
                </c:pt>
                <c:pt idx="1817">
                  <c:v>18487</c:v>
                </c:pt>
                <c:pt idx="1818">
                  <c:v>18488</c:v>
                </c:pt>
                <c:pt idx="1819">
                  <c:v>18491</c:v>
                </c:pt>
                <c:pt idx="1820">
                  <c:v>18492</c:v>
                </c:pt>
                <c:pt idx="1821">
                  <c:v>18493</c:v>
                </c:pt>
                <c:pt idx="1822">
                  <c:v>18494</c:v>
                </c:pt>
                <c:pt idx="1823">
                  <c:v>18495</c:v>
                </c:pt>
                <c:pt idx="1824">
                  <c:v>18498</c:v>
                </c:pt>
                <c:pt idx="1825">
                  <c:v>18499</c:v>
                </c:pt>
                <c:pt idx="1826">
                  <c:v>18500</c:v>
                </c:pt>
                <c:pt idx="1827">
                  <c:v>18501</c:v>
                </c:pt>
                <c:pt idx="1828">
                  <c:v>18502</c:v>
                </c:pt>
                <c:pt idx="1829">
                  <c:v>18505</c:v>
                </c:pt>
                <c:pt idx="1830">
                  <c:v>18506</c:v>
                </c:pt>
                <c:pt idx="1831">
                  <c:v>18507</c:v>
                </c:pt>
                <c:pt idx="1832">
                  <c:v>18508</c:v>
                </c:pt>
                <c:pt idx="1833">
                  <c:v>18509</c:v>
                </c:pt>
                <c:pt idx="1834">
                  <c:v>18513</c:v>
                </c:pt>
                <c:pt idx="1835">
                  <c:v>18514</c:v>
                </c:pt>
                <c:pt idx="1836">
                  <c:v>18515</c:v>
                </c:pt>
                <c:pt idx="1837">
                  <c:v>18516</c:v>
                </c:pt>
                <c:pt idx="1838">
                  <c:v>18519</c:v>
                </c:pt>
                <c:pt idx="1839">
                  <c:v>18520</c:v>
                </c:pt>
                <c:pt idx="1840">
                  <c:v>18521</c:v>
                </c:pt>
                <c:pt idx="1841">
                  <c:v>18522</c:v>
                </c:pt>
                <c:pt idx="1842">
                  <c:v>18523</c:v>
                </c:pt>
                <c:pt idx="1843">
                  <c:v>18526</c:v>
                </c:pt>
                <c:pt idx="1844">
                  <c:v>18527</c:v>
                </c:pt>
                <c:pt idx="1845">
                  <c:v>18528</c:v>
                </c:pt>
                <c:pt idx="1846">
                  <c:v>18529</c:v>
                </c:pt>
                <c:pt idx="1847">
                  <c:v>18530</c:v>
                </c:pt>
                <c:pt idx="1848">
                  <c:v>18533</c:v>
                </c:pt>
                <c:pt idx="1849">
                  <c:v>18534</c:v>
                </c:pt>
                <c:pt idx="1850">
                  <c:v>18535</c:v>
                </c:pt>
                <c:pt idx="1851">
                  <c:v>18536</c:v>
                </c:pt>
                <c:pt idx="1852">
                  <c:v>18537</c:v>
                </c:pt>
                <c:pt idx="1853">
                  <c:v>18540</c:v>
                </c:pt>
                <c:pt idx="1854">
                  <c:v>18541</c:v>
                </c:pt>
                <c:pt idx="1855">
                  <c:v>18542</c:v>
                </c:pt>
                <c:pt idx="1856">
                  <c:v>18543</c:v>
                </c:pt>
                <c:pt idx="1857">
                  <c:v>18544</c:v>
                </c:pt>
                <c:pt idx="1858">
                  <c:v>18547</c:v>
                </c:pt>
                <c:pt idx="1859">
                  <c:v>18548</c:v>
                </c:pt>
                <c:pt idx="1860">
                  <c:v>18549</c:v>
                </c:pt>
                <c:pt idx="1861">
                  <c:v>18550</c:v>
                </c:pt>
                <c:pt idx="1862">
                  <c:v>18551</c:v>
                </c:pt>
                <c:pt idx="1863">
                  <c:v>18554</c:v>
                </c:pt>
                <c:pt idx="1864">
                  <c:v>18555</c:v>
                </c:pt>
                <c:pt idx="1865">
                  <c:v>18556</c:v>
                </c:pt>
                <c:pt idx="1866">
                  <c:v>18557</c:v>
                </c:pt>
                <c:pt idx="1867">
                  <c:v>18558</c:v>
                </c:pt>
                <c:pt idx="1868">
                  <c:v>18561</c:v>
                </c:pt>
                <c:pt idx="1869">
                  <c:v>18562</c:v>
                </c:pt>
                <c:pt idx="1870">
                  <c:v>18563</c:v>
                </c:pt>
                <c:pt idx="1871">
                  <c:v>18564</c:v>
                </c:pt>
                <c:pt idx="1872">
                  <c:v>18565</c:v>
                </c:pt>
                <c:pt idx="1873">
                  <c:v>18568</c:v>
                </c:pt>
                <c:pt idx="1874">
                  <c:v>18569</c:v>
                </c:pt>
                <c:pt idx="1875">
                  <c:v>18570</c:v>
                </c:pt>
                <c:pt idx="1876">
                  <c:v>18571</c:v>
                </c:pt>
                <c:pt idx="1877">
                  <c:v>18572</c:v>
                </c:pt>
                <c:pt idx="1878">
                  <c:v>18575</c:v>
                </c:pt>
                <c:pt idx="1879">
                  <c:v>18576</c:v>
                </c:pt>
                <c:pt idx="1880">
                  <c:v>18577</c:v>
                </c:pt>
                <c:pt idx="1881">
                  <c:v>18578</c:v>
                </c:pt>
                <c:pt idx="1882">
                  <c:v>18579</c:v>
                </c:pt>
                <c:pt idx="1883">
                  <c:v>18582</c:v>
                </c:pt>
                <c:pt idx="1884">
                  <c:v>18583</c:v>
                </c:pt>
                <c:pt idx="1885">
                  <c:v>18584</c:v>
                </c:pt>
                <c:pt idx="1886">
                  <c:v>18585</c:v>
                </c:pt>
                <c:pt idx="1887">
                  <c:v>18586</c:v>
                </c:pt>
                <c:pt idx="1888">
                  <c:v>18589</c:v>
                </c:pt>
                <c:pt idx="1889">
                  <c:v>18590</c:v>
                </c:pt>
                <c:pt idx="1890">
                  <c:v>18591</c:v>
                </c:pt>
                <c:pt idx="1891">
                  <c:v>18593</c:v>
                </c:pt>
                <c:pt idx="1892">
                  <c:v>18596</c:v>
                </c:pt>
                <c:pt idx="1893">
                  <c:v>18597</c:v>
                </c:pt>
                <c:pt idx="1894">
                  <c:v>18598</c:v>
                </c:pt>
                <c:pt idx="1895">
                  <c:v>18599</c:v>
                </c:pt>
                <c:pt idx="1896">
                  <c:v>18600</c:v>
                </c:pt>
                <c:pt idx="1897">
                  <c:v>18603</c:v>
                </c:pt>
                <c:pt idx="1898">
                  <c:v>18604</c:v>
                </c:pt>
                <c:pt idx="1899">
                  <c:v>18605</c:v>
                </c:pt>
                <c:pt idx="1900">
                  <c:v>18606</c:v>
                </c:pt>
                <c:pt idx="1901">
                  <c:v>18607</c:v>
                </c:pt>
                <c:pt idx="1902">
                  <c:v>18610</c:v>
                </c:pt>
                <c:pt idx="1903">
                  <c:v>18611</c:v>
                </c:pt>
                <c:pt idx="1904">
                  <c:v>18612</c:v>
                </c:pt>
                <c:pt idx="1905">
                  <c:v>18613</c:v>
                </c:pt>
                <c:pt idx="1906">
                  <c:v>18614</c:v>
                </c:pt>
                <c:pt idx="1907">
                  <c:v>18617</c:v>
                </c:pt>
                <c:pt idx="1908">
                  <c:v>18618</c:v>
                </c:pt>
                <c:pt idx="1909">
                  <c:v>18619</c:v>
                </c:pt>
                <c:pt idx="1910">
                  <c:v>18620</c:v>
                </c:pt>
                <c:pt idx="1911">
                  <c:v>18624</c:v>
                </c:pt>
                <c:pt idx="1912">
                  <c:v>18625</c:v>
                </c:pt>
                <c:pt idx="1913">
                  <c:v>18626</c:v>
                </c:pt>
                <c:pt idx="1914">
                  <c:v>18627</c:v>
                </c:pt>
                <c:pt idx="1915">
                  <c:v>18631</c:v>
                </c:pt>
                <c:pt idx="1916">
                  <c:v>18632</c:v>
                </c:pt>
                <c:pt idx="1917">
                  <c:v>18633</c:v>
                </c:pt>
                <c:pt idx="1918">
                  <c:v>18634</c:v>
                </c:pt>
                <c:pt idx="1919">
                  <c:v>18635</c:v>
                </c:pt>
                <c:pt idx="1920">
                  <c:v>18638</c:v>
                </c:pt>
                <c:pt idx="1921">
                  <c:v>18639</c:v>
                </c:pt>
                <c:pt idx="1922">
                  <c:v>18640</c:v>
                </c:pt>
                <c:pt idx="1923">
                  <c:v>18641</c:v>
                </c:pt>
                <c:pt idx="1924">
                  <c:v>18642</c:v>
                </c:pt>
                <c:pt idx="1925">
                  <c:v>18646</c:v>
                </c:pt>
                <c:pt idx="1926">
                  <c:v>18647</c:v>
                </c:pt>
                <c:pt idx="1927">
                  <c:v>18648</c:v>
                </c:pt>
                <c:pt idx="1928">
                  <c:v>18649</c:v>
                </c:pt>
                <c:pt idx="1929">
                  <c:v>18652</c:v>
                </c:pt>
                <c:pt idx="1930">
                  <c:v>18653</c:v>
                </c:pt>
                <c:pt idx="1931">
                  <c:v>18654</c:v>
                </c:pt>
                <c:pt idx="1932">
                  <c:v>18655</c:v>
                </c:pt>
                <c:pt idx="1933">
                  <c:v>18656</c:v>
                </c:pt>
                <c:pt idx="1934">
                  <c:v>18659</c:v>
                </c:pt>
                <c:pt idx="1935">
                  <c:v>18660</c:v>
                </c:pt>
                <c:pt idx="1936">
                  <c:v>18661</c:v>
                </c:pt>
                <c:pt idx="1937">
                  <c:v>18662</c:v>
                </c:pt>
                <c:pt idx="1938">
                  <c:v>18663</c:v>
                </c:pt>
                <c:pt idx="1939">
                  <c:v>18666</c:v>
                </c:pt>
                <c:pt idx="1940">
                  <c:v>18667</c:v>
                </c:pt>
                <c:pt idx="1941">
                  <c:v>18668</c:v>
                </c:pt>
                <c:pt idx="1942">
                  <c:v>18669</c:v>
                </c:pt>
                <c:pt idx="1943">
                  <c:v>18670</c:v>
                </c:pt>
                <c:pt idx="1944">
                  <c:v>18674</c:v>
                </c:pt>
                <c:pt idx="1945">
                  <c:v>18675</c:v>
                </c:pt>
                <c:pt idx="1946">
                  <c:v>18676</c:v>
                </c:pt>
                <c:pt idx="1947">
                  <c:v>18677</c:v>
                </c:pt>
                <c:pt idx="1948">
                  <c:v>18680</c:v>
                </c:pt>
                <c:pt idx="1949">
                  <c:v>18681</c:v>
                </c:pt>
                <c:pt idx="1950">
                  <c:v>18682</c:v>
                </c:pt>
                <c:pt idx="1951">
                  <c:v>18683</c:v>
                </c:pt>
                <c:pt idx="1952">
                  <c:v>18684</c:v>
                </c:pt>
                <c:pt idx="1953">
                  <c:v>18687</c:v>
                </c:pt>
                <c:pt idx="1954">
                  <c:v>18688</c:v>
                </c:pt>
                <c:pt idx="1955">
                  <c:v>18689</c:v>
                </c:pt>
                <c:pt idx="1956">
                  <c:v>18690</c:v>
                </c:pt>
                <c:pt idx="1957">
                  <c:v>18691</c:v>
                </c:pt>
                <c:pt idx="1958">
                  <c:v>18694</c:v>
                </c:pt>
                <c:pt idx="1959">
                  <c:v>18695</c:v>
                </c:pt>
                <c:pt idx="1960">
                  <c:v>18696</c:v>
                </c:pt>
                <c:pt idx="1961">
                  <c:v>18697</c:v>
                </c:pt>
                <c:pt idx="1962">
                  <c:v>18698</c:v>
                </c:pt>
                <c:pt idx="1963">
                  <c:v>18701</c:v>
                </c:pt>
                <c:pt idx="1964">
                  <c:v>18702</c:v>
                </c:pt>
                <c:pt idx="1965">
                  <c:v>18703</c:v>
                </c:pt>
                <c:pt idx="1966">
                  <c:v>18704</c:v>
                </c:pt>
                <c:pt idx="1967">
                  <c:v>18705</c:v>
                </c:pt>
                <c:pt idx="1968">
                  <c:v>18708</c:v>
                </c:pt>
                <c:pt idx="1969">
                  <c:v>18709</c:v>
                </c:pt>
                <c:pt idx="1970">
                  <c:v>18710</c:v>
                </c:pt>
                <c:pt idx="1971">
                  <c:v>18711</c:v>
                </c:pt>
                <c:pt idx="1972">
                  <c:v>18712</c:v>
                </c:pt>
                <c:pt idx="1973">
                  <c:v>18715</c:v>
                </c:pt>
                <c:pt idx="1974">
                  <c:v>18716</c:v>
                </c:pt>
                <c:pt idx="1975">
                  <c:v>18717</c:v>
                </c:pt>
                <c:pt idx="1976">
                  <c:v>18718</c:v>
                </c:pt>
                <c:pt idx="1977">
                  <c:v>18722</c:v>
                </c:pt>
                <c:pt idx="1978">
                  <c:v>18723</c:v>
                </c:pt>
                <c:pt idx="1979">
                  <c:v>18724</c:v>
                </c:pt>
                <c:pt idx="1980">
                  <c:v>18725</c:v>
                </c:pt>
                <c:pt idx="1981">
                  <c:v>18726</c:v>
                </c:pt>
                <c:pt idx="1982">
                  <c:v>18729</c:v>
                </c:pt>
                <c:pt idx="1983">
                  <c:v>18730</c:v>
                </c:pt>
                <c:pt idx="1984">
                  <c:v>18731</c:v>
                </c:pt>
                <c:pt idx="1985">
                  <c:v>18732</c:v>
                </c:pt>
                <c:pt idx="1986">
                  <c:v>18733</c:v>
                </c:pt>
                <c:pt idx="1987">
                  <c:v>18736</c:v>
                </c:pt>
                <c:pt idx="1988">
                  <c:v>18737</c:v>
                </c:pt>
                <c:pt idx="1989">
                  <c:v>18738</c:v>
                </c:pt>
                <c:pt idx="1990">
                  <c:v>18739</c:v>
                </c:pt>
                <c:pt idx="1991">
                  <c:v>18740</c:v>
                </c:pt>
                <c:pt idx="1992">
                  <c:v>18743</c:v>
                </c:pt>
                <c:pt idx="1993">
                  <c:v>18744</c:v>
                </c:pt>
                <c:pt idx="1994">
                  <c:v>18745</c:v>
                </c:pt>
                <c:pt idx="1995">
                  <c:v>18746</c:v>
                </c:pt>
                <c:pt idx="1996">
                  <c:v>18747</c:v>
                </c:pt>
                <c:pt idx="1997">
                  <c:v>18750</c:v>
                </c:pt>
                <c:pt idx="1998">
                  <c:v>18751</c:v>
                </c:pt>
                <c:pt idx="1999">
                  <c:v>18752</c:v>
                </c:pt>
                <c:pt idx="2000">
                  <c:v>18753</c:v>
                </c:pt>
                <c:pt idx="2001">
                  <c:v>18754</c:v>
                </c:pt>
                <c:pt idx="2002">
                  <c:v>18757</c:v>
                </c:pt>
                <c:pt idx="2003">
                  <c:v>18758</c:v>
                </c:pt>
                <c:pt idx="2004">
                  <c:v>18759</c:v>
                </c:pt>
                <c:pt idx="2005">
                  <c:v>18760</c:v>
                </c:pt>
                <c:pt idx="2006">
                  <c:v>18761</c:v>
                </c:pt>
                <c:pt idx="2007">
                  <c:v>18764</c:v>
                </c:pt>
                <c:pt idx="2008">
                  <c:v>18765</c:v>
                </c:pt>
                <c:pt idx="2009">
                  <c:v>18766</c:v>
                </c:pt>
                <c:pt idx="2010">
                  <c:v>18767</c:v>
                </c:pt>
                <c:pt idx="2011">
                  <c:v>18768</c:v>
                </c:pt>
                <c:pt idx="2012">
                  <c:v>18771</c:v>
                </c:pt>
                <c:pt idx="2013">
                  <c:v>18772</c:v>
                </c:pt>
                <c:pt idx="2014">
                  <c:v>18773</c:v>
                </c:pt>
                <c:pt idx="2015">
                  <c:v>18774</c:v>
                </c:pt>
                <c:pt idx="2016">
                  <c:v>18775</c:v>
                </c:pt>
                <c:pt idx="2017">
                  <c:v>18779</c:v>
                </c:pt>
                <c:pt idx="2018">
                  <c:v>18780</c:v>
                </c:pt>
                <c:pt idx="2019">
                  <c:v>18781</c:v>
                </c:pt>
                <c:pt idx="2020">
                  <c:v>18782</c:v>
                </c:pt>
                <c:pt idx="2021">
                  <c:v>18785</c:v>
                </c:pt>
                <c:pt idx="2022">
                  <c:v>18786</c:v>
                </c:pt>
                <c:pt idx="2023">
                  <c:v>18787</c:v>
                </c:pt>
                <c:pt idx="2024">
                  <c:v>18788</c:v>
                </c:pt>
                <c:pt idx="2025">
                  <c:v>18789</c:v>
                </c:pt>
                <c:pt idx="2026">
                  <c:v>18792</c:v>
                </c:pt>
                <c:pt idx="2027">
                  <c:v>18793</c:v>
                </c:pt>
                <c:pt idx="2028">
                  <c:v>18794</c:v>
                </c:pt>
                <c:pt idx="2029">
                  <c:v>18795</c:v>
                </c:pt>
                <c:pt idx="2030">
                  <c:v>18796</c:v>
                </c:pt>
                <c:pt idx="2031">
                  <c:v>18799</c:v>
                </c:pt>
                <c:pt idx="2032">
                  <c:v>18800</c:v>
                </c:pt>
                <c:pt idx="2033">
                  <c:v>18801</c:v>
                </c:pt>
                <c:pt idx="2034">
                  <c:v>18802</c:v>
                </c:pt>
                <c:pt idx="2035">
                  <c:v>18803</c:v>
                </c:pt>
                <c:pt idx="2036">
                  <c:v>18806</c:v>
                </c:pt>
                <c:pt idx="2037">
                  <c:v>18807</c:v>
                </c:pt>
                <c:pt idx="2038">
                  <c:v>18808</c:v>
                </c:pt>
                <c:pt idx="2039">
                  <c:v>18809</c:v>
                </c:pt>
                <c:pt idx="2040">
                  <c:v>18810</c:v>
                </c:pt>
                <c:pt idx="2041">
                  <c:v>18814</c:v>
                </c:pt>
                <c:pt idx="2042">
                  <c:v>18815</c:v>
                </c:pt>
                <c:pt idx="2043">
                  <c:v>18816</c:v>
                </c:pt>
                <c:pt idx="2044">
                  <c:v>18817</c:v>
                </c:pt>
                <c:pt idx="2045">
                  <c:v>18820</c:v>
                </c:pt>
                <c:pt idx="2046">
                  <c:v>18821</c:v>
                </c:pt>
                <c:pt idx="2047">
                  <c:v>18822</c:v>
                </c:pt>
                <c:pt idx="2048">
                  <c:v>18823</c:v>
                </c:pt>
                <c:pt idx="2049">
                  <c:v>18824</c:v>
                </c:pt>
                <c:pt idx="2050">
                  <c:v>18827</c:v>
                </c:pt>
                <c:pt idx="2051">
                  <c:v>18828</c:v>
                </c:pt>
                <c:pt idx="2052">
                  <c:v>18829</c:v>
                </c:pt>
                <c:pt idx="2053">
                  <c:v>18830</c:v>
                </c:pt>
                <c:pt idx="2054">
                  <c:v>18831</c:v>
                </c:pt>
                <c:pt idx="2055">
                  <c:v>18834</c:v>
                </c:pt>
                <c:pt idx="2056">
                  <c:v>18835</c:v>
                </c:pt>
                <c:pt idx="2057">
                  <c:v>18836</c:v>
                </c:pt>
                <c:pt idx="2058">
                  <c:v>18837</c:v>
                </c:pt>
                <c:pt idx="2059">
                  <c:v>18838</c:v>
                </c:pt>
                <c:pt idx="2060">
                  <c:v>18841</c:v>
                </c:pt>
                <c:pt idx="2061">
                  <c:v>18842</c:v>
                </c:pt>
                <c:pt idx="2062">
                  <c:v>18843</c:v>
                </c:pt>
                <c:pt idx="2063">
                  <c:v>18844</c:v>
                </c:pt>
                <c:pt idx="2064">
                  <c:v>18845</c:v>
                </c:pt>
                <c:pt idx="2065">
                  <c:v>18848</c:v>
                </c:pt>
                <c:pt idx="2066">
                  <c:v>18849</c:v>
                </c:pt>
                <c:pt idx="2067">
                  <c:v>18850</c:v>
                </c:pt>
                <c:pt idx="2068">
                  <c:v>18851</c:v>
                </c:pt>
                <c:pt idx="2069">
                  <c:v>18852</c:v>
                </c:pt>
                <c:pt idx="2070">
                  <c:v>18855</c:v>
                </c:pt>
                <c:pt idx="2071">
                  <c:v>18856</c:v>
                </c:pt>
                <c:pt idx="2072">
                  <c:v>18857</c:v>
                </c:pt>
                <c:pt idx="2073">
                  <c:v>18858</c:v>
                </c:pt>
                <c:pt idx="2074">
                  <c:v>18859</c:v>
                </c:pt>
                <c:pt idx="2075">
                  <c:v>18862</c:v>
                </c:pt>
                <c:pt idx="2076">
                  <c:v>18863</c:v>
                </c:pt>
                <c:pt idx="2077">
                  <c:v>18864</c:v>
                </c:pt>
                <c:pt idx="2078">
                  <c:v>18865</c:v>
                </c:pt>
                <c:pt idx="2079">
                  <c:v>18866</c:v>
                </c:pt>
                <c:pt idx="2080">
                  <c:v>18869</c:v>
                </c:pt>
                <c:pt idx="2081">
                  <c:v>18870</c:v>
                </c:pt>
                <c:pt idx="2082">
                  <c:v>18871</c:v>
                </c:pt>
                <c:pt idx="2083">
                  <c:v>18872</c:v>
                </c:pt>
                <c:pt idx="2084">
                  <c:v>18873</c:v>
                </c:pt>
                <c:pt idx="2085">
                  <c:v>18877</c:v>
                </c:pt>
                <c:pt idx="2086">
                  <c:v>18878</c:v>
                </c:pt>
                <c:pt idx="2087">
                  <c:v>18879</c:v>
                </c:pt>
                <c:pt idx="2088">
                  <c:v>18880</c:v>
                </c:pt>
                <c:pt idx="2089">
                  <c:v>18883</c:v>
                </c:pt>
                <c:pt idx="2090">
                  <c:v>18884</c:v>
                </c:pt>
                <c:pt idx="2091">
                  <c:v>18885</c:v>
                </c:pt>
                <c:pt idx="2092">
                  <c:v>18886</c:v>
                </c:pt>
                <c:pt idx="2093">
                  <c:v>18887</c:v>
                </c:pt>
                <c:pt idx="2094">
                  <c:v>18890</c:v>
                </c:pt>
                <c:pt idx="2095">
                  <c:v>18891</c:v>
                </c:pt>
                <c:pt idx="2096">
                  <c:v>18892</c:v>
                </c:pt>
                <c:pt idx="2097">
                  <c:v>18893</c:v>
                </c:pt>
                <c:pt idx="2098">
                  <c:v>18894</c:v>
                </c:pt>
                <c:pt idx="2099">
                  <c:v>18897</c:v>
                </c:pt>
                <c:pt idx="2100">
                  <c:v>18898</c:v>
                </c:pt>
                <c:pt idx="2101">
                  <c:v>18899</c:v>
                </c:pt>
                <c:pt idx="2102">
                  <c:v>18900</c:v>
                </c:pt>
                <c:pt idx="2103">
                  <c:v>18901</c:v>
                </c:pt>
                <c:pt idx="2104">
                  <c:v>18904</c:v>
                </c:pt>
                <c:pt idx="2105">
                  <c:v>18905</c:v>
                </c:pt>
                <c:pt idx="2106">
                  <c:v>18906</c:v>
                </c:pt>
                <c:pt idx="2107">
                  <c:v>18907</c:v>
                </c:pt>
                <c:pt idx="2108">
                  <c:v>18908</c:v>
                </c:pt>
                <c:pt idx="2109">
                  <c:v>18911</c:v>
                </c:pt>
                <c:pt idx="2110">
                  <c:v>18912</c:v>
                </c:pt>
                <c:pt idx="2111">
                  <c:v>18913</c:v>
                </c:pt>
                <c:pt idx="2112">
                  <c:v>18914</c:v>
                </c:pt>
                <c:pt idx="2113">
                  <c:v>18915</c:v>
                </c:pt>
                <c:pt idx="2114">
                  <c:v>18918</c:v>
                </c:pt>
                <c:pt idx="2115">
                  <c:v>18919</c:v>
                </c:pt>
                <c:pt idx="2116">
                  <c:v>18920</c:v>
                </c:pt>
                <c:pt idx="2117">
                  <c:v>18921</c:v>
                </c:pt>
                <c:pt idx="2118">
                  <c:v>18922</c:v>
                </c:pt>
                <c:pt idx="2119">
                  <c:v>18925</c:v>
                </c:pt>
                <c:pt idx="2120">
                  <c:v>18926</c:v>
                </c:pt>
                <c:pt idx="2121">
                  <c:v>18927</c:v>
                </c:pt>
                <c:pt idx="2122">
                  <c:v>18928</c:v>
                </c:pt>
                <c:pt idx="2123">
                  <c:v>18929</c:v>
                </c:pt>
                <c:pt idx="2124">
                  <c:v>18932</c:v>
                </c:pt>
                <c:pt idx="2125">
                  <c:v>18933</c:v>
                </c:pt>
                <c:pt idx="2126">
                  <c:v>18934</c:v>
                </c:pt>
                <c:pt idx="2127">
                  <c:v>18935</c:v>
                </c:pt>
                <c:pt idx="2128">
                  <c:v>18936</c:v>
                </c:pt>
                <c:pt idx="2129">
                  <c:v>18939</c:v>
                </c:pt>
                <c:pt idx="2130">
                  <c:v>18940</c:v>
                </c:pt>
                <c:pt idx="2131">
                  <c:v>18941</c:v>
                </c:pt>
                <c:pt idx="2132">
                  <c:v>18942</c:v>
                </c:pt>
                <c:pt idx="2133">
                  <c:v>18943</c:v>
                </c:pt>
                <c:pt idx="2134">
                  <c:v>18946</c:v>
                </c:pt>
                <c:pt idx="2135">
                  <c:v>18947</c:v>
                </c:pt>
                <c:pt idx="2136">
                  <c:v>18948</c:v>
                </c:pt>
                <c:pt idx="2137">
                  <c:v>18949</c:v>
                </c:pt>
                <c:pt idx="2138">
                  <c:v>18950</c:v>
                </c:pt>
                <c:pt idx="2139">
                  <c:v>18953</c:v>
                </c:pt>
                <c:pt idx="2140">
                  <c:v>18954</c:v>
                </c:pt>
                <c:pt idx="2141">
                  <c:v>18955</c:v>
                </c:pt>
                <c:pt idx="2142">
                  <c:v>18957</c:v>
                </c:pt>
                <c:pt idx="2143">
                  <c:v>18960</c:v>
                </c:pt>
                <c:pt idx="2144">
                  <c:v>18961</c:v>
                </c:pt>
                <c:pt idx="2145">
                  <c:v>18962</c:v>
                </c:pt>
                <c:pt idx="2146">
                  <c:v>18963</c:v>
                </c:pt>
                <c:pt idx="2147">
                  <c:v>18964</c:v>
                </c:pt>
                <c:pt idx="2148">
                  <c:v>18967</c:v>
                </c:pt>
                <c:pt idx="2149">
                  <c:v>18968</c:v>
                </c:pt>
                <c:pt idx="2150">
                  <c:v>18969</c:v>
                </c:pt>
                <c:pt idx="2151">
                  <c:v>18970</c:v>
                </c:pt>
                <c:pt idx="2152">
                  <c:v>18971</c:v>
                </c:pt>
                <c:pt idx="2153">
                  <c:v>18974</c:v>
                </c:pt>
                <c:pt idx="2154">
                  <c:v>18975</c:v>
                </c:pt>
                <c:pt idx="2155">
                  <c:v>18976</c:v>
                </c:pt>
                <c:pt idx="2156">
                  <c:v>18977</c:v>
                </c:pt>
                <c:pt idx="2157">
                  <c:v>18978</c:v>
                </c:pt>
                <c:pt idx="2158">
                  <c:v>18981</c:v>
                </c:pt>
                <c:pt idx="2159">
                  <c:v>18982</c:v>
                </c:pt>
                <c:pt idx="2160">
                  <c:v>18983</c:v>
                </c:pt>
                <c:pt idx="2161">
                  <c:v>18984</c:v>
                </c:pt>
                <c:pt idx="2162">
                  <c:v>18988</c:v>
                </c:pt>
                <c:pt idx="2163">
                  <c:v>18989</c:v>
                </c:pt>
                <c:pt idx="2164">
                  <c:v>18990</c:v>
                </c:pt>
                <c:pt idx="2165">
                  <c:v>18991</c:v>
                </c:pt>
                <c:pt idx="2166">
                  <c:v>18992</c:v>
                </c:pt>
                <c:pt idx="2167">
                  <c:v>18995</c:v>
                </c:pt>
                <c:pt idx="2168">
                  <c:v>18996</c:v>
                </c:pt>
                <c:pt idx="2169">
                  <c:v>18997</c:v>
                </c:pt>
                <c:pt idx="2170">
                  <c:v>18998</c:v>
                </c:pt>
                <c:pt idx="2171">
                  <c:v>18999</c:v>
                </c:pt>
                <c:pt idx="2172">
                  <c:v>19002</c:v>
                </c:pt>
                <c:pt idx="2173">
                  <c:v>19003</c:v>
                </c:pt>
                <c:pt idx="2174">
                  <c:v>19004</c:v>
                </c:pt>
                <c:pt idx="2175">
                  <c:v>19005</c:v>
                </c:pt>
                <c:pt idx="2176">
                  <c:v>19006</c:v>
                </c:pt>
                <c:pt idx="2177">
                  <c:v>19010</c:v>
                </c:pt>
                <c:pt idx="2178">
                  <c:v>19011</c:v>
                </c:pt>
                <c:pt idx="2179">
                  <c:v>19012</c:v>
                </c:pt>
                <c:pt idx="2180">
                  <c:v>19013</c:v>
                </c:pt>
                <c:pt idx="2181">
                  <c:v>19016</c:v>
                </c:pt>
                <c:pt idx="2182">
                  <c:v>19017</c:v>
                </c:pt>
                <c:pt idx="2183">
                  <c:v>19018</c:v>
                </c:pt>
                <c:pt idx="2184">
                  <c:v>19019</c:v>
                </c:pt>
                <c:pt idx="2185">
                  <c:v>19020</c:v>
                </c:pt>
                <c:pt idx="2186">
                  <c:v>19023</c:v>
                </c:pt>
                <c:pt idx="2187">
                  <c:v>19024</c:v>
                </c:pt>
                <c:pt idx="2188">
                  <c:v>19025</c:v>
                </c:pt>
                <c:pt idx="2189">
                  <c:v>19026</c:v>
                </c:pt>
                <c:pt idx="2190">
                  <c:v>19027</c:v>
                </c:pt>
                <c:pt idx="2191">
                  <c:v>19030</c:v>
                </c:pt>
                <c:pt idx="2192">
                  <c:v>19031</c:v>
                </c:pt>
                <c:pt idx="2193">
                  <c:v>19032</c:v>
                </c:pt>
                <c:pt idx="2194">
                  <c:v>19033</c:v>
                </c:pt>
                <c:pt idx="2195">
                  <c:v>19034</c:v>
                </c:pt>
                <c:pt idx="2196">
                  <c:v>19037</c:v>
                </c:pt>
                <c:pt idx="2197">
                  <c:v>19038</c:v>
                </c:pt>
                <c:pt idx="2198">
                  <c:v>19039</c:v>
                </c:pt>
                <c:pt idx="2199">
                  <c:v>19040</c:v>
                </c:pt>
                <c:pt idx="2200">
                  <c:v>19041</c:v>
                </c:pt>
                <c:pt idx="2201">
                  <c:v>19045</c:v>
                </c:pt>
                <c:pt idx="2202">
                  <c:v>19046</c:v>
                </c:pt>
                <c:pt idx="2203">
                  <c:v>19047</c:v>
                </c:pt>
                <c:pt idx="2204">
                  <c:v>19048</c:v>
                </c:pt>
                <c:pt idx="2205">
                  <c:v>19051</c:v>
                </c:pt>
                <c:pt idx="2206">
                  <c:v>19052</c:v>
                </c:pt>
                <c:pt idx="2207">
                  <c:v>19053</c:v>
                </c:pt>
                <c:pt idx="2208">
                  <c:v>19054</c:v>
                </c:pt>
                <c:pt idx="2209">
                  <c:v>19055</c:v>
                </c:pt>
                <c:pt idx="2210">
                  <c:v>19058</c:v>
                </c:pt>
                <c:pt idx="2211">
                  <c:v>19059</c:v>
                </c:pt>
                <c:pt idx="2212">
                  <c:v>19060</c:v>
                </c:pt>
                <c:pt idx="2213">
                  <c:v>19061</c:v>
                </c:pt>
                <c:pt idx="2214">
                  <c:v>19062</c:v>
                </c:pt>
                <c:pt idx="2215">
                  <c:v>19065</c:v>
                </c:pt>
                <c:pt idx="2216">
                  <c:v>19066</c:v>
                </c:pt>
                <c:pt idx="2217">
                  <c:v>19067</c:v>
                </c:pt>
                <c:pt idx="2218">
                  <c:v>19068</c:v>
                </c:pt>
                <c:pt idx="2219">
                  <c:v>19069</c:v>
                </c:pt>
                <c:pt idx="2220">
                  <c:v>19072</c:v>
                </c:pt>
                <c:pt idx="2221">
                  <c:v>19073</c:v>
                </c:pt>
                <c:pt idx="2222">
                  <c:v>19074</c:v>
                </c:pt>
                <c:pt idx="2223">
                  <c:v>19075</c:v>
                </c:pt>
                <c:pt idx="2224">
                  <c:v>19076</c:v>
                </c:pt>
                <c:pt idx="2225">
                  <c:v>19079</c:v>
                </c:pt>
                <c:pt idx="2226">
                  <c:v>19080</c:v>
                </c:pt>
                <c:pt idx="2227">
                  <c:v>19081</c:v>
                </c:pt>
                <c:pt idx="2228">
                  <c:v>19082</c:v>
                </c:pt>
                <c:pt idx="2229">
                  <c:v>19083</c:v>
                </c:pt>
                <c:pt idx="2230">
                  <c:v>19086</c:v>
                </c:pt>
                <c:pt idx="2231">
                  <c:v>19087</c:v>
                </c:pt>
                <c:pt idx="2232">
                  <c:v>19088</c:v>
                </c:pt>
                <c:pt idx="2233">
                  <c:v>19089</c:v>
                </c:pt>
                <c:pt idx="2234">
                  <c:v>19090</c:v>
                </c:pt>
                <c:pt idx="2235">
                  <c:v>19093</c:v>
                </c:pt>
                <c:pt idx="2236">
                  <c:v>19094</c:v>
                </c:pt>
                <c:pt idx="2237">
                  <c:v>19095</c:v>
                </c:pt>
                <c:pt idx="2238">
                  <c:v>19096</c:v>
                </c:pt>
                <c:pt idx="2239">
                  <c:v>19100</c:v>
                </c:pt>
                <c:pt idx="2240">
                  <c:v>19101</c:v>
                </c:pt>
                <c:pt idx="2241">
                  <c:v>19102</c:v>
                </c:pt>
                <c:pt idx="2242">
                  <c:v>19103</c:v>
                </c:pt>
                <c:pt idx="2243">
                  <c:v>19104</c:v>
                </c:pt>
                <c:pt idx="2244">
                  <c:v>19107</c:v>
                </c:pt>
                <c:pt idx="2245">
                  <c:v>19108</c:v>
                </c:pt>
                <c:pt idx="2246">
                  <c:v>19109</c:v>
                </c:pt>
                <c:pt idx="2247">
                  <c:v>19110</c:v>
                </c:pt>
                <c:pt idx="2248">
                  <c:v>19111</c:v>
                </c:pt>
                <c:pt idx="2249">
                  <c:v>19114</c:v>
                </c:pt>
                <c:pt idx="2250">
                  <c:v>19115</c:v>
                </c:pt>
                <c:pt idx="2251">
                  <c:v>19116</c:v>
                </c:pt>
                <c:pt idx="2252">
                  <c:v>19117</c:v>
                </c:pt>
                <c:pt idx="2253">
                  <c:v>19118</c:v>
                </c:pt>
                <c:pt idx="2254">
                  <c:v>19121</c:v>
                </c:pt>
                <c:pt idx="2255">
                  <c:v>19122</c:v>
                </c:pt>
                <c:pt idx="2256">
                  <c:v>19123</c:v>
                </c:pt>
                <c:pt idx="2257">
                  <c:v>19124</c:v>
                </c:pt>
                <c:pt idx="2258">
                  <c:v>19125</c:v>
                </c:pt>
                <c:pt idx="2259">
                  <c:v>19128</c:v>
                </c:pt>
                <c:pt idx="2260">
                  <c:v>19129</c:v>
                </c:pt>
                <c:pt idx="2261">
                  <c:v>19130</c:v>
                </c:pt>
                <c:pt idx="2262">
                  <c:v>19131</c:v>
                </c:pt>
                <c:pt idx="2263">
                  <c:v>19132</c:v>
                </c:pt>
                <c:pt idx="2264">
                  <c:v>19135</c:v>
                </c:pt>
                <c:pt idx="2265">
                  <c:v>19136</c:v>
                </c:pt>
                <c:pt idx="2266">
                  <c:v>19137</c:v>
                </c:pt>
                <c:pt idx="2267">
                  <c:v>19138</c:v>
                </c:pt>
                <c:pt idx="2268">
                  <c:v>19139</c:v>
                </c:pt>
                <c:pt idx="2269">
                  <c:v>19143</c:v>
                </c:pt>
                <c:pt idx="2270">
                  <c:v>19144</c:v>
                </c:pt>
                <c:pt idx="2271">
                  <c:v>19145</c:v>
                </c:pt>
                <c:pt idx="2272">
                  <c:v>19146</c:v>
                </c:pt>
                <c:pt idx="2273">
                  <c:v>19149</c:v>
                </c:pt>
                <c:pt idx="2274">
                  <c:v>19150</c:v>
                </c:pt>
                <c:pt idx="2275">
                  <c:v>19151</c:v>
                </c:pt>
                <c:pt idx="2276">
                  <c:v>19152</c:v>
                </c:pt>
                <c:pt idx="2277">
                  <c:v>19153</c:v>
                </c:pt>
                <c:pt idx="2278">
                  <c:v>19156</c:v>
                </c:pt>
                <c:pt idx="2279">
                  <c:v>19157</c:v>
                </c:pt>
                <c:pt idx="2280">
                  <c:v>19158</c:v>
                </c:pt>
                <c:pt idx="2281">
                  <c:v>19159</c:v>
                </c:pt>
                <c:pt idx="2282">
                  <c:v>19160</c:v>
                </c:pt>
                <c:pt idx="2283">
                  <c:v>19164</c:v>
                </c:pt>
                <c:pt idx="2284">
                  <c:v>19165</c:v>
                </c:pt>
                <c:pt idx="2285">
                  <c:v>19166</c:v>
                </c:pt>
                <c:pt idx="2286">
                  <c:v>19167</c:v>
                </c:pt>
                <c:pt idx="2287">
                  <c:v>19170</c:v>
                </c:pt>
                <c:pt idx="2288">
                  <c:v>19171</c:v>
                </c:pt>
                <c:pt idx="2289">
                  <c:v>19172</c:v>
                </c:pt>
                <c:pt idx="2290">
                  <c:v>19173</c:v>
                </c:pt>
                <c:pt idx="2291">
                  <c:v>19174</c:v>
                </c:pt>
                <c:pt idx="2292">
                  <c:v>19178</c:v>
                </c:pt>
                <c:pt idx="2293">
                  <c:v>19179</c:v>
                </c:pt>
                <c:pt idx="2294">
                  <c:v>19180</c:v>
                </c:pt>
                <c:pt idx="2295">
                  <c:v>19181</c:v>
                </c:pt>
                <c:pt idx="2296">
                  <c:v>19184</c:v>
                </c:pt>
                <c:pt idx="2297">
                  <c:v>19185</c:v>
                </c:pt>
                <c:pt idx="2298">
                  <c:v>19186</c:v>
                </c:pt>
                <c:pt idx="2299">
                  <c:v>19187</c:v>
                </c:pt>
                <c:pt idx="2300">
                  <c:v>19188</c:v>
                </c:pt>
                <c:pt idx="2301">
                  <c:v>19191</c:v>
                </c:pt>
                <c:pt idx="2302">
                  <c:v>19192</c:v>
                </c:pt>
                <c:pt idx="2303">
                  <c:v>19193</c:v>
                </c:pt>
                <c:pt idx="2304">
                  <c:v>19194</c:v>
                </c:pt>
                <c:pt idx="2305">
                  <c:v>19195</c:v>
                </c:pt>
                <c:pt idx="2306">
                  <c:v>19198</c:v>
                </c:pt>
                <c:pt idx="2307">
                  <c:v>19199</c:v>
                </c:pt>
                <c:pt idx="2308">
                  <c:v>19200</c:v>
                </c:pt>
                <c:pt idx="2309">
                  <c:v>19201</c:v>
                </c:pt>
                <c:pt idx="2310">
                  <c:v>19202</c:v>
                </c:pt>
                <c:pt idx="2311">
                  <c:v>19205</c:v>
                </c:pt>
                <c:pt idx="2312">
                  <c:v>19206</c:v>
                </c:pt>
                <c:pt idx="2313">
                  <c:v>19207</c:v>
                </c:pt>
                <c:pt idx="2314">
                  <c:v>19208</c:v>
                </c:pt>
                <c:pt idx="2315">
                  <c:v>19209</c:v>
                </c:pt>
                <c:pt idx="2316">
                  <c:v>19212</c:v>
                </c:pt>
                <c:pt idx="2317">
                  <c:v>19213</c:v>
                </c:pt>
                <c:pt idx="2318">
                  <c:v>19214</c:v>
                </c:pt>
                <c:pt idx="2319">
                  <c:v>19215</c:v>
                </c:pt>
                <c:pt idx="2320">
                  <c:v>19216</c:v>
                </c:pt>
                <c:pt idx="2321">
                  <c:v>19219</c:v>
                </c:pt>
                <c:pt idx="2322">
                  <c:v>19220</c:v>
                </c:pt>
                <c:pt idx="2323">
                  <c:v>19221</c:v>
                </c:pt>
                <c:pt idx="2324">
                  <c:v>19222</c:v>
                </c:pt>
                <c:pt idx="2325">
                  <c:v>19223</c:v>
                </c:pt>
                <c:pt idx="2326">
                  <c:v>19226</c:v>
                </c:pt>
                <c:pt idx="2327">
                  <c:v>19227</c:v>
                </c:pt>
                <c:pt idx="2328">
                  <c:v>19228</c:v>
                </c:pt>
                <c:pt idx="2329">
                  <c:v>19229</c:v>
                </c:pt>
                <c:pt idx="2330">
                  <c:v>19230</c:v>
                </c:pt>
                <c:pt idx="2331">
                  <c:v>19233</c:v>
                </c:pt>
                <c:pt idx="2332">
                  <c:v>19234</c:v>
                </c:pt>
                <c:pt idx="2333">
                  <c:v>19235</c:v>
                </c:pt>
                <c:pt idx="2334">
                  <c:v>19236</c:v>
                </c:pt>
                <c:pt idx="2335">
                  <c:v>19237</c:v>
                </c:pt>
                <c:pt idx="2336">
                  <c:v>19241</c:v>
                </c:pt>
                <c:pt idx="2337">
                  <c:v>19242</c:v>
                </c:pt>
                <c:pt idx="2338">
                  <c:v>19243</c:v>
                </c:pt>
                <c:pt idx="2339">
                  <c:v>19244</c:v>
                </c:pt>
                <c:pt idx="2340">
                  <c:v>19247</c:v>
                </c:pt>
                <c:pt idx="2341">
                  <c:v>19248</c:v>
                </c:pt>
                <c:pt idx="2342">
                  <c:v>19249</c:v>
                </c:pt>
                <c:pt idx="2343">
                  <c:v>19250</c:v>
                </c:pt>
                <c:pt idx="2344">
                  <c:v>19251</c:v>
                </c:pt>
                <c:pt idx="2345">
                  <c:v>19254</c:v>
                </c:pt>
                <c:pt idx="2346">
                  <c:v>19255</c:v>
                </c:pt>
                <c:pt idx="2347">
                  <c:v>19256</c:v>
                </c:pt>
                <c:pt idx="2348">
                  <c:v>19257</c:v>
                </c:pt>
                <c:pt idx="2349">
                  <c:v>19258</c:v>
                </c:pt>
                <c:pt idx="2350">
                  <c:v>19261</c:v>
                </c:pt>
                <c:pt idx="2351">
                  <c:v>19262</c:v>
                </c:pt>
                <c:pt idx="2352">
                  <c:v>19263</c:v>
                </c:pt>
                <c:pt idx="2353">
                  <c:v>19264</c:v>
                </c:pt>
                <c:pt idx="2354">
                  <c:v>19265</c:v>
                </c:pt>
                <c:pt idx="2355">
                  <c:v>19268</c:v>
                </c:pt>
                <c:pt idx="2356">
                  <c:v>19269</c:v>
                </c:pt>
                <c:pt idx="2357">
                  <c:v>19270</c:v>
                </c:pt>
                <c:pt idx="2358">
                  <c:v>19271</c:v>
                </c:pt>
                <c:pt idx="2359">
                  <c:v>19272</c:v>
                </c:pt>
                <c:pt idx="2360">
                  <c:v>19275</c:v>
                </c:pt>
                <c:pt idx="2361">
                  <c:v>19276</c:v>
                </c:pt>
                <c:pt idx="2362">
                  <c:v>19277</c:v>
                </c:pt>
                <c:pt idx="2363">
                  <c:v>19278</c:v>
                </c:pt>
                <c:pt idx="2364">
                  <c:v>19279</c:v>
                </c:pt>
                <c:pt idx="2365">
                  <c:v>19282</c:v>
                </c:pt>
                <c:pt idx="2366">
                  <c:v>19283</c:v>
                </c:pt>
                <c:pt idx="2367">
                  <c:v>19284</c:v>
                </c:pt>
                <c:pt idx="2368">
                  <c:v>19285</c:v>
                </c:pt>
                <c:pt idx="2369">
                  <c:v>19286</c:v>
                </c:pt>
                <c:pt idx="2370">
                  <c:v>19289</c:v>
                </c:pt>
                <c:pt idx="2371">
                  <c:v>19290</c:v>
                </c:pt>
                <c:pt idx="2372">
                  <c:v>19291</c:v>
                </c:pt>
                <c:pt idx="2373">
                  <c:v>19292</c:v>
                </c:pt>
                <c:pt idx="2374">
                  <c:v>19293</c:v>
                </c:pt>
                <c:pt idx="2375">
                  <c:v>19296</c:v>
                </c:pt>
                <c:pt idx="2376">
                  <c:v>19297</c:v>
                </c:pt>
                <c:pt idx="2377">
                  <c:v>19298</c:v>
                </c:pt>
                <c:pt idx="2378">
                  <c:v>19299</c:v>
                </c:pt>
                <c:pt idx="2379">
                  <c:v>19300</c:v>
                </c:pt>
                <c:pt idx="2380">
                  <c:v>19303</c:v>
                </c:pt>
                <c:pt idx="2381">
                  <c:v>19304</c:v>
                </c:pt>
                <c:pt idx="2382">
                  <c:v>19305</c:v>
                </c:pt>
                <c:pt idx="2383">
                  <c:v>19306</c:v>
                </c:pt>
                <c:pt idx="2384">
                  <c:v>19307</c:v>
                </c:pt>
                <c:pt idx="2385">
                  <c:v>19310</c:v>
                </c:pt>
                <c:pt idx="2386">
                  <c:v>19311</c:v>
                </c:pt>
                <c:pt idx="2387">
                  <c:v>19312</c:v>
                </c:pt>
                <c:pt idx="2388">
                  <c:v>19313</c:v>
                </c:pt>
                <c:pt idx="2389">
                  <c:v>19314</c:v>
                </c:pt>
                <c:pt idx="2390">
                  <c:v>19317</c:v>
                </c:pt>
                <c:pt idx="2391">
                  <c:v>19318</c:v>
                </c:pt>
                <c:pt idx="2392">
                  <c:v>19319</c:v>
                </c:pt>
                <c:pt idx="2393">
                  <c:v>19321</c:v>
                </c:pt>
                <c:pt idx="2394">
                  <c:v>19324</c:v>
                </c:pt>
                <c:pt idx="2395">
                  <c:v>19325</c:v>
                </c:pt>
                <c:pt idx="2396">
                  <c:v>19326</c:v>
                </c:pt>
                <c:pt idx="2397">
                  <c:v>19327</c:v>
                </c:pt>
                <c:pt idx="2398">
                  <c:v>19328</c:v>
                </c:pt>
                <c:pt idx="2399">
                  <c:v>19331</c:v>
                </c:pt>
                <c:pt idx="2400">
                  <c:v>19332</c:v>
                </c:pt>
                <c:pt idx="2401">
                  <c:v>19333</c:v>
                </c:pt>
                <c:pt idx="2402">
                  <c:v>19334</c:v>
                </c:pt>
                <c:pt idx="2403">
                  <c:v>19335</c:v>
                </c:pt>
                <c:pt idx="2404">
                  <c:v>19338</c:v>
                </c:pt>
                <c:pt idx="2405">
                  <c:v>19339</c:v>
                </c:pt>
                <c:pt idx="2406">
                  <c:v>19340</c:v>
                </c:pt>
                <c:pt idx="2407">
                  <c:v>19341</c:v>
                </c:pt>
                <c:pt idx="2408">
                  <c:v>19342</c:v>
                </c:pt>
                <c:pt idx="2409">
                  <c:v>19345</c:v>
                </c:pt>
                <c:pt idx="2410">
                  <c:v>19346</c:v>
                </c:pt>
                <c:pt idx="2411">
                  <c:v>19347</c:v>
                </c:pt>
                <c:pt idx="2412">
                  <c:v>19348</c:v>
                </c:pt>
                <c:pt idx="2413">
                  <c:v>19349</c:v>
                </c:pt>
                <c:pt idx="2414">
                  <c:v>19353</c:v>
                </c:pt>
                <c:pt idx="2415">
                  <c:v>19354</c:v>
                </c:pt>
                <c:pt idx="2416">
                  <c:v>19355</c:v>
                </c:pt>
                <c:pt idx="2417">
                  <c:v>19356</c:v>
                </c:pt>
                <c:pt idx="2418">
                  <c:v>19360</c:v>
                </c:pt>
                <c:pt idx="2419">
                  <c:v>19361</c:v>
                </c:pt>
                <c:pt idx="2420">
                  <c:v>19362</c:v>
                </c:pt>
                <c:pt idx="2421">
                  <c:v>19363</c:v>
                </c:pt>
                <c:pt idx="2422">
                  <c:v>19366</c:v>
                </c:pt>
                <c:pt idx="2423">
                  <c:v>19367</c:v>
                </c:pt>
                <c:pt idx="2424">
                  <c:v>19368</c:v>
                </c:pt>
                <c:pt idx="2425">
                  <c:v>19369</c:v>
                </c:pt>
                <c:pt idx="2426">
                  <c:v>19370</c:v>
                </c:pt>
                <c:pt idx="2427">
                  <c:v>19374</c:v>
                </c:pt>
                <c:pt idx="2428">
                  <c:v>19375</c:v>
                </c:pt>
                <c:pt idx="2429">
                  <c:v>19376</c:v>
                </c:pt>
                <c:pt idx="2430">
                  <c:v>19377</c:v>
                </c:pt>
                <c:pt idx="2431">
                  <c:v>19380</c:v>
                </c:pt>
                <c:pt idx="2432">
                  <c:v>19381</c:v>
                </c:pt>
                <c:pt idx="2433">
                  <c:v>19382</c:v>
                </c:pt>
                <c:pt idx="2434">
                  <c:v>19383</c:v>
                </c:pt>
                <c:pt idx="2435">
                  <c:v>19384</c:v>
                </c:pt>
                <c:pt idx="2436">
                  <c:v>19387</c:v>
                </c:pt>
                <c:pt idx="2437">
                  <c:v>19388</c:v>
                </c:pt>
                <c:pt idx="2438">
                  <c:v>19389</c:v>
                </c:pt>
                <c:pt idx="2439">
                  <c:v>19390</c:v>
                </c:pt>
                <c:pt idx="2440">
                  <c:v>19391</c:v>
                </c:pt>
                <c:pt idx="2441">
                  <c:v>19394</c:v>
                </c:pt>
                <c:pt idx="2442">
                  <c:v>19395</c:v>
                </c:pt>
                <c:pt idx="2443">
                  <c:v>19396</c:v>
                </c:pt>
                <c:pt idx="2444">
                  <c:v>19397</c:v>
                </c:pt>
                <c:pt idx="2445">
                  <c:v>19398</c:v>
                </c:pt>
                <c:pt idx="2446">
                  <c:v>19401</c:v>
                </c:pt>
                <c:pt idx="2447">
                  <c:v>19402</c:v>
                </c:pt>
                <c:pt idx="2448">
                  <c:v>19403</c:v>
                </c:pt>
                <c:pt idx="2449">
                  <c:v>19404</c:v>
                </c:pt>
                <c:pt idx="2450">
                  <c:v>19405</c:v>
                </c:pt>
                <c:pt idx="2451">
                  <c:v>19409</c:v>
                </c:pt>
                <c:pt idx="2452">
                  <c:v>19410</c:v>
                </c:pt>
                <c:pt idx="2453">
                  <c:v>19411</c:v>
                </c:pt>
                <c:pt idx="2454">
                  <c:v>19412</c:v>
                </c:pt>
                <c:pt idx="2455">
                  <c:v>19415</c:v>
                </c:pt>
                <c:pt idx="2456">
                  <c:v>19416</c:v>
                </c:pt>
                <c:pt idx="2457">
                  <c:v>19417</c:v>
                </c:pt>
                <c:pt idx="2458">
                  <c:v>19418</c:v>
                </c:pt>
                <c:pt idx="2459">
                  <c:v>19419</c:v>
                </c:pt>
                <c:pt idx="2460">
                  <c:v>19422</c:v>
                </c:pt>
                <c:pt idx="2461">
                  <c:v>19423</c:v>
                </c:pt>
                <c:pt idx="2462">
                  <c:v>19424</c:v>
                </c:pt>
                <c:pt idx="2463">
                  <c:v>19425</c:v>
                </c:pt>
                <c:pt idx="2464">
                  <c:v>19426</c:v>
                </c:pt>
                <c:pt idx="2465">
                  <c:v>19429</c:v>
                </c:pt>
                <c:pt idx="2466">
                  <c:v>19430</c:v>
                </c:pt>
                <c:pt idx="2467">
                  <c:v>19431</c:v>
                </c:pt>
                <c:pt idx="2468">
                  <c:v>19432</c:v>
                </c:pt>
                <c:pt idx="2469">
                  <c:v>19433</c:v>
                </c:pt>
                <c:pt idx="2470">
                  <c:v>19436</c:v>
                </c:pt>
                <c:pt idx="2471">
                  <c:v>19437</c:v>
                </c:pt>
                <c:pt idx="2472">
                  <c:v>19438</c:v>
                </c:pt>
                <c:pt idx="2473">
                  <c:v>19439</c:v>
                </c:pt>
                <c:pt idx="2474">
                  <c:v>19440</c:v>
                </c:pt>
                <c:pt idx="2475">
                  <c:v>19443</c:v>
                </c:pt>
                <c:pt idx="2476">
                  <c:v>19444</c:v>
                </c:pt>
                <c:pt idx="2477">
                  <c:v>19445</c:v>
                </c:pt>
                <c:pt idx="2478">
                  <c:v>19446</c:v>
                </c:pt>
                <c:pt idx="2479">
                  <c:v>19447</c:v>
                </c:pt>
                <c:pt idx="2480">
                  <c:v>19450</c:v>
                </c:pt>
                <c:pt idx="2481">
                  <c:v>19451</c:v>
                </c:pt>
                <c:pt idx="2482">
                  <c:v>19452</c:v>
                </c:pt>
                <c:pt idx="2483">
                  <c:v>19453</c:v>
                </c:pt>
                <c:pt idx="2484">
                  <c:v>19457</c:v>
                </c:pt>
                <c:pt idx="2485">
                  <c:v>19458</c:v>
                </c:pt>
                <c:pt idx="2486">
                  <c:v>19459</c:v>
                </c:pt>
                <c:pt idx="2487">
                  <c:v>19460</c:v>
                </c:pt>
                <c:pt idx="2488">
                  <c:v>19461</c:v>
                </c:pt>
                <c:pt idx="2489">
                  <c:v>19464</c:v>
                </c:pt>
                <c:pt idx="2490">
                  <c:v>19465</c:v>
                </c:pt>
                <c:pt idx="2491">
                  <c:v>19466</c:v>
                </c:pt>
                <c:pt idx="2492">
                  <c:v>19467</c:v>
                </c:pt>
                <c:pt idx="2493">
                  <c:v>19468</c:v>
                </c:pt>
                <c:pt idx="2494">
                  <c:v>19471</c:v>
                </c:pt>
                <c:pt idx="2495">
                  <c:v>19472</c:v>
                </c:pt>
                <c:pt idx="2496">
                  <c:v>19473</c:v>
                </c:pt>
                <c:pt idx="2497">
                  <c:v>19474</c:v>
                </c:pt>
                <c:pt idx="2498">
                  <c:v>19475</c:v>
                </c:pt>
                <c:pt idx="2499">
                  <c:v>19478</c:v>
                </c:pt>
                <c:pt idx="2500">
                  <c:v>19479</c:v>
                </c:pt>
                <c:pt idx="2501">
                  <c:v>19480</c:v>
                </c:pt>
                <c:pt idx="2502">
                  <c:v>19481</c:v>
                </c:pt>
                <c:pt idx="2503">
                  <c:v>19482</c:v>
                </c:pt>
                <c:pt idx="2504">
                  <c:v>19485</c:v>
                </c:pt>
                <c:pt idx="2505">
                  <c:v>19486</c:v>
                </c:pt>
                <c:pt idx="2506">
                  <c:v>19487</c:v>
                </c:pt>
                <c:pt idx="2507">
                  <c:v>19488</c:v>
                </c:pt>
                <c:pt idx="2508">
                  <c:v>19489</c:v>
                </c:pt>
                <c:pt idx="2509">
                  <c:v>19492</c:v>
                </c:pt>
                <c:pt idx="2510">
                  <c:v>19493</c:v>
                </c:pt>
                <c:pt idx="2511">
                  <c:v>19494</c:v>
                </c:pt>
                <c:pt idx="2512">
                  <c:v>19495</c:v>
                </c:pt>
                <c:pt idx="2513">
                  <c:v>19496</c:v>
                </c:pt>
                <c:pt idx="2514">
                  <c:v>19499</c:v>
                </c:pt>
                <c:pt idx="2515">
                  <c:v>19500</c:v>
                </c:pt>
                <c:pt idx="2516">
                  <c:v>19501</c:v>
                </c:pt>
                <c:pt idx="2517">
                  <c:v>19502</c:v>
                </c:pt>
                <c:pt idx="2518">
                  <c:v>19503</c:v>
                </c:pt>
              </c:numCache>
            </c:numRef>
          </c:xVal>
          <c:yVal>
            <c:numRef>
              <c:f>Sheet1!$A$3:$CRW$3</c:f>
              <c:numCache>
                <c:formatCode>General</c:formatCode>
                <c:ptCount val="2519"/>
                <c:pt idx="0">
                  <c:v>0</c:v>
                </c:pt>
                <c:pt idx="1">
                  <c:v>-0.7</c:v>
                </c:pt>
                <c:pt idx="2">
                  <c:v>-0.34</c:v>
                </c:pt>
                <c:pt idx="3">
                  <c:v>-1.77</c:v>
                </c:pt>
                <c:pt idx="4">
                  <c:v>-1.18</c:v>
                </c:pt>
                <c:pt idx="5">
                  <c:v>-1.73</c:v>
                </c:pt>
                <c:pt idx="6">
                  <c:v>-3.08</c:v>
                </c:pt>
                <c:pt idx="7">
                  <c:v>-2.2599999999999998</c:v>
                </c:pt>
                <c:pt idx="8">
                  <c:v>-1</c:v>
                </c:pt>
                <c:pt idx="9">
                  <c:v>-1.04</c:v>
                </c:pt>
                <c:pt idx="10">
                  <c:v>-2.04</c:v>
                </c:pt>
                <c:pt idx="11">
                  <c:v>-2.86</c:v>
                </c:pt>
                <c:pt idx="12">
                  <c:v>-1.43</c:v>
                </c:pt>
                <c:pt idx="13">
                  <c:v>-2.0099999999999998</c:v>
                </c:pt>
                <c:pt idx="14">
                  <c:v>-1.27</c:v>
                </c:pt>
                <c:pt idx="15">
                  <c:v>-0.5</c:v>
                </c:pt>
                <c:pt idx="16">
                  <c:v>-1.88</c:v>
                </c:pt>
                <c:pt idx="17">
                  <c:v>-4.33</c:v>
                </c:pt>
                <c:pt idx="18">
                  <c:v>-4.07</c:v>
                </c:pt>
                <c:pt idx="19">
                  <c:v>-5.24</c:v>
                </c:pt>
                <c:pt idx="20">
                  <c:v>-4.34</c:v>
                </c:pt>
                <c:pt idx="21">
                  <c:v>-3.42</c:v>
                </c:pt>
                <c:pt idx="22">
                  <c:v>-2.82</c:v>
                </c:pt>
                <c:pt idx="23">
                  <c:v>-3.24</c:v>
                </c:pt>
                <c:pt idx="24">
                  <c:v>-2.72</c:v>
                </c:pt>
                <c:pt idx="25">
                  <c:v>-2.77</c:v>
                </c:pt>
                <c:pt idx="26">
                  <c:v>-2.69</c:v>
                </c:pt>
                <c:pt idx="27">
                  <c:v>-1.7</c:v>
                </c:pt>
                <c:pt idx="28">
                  <c:v>-1.18</c:v>
                </c:pt>
                <c:pt idx="29">
                  <c:v>-0.47</c:v>
                </c:pt>
                <c:pt idx="30">
                  <c:v>-0.45</c:v>
                </c:pt>
                <c:pt idx="31">
                  <c:v>0.9</c:v>
                </c:pt>
                <c:pt idx="32">
                  <c:v>1.21</c:v>
                </c:pt>
                <c:pt idx="33">
                  <c:v>1.35</c:v>
                </c:pt>
                <c:pt idx="34">
                  <c:v>0.98</c:v>
                </c:pt>
                <c:pt idx="35">
                  <c:v>1.26</c:v>
                </c:pt>
                <c:pt idx="36">
                  <c:v>1.77</c:v>
                </c:pt>
                <c:pt idx="37">
                  <c:v>1.93</c:v>
                </c:pt>
                <c:pt idx="38">
                  <c:v>2.14</c:v>
                </c:pt>
                <c:pt idx="39">
                  <c:v>1.95</c:v>
                </c:pt>
                <c:pt idx="40">
                  <c:v>1.56</c:v>
                </c:pt>
                <c:pt idx="41">
                  <c:v>1.82</c:v>
                </c:pt>
                <c:pt idx="42">
                  <c:v>1.9</c:v>
                </c:pt>
                <c:pt idx="43">
                  <c:v>1.52</c:v>
                </c:pt>
                <c:pt idx="44">
                  <c:v>1.56</c:v>
                </c:pt>
                <c:pt idx="45">
                  <c:v>1.55</c:v>
                </c:pt>
                <c:pt idx="46">
                  <c:v>2.82</c:v>
                </c:pt>
                <c:pt idx="47">
                  <c:v>2.99</c:v>
                </c:pt>
                <c:pt idx="48">
                  <c:v>2.84</c:v>
                </c:pt>
                <c:pt idx="49">
                  <c:v>2.25</c:v>
                </c:pt>
                <c:pt idx="50">
                  <c:v>1.86</c:v>
                </c:pt>
                <c:pt idx="51">
                  <c:v>2.25</c:v>
                </c:pt>
                <c:pt idx="52">
                  <c:v>1.89</c:v>
                </c:pt>
                <c:pt idx="53">
                  <c:v>1.77</c:v>
                </c:pt>
                <c:pt idx="54">
                  <c:v>2.0499999999999998</c:v>
                </c:pt>
                <c:pt idx="55">
                  <c:v>1.53</c:v>
                </c:pt>
                <c:pt idx="56">
                  <c:v>0.08</c:v>
                </c:pt>
                <c:pt idx="57">
                  <c:v>-0.25</c:v>
                </c:pt>
                <c:pt idx="58">
                  <c:v>-0.84</c:v>
                </c:pt>
                <c:pt idx="59">
                  <c:v>-0.46</c:v>
                </c:pt>
                <c:pt idx="60">
                  <c:v>-1.04</c:v>
                </c:pt>
                <c:pt idx="61">
                  <c:v>-0.19</c:v>
                </c:pt>
                <c:pt idx="62">
                  <c:v>0.21</c:v>
                </c:pt>
                <c:pt idx="63">
                  <c:v>-0.2</c:v>
                </c:pt>
                <c:pt idx="64">
                  <c:v>-1.78</c:v>
                </c:pt>
                <c:pt idx="65">
                  <c:v>-1.51</c:v>
                </c:pt>
                <c:pt idx="66">
                  <c:v>-1.32</c:v>
                </c:pt>
                <c:pt idx="67">
                  <c:v>-1.63</c:v>
                </c:pt>
                <c:pt idx="68">
                  <c:v>-1.22</c:v>
                </c:pt>
                <c:pt idx="69">
                  <c:v>-0.42</c:v>
                </c:pt>
                <c:pt idx="70">
                  <c:v>-0.3</c:v>
                </c:pt>
                <c:pt idx="71">
                  <c:v>-0.28999999999999998</c:v>
                </c:pt>
                <c:pt idx="72">
                  <c:v>0.7</c:v>
                </c:pt>
                <c:pt idx="73">
                  <c:v>1.44</c:v>
                </c:pt>
                <c:pt idx="74">
                  <c:v>1.75</c:v>
                </c:pt>
                <c:pt idx="75">
                  <c:v>1.41</c:v>
                </c:pt>
                <c:pt idx="76">
                  <c:v>1.68</c:v>
                </c:pt>
                <c:pt idx="77">
                  <c:v>2.2599999999999998</c:v>
                </c:pt>
                <c:pt idx="78">
                  <c:v>2.69</c:v>
                </c:pt>
                <c:pt idx="79">
                  <c:v>3.94</c:v>
                </c:pt>
                <c:pt idx="80">
                  <c:v>3.75</c:v>
                </c:pt>
                <c:pt idx="81">
                  <c:v>3</c:v>
                </c:pt>
                <c:pt idx="82">
                  <c:v>2.52</c:v>
                </c:pt>
                <c:pt idx="83">
                  <c:v>2.25</c:v>
                </c:pt>
                <c:pt idx="84">
                  <c:v>1.97</c:v>
                </c:pt>
                <c:pt idx="85">
                  <c:v>2.33</c:v>
                </c:pt>
                <c:pt idx="86">
                  <c:v>1.91</c:v>
                </c:pt>
                <c:pt idx="87">
                  <c:v>1.29</c:v>
                </c:pt>
                <c:pt idx="88">
                  <c:v>2.1</c:v>
                </c:pt>
                <c:pt idx="89">
                  <c:v>2.04</c:v>
                </c:pt>
                <c:pt idx="90">
                  <c:v>1.1200000000000001</c:v>
                </c:pt>
                <c:pt idx="91">
                  <c:v>1.83</c:v>
                </c:pt>
                <c:pt idx="92">
                  <c:v>0.97</c:v>
                </c:pt>
                <c:pt idx="93">
                  <c:v>-0.28000000000000003</c:v>
                </c:pt>
                <c:pt idx="94">
                  <c:v>-0.22</c:v>
                </c:pt>
                <c:pt idx="95">
                  <c:v>1.96</c:v>
                </c:pt>
                <c:pt idx="96">
                  <c:v>2.6</c:v>
                </c:pt>
                <c:pt idx="97">
                  <c:v>3.02</c:v>
                </c:pt>
                <c:pt idx="98">
                  <c:v>2.29</c:v>
                </c:pt>
                <c:pt idx="99">
                  <c:v>3.7</c:v>
                </c:pt>
                <c:pt idx="100">
                  <c:v>4.4000000000000004</c:v>
                </c:pt>
                <c:pt idx="101">
                  <c:v>5.09</c:v>
                </c:pt>
                <c:pt idx="102">
                  <c:v>5.0999999999999996</c:v>
                </c:pt>
                <c:pt idx="103">
                  <c:v>5.7</c:v>
                </c:pt>
                <c:pt idx="104">
                  <c:v>5.2</c:v>
                </c:pt>
                <c:pt idx="105">
                  <c:v>5.54</c:v>
                </c:pt>
                <c:pt idx="106">
                  <c:v>6.01</c:v>
                </c:pt>
                <c:pt idx="107">
                  <c:v>6.15</c:v>
                </c:pt>
                <c:pt idx="108">
                  <c:v>6.74</c:v>
                </c:pt>
                <c:pt idx="109">
                  <c:v>6.22</c:v>
                </c:pt>
                <c:pt idx="110">
                  <c:v>5.81</c:v>
                </c:pt>
                <c:pt idx="111">
                  <c:v>6.12</c:v>
                </c:pt>
                <c:pt idx="112">
                  <c:v>6.5</c:v>
                </c:pt>
                <c:pt idx="113">
                  <c:v>6.2</c:v>
                </c:pt>
                <c:pt idx="114">
                  <c:v>6.65</c:v>
                </c:pt>
                <c:pt idx="115">
                  <c:v>5.25</c:v>
                </c:pt>
                <c:pt idx="116">
                  <c:v>6.66</c:v>
                </c:pt>
                <c:pt idx="117">
                  <c:v>6.74</c:v>
                </c:pt>
                <c:pt idx="118">
                  <c:v>6.48</c:v>
                </c:pt>
                <c:pt idx="119">
                  <c:v>7.35</c:v>
                </c:pt>
                <c:pt idx="120">
                  <c:v>7.86</c:v>
                </c:pt>
                <c:pt idx="121">
                  <c:v>8.32</c:v>
                </c:pt>
                <c:pt idx="122">
                  <c:v>7.92</c:v>
                </c:pt>
                <c:pt idx="123">
                  <c:v>7.7</c:v>
                </c:pt>
                <c:pt idx="124">
                  <c:v>7.31</c:v>
                </c:pt>
                <c:pt idx="125">
                  <c:v>8.18</c:v>
                </c:pt>
                <c:pt idx="126">
                  <c:v>8.7200000000000006</c:v>
                </c:pt>
                <c:pt idx="127">
                  <c:v>8.58</c:v>
                </c:pt>
                <c:pt idx="128">
                  <c:v>8.6</c:v>
                </c:pt>
                <c:pt idx="129">
                  <c:v>8.8699999999999992</c:v>
                </c:pt>
                <c:pt idx="130">
                  <c:v>8.7799999999999994</c:v>
                </c:pt>
                <c:pt idx="131">
                  <c:v>8.48</c:v>
                </c:pt>
                <c:pt idx="132">
                  <c:v>8.14</c:v>
                </c:pt>
                <c:pt idx="133">
                  <c:v>8</c:v>
                </c:pt>
                <c:pt idx="134">
                  <c:v>7.53</c:v>
                </c:pt>
                <c:pt idx="135">
                  <c:v>8.74</c:v>
                </c:pt>
                <c:pt idx="136">
                  <c:v>8.93</c:v>
                </c:pt>
                <c:pt idx="137">
                  <c:v>8.59</c:v>
                </c:pt>
                <c:pt idx="138">
                  <c:v>7.36</c:v>
                </c:pt>
                <c:pt idx="139">
                  <c:v>6.95</c:v>
                </c:pt>
                <c:pt idx="140">
                  <c:v>6.94</c:v>
                </c:pt>
                <c:pt idx="141">
                  <c:v>7.62</c:v>
                </c:pt>
                <c:pt idx="142">
                  <c:v>7.29</c:v>
                </c:pt>
                <c:pt idx="143">
                  <c:v>9.07</c:v>
                </c:pt>
                <c:pt idx="144">
                  <c:v>9.01</c:v>
                </c:pt>
                <c:pt idx="145">
                  <c:v>9.5299999999999994</c:v>
                </c:pt>
                <c:pt idx="146">
                  <c:v>10.119999999999999</c:v>
                </c:pt>
                <c:pt idx="147">
                  <c:v>10.44</c:v>
                </c:pt>
                <c:pt idx="148">
                  <c:v>10.96</c:v>
                </c:pt>
                <c:pt idx="149">
                  <c:v>10.92</c:v>
                </c:pt>
                <c:pt idx="150">
                  <c:v>10.9</c:v>
                </c:pt>
                <c:pt idx="151">
                  <c:v>11.34</c:v>
                </c:pt>
                <c:pt idx="152">
                  <c:v>10.36</c:v>
                </c:pt>
                <c:pt idx="153">
                  <c:v>10.32</c:v>
                </c:pt>
                <c:pt idx="154">
                  <c:v>10.039999999999999</c:v>
                </c:pt>
                <c:pt idx="155">
                  <c:v>10.71</c:v>
                </c:pt>
                <c:pt idx="156">
                  <c:v>10.69</c:v>
                </c:pt>
                <c:pt idx="157">
                  <c:v>10.73</c:v>
                </c:pt>
                <c:pt idx="158">
                  <c:v>10.98</c:v>
                </c:pt>
                <c:pt idx="159">
                  <c:v>9.59</c:v>
                </c:pt>
                <c:pt idx="160">
                  <c:v>10.77</c:v>
                </c:pt>
                <c:pt idx="161">
                  <c:v>11.34</c:v>
                </c:pt>
                <c:pt idx="162">
                  <c:v>11.19</c:v>
                </c:pt>
                <c:pt idx="163">
                  <c:v>10.76</c:v>
                </c:pt>
                <c:pt idx="164">
                  <c:v>11.07</c:v>
                </c:pt>
                <c:pt idx="165">
                  <c:v>11.13</c:v>
                </c:pt>
                <c:pt idx="166">
                  <c:v>10.14</c:v>
                </c:pt>
                <c:pt idx="167">
                  <c:v>7.84</c:v>
                </c:pt>
                <c:pt idx="168">
                  <c:v>7.32</c:v>
                </c:pt>
                <c:pt idx="169">
                  <c:v>7.98</c:v>
                </c:pt>
                <c:pt idx="170">
                  <c:v>6.88</c:v>
                </c:pt>
                <c:pt idx="171">
                  <c:v>8.08</c:v>
                </c:pt>
                <c:pt idx="172">
                  <c:v>7.38</c:v>
                </c:pt>
                <c:pt idx="173">
                  <c:v>4.93</c:v>
                </c:pt>
                <c:pt idx="174">
                  <c:v>5.73</c:v>
                </c:pt>
                <c:pt idx="175">
                  <c:v>5.52</c:v>
                </c:pt>
                <c:pt idx="176">
                  <c:v>6.83</c:v>
                </c:pt>
                <c:pt idx="177">
                  <c:v>8.25</c:v>
                </c:pt>
                <c:pt idx="178">
                  <c:v>8.42</c:v>
                </c:pt>
                <c:pt idx="179">
                  <c:v>9.6199999999999992</c:v>
                </c:pt>
                <c:pt idx="180">
                  <c:v>9.59</c:v>
                </c:pt>
                <c:pt idx="181">
                  <c:v>10.23</c:v>
                </c:pt>
                <c:pt idx="182">
                  <c:v>10.76</c:v>
                </c:pt>
                <c:pt idx="183">
                  <c:v>10.88</c:v>
                </c:pt>
                <c:pt idx="184">
                  <c:v>10.16</c:v>
                </c:pt>
                <c:pt idx="185">
                  <c:v>10.83</c:v>
                </c:pt>
                <c:pt idx="186">
                  <c:v>10.61</c:v>
                </c:pt>
                <c:pt idx="187">
                  <c:v>11.3</c:v>
                </c:pt>
                <c:pt idx="188">
                  <c:v>11.15</c:v>
                </c:pt>
                <c:pt idx="189">
                  <c:v>11.15</c:v>
                </c:pt>
                <c:pt idx="190">
                  <c:v>11.7</c:v>
                </c:pt>
                <c:pt idx="191">
                  <c:v>12.01</c:v>
                </c:pt>
                <c:pt idx="192">
                  <c:v>11.18</c:v>
                </c:pt>
                <c:pt idx="193">
                  <c:v>12.88</c:v>
                </c:pt>
                <c:pt idx="194">
                  <c:v>12.88</c:v>
                </c:pt>
                <c:pt idx="195">
                  <c:v>13.07</c:v>
                </c:pt>
                <c:pt idx="196">
                  <c:v>13.13</c:v>
                </c:pt>
                <c:pt idx="197">
                  <c:v>13.08</c:v>
                </c:pt>
                <c:pt idx="198">
                  <c:v>12.5</c:v>
                </c:pt>
                <c:pt idx="199">
                  <c:v>12.54</c:v>
                </c:pt>
                <c:pt idx="200">
                  <c:v>11.22</c:v>
                </c:pt>
                <c:pt idx="201">
                  <c:v>10.91</c:v>
                </c:pt>
                <c:pt idx="202">
                  <c:v>11.97</c:v>
                </c:pt>
                <c:pt idx="203">
                  <c:v>12.78</c:v>
                </c:pt>
                <c:pt idx="204">
                  <c:v>12.09</c:v>
                </c:pt>
                <c:pt idx="205">
                  <c:v>12.77</c:v>
                </c:pt>
                <c:pt idx="206">
                  <c:v>12.44</c:v>
                </c:pt>
                <c:pt idx="207">
                  <c:v>11.89</c:v>
                </c:pt>
                <c:pt idx="208">
                  <c:v>12.38</c:v>
                </c:pt>
                <c:pt idx="209">
                  <c:v>11.6</c:v>
                </c:pt>
                <c:pt idx="210">
                  <c:v>11.38</c:v>
                </c:pt>
                <c:pt idx="211">
                  <c:v>11.9</c:v>
                </c:pt>
                <c:pt idx="212">
                  <c:v>12.79</c:v>
                </c:pt>
                <c:pt idx="213">
                  <c:v>13.58</c:v>
                </c:pt>
                <c:pt idx="214">
                  <c:v>13.91</c:v>
                </c:pt>
                <c:pt idx="215">
                  <c:v>13.78</c:v>
                </c:pt>
                <c:pt idx="216">
                  <c:v>12.35</c:v>
                </c:pt>
                <c:pt idx="217">
                  <c:v>11.14</c:v>
                </c:pt>
                <c:pt idx="218">
                  <c:v>11.56</c:v>
                </c:pt>
                <c:pt idx="219">
                  <c:v>12.78</c:v>
                </c:pt>
                <c:pt idx="220">
                  <c:v>10.42</c:v>
                </c:pt>
                <c:pt idx="221">
                  <c:v>9.3699999999999992</c:v>
                </c:pt>
                <c:pt idx="222">
                  <c:v>10.27</c:v>
                </c:pt>
                <c:pt idx="223">
                  <c:v>11.02</c:v>
                </c:pt>
                <c:pt idx="224">
                  <c:v>12.18</c:v>
                </c:pt>
                <c:pt idx="225">
                  <c:v>12.34</c:v>
                </c:pt>
                <c:pt idx="226">
                  <c:v>12.76</c:v>
                </c:pt>
                <c:pt idx="227">
                  <c:v>13.22</c:v>
                </c:pt>
                <c:pt idx="228">
                  <c:v>12.97</c:v>
                </c:pt>
                <c:pt idx="229">
                  <c:v>13.17</c:v>
                </c:pt>
                <c:pt idx="230">
                  <c:v>12.25</c:v>
                </c:pt>
                <c:pt idx="231">
                  <c:v>12.61</c:v>
                </c:pt>
                <c:pt idx="232">
                  <c:v>13.15</c:v>
                </c:pt>
                <c:pt idx="233">
                  <c:v>13.49</c:v>
                </c:pt>
                <c:pt idx="234">
                  <c:v>13.47</c:v>
                </c:pt>
                <c:pt idx="235">
                  <c:v>13.32</c:v>
                </c:pt>
                <c:pt idx="236">
                  <c:v>13.53</c:v>
                </c:pt>
                <c:pt idx="237">
                  <c:v>12.51</c:v>
                </c:pt>
                <c:pt idx="238">
                  <c:v>13.14</c:v>
                </c:pt>
                <c:pt idx="239">
                  <c:v>12.99</c:v>
                </c:pt>
                <c:pt idx="240">
                  <c:v>13.16</c:v>
                </c:pt>
                <c:pt idx="241">
                  <c:v>14.25</c:v>
                </c:pt>
                <c:pt idx="242">
                  <c:v>14.3</c:v>
                </c:pt>
                <c:pt idx="243">
                  <c:v>13.76</c:v>
                </c:pt>
                <c:pt idx="244">
                  <c:v>12.7</c:v>
                </c:pt>
                <c:pt idx="245">
                  <c:v>13.12</c:v>
                </c:pt>
                <c:pt idx="246">
                  <c:v>13.56</c:v>
                </c:pt>
                <c:pt idx="247">
                  <c:v>12.82</c:v>
                </c:pt>
                <c:pt idx="248">
                  <c:v>13.73</c:v>
                </c:pt>
                <c:pt idx="249">
                  <c:v>14</c:v>
                </c:pt>
                <c:pt idx="250">
                  <c:v>14.49</c:v>
                </c:pt>
                <c:pt idx="251">
                  <c:v>15.17</c:v>
                </c:pt>
                <c:pt idx="252">
                  <c:v>15.04</c:v>
                </c:pt>
                <c:pt idx="253">
                  <c:v>15.66</c:v>
                </c:pt>
                <c:pt idx="254">
                  <c:v>15.87</c:v>
                </c:pt>
                <c:pt idx="255">
                  <c:v>15.96</c:v>
                </c:pt>
                <c:pt idx="256">
                  <c:v>15.91</c:v>
                </c:pt>
                <c:pt idx="257">
                  <c:v>16.13</c:v>
                </c:pt>
                <c:pt idx="258">
                  <c:v>16.89</c:v>
                </c:pt>
                <c:pt idx="259">
                  <c:v>17.43</c:v>
                </c:pt>
                <c:pt idx="260">
                  <c:v>17.54</c:v>
                </c:pt>
                <c:pt idx="261">
                  <c:v>17.510000000000002</c:v>
                </c:pt>
                <c:pt idx="262">
                  <c:v>17.100000000000001</c:v>
                </c:pt>
                <c:pt idx="263">
                  <c:v>16.27</c:v>
                </c:pt>
                <c:pt idx="264">
                  <c:v>16.63</c:v>
                </c:pt>
                <c:pt idx="265">
                  <c:v>16.73</c:v>
                </c:pt>
                <c:pt idx="266">
                  <c:v>16.98</c:v>
                </c:pt>
                <c:pt idx="267">
                  <c:v>17.89</c:v>
                </c:pt>
                <c:pt idx="268">
                  <c:v>18.04</c:v>
                </c:pt>
                <c:pt idx="269">
                  <c:v>18.239999999999998</c:v>
                </c:pt>
                <c:pt idx="270">
                  <c:v>18.23</c:v>
                </c:pt>
                <c:pt idx="271">
                  <c:v>17.46</c:v>
                </c:pt>
                <c:pt idx="272">
                  <c:v>18.04</c:v>
                </c:pt>
                <c:pt idx="273">
                  <c:v>17.899999999999999</c:v>
                </c:pt>
                <c:pt idx="274">
                  <c:v>18.13</c:v>
                </c:pt>
                <c:pt idx="275">
                  <c:v>18.079999999999998</c:v>
                </c:pt>
                <c:pt idx="276">
                  <c:v>18.87</c:v>
                </c:pt>
                <c:pt idx="277">
                  <c:v>18.95</c:v>
                </c:pt>
                <c:pt idx="278">
                  <c:v>19.600000000000001</c:v>
                </c:pt>
                <c:pt idx="279">
                  <c:v>19.13</c:v>
                </c:pt>
                <c:pt idx="280">
                  <c:v>18.29</c:v>
                </c:pt>
                <c:pt idx="281">
                  <c:v>18.84</c:v>
                </c:pt>
                <c:pt idx="282">
                  <c:v>18.350000000000001</c:v>
                </c:pt>
                <c:pt idx="283">
                  <c:v>18.52</c:v>
                </c:pt>
                <c:pt idx="284">
                  <c:v>19.100000000000001</c:v>
                </c:pt>
                <c:pt idx="285">
                  <c:v>18.87</c:v>
                </c:pt>
                <c:pt idx="286">
                  <c:v>19.37</c:v>
                </c:pt>
                <c:pt idx="287">
                  <c:v>17.95</c:v>
                </c:pt>
                <c:pt idx="288">
                  <c:v>19.170000000000002</c:v>
                </c:pt>
                <c:pt idx="289">
                  <c:v>18.89</c:v>
                </c:pt>
                <c:pt idx="290">
                  <c:v>19.489999999999998</c:v>
                </c:pt>
                <c:pt idx="291">
                  <c:v>19.690000000000001</c:v>
                </c:pt>
                <c:pt idx="292">
                  <c:v>19.75</c:v>
                </c:pt>
                <c:pt idx="293">
                  <c:v>19.170000000000002</c:v>
                </c:pt>
                <c:pt idx="294">
                  <c:v>19.21</c:v>
                </c:pt>
                <c:pt idx="295">
                  <c:v>18.670000000000002</c:v>
                </c:pt>
                <c:pt idx="296">
                  <c:v>18.670000000000002</c:v>
                </c:pt>
                <c:pt idx="297">
                  <c:v>16.3</c:v>
                </c:pt>
                <c:pt idx="298">
                  <c:v>15.97</c:v>
                </c:pt>
                <c:pt idx="299">
                  <c:v>16.8</c:v>
                </c:pt>
                <c:pt idx="300">
                  <c:v>15.67</c:v>
                </c:pt>
                <c:pt idx="301">
                  <c:v>15.67</c:v>
                </c:pt>
                <c:pt idx="302">
                  <c:v>15.03</c:v>
                </c:pt>
                <c:pt idx="303">
                  <c:v>16.36</c:v>
                </c:pt>
                <c:pt idx="304">
                  <c:v>16.68</c:v>
                </c:pt>
                <c:pt idx="305">
                  <c:v>16.489999999999998</c:v>
                </c:pt>
                <c:pt idx="306">
                  <c:v>17.27</c:v>
                </c:pt>
                <c:pt idx="307">
                  <c:v>17.78</c:v>
                </c:pt>
                <c:pt idx="308">
                  <c:v>17.77</c:v>
                </c:pt>
                <c:pt idx="309">
                  <c:v>18.78</c:v>
                </c:pt>
                <c:pt idx="310">
                  <c:v>19.37</c:v>
                </c:pt>
                <c:pt idx="311">
                  <c:v>19.66</c:v>
                </c:pt>
                <c:pt idx="312">
                  <c:v>20.02</c:v>
                </c:pt>
                <c:pt idx="313">
                  <c:v>19.78</c:v>
                </c:pt>
                <c:pt idx="314">
                  <c:v>20.350000000000001</c:v>
                </c:pt>
                <c:pt idx="315">
                  <c:v>20.48</c:v>
                </c:pt>
                <c:pt idx="316">
                  <c:v>20.48</c:v>
                </c:pt>
                <c:pt idx="317">
                  <c:v>20.28</c:v>
                </c:pt>
                <c:pt idx="318">
                  <c:v>20.68</c:v>
                </c:pt>
                <c:pt idx="319">
                  <c:v>20.62</c:v>
                </c:pt>
                <c:pt idx="320">
                  <c:v>20.52</c:v>
                </c:pt>
                <c:pt idx="321">
                  <c:v>20.34</c:v>
                </c:pt>
                <c:pt idx="322">
                  <c:v>20.94</c:v>
                </c:pt>
                <c:pt idx="323">
                  <c:v>20.57</c:v>
                </c:pt>
                <c:pt idx="324">
                  <c:v>19.78</c:v>
                </c:pt>
                <c:pt idx="325">
                  <c:v>20.22</c:v>
                </c:pt>
                <c:pt idx="326">
                  <c:v>20.32</c:v>
                </c:pt>
                <c:pt idx="327">
                  <c:v>19.61</c:v>
                </c:pt>
                <c:pt idx="328">
                  <c:v>19.52</c:v>
                </c:pt>
                <c:pt idx="329">
                  <c:v>20.420000000000002</c:v>
                </c:pt>
                <c:pt idx="330">
                  <c:v>20.57</c:v>
                </c:pt>
                <c:pt idx="331">
                  <c:v>21.16</c:v>
                </c:pt>
                <c:pt idx="332">
                  <c:v>21.1</c:v>
                </c:pt>
                <c:pt idx="333">
                  <c:v>20.13</c:v>
                </c:pt>
                <c:pt idx="334">
                  <c:v>19.440000000000001</c:v>
                </c:pt>
                <c:pt idx="335">
                  <c:v>20.38</c:v>
                </c:pt>
                <c:pt idx="336">
                  <c:v>18.43</c:v>
                </c:pt>
                <c:pt idx="337">
                  <c:v>19.440000000000001</c:v>
                </c:pt>
                <c:pt idx="338">
                  <c:v>19.14</c:v>
                </c:pt>
                <c:pt idx="339">
                  <c:v>18.809999999999999</c:v>
                </c:pt>
                <c:pt idx="340">
                  <c:v>17.23</c:v>
                </c:pt>
                <c:pt idx="341">
                  <c:v>17.23</c:v>
                </c:pt>
                <c:pt idx="342">
                  <c:v>18.54</c:v>
                </c:pt>
                <c:pt idx="343">
                  <c:v>18.36</c:v>
                </c:pt>
                <c:pt idx="344">
                  <c:v>16.57</c:v>
                </c:pt>
                <c:pt idx="345">
                  <c:v>18.600000000000001</c:v>
                </c:pt>
                <c:pt idx="346">
                  <c:v>16.149999999999999</c:v>
                </c:pt>
                <c:pt idx="347">
                  <c:v>14.82</c:v>
                </c:pt>
                <c:pt idx="348">
                  <c:v>12.93</c:v>
                </c:pt>
                <c:pt idx="349">
                  <c:v>13.11</c:v>
                </c:pt>
                <c:pt idx="350">
                  <c:v>12.19</c:v>
                </c:pt>
                <c:pt idx="351">
                  <c:v>12.21</c:v>
                </c:pt>
                <c:pt idx="352">
                  <c:v>13.66</c:v>
                </c:pt>
                <c:pt idx="353">
                  <c:v>14.7</c:v>
                </c:pt>
                <c:pt idx="354">
                  <c:v>16.940000000000001</c:v>
                </c:pt>
                <c:pt idx="355">
                  <c:v>16.09</c:v>
                </c:pt>
                <c:pt idx="356">
                  <c:v>17.52</c:v>
                </c:pt>
                <c:pt idx="357">
                  <c:v>18.34</c:v>
                </c:pt>
                <c:pt idx="358">
                  <c:v>18.170000000000002</c:v>
                </c:pt>
                <c:pt idx="359">
                  <c:v>19.579999999999998</c:v>
                </c:pt>
                <c:pt idx="360">
                  <c:v>19.41</c:v>
                </c:pt>
                <c:pt idx="361">
                  <c:v>20.16</c:v>
                </c:pt>
                <c:pt idx="362">
                  <c:v>21.57</c:v>
                </c:pt>
                <c:pt idx="363">
                  <c:v>21.55</c:v>
                </c:pt>
                <c:pt idx="364">
                  <c:v>21.21</c:v>
                </c:pt>
                <c:pt idx="365">
                  <c:v>21.9</c:v>
                </c:pt>
                <c:pt idx="366">
                  <c:v>22.36</c:v>
                </c:pt>
                <c:pt idx="367">
                  <c:v>22.4</c:v>
                </c:pt>
                <c:pt idx="368">
                  <c:v>22.78</c:v>
                </c:pt>
                <c:pt idx="369">
                  <c:v>22.87</c:v>
                </c:pt>
                <c:pt idx="370">
                  <c:v>22.78</c:v>
                </c:pt>
                <c:pt idx="371">
                  <c:v>22.85</c:v>
                </c:pt>
                <c:pt idx="372">
                  <c:v>22.88</c:v>
                </c:pt>
                <c:pt idx="373">
                  <c:v>22.97</c:v>
                </c:pt>
                <c:pt idx="374">
                  <c:v>23.6</c:v>
                </c:pt>
                <c:pt idx="375">
                  <c:v>23.41</c:v>
                </c:pt>
                <c:pt idx="376">
                  <c:v>23.66</c:v>
                </c:pt>
                <c:pt idx="377">
                  <c:v>24.3</c:v>
                </c:pt>
                <c:pt idx="378">
                  <c:v>24.66</c:v>
                </c:pt>
                <c:pt idx="379">
                  <c:v>24.52</c:v>
                </c:pt>
                <c:pt idx="380">
                  <c:v>24.86</c:v>
                </c:pt>
                <c:pt idx="381">
                  <c:v>24.55</c:v>
                </c:pt>
                <c:pt idx="382">
                  <c:v>23.7</c:v>
                </c:pt>
                <c:pt idx="383">
                  <c:v>24.49</c:v>
                </c:pt>
                <c:pt idx="384">
                  <c:v>24.96</c:v>
                </c:pt>
                <c:pt idx="385">
                  <c:v>24.81</c:v>
                </c:pt>
                <c:pt idx="386">
                  <c:v>25.02</c:v>
                </c:pt>
                <c:pt idx="387">
                  <c:v>24.11</c:v>
                </c:pt>
                <c:pt idx="388">
                  <c:v>24.08</c:v>
                </c:pt>
                <c:pt idx="389">
                  <c:v>22.05</c:v>
                </c:pt>
                <c:pt idx="390">
                  <c:v>22.61</c:v>
                </c:pt>
                <c:pt idx="391">
                  <c:v>20.62</c:v>
                </c:pt>
                <c:pt idx="392">
                  <c:v>19.850000000000001</c:v>
                </c:pt>
                <c:pt idx="393">
                  <c:v>18.84</c:v>
                </c:pt>
                <c:pt idx="394">
                  <c:v>21.25</c:v>
                </c:pt>
                <c:pt idx="395">
                  <c:v>24.17</c:v>
                </c:pt>
                <c:pt idx="396">
                  <c:v>24.73</c:v>
                </c:pt>
                <c:pt idx="397">
                  <c:v>25.21</c:v>
                </c:pt>
                <c:pt idx="398">
                  <c:v>25.43</c:v>
                </c:pt>
                <c:pt idx="399">
                  <c:v>25.41</c:v>
                </c:pt>
                <c:pt idx="400">
                  <c:v>25.82</c:v>
                </c:pt>
                <c:pt idx="401">
                  <c:v>25.93</c:v>
                </c:pt>
                <c:pt idx="402">
                  <c:v>25.32</c:v>
                </c:pt>
                <c:pt idx="403">
                  <c:v>24.03</c:v>
                </c:pt>
                <c:pt idx="404">
                  <c:v>23.98</c:v>
                </c:pt>
                <c:pt idx="405">
                  <c:v>21.72</c:v>
                </c:pt>
                <c:pt idx="406">
                  <c:v>20.64</c:v>
                </c:pt>
                <c:pt idx="407">
                  <c:v>22.04</c:v>
                </c:pt>
                <c:pt idx="408">
                  <c:v>24.22</c:v>
                </c:pt>
                <c:pt idx="409">
                  <c:v>23.18</c:v>
                </c:pt>
                <c:pt idx="410">
                  <c:v>22.18</c:v>
                </c:pt>
                <c:pt idx="411">
                  <c:v>21.86</c:v>
                </c:pt>
                <c:pt idx="412">
                  <c:v>21.16</c:v>
                </c:pt>
                <c:pt idx="413">
                  <c:v>20.04</c:v>
                </c:pt>
                <c:pt idx="414">
                  <c:v>21.65</c:v>
                </c:pt>
                <c:pt idx="415">
                  <c:v>21.84</c:v>
                </c:pt>
                <c:pt idx="416">
                  <c:v>22.41</c:v>
                </c:pt>
                <c:pt idx="417">
                  <c:v>24.28</c:v>
                </c:pt>
                <c:pt idx="418">
                  <c:v>23.6</c:v>
                </c:pt>
                <c:pt idx="419">
                  <c:v>23.92</c:v>
                </c:pt>
                <c:pt idx="420">
                  <c:v>22.26</c:v>
                </c:pt>
                <c:pt idx="421">
                  <c:v>20.61</c:v>
                </c:pt>
                <c:pt idx="422">
                  <c:v>21.76</c:v>
                </c:pt>
                <c:pt idx="423">
                  <c:v>20.18</c:v>
                </c:pt>
                <c:pt idx="424">
                  <c:v>21.73</c:v>
                </c:pt>
                <c:pt idx="425">
                  <c:v>23.49</c:v>
                </c:pt>
                <c:pt idx="426">
                  <c:v>22.98</c:v>
                </c:pt>
                <c:pt idx="427">
                  <c:v>24.24</c:v>
                </c:pt>
                <c:pt idx="428">
                  <c:v>23.82</c:v>
                </c:pt>
                <c:pt idx="429">
                  <c:v>23.29</c:v>
                </c:pt>
                <c:pt idx="430">
                  <c:v>24.61</c:v>
                </c:pt>
                <c:pt idx="431">
                  <c:v>24.61</c:v>
                </c:pt>
                <c:pt idx="432">
                  <c:v>25.81</c:v>
                </c:pt>
                <c:pt idx="433">
                  <c:v>26.32</c:v>
                </c:pt>
                <c:pt idx="434">
                  <c:v>26.52</c:v>
                </c:pt>
                <c:pt idx="435">
                  <c:v>26.48</c:v>
                </c:pt>
                <c:pt idx="436">
                  <c:v>26.35</c:v>
                </c:pt>
                <c:pt idx="437">
                  <c:v>27.12</c:v>
                </c:pt>
                <c:pt idx="438">
                  <c:v>27.08</c:v>
                </c:pt>
                <c:pt idx="439">
                  <c:v>27.43</c:v>
                </c:pt>
                <c:pt idx="440">
                  <c:v>27.34</c:v>
                </c:pt>
                <c:pt idx="441">
                  <c:v>27.15</c:v>
                </c:pt>
                <c:pt idx="442">
                  <c:v>26.77</c:v>
                </c:pt>
                <c:pt idx="443">
                  <c:v>27.55</c:v>
                </c:pt>
                <c:pt idx="444">
                  <c:v>26.97</c:v>
                </c:pt>
                <c:pt idx="445">
                  <c:v>26.41</c:v>
                </c:pt>
                <c:pt idx="446">
                  <c:v>26.56</c:v>
                </c:pt>
                <c:pt idx="447">
                  <c:v>24.77</c:v>
                </c:pt>
                <c:pt idx="448">
                  <c:v>25.26</c:v>
                </c:pt>
                <c:pt idx="449">
                  <c:v>23.14</c:v>
                </c:pt>
                <c:pt idx="450">
                  <c:v>22.9</c:v>
                </c:pt>
                <c:pt idx="451">
                  <c:v>24.45</c:v>
                </c:pt>
                <c:pt idx="452">
                  <c:v>23.69</c:v>
                </c:pt>
                <c:pt idx="453">
                  <c:v>25.37</c:v>
                </c:pt>
                <c:pt idx="454">
                  <c:v>24.95</c:v>
                </c:pt>
                <c:pt idx="455">
                  <c:v>26.47</c:v>
                </c:pt>
                <c:pt idx="456">
                  <c:v>25.86</c:v>
                </c:pt>
                <c:pt idx="457">
                  <c:v>26.99</c:v>
                </c:pt>
                <c:pt idx="458">
                  <c:v>26.77</c:v>
                </c:pt>
                <c:pt idx="459">
                  <c:v>25.99</c:v>
                </c:pt>
                <c:pt idx="460">
                  <c:v>24.16</c:v>
                </c:pt>
                <c:pt idx="461">
                  <c:v>23.86</c:v>
                </c:pt>
                <c:pt idx="462">
                  <c:v>24.15</c:v>
                </c:pt>
                <c:pt idx="463">
                  <c:v>25.67</c:v>
                </c:pt>
                <c:pt idx="464">
                  <c:v>24.57</c:v>
                </c:pt>
                <c:pt idx="465">
                  <c:v>24.07</c:v>
                </c:pt>
                <c:pt idx="466">
                  <c:v>24.51</c:v>
                </c:pt>
                <c:pt idx="467">
                  <c:v>25.33</c:v>
                </c:pt>
                <c:pt idx="468">
                  <c:v>25.08</c:v>
                </c:pt>
                <c:pt idx="469">
                  <c:v>25.41</c:v>
                </c:pt>
                <c:pt idx="470">
                  <c:v>25.97</c:v>
                </c:pt>
                <c:pt idx="471">
                  <c:v>26.63</c:v>
                </c:pt>
                <c:pt idx="472">
                  <c:v>26.05</c:v>
                </c:pt>
                <c:pt idx="473">
                  <c:v>26.25</c:v>
                </c:pt>
                <c:pt idx="474">
                  <c:v>26.9</c:v>
                </c:pt>
                <c:pt idx="475">
                  <c:v>26.8</c:v>
                </c:pt>
                <c:pt idx="476">
                  <c:v>25.37</c:v>
                </c:pt>
                <c:pt idx="477">
                  <c:v>26.53</c:v>
                </c:pt>
                <c:pt idx="478">
                  <c:v>26.34</c:v>
                </c:pt>
                <c:pt idx="479">
                  <c:v>26.98</c:v>
                </c:pt>
                <c:pt idx="480">
                  <c:v>27.28</c:v>
                </c:pt>
                <c:pt idx="481">
                  <c:v>27.57</c:v>
                </c:pt>
                <c:pt idx="482">
                  <c:v>27.04</c:v>
                </c:pt>
                <c:pt idx="483">
                  <c:v>27.39</c:v>
                </c:pt>
                <c:pt idx="484">
                  <c:v>26.91</c:v>
                </c:pt>
                <c:pt idx="485">
                  <c:v>25.63</c:v>
                </c:pt>
                <c:pt idx="486">
                  <c:v>27</c:v>
                </c:pt>
                <c:pt idx="487">
                  <c:v>27.37</c:v>
                </c:pt>
                <c:pt idx="488">
                  <c:v>25.87</c:v>
                </c:pt>
                <c:pt idx="489">
                  <c:v>25.31</c:v>
                </c:pt>
                <c:pt idx="490">
                  <c:v>25.78</c:v>
                </c:pt>
                <c:pt idx="491">
                  <c:v>27.47</c:v>
                </c:pt>
                <c:pt idx="492">
                  <c:v>26.82</c:v>
                </c:pt>
                <c:pt idx="493">
                  <c:v>26.45</c:v>
                </c:pt>
                <c:pt idx="494">
                  <c:v>26.41</c:v>
                </c:pt>
                <c:pt idx="495">
                  <c:v>27.77</c:v>
                </c:pt>
                <c:pt idx="496">
                  <c:v>27.87</c:v>
                </c:pt>
                <c:pt idx="497">
                  <c:v>28.26</c:v>
                </c:pt>
                <c:pt idx="498">
                  <c:v>28.18</c:v>
                </c:pt>
                <c:pt idx="499">
                  <c:v>28.06</c:v>
                </c:pt>
                <c:pt idx="500">
                  <c:v>28.36</c:v>
                </c:pt>
                <c:pt idx="501">
                  <c:v>28.07</c:v>
                </c:pt>
                <c:pt idx="502">
                  <c:v>26.75</c:v>
                </c:pt>
                <c:pt idx="503">
                  <c:v>27.92</c:v>
                </c:pt>
                <c:pt idx="504">
                  <c:v>27.75</c:v>
                </c:pt>
                <c:pt idx="505">
                  <c:v>26.95</c:v>
                </c:pt>
                <c:pt idx="506">
                  <c:v>27.21</c:v>
                </c:pt>
                <c:pt idx="507">
                  <c:v>27.08</c:v>
                </c:pt>
                <c:pt idx="508">
                  <c:v>27.35</c:v>
                </c:pt>
                <c:pt idx="509">
                  <c:v>26.25</c:v>
                </c:pt>
                <c:pt idx="510">
                  <c:v>26.07</c:v>
                </c:pt>
                <c:pt idx="511">
                  <c:v>25.25</c:v>
                </c:pt>
                <c:pt idx="512">
                  <c:v>25.31</c:v>
                </c:pt>
                <c:pt idx="513">
                  <c:v>26.81</c:v>
                </c:pt>
                <c:pt idx="514">
                  <c:v>27.03</c:v>
                </c:pt>
                <c:pt idx="515">
                  <c:v>26.15</c:v>
                </c:pt>
                <c:pt idx="516">
                  <c:v>25.56</c:v>
                </c:pt>
                <c:pt idx="517">
                  <c:v>26.28</c:v>
                </c:pt>
                <c:pt idx="518">
                  <c:v>26.53</c:v>
                </c:pt>
                <c:pt idx="519">
                  <c:v>27.78</c:v>
                </c:pt>
                <c:pt idx="520">
                  <c:v>27.1</c:v>
                </c:pt>
                <c:pt idx="521">
                  <c:v>27.88</c:v>
                </c:pt>
                <c:pt idx="522">
                  <c:v>27.96</c:v>
                </c:pt>
                <c:pt idx="523">
                  <c:v>27.02</c:v>
                </c:pt>
                <c:pt idx="524">
                  <c:v>26.64</c:v>
                </c:pt>
                <c:pt idx="525">
                  <c:v>26.59</c:v>
                </c:pt>
                <c:pt idx="526">
                  <c:v>23.95</c:v>
                </c:pt>
                <c:pt idx="527">
                  <c:v>24.28</c:v>
                </c:pt>
                <c:pt idx="528">
                  <c:v>25.14</c:v>
                </c:pt>
                <c:pt idx="529">
                  <c:v>25.1</c:v>
                </c:pt>
                <c:pt idx="530">
                  <c:v>24.62</c:v>
                </c:pt>
                <c:pt idx="531">
                  <c:v>25.38</c:v>
                </c:pt>
                <c:pt idx="532">
                  <c:v>23.29</c:v>
                </c:pt>
                <c:pt idx="533">
                  <c:v>23.57</c:v>
                </c:pt>
                <c:pt idx="534">
                  <c:v>25.09</c:v>
                </c:pt>
                <c:pt idx="535">
                  <c:v>26.48</c:v>
                </c:pt>
                <c:pt idx="536">
                  <c:v>27.04</c:v>
                </c:pt>
                <c:pt idx="537">
                  <c:v>26.95</c:v>
                </c:pt>
                <c:pt idx="538">
                  <c:v>27.96</c:v>
                </c:pt>
                <c:pt idx="539">
                  <c:v>28.11</c:v>
                </c:pt>
                <c:pt idx="540">
                  <c:v>28.21</c:v>
                </c:pt>
                <c:pt idx="541">
                  <c:v>27.66</c:v>
                </c:pt>
                <c:pt idx="542">
                  <c:v>27.35</c:v>
                </c:pt>
                <c:pt idx="543">
                  <c:v>26.63</c:v>
                </c:pt>
                <c:pt idx="544">
                  <c:v>25.28</c:v>
                </c:pt>
                <c:pt idx="545">
                  <c:v>24.55</c:v>
                </c:pt>
                <c:pt idx="546">
                  <c:v>26.1</c:v>
                </c:pt>
                <c:pt idx="547">
                  <c:v>27.02</c:v>
                </c:pt>
                <c:pt idx="548">
                  <c:v>27.02</c:v>
                </c:pt>
                <c:pt idx="549">
                  <c:v>26.73</c:v>
                </c:pt>
                <c:pt idx="550">
                  <c:v>26.38</c:v>
                </c:pt>
                <c:pt idx="551">
                  <c:v>26.1</c:v>
                </c:pt>
                <c:pt idx="552">
                  <c:v>26.49</c:v>
                </c:pt>
                <c:pt idx="553">
                  <c:v>25.51</c:v>
                </c:pt>
                <c:pt idx="554">
                  <c:v>25.15</c:v>
                </c:pt>
                <c:pt idx="555">
                  <c:v>26.75</c:v>
                </c:pt>
                <c:pt idx="556">
                  <c:v>25.54</c:v>
                </c:pt>
                <c:pt idx="557">
                  <c:v>25.66</c:v>
                </c:pt>
                <c:pt idx="558">
                  <c:v>25.5</c:v>
                </c:pt>
                <c:pt idx="559">
                  <c:v>25.99</c:v>
                </c:pt>
                <c:pt idx="560">
                  <c:v>26.65</c:v>
                </c:pt>
                <c:pt idx="561">
                  <c:v>26.32</c:v>
                </c:pt>
                <c:pt idx="562">
                  <c:v>25.27</c:v>
                </c:pt>
                <c:pt idx="563">
                  <c:v>22.63</c:v>
                </c:pt>
                <c:pt idx="564">
                  <c:v>18.72</c:v>
                </c:pt>
                <c:pt idx="565">
                  <c:v>14.04</c:v>
                </c:pt>
                <c:pt idx="566">
                  <c:v>12.5</c:v>
                </c:pt>
                <c:pt idx="567">
                  <c:v>16.89</c:v>
                </c:pt>
                <c:pt idx="568">
                  <c:v>19.73</c:v>
                </c:pt>
                <c:pt idx="569">
                  <c:v>19.809999999999999</c:v>
                </c:pt>
                <c:pt idx="570">
                  <c:v>18.8</c:v>
                </c:pt>
                <c:pt idx="571">
                  <c:v>15.29</c:v>
                </c:pt>
                <c:pt idx="572">
                  <c:v>17.399999999999999</c:v>
                </c:pt>
                <c:pt idx="573">
                  <c:v>17.53</c:v>
                </c:pt>
                <c:pt idx="574">
                  <c:v>15.73</c:v>
                </c:pt>
                <c:pt idx="575">
                  <c:v>18.64</c:v>
                </c:pt>
                <c:pt idx="576">
                  <c:v>16.989999999999998</c:v>
                </c:pt>
                <c:pt idx="577">
                  <c:v>17.600000000000001</c:v>
                </c:pt>
                <c:pt idx="578">
                  <c:v>18.13</c:v>
                </c:pt>
                <c:pt idx="579">
                  <c:v>17.649999999999999</c:v>
                </c:pt>
                <c:pt idx="580">
                  <c:v>19.16</c:v>
                </c:pt>
                <c:pt idx="581">
                  <c:v>20.2</c:v>
                </c:pt>
                <c:pt idx="582">
                  <c:v>19.89</c:v>
                </c:pt>
                <c:pt idx="583">
                  <c:v>17.95</c:v>
                </c:pt>
                <c:pt idx="584">
                  <c:v>18.489999999999998</c:v>
                </c:pt>
                <c:pt idx="585">
                  <c:v>17.03</c:v>
                </c:pt>
                <c:pt idx="586">
                  <c:v>16.79</c:v>
                </c:pt>
                <c:pt idx="587">
                  <c:v>16.399999999999999</c:v>
                </c:pt>
                <c:pt idx="588">
                  <c:v>16.34</c:v>
                </c:pt>
                <c:pt idx="589">
                  <c:v>13.36</c:v>
                </c:pt>
                <c:pt idx="590">
                  <c:v>13.5</c:v>
                </c:pt>
                <c:pt idx="591">
                  <c:v>15.66</c:v>
                </c:pt>
                <c:pt idx="592">
                  <c:v>15.89</c:v>
                </c:pt>
                <c:pt idx="593">
                  <c:v>17.55</c:v>
                </c:pt>
                <c:pt idx="594">
                  <c:v>19.7</c:v>
                </c:pt>
                <c:pt idx="595">
                  <c:v>19.27</c:v>
                </c:pt>
                <c:pt idx="596">
                  <c:v>20.23</c:v>
                </c:pt>
                <c:pt idx="597">
                  <c:v>21.29</c:v>
                </c:pt>
                <c:pt idx="598">
                  <c:v>21.37</c:v>
                </c:pt>
                <c:pt idx="599">
                  <c:v>21.53</c:v>
                </c:pt>
                <c:pt idx="600">
                  <c:v>20.7</c:v>
                </c:pt>
                <c:pt idx="601">
                  <c:v>20.13</c:v>
                </c:pt>
                <c:pt idx="602">
                  <c:v>21.92</c:v>
                </c:pt>
                <c:pt idx="603">
                  <c:v>22.47</c:v>
                </c:pt>
                <c:pt idx="604">
                  <c:v>22.51</c:v>
                </c:pt>
                <c:pt idx="605">
                  <c:v>22.33</c:v>
                </c:pt>
                <c:pt idx="606">
                  <c:v>21.62</c:v>
                </c:pt>
                <c:pt idx="607">
                  <c:v>23.64</c:v>
                </c:pt>
                <c:pt idx="608">
                  <c:v>25</c:v>
                </c:pt>
                <c:pt idx="609">
                  <c:v>24.77</c:v>
                </c:pt>
                <c:pt idx="610">
                  <c:v>24.45</c:v>
                </c:pt>
                <c:pt idx="611">
                  <c:v>25.92</c:v>
                </c:pt>
                <c:pt idx="612">
                  <c:v>25.86</c:v>
                </c:pt>
                <c:pt idx="613">
                  <c:v>25.26</c:v>
                </c:pt>
                <c:pt idx="614">
                  <c:v>26.75</c:v>
                </c:pt>
                <c:pt idx="615">
                  <c:v>27.09</c:v>
                </c:pt>
                <c:pt idx="616">
                  <c:v>26.64</c:v>
                </c:pt>
                <c:pt idx="617">
                  <c:v>26.5</c:v>
                </c:pt>
                <c:pt idx="618">
                  <c:v>26.45</c:v>
                </c:pt>
                <c:pt idx="619">
                  <c:v>25.21</c:v>
                </c:pt>
                <c:pt idx="620">
                  <c:v>25.4</c:v>
                </c:pt>
                <c:pt idx="621">
                  <c:v>25</c:v>
                </c:pt>
                <c:pt idx="622">
                  <c:v>23.25</c:v>
                </c:pt>
                <c:pt idx="623">
                  <c:v>21.87</c:v>
                </c:pt>
                <c:pt idx="624">
                  <c:v>23.68</c:v>
                </c:pt>
                <c:pt idx="625">
                  <c:v>23.52</c:v>
                </c:pt>
                <c:pt idx="626">
                  <c:v>25.51</c:v>
                </c:pt>
                <c:pt idx="627">
                  <c:v>25.37</c:v>
                </c:pt>
                <c:pt idx="628">
                  <c:v>25.85</c:v>
                </c:pt>
                <c:pt idx="629">
                  <c:v>25.69</c:v>
                </c:pt>
                <c:pt idx="630">
                  <c:v>25.85</c:v>
                </c:pt>
                <c:pt idx="631">
                  <c:v>25.83</c:v>
                </c:pt>
                <c:pt idx="632">
                  <c:v>25.91</c:v>
                </c:pt>
                <c:pt idx="633">
                  <c:v>25.32</c:v>
                </c:pt>
                <c:pt idx="634">
                  <c:v>26.66</c:v>
                </c:pt>
                <c:pt idx="635">
                  <c:v>25.27</c:v>
                </c:pt>
                <c:pt idx="636">
                  <c:v>23.47</c:v>
                </c:pt>
                <c:pt idx="637">
                  <c:v>26</c:v>
                </c:pt>
                <c:pt idx="638">
                  <c:v>25.12</c:v>
                </c:pt>
                <c:pt idx="639">
                  <c:v>24.31</c:v>
                </c:pt>
                <c:pt idx="640">
                  <c:v>23.35</c:v>
                </c:pt>
                <c:pt idx="641">
                  <c:v>23.62</c:v>
                </c:pt>
                <c:pt idx="642">
                  <c:v>21.22</c:v>
                </c:pt>
                <c:pt idx="643">
                  <c:v>21.8</c:v>
                </c:pt>
                <c:pt idx="644">
                  <c:v>23.09</c:v>
                </c:pt>
                <c:pt idx="645">
                  <c:v>24.88</c:v>
                </c:pt>
                <c:pt idx="646">
                  <c:v>23</c:v>
                </c:pt>
                <c:pt idx="647">
                  <c:v>20.81</c:v>
                </c:pt>
                <c:pt idx="648">
                  <c:v>21.75</c:v>
                </c:pt>
                <c:pt idx="649">
                  <c:v>22.82</c:v>
                </c:pt>
                <c:pt idx="650">
                  <c:v>24.35</c:v>
                </c:pt>
                <c:pt idx="651">
                  <c:v>24.15</c:v>
                </c:pt>
                <c:pt idx="652">
                  <c:v>23.88</c:v>
                </c:pt>
                <c:pt idx="653">
                  <c:v>25.2</c:v>
                </c:pt>
                <c:pt idx="654">
                  <c:v>24.29</c:v>
                </c:pt>
                <c:pt idx="655">
                  <c:v>23.12</c:v>
                </c:pt>
                <c:pt idx="656">
                  <c:v>21.24</c:v>
                </c:pt>
                <c:pt idx="657">
                  <c:v>21.48</c:v>
                </c:pt>
                <c:pt idx="658">
                  <c:v>19.89</c:v>
                </c:pt>
                <c:pt idx="659">
                  <c:v>17.05</c:v>
                </c:pt>
                <c:pt idx="660">
                  <c:v>15.78</c:v>
                </c:pt>
                <c:pt idx="661">
                  <c:v>15.88</c:v>
                </c:pt>
                <c:pt idx="662">
                  <c:v>16.78</c:v>
                </c:pt>
                <c:pt idx="663">
                  <c:v>13.87</c:v>
                </c:pt>
                <c:pt idx="664">
                  <c:v>15.77</c:v>
                </c:pt>
                <c:pt idx="665">
                  <c:v>13.27</c:v>
                </c:pt>
                <c:pt idx="666">
                  <c:v>13.33</c:v>
                </c:pt>
                <c:pt idx="667">
                  <c:v>12</c:v>
                </c:pt>
                <c:pt idx="668">
                  <c:v>12.59</c:v>
                </c:pt>
                <c:pt idx="669">
                  <c:v>14.87</c:v>
                </c:pt>
                <c:pt idx="670">
                  <c:v>13.07</c:v>
                </c:pt>
                <c:pt idx="671">
                  <c:v>14.67</c:v>
                </c:pt>
                <c:pt idx="672">
                  <c:v>13.43</c:v>
                </c:pt>
                <c:pt idx="673">
                  <c:v>14.05</c:v>
                </c:pt>
                <c:pt idx="674">
                  <c:v>16.88</c:v>
                </c:pt>
                <c:pt idx="675">
                  <c:v>16.829999999999998</c:v>
                </c:pt>
                <c:pt idx="676">
                  <c:v>14.64</c:v>
                </c:pt>
                <c:pt idx="677">
                  <c:v>15.21</c:v>
                </c:pt>
                <c:pt idx="678">
                  <c:v>15.38</c:v>
                </c:pt>
                <c:pt idx="679">
                  <c:v>13.25</c:v>
                </c:pt>
                <c:pt idx="680">
                  <c:v>11.65</c:v>
                </c:pt>
                <c:pt idx="681">
                  <c:v>11.57</c:v>
                </c:pt>
                <c:pt idx="682">
                  <c:v>11.55</c:v>
                </c:pt>
                <c:pt idx="683">
                  <c:v>10.18</c:v>
                </c:pt>
                <c:pt idx="684">
                  <c:v>12.33</c:v>
                </c:pt>
                <c:pt idx="685">
                  <c:v>14.19</c:v>
                </c:pt>
                <c:pt idx="686">
                  <c:v>16.07</c:v>
                </c:pt>
                <c:pt idx="687">
                  <c:v>15.53</c:v>
                </c:pt>
                <c:pt idx="688">
                  <c:v>15.52</c:v>
                </c:pt>
                <c:pt idx="689">
                  <c:v>17.190000000000001</c:v>
                </c:pt>
                <c:pt idx="690">
                  <c:v>15.73</c:v>
                </c:pt>
                <c:pt idx="691">
                  <c:v>16.25</c:v>
                </c:pt>
                <c:pt idx="692">
                  <c:v>17.57</c:v>
                </c:pt>
                <c:pt idx="693">
                  <c:v>17.350000000000001</c:v>
                </c:pt>
                <c:pt idx="694">
                  <c:v>16.39</c:v>
                </c:pt>
                <c:pt idx="695">
                  <c:v>19.170000000000002</c:v>
                </c:pt>
                <c:pt idx="696">
                  <c:v>19.66</c:v>
                </c:pt>
                <c:pt idx="697">
                  <c:v>20.079999999999998</c:v>
                </c:pt>
                <c:pt idx="698">
                  <c:v>20.48</c:v>
                </c:pt>
                <c:pt idx="699">
                  <c:v>20.58</c:v>
                </c:pt>
                <c:pt idx="700">
                  <c:v>19.23</c:v>
                </c:pt>
                <c:pt idx="701">
                  <c:v>19.829999999999998</c:v>
                </c:pt>
                <c:pt idx="702">
                  <c:v>19.850000000000001</c:v>
                </c:pt>
                <c:pt idx="703">
                  <c:v>21.81</c:v>
                </c:pt>
                <c:pt idx="704">
                  <c:v>21.66</c:v>
                </c:pt>
                <c:pt idx="705">
                  <c:v>21.44</c:v>
                </c:pt>
                <c:pt idx="706">
                  <c:v>22.12</c:v>
                </c:pt>
                <c:pt idx="707">
                  <c:v>22.92</c:v>
                </c:pt>
                <c:pt idx="708">
                  <c:v>23.46</c:v>
                </c:pt>
                <c:pt idx="709">
                  <c:v>23.59</c:v>
                </c:pt>
                <c:pt idx="710">
                  <c:v>23.48</c:v>
                </c:pt>
                <c:pt idx="711">
                  <c:v>22.69</c:v>
                </c:pt>
                <c:pt idx="712">
                  <c:v>22.64</c:v>
                </c:pt>
                <c:pt idx="713">
                  <c:v>22.71</c:v>
                </c:pt>
                <c:pt idx="714">
                  <c:v>23.79</c:v>
                </c:pt>
                <c:pt idx="715">
                  <c:v>24.33</c:v>
                </c:pt>
                <c:pt idx="716">
                  <c:v>24.08</c:v>
                </c:pt>
                <c:pt idx="717">
                  <c:v>24.86</c:v>
                </c:pt>
                <c:pt idx="718">
                  <c:v>24.46</c:v>
                </c:pt>
                <c:pt idx="719">
                  <c:v>23.2</c:v>
                </c:pt>
                <c:pt idx="720">
                  <c:v>24.49</c:v>
                </c:pt>
                <c:pt idx="721">
                  <c:v>23</c:v>
                </c:pt>
                <c:pt idx="722">
                  <c:v>23.34</c:v>
                </c:pt>
                <c:pt idx="723">
                  <c:v>23.01</c:v>
                </c:pt>
                <c:pt idx="724">
                  <c:v>24.2</c:v>
                </c:pt>
                <c:pt idx="725">
                  <c:v>25.44</c:v>
                </c:pt>
                <c:pt idx="726">
                  <c:v>25.46</c:v>
                </c:pt>
                <c:pt idx="727">
                  <c:v>25.34</c:v>
                </c:pt>
                <c:pt idx="728">
                  <c:v>26.16</c:v>
                </c:pt>
                <c:pt idx="729">
                  <c:v>26.55</c:v>
                </c:pt>
                <c:pt idx="730">
                  <c:v>26.65</c:v>
                </c:pt>
                <c:pt idx="731">
                  <c:v>25.99</c:v>
                </c:pt>
                <c:pt idx="732">
                  <c:v>25.99</c:v>
                </c:pt>
                <c:pt idx="733">
                  <c:v>25.77</c:v>
                </c:pt>
                <c:pt idx="734">
                  <c:v>26</c:v>
                </c:pt>
                <c:pt idx="735">
                  <c:v>26.21</c:v>
                </c:pt>
                <c:pt idx="736">
                  <c:v>25.04</c:v>
                </c:pt>
                <c:pt idx="737">
                  <c:v>24.41</c:v>
                </c:pt>
                <c:pt idx="738">
                  <c:v>25.38</c:v>
                </c:pt>
                <c:pt idx="739">
                  <c:v>24.29</c:v>
                </c:pt>
                <c:pt idx="740">
                  <c:v>23.56</c:v>
                </c:pt>
                <c:pt idx="741">
                  <c:v>23.53</c:v>
                </c:pt>
                <c:pt idx="742">
                  <c:v>23.92</c:v>
                </c:pt>
                <c:pt idx="743">
                  <c:v>24.01</c:v>
                </c:pt>
                <c:pt idx="744">
                  <c:v>25.56</c:v>
                </c:pt>
                <c:pt idx="745">
                  <c:v>24.36</c:v>
                </c:pt>
                <c:pt idx="746">
                  <c:v>24.34</c:v>
                </c:pt>
                <c:pt idx="747">
                  <c:v>23.29</c:v>
                </c:pt>
                <c:pt idx="748">
                  <c:v>24.49</c:v>
                </c:pt>
                <c:pt idx="749">
                  <c:v>23.32</c:v>
                </c:pt>
                <c:pt idx="750">
                  <c:v>23.35</c:v>
                </c:pt>
                <c:pt idx="751">
                  <c:v>22.89</c:v>
                </c:pt>
                <c:pt idx="752">
                  <c:v>23.63</c:v>
                </c:pt>
                <c:pt idx="753">
                  <c:v>23.37</c:v>
                </c:pt>
                <c:pt idx="754">
                  <c:v>25.06</c:v>
                </c:pt>
                <c:pt idx="755">
                  <c:v>25.93</c:v>
                </c:pt>
                <c:pt idx="756">
                  <c:v>25.91</c:v>
                </c:pt>
                <c:pt idx="757">
                  <c:v>26.44</c:v>
                </c:pt>
                <c:pt idx="758">
                  <c:v>26.32</c:v>
                </c:pt>
                <c:pt idx="759">
                  <c:v>26.46</c:v>
                </c:pt>
                <c:pt idx="760">
                  <c:v>26.82</c:v>
                </c:pt>
                <c:pt idx="761">
                  <c:v>26.45</c:v>
                </c:pt>
                <c:pt idx="762">
                  <c:v>27.07</c:v>
                </c:pt>
                <c:pt idx="763">
                  <c:v>27.23</c:v>
                </c:pt>
                <c:pt idx="764">
                  <c:v>27.65</c:v>
                </c:pt>
                <c:pt idx="765">
                  <c:v>27.43</c:v>
                </c:pt>
                <c:pt idx="766">
                  <c:v>26.26</c:v>
                </c:pt>
                <c:pt idx="767">
                  <c:v>25.24</c:v>
                </c:pt>
                <c:pt idx="768">
                  <c:v>25.01</c:v>
                </c:pt>
                <c:pt idx="769">
                  <c:v>24.78</c:v>
                </c:pt>
                <c:pt idx="770">
                  <c:v>25.18</c:v>
                </c:pt>
                <c:pt idx="771">
                  <c:v>24.77</c:v>
                </c:pt>
                <c:pt idx="772">
                  <c:v>25.49</c:v>
                </c:pt>
                <c:pt idx="773">
                  <c:v>25.83</c:v>
                </c:pt>
                <c:pt idx="774">
                  <c:v>25.62</c:v>
                </c:pt>
                <c:pt idx="775">
                  <c:v>27.3</c:v>
                </c:pt>
                <c:pt idx="776">
                  <c:v>22.73</c:v>
                </c:pt>
                <c:pt idx="777">
                  <c:v>20.51</c:v>
                </c:pt>
                <c:pt idx="778">
                  <c:v>22.65</c:v>
                </c:pt>
                <c:pt idx="779">
                  <c:v>24.74</c:v>
                </c:pt>
                <c:pt idx="780">
                  <c:v>26.43</c:v>
                </c:pt>
                <c:pt idx="781">
                  <c:v>26.68</c:v>
                </c:pt>
                <c:pt idx="782">
                  <c:v>25.81</c:v>
                </c:pt>
                <c:pt idx="783">
                  <c:v>26.49</c:v>
                </c:pt>
                <c:pt idx="784">
                  <c:v>26.37</c:v>
                </c:pt>
                <c:pt idx="785">
                  <c:v>28.3</c:v>
                </c:pt>
                <c:pt idx="786">
                  <c:v>28.74</c:v>
                </c:pt>
                <c:pt idx="787">
                  <c:v>29.64</c:v>
                </c:pt>
                <c:pt idx="788">
                  <c:v>29.66</c:v>
                </c:pt>
                <c:pt idx="789">
                  <c:v>30.34</c:v>
                </c:pt>
                <c:pt idx="790">
                  <c:v>30.22</c:v>
                </c:pt>
                <c:pt idx="791">
                  <c:v>30.53</c:v>
                </c:pt>
                <c:pt idx="792">
                  <c:v>30.34</c:v>
                </c:pt>
                <c:pt idx="793">
                  <c:v>30.9</c:v>
                </c:pt>
                <c:pt idx="794">
                  <c:v>30.43</c:v>
                </c:pt>
                <c:pt idx="795">
                  <c:v>31.02</c:v>
                </c:pt>
                <c:pt idx="796">
                  <c:v>30.63</c:v>
                </c:pt>
                <c:pt idx="797">
                  <c:v>30.67</c:v>
                </c:pt>
                <c:pt idx="798">
                  <c:v>30.51</c:v>
                </c:pt>
                <c:pt idx="799">
                  <c:v>30.72</c:v>
                </c:pt>
                <c:pt idx="800">
                  <c:v>30.94</c:v>
                </c:pt>
                <c:pt idx="801">
                  <c:v>30.77</c:v>
                </c:pt>
                <c:pt idx="802">
                  <c:v>29.94</c:v>
                </c:pt>
                <c:pt idx="803">
                  <c:v>30.34</c:v>
                </c:pt>
                <c:pt idx="804">
                  <c:v>30.37</c:v>
                </c:pt>
                <c:pt idx="805">
                  <c:v>31.49</c:v>
                </c:pt>
                <c:pt idx="806">
                  <c:v>31.37</c:v>
                </c:pt>
                <c:pt idx="807">
                  <c:v>31.43</c:v>
                </c:pt>
                <c:pt idx="808">
                  <c:v>31.05</c:v>
                </c:pt>
                <c:pt idx="809">
                  <c:v>31.67</c:v>
                </c:pt>
                <c:pt idx="810">
                  <c:v>31.56</c:v>
                </c:pt>
                <c:pt idx="811">
                  <c:v>31.93</c:v>
                </c:pt>
                <c:pt idx="812">
                  <c:v>31.21</c:v>
                </c:pt>
                <c:pt idx="813">
                  <c:v>31.45</c:v>
                </c:pt>
                <c:pt idx="814">
                  <c:v>31.74</c:v>
                </c:pt>
                <c:pt idx="815">
                  <c:v>31.55</c:v>
                </c:pt>
                <c:pt idx="816">
                  <c:v>31.48</c:v>
                </c:pt>
                <c:pt idx="817">
                  <c:v>31.74</c:v>
                </c:pt>
                <c:pt idx="818">
                  <c:v>31.05</c:v>
                </c:pt>
                <c:pt idx="819">
                  <c:v>30.87</c:v>
                </c:pt>
                <c:pt idx="820">
                  <c:v>30.66</c:v>
                </c:pt>
                <c:pt idx="821">
                  <c:v>31.34</c:v>
                </c:pt>
                <c:pt idx="822">
                  <c:v>31.09</c:v>
                </c:pt>
                <c:pt idx="823">
                  <c:v>30.78</c:v>
                </c:pt>
                <c:pt idx="824">
                  <c:v>30.77</c:v>
                </c:pt>
                <c:pt idx="825">
                  <c:v>31.32</c:v>
                </c:pt>
                <c:pt idx="826">
                  <c:v>31.71</c:v>
                </c:pt>
                <c:pt idx="827">
                  <c:v>31.69</c:v>
                </c:pt>
                <c:pt idx="828">
                  <c:v>31.4</c:v>
                </c:pt>
                <c:pt idx="829">
                  <c:v>28.18</c:v>
                </c:pt>
                <c:pt idx="830">
                  <c:v>30.06</c:v>
                </c:pt>
                <c:pt idx="831">
                  <c:v>28.13</c:v>
                </c:pt>
                <c:pt idx="832">
                  <c:v>28.05</c:v>
                </c:pt>
                <c:pt idx="833">
                  <c:v>29.35</c:v>
                </c:pt>
                <c:pt idx="834">
                  <c:v>28.86</c:v>
                </c:pt>
                <c:pt idx="835">
                  <c:v>28.86</c:v>
                </c:pt>
                <c:pt idx="836">
                  <c:v>28.9</c:v>
                </c:pt>
                <c:pt idx="837">
                  <c:v>30.3</c:v>
                </c:pt>
                <c:pt idx="838">
                  <c:v>31.15</c:v>
                </c:pt>
                <c:pt idx="839">
                  <c:v>30.4</c:v>
                </c:pt>
                <c:pt idx="840">
                  <c:v>29.28</c:v>
                </c:pt>
                <c:pt idx="841">
                  <c:v>30.11</c:v>
                </c:pt>
                <c:pt idx="842">
                  <c:v>30.8</c:v>
                </c:pt>
                <c:pt idx="843">
                  <c:v>29.58</c:v>
                </c:pt>
                <c:pt idx="844">
                  <c:v>30.61</c:v>
                </c:pt>
                <c:pt idx="845">
                  <c:v>30.19</c:v>
                </c:pt>
                <c:pt idx="846">
                  <c:v>29.54</c:v>
                </c:pt>
                <c:pt idx="847">
                  <c:v>30.1</c:v>
                </c:pt>
                <c:pt idx="848">
                  <c:v>30.16</c:v>
                </c:pt>
                <c:pt idx="849">
                  <c:v>29.74</c:v>
                </c:pt>
                <c:pt idx="850">
                  <c:v>30.34</c:v>
                </c:pt>
                <c:pt idx="851">
                  <c:v>28.71</c:v>
                </c:pt>
                <c:pt idx="852">
                  <c:v>28.86</c:v>
                </c:pt>
                <c:pt idx="853">
                  <c:v>28.46</c:v>
                </c:pt>
                <c:pt idx="854">
                  <c:v>28.49</c:v>
                </c:pt>
                <c:pt idx="855">
                  <c:v>28.1</c:v>
                </c:pt>
                <c:pt idx="856">
                  <c:v>28.89</c:v>
                </c:pt>
                <c:pt idx="857">
                  <c:v>29.17</c:v>
                </c:pt>
                <c:pt idx="858">
                  <c:v>28.99</c:v>
                </c:pt>
                <c:pt idx="859">
                  <c:v>28.98</c:v>
                </c:pt>
                <c:pt idx="860">
                  <c:v>29.59</c:v>
                </c:pt>
                <c:pt idx="861">
                  <c:v>29.1</c:v>
                </c:pt>
                <c:pt idx="862">
                  <c:v>28.88</c:v>
                </c:pt>
                <c:pt idx="863">
                  <c:v>28.49</c:v>
                </c:pt>
                <c:pt idx="864">
                  <c:v>28.09</c:v>
                </c:pt>
                <c:pt idx="865">
                  <c:v>28.08</c:v>
                </c:pt>
                <c:pt idx="866">
                  <c:v>27.21</c:v>
                </c:pt>
                <c:pt idx="867">
                  <c:v>26.38</c:v>
                </c:pt>
                <c:pt idx="868">
                  <c:v>25.82</c:v>
                </c:pt>
                <c:pt idx="869">
                  <c:v>25.61</c:v>
                </c:pt>
                <c:pt idx="870">
                  <c:v>28.4</c:v>
                </c:pt>
                <c:pt idx="871">
                  <c:v>28.88</c:v>
                </c:pt>
                <c:pt idx="872">
                  <c:v>30.31</c:v>
                </c:pt>
                <c:pt idx="873">
                  <c:v>30.57</c:v>
                </c:pt>
                <c:pt idx="874">
                  <c:v>30.38</c:v>
                </c:pt>
                <c:pt idx="875">
                  <c:v>30.37</c:v>
                </c:pt>
                <c:pt idx="876">
                  <c:v>31.34</c:v>
                </c:pt>
                <c:pt idx="877">
                  <c:v>31.14</c:v>
                </c:pt>
                <c:pt idx="878">
                  <c:v>31.75</c:v>
                </c:pt>
                <c:pt idx="879">
                  <c:v>31.44</c:v>
                </c:pt>
                <c:pt idx="880">
                  <c:v>32.42</c:v>
                </c:pt>
                <c:pt idx="881">
                  <c:v>32.700000000000003</c:v>
                </c:pt>
                <c:pt idx="882">
                  <c:v>32.81</c:v>
                </c:pt>
                <c:pt idx="883">
                  <c:v>33.33</c:v>
                </c:pt>
                <c:pt idx="884">
                  <c:v>32.630000000000003</c:v>
                </c:pt>
                <c:pt idx="885">
                  <c:v>32.81</c:v>
                </c:pt>
                <c:pt idx="886">
                  <c:v>32.450000000000003</c:v>
                </c:pt>
                <c:pt idx="887">
                  <c:v>31.99</c:v>
                </c:pt>
                <c:pt idx="888">
                  <c:v>32.04</c:v>
                </c:pt>
                <c:pt idx="889">
                  <c:v>32.81</c:v>
                </c:pt>
                <c:pt idx="890">
                  <c:v>33.26</c:v>
                </c:pt>
                <c:pt idx="891">
                  <c:v>35.020000000000003</c:v>
                </c:pt>
                <c:pt idx="892">
                  <c:v>35.31</c:v>
                </c:pt>
                <c:pt idx="893">
                  <c:v>36.11</c:v>
                </c:pt>
                <c:pt idx="894">
                  <c:v>35.96</c:v>
                </c:pt>
                <c:pt idx="895">
                  <c:v>36.85</c:v>
                </c:pt>
                <c:pt idx="896">
                  <c:v>35.729999999999997</c:v>
                </c:pt>
                <c:pt idx="897">
                  <c:v>36.26</c:v>
                </c:pt>
                <c:pt idx="898">
                  <c:v>36.020000000000003</c:v>
                </c:pt>
                <c:pt idx="899">
                  <c:v>36.29</c:v>
                </c:pt>
                <c:pt idx="900">
                  <c:v>36.79</c:v>
                </c:pt>
                <c:pt idx="901">
                  <c:v>36.450000000000003</c:v>
                </c:pt>
                <c:pt idx="902">
                  <c:v>36.200000000000003</c:v>
                </c:pt>
                <c:pt idx="903">
                  <c:v>36.369999999999997</c:v>
                </c:pt>
                <c:pt idx="904">
                  <c:v>36.67</c:v>
                </c:pt>
                <c:pt idx="905">
                  <c:v>35.53</c:v>
                </c:pt>
                <c:pt idx="906">
                  <c:v>35.49</c:v>
                </c:pt>
                <c:pt idx="907">
                  <c:v>34.86</c:v>
                </c:pt>
                <c:pt idx="908">
                  <c:v>36.01</c:v>
                </c:pt>
                <c:pt idx="909">
                  <c:v>36.79</c:v>
                </c:pt>
                <c:pt idx="910">
                  <c:v>36.68</c:v>
                </c:pt>
                <c:pt idx="911">
                  <c:v>37.159999999999997</c:v>
                </c:pt>
                <c:pt idx="912">
                  <c:v>36.68</c:v>
                </c:pt>
                <c:pt idx="913">
                  <c:v>36.68</c:v>
                </c:pt>
                <c:pt idx="914">
                  <c:v>37.06</c:v>
                </c:pt>
                <c:pt idx="915">
                  <c:v>36.770000000000003</c:v>
                </c:pt>
                <c:pt idx="916">
                  <c:v>37.020000000000003</c:v>
                </c:pt>
                <c:pt idx="917">
                  <c:v>36.61</c:v>
                </c:pt>
                <c:pt idx="918">
                  <c:v>36.86</c:v>
                </c:pt>
                <c:pt idx="919">
                  <c:v>36.36</c:v>
                </c:pt>
                <c:pt idx="920">
                  <c:v>36.82</c:v>
                </c:pt>
                <c:pt idx="921">
                  <c:v>36.450000000000003</c:v>
                </c:pt>
                <c:pt idx="922">
                  <c:v>37.35</c:v>
                </c:pt>
                <c:pt idx="923">
                  <c:v>38.450000000000003</c:v>
                </c:pt>
                <c:pt idx="924">
                  <c:v>38.35</c:v>
                </c:pt>
                <c:pt idx="925">
                  <c:v>38.229999999999997</c:v>
                </c:pt>
                <c:pt idx="926">
                  <c:v>37.4</c:v>
                </c:pt>
                <c:pt idx="927">
                  <c:v>37.28</c:v>
                </c:pt>
                <c:pt idx="928">
                  <c:v>37.32</c:v>
                </c:pt>
                <c:pt idx="929">
                  <c:v>37.4</c:v>
                </c:pt>
                <c:pt idx="930">
                  <c:v>38.39</c:v>
                </c:pt>
                <c:pt idx="931">
                  <c:v>38.1</c:v>
                </c:pt>
                <c:pt idx="932">
                  <c:v>38.130000000000003</c:v>
                </c:pt>
                <c:pt idx="933">
                  <c:v>38.229999999999997</c:v>
                </c:pt>
                <c:pt idx="934">
                  <c:v>39.020000000000003</c:v>
                </c:pt>
                <c:pt idx="935">
                  <c:v>39.520000000000003</c:v>
                </c:pt>
                <c:pt idx="936">
                  <c:v>40.25</c:v>
                </c:pt>
                <c:pt idx="937">
                  <c:v>40.81</c:v>
                </c:pt>
                <c:pt idx="938">
                  <c:v>41.52</c:v>
                </c:pt>
                <c:pt idx="939">
                  <c:v>41.39</c:v>
                </c:pt>
                <c:pt idx="940">
                  <c:v>41.63</c:v>
                </c:pt>
                <c:pt idx="941">
                  <c:v>42.49</c:v>
                </c:pt>
                <c:pt idx="942">
                  <c:v>42.33</c:v>
                </c:pt>
                <c:pt idx="943">
                  <c:v>42.39</c:v>
                </c:pt>
                <c:pt idx="944">
                  <c:v>42.61</c:v>
                </c:pt>
                <c:pt idx="945">
                  <c:v>42.75</c:v>
                </c:pt>
                <c:pt idx="946">
                  <c:v>42.38</c:v>
                </c:pt>
                <c:pt idx="947">
                  <c:v>44.33</c:v>
                </c:pt>
                <c:pt idx="948">
                  <c:v>43.48</c:v>
                </c:pt>
                <c:pt idx="949">
                  <c:v>43.56</c:v>
                </c:pt>
                <c:pt idx="950">
                  <c:v>43.09</c:v>
                </c:pt>
                <c:pt idx="951">
                  <c:v>42.67</c:v>
                </c:pt>
                <c:pt idx="952">
                  <c:v>42.34</c:v>
                </c:pt>
                <c:pt idx="953">
                  <c:v>42.46</c:v>
                </c:pt>
                <c:pt idx="954">
                  <c:v>42.92</c:v>
                </c:pt>
                <c:pt idx="955">
                  <c:v>42.98</c:v>
                </c:pt>
                <c:pt idx="956">
                  <c:v>42.49</c:v>
                </c:pt>
                <c:pt idx="957">
                  <c:v>43.69</c:v>
                </c:pt>
                <c:pt idx="958">
                  <c:v>43.45</c:v>
                </c:pt>
                <c:pt idx="959">
                  <c:v>43.26</c:v>
                </c:pt>
                <c:pt idx="960">
                  <c:v>42.98</c:v>
                </c:pt>
                <c:pt idx="961">
                  <c:v>41.2</c:v>
                </c:pt>
                <c:pt idx="962">
                  <c:v>41.47</c:v>
                </c:pt>
                <c:pt idx="963">
                  <c:v>41.32</c:v>
                </c:pt>
                <c:pt idx="964">
                  <c:v>41.2</c:v>
                </c:pt>
                <c:pt idx="965">
                  <c:v>41.05</c:v>
                </c:pt>
                <c:pt idx="966">
                  <c:v>42.08</c:v>
                </c:pt>
                <c:pt idx="967">
                  <c:v>42.23</c:v>
                </c:pt>
                <c:pt idx="968">
                  <c:v>42.65</c:v>
                </c:pt>
                <c:pt idx="969">
                  <c:v>42.33</c:v>
                </c:pt>
                <c:pt idx="970">
                  <c:v>42.09</c:v>
                </c:pt>
                <c:pt idx="971">
                  <c:v>42.17</c:v>
                </c:pt>
                <c:pt idx="972">
                  <c:v>41.74</c:v>
                </c:pt>
                <c:pt idx="973">
                  <c:v>42.01</c:v>
                </c:pt>
                <c:pt idx="974">
                  <c:v>41.9</c:v>
                </c:pt>
                <c:pt idx="975">
                  <c:v>41.99</c:v>
                </c:pt>
                <c:pt idx="976">
                  <c:v>41.79</c:v>
                </c:pt>
                <c:pt idx="977">
                  <c:v>41.26</c:v>
                </c:pt>
                <c:pt idx="978">
                  <c:v>40.29</c:v>
                </c:pt>
                <c:pt idx="979">
                  <c:v>41.5</c:v>
                </c:pt>
                <c:pt idx="980">
                  <c:v>41.09</c:v>
                </c:pt>
                <c:pt idx="981">
                  <c:v>40.85</c:v>
                </c:pt>
                <c:pt idx="982">
                  <c:v>41.91</c:v>
                </c:pt>
                <c:pt idx="983">
                  <c:v>41.48</c:v>
                </c:pt>
                <c:pt idx="984">
                  <c:v>43.02</c:v>
                </c:pt>
                <c:pt idx="985">
                  <c:v>43.89</c:v>
                </c:pt>
                <c:pt idx="986">
                  <c:v>43.82</c:v>
                </c:pt>
                <c:pt idx="987">
                  <c:v>43.9</c:v>
                </c:pt>
                <c:pt idx="988">
                  <c:v>43.62</c:v>
                </c:pt>
                <c:pt idx="989">
                  <c:v>43.87</c:v>
                </c:pt>
                <c:pt idx="990">
                  <c:v>44.04</c:v>
                </c:pt>
                <c:pt idx="991">
                  <c:v>43.86</c:v>
                </c:pt>
                <c:pt idx="992">
                  <c:v>43.94</c:v>
                </c:pt>
                <c:pt idx="993">
                  <c:v>44.53</c:v>
                </c:pt>
                <c:pt idx="994">
                  <c:v>44.54</c:v>
                </c:pt>
                <c:pt idx="995">
                  <c:v>44.39</c:v>
                </c:pt>
                <c:pt idx="996">
                  <c:v>44.55</c:v>
                </c:pt>
                <c:pt idx="997">
                  <c:v>44.24</c:v>
                </c:pt>
                <c:pt idx="998">
                  <c:v>44.02</c:v>
                </c:pt>
                <c:pt idx="999">
                  <c:v>44.71</c:v>
                </c:pt>
                <c:pt idx="1000">
                  <c:v>44.61</c:v>
                </c:pt>
                <c:pt idx="1001">
                  <c:v>41.98</c:v>
                </c:pt>
                <c:pt idx="1002">
                  <c:v>42.51</c:v>
                </c:pt>
                <c:pt idx="1003">
                  <c:v>43.47</c:v>
                </c:pt>
                <c:pt idx="1004">
                  <c:v>44.21</c:v>
                </c:pt>
                <c:pt idx="1005">
                  <c:v>44.48</c:v>
                </c:pt>
                <c:pt idx="1006">
                  <c:v>44.84</c:v>
                </c:pt>
                <c:pt idx="1007">
                  <c:v>45.48</c:v>
                </c:pt>
                <c:pt idx="1008">
                  <c:v>45.53</c:v>
                </c:pt>
                <c:pt idx="1009">
                  <c:v>45.35</c:v>
                </c:pt>
                <c:pt idx="1010">
                  <c:v>45.28</c:v>
                </c:pt>
                <c:pt idx="1011">
                  <c:v>46.38</c:v>
                </c:pt>
                <c:pt idx="1012">
                  <c:v>46.93</c:v>
                </c:pt>
                <c:pt idx="1013">
                  <c:v>46.75</c:v>
                </c:pt>
                <c:pt idx="1014">
                  <c:v>46.34</c:v>
                </c:pt>
                <c:pt idx="1015">
                  <c:v>46.57</c:v>
                </c:pt>
                <c:pt idx="1016">
                  <c:v>46.61</c:v>
                </c:pt>
                <c:pt idx="1017">
                  <c:v>46.49</c:v>
                </c:pt>
                <c:pt idx="1018">
                  <c:v>46.34</c:v>
                </c:pt>
                <c:pt idx="1019">
                  <c:v>47</c:v>
                </c:pt>
                <c:pt idx="1020">
                  <c:v>46.86</c:v>
                </c:pt>
                <c:pt idx="1021">
                  <c:v>46.53</c:v>
                </c:pt>
                <c:pt idx="1022">
                  <c:v>46.57</c:v>
                </c:pt>
                <c:pt idx="1023">
                  <c:v>47.79</c:v>
                </c:pt>
                <c:pt idx="1024">
                  <c:v>46.8</c:v>
                </c:pt>
                <c:pt idx="1025">
                  <c:v>46.72</c:v>
                </c:pt>
                <c:pt idx="1026">
                  <c:v>46.65</c:v>
                </c:pt>
                <c:pt idx="1027">
                  <c:v>46.88</c:v>
                </c:pt>
                <c:pt idx="1028">
                  <c:v>46.93</c:v>
                </c:pt>
                <c:pt idx="1029">
                  <c:v>45.74</c:v>
                </c:pt>
                <c:pt idx="1030">
                  <c:v>47.02</c:v>
                </c:pt>
                <c:pt idx="1031">
                  <c:v>45.76</c:v>
                </c:pt>
                <c:pt idx="1032">
                  <c:v>45.98</c:v>
                </c:pt>
                <c:pt idx="1033">
                  <c:v>46.32</c:v>
                </c:pt>
                <c:pt idx="1034">
                  <c:v>46.53</c:v>
                </c:pt>
                <c:pt idx="1035">
                  <c:v>45.16</c:v>
                </c:pt>
                <c:pt idx="1036">
                  <c:v>46.09</c:v>
                </c:pt>
                <c:pt idx="1037">
                  <c:v>46.23</c:v>
                </c:pt>
                <c:pt idx="1038">
                  <c:v>46.11</c:v>
                </c:pt>
                <c:pt idx="1039">
                  <c:v>47.18</c:v>
                </c:pt>
                <c:pt idx="1040">
                  <c:v>47.45</c:v>
                </c:pt>
                <c:pt idx="1041">
                  <c:v>48.14</c:v>
                </c:pt>
                <c:pt idx="1042">
                  <c:v>48.14</c:v>
                </c:pt>
                <c:pt idx="1043">
                  <c:v>48.22</c:v>
                </c:pt>
                <c:pt idx="1044">
                  <c:v>49.02</c:v>
                </c:pt>
                <c:pt idx="1045">
                  <c:v>49</c:v>
                </c:pt>
                <c:pt idx="1046">
                  <c:v>48.94</c:v>
                </c:pt>
                <c:pt idx="1047">
                  <c:v>48.78</c:v>
                </c:pt>
                <c:pt idx="1048">
                  <c:v>49.22</c:v>
                </c:pt>
                <c:pt idx="1049">
                  <c:v>49.26</c:v>
                </c:pt>
                <c:pt idx="1050">
                  <c:v>49.12</c:v>
                </c:pt>
                <c:pt idx="1051">
                  <c:v>48.92</c:v>
                </c:pt>
                <c:pt idx="1052">
                  <c:v>48.81</c:v>
                </c:pt>
                <c:pt idx="1053">
                  <c:v>49.17</c:v>
                </c:pt>
                <c:pt idx="1054">
                  <c:v>49.25</c:v>
                </c:pt>
                <c:pt idx="1055">
                  <c:v>48.92</c:v>
                </c:pt>
                <c:pt idx="1056">
                  <c:v>49.2</c:v>
                </c:pt>
                <c:pt idx="1057">
                  <c:v>49.45</c:v>
                </c:pt>
                <c:pt idx="1058">
                  <c:v>49.09</c:v>
                </c:pt>
                <c:pt idx="1059">
                  <c:v>49.03</c:v>
                </c:pt>
                <c:pt idx="1060">
                  <c:v>46.87</c:v>
                </c:pt>
                <c:pt idx="1061">
                  <c:v>47.06</c:v>
                </c:pt>
                <c:pt idx="1062">
                  <c:v>48.54</c:v>
                </c:pt>
                <c:pt idx="1063">
                  <c:v>48.47</c:v>
                </c:pt>
                <c:pt idx="1064">
                  <c:v>48.68</c:v>
                </c:pt>
                <c:pt idx="1065">
                  <c:v>46.38</c:v>
                </c:pt>
                <c:pt idx="1066">
                  <c:v>46.11</c:v>
                </c:pt>
                <c:pt idx="1067">
                  <c:v>46.28</c:v>
                </c:pt>
                <c:pt idx="1068">
                  <c:v>47.74</c:v>
                </c:pt>
                <c:pt idx="1069">
                  <c:v>47.23</c:v>
                </c:pt>
                <c:pt idx="1070">
                  <c:v>46.92</c:v>
                </c:pt>
                <c:pt idx="1071">
                  <c:v>47.17</c:v>
                </c:pt>
                <c:pt idx="1072">
                  <c:v>47.24</c:v>
                </c:pt>
                <c:pt idx="1073">
                  <c:v>47.36</c:v>
                </c:pt>
                <c:pt idx="1074">
                  <c:v>48.04</c:v>
                </c:pt>
                <c:pt idx="1075">
                  <c:v>48.89</c:v>
                </c:pt>
                <c:pt idx="1076">
                  <c:v>49.18</c:v>
                </c:pt>
                <c:pt idx="1077">
                  <c:v>48.06</c:v>
                </c:pt>
                <c:pt idx="1078">
                  <c:v>48.52</c:v>
                </c:pt>
                <c:pt idx="1079">
                  <c:v>48.49</c:v>
                </c:pt>
                <c:pt idx="1080">
                  <c:v>48.27</c:v>
                </c:pt>
                <c:pt idx="1081">
                  <c:v>49.88</c:v>
                </c:pt>
                <c:pt idx="1082">
                  <c:v>50.39</c:v>
                </c:pt>
                <c:pt idx="1083">
                  <c:v>50.5</c:v>
                </c:pt>
                <c:pt idx="1084">
                  <c:v>50.33</c:v>
                </c:pt>
                <c:pt idx="1085">
                  <c:v>50.61</c:v>
                </c:pt>
                <c:pt idx="1086">
                  <c:v>50.83</c:v>
                </c:pt>
                <c:pt idx="1087">
                  <c:v>51</c:v>
                </c:pt>
                <c:pt idx="1088">
                  <c:v>51.09</c:v>
                </c:pt>
                <c:pt idx="1089">
                  <c:v>50.63</c:v>
                </c:pt>
                <c:pt idx="1090">
                  <c:v>50.73</c:v>
                </c:pt>
                <c:pt idx="1091">
                  <c:v>50.4</c:v>
                </c:pt>
                <c:pt idx="1092">
                  <c:v>50.41</c:v>
                </c:pt>
                <c:pt idx="1093">
                  <c:v>51.02</c:v>
                </c:pt>
                <c:pt idx="1094">
                  <c:v>51.2</c:v>
                </c:pt>
                <c:pt idx="1095">
                  <c:v>51.76</c:v>
                </c:pt>
                <c:pt idx="1096">
                  <c:v>52.35</c:v>
                </c:pt>
                <c:pt idx="1097">
                  <c:v>52.68</c:v>
                </c:pt>
                <c:pt idx="1098">
                  <c:v>52.87</c:v>
                </c:pt>
                <c:pt idx="1099">
                  <c:v>53.73</c:v>
                </c:pt>
                <c:pt idx="1100">
                  <c:v>53.57</c:v>
                </c:pt>
                <c:pt idx="1101">
                  <c:v>53.29</c:v>
                </c:pt>
                <c:pt idx="1102">
                  <c:v>53.65</c:v>
                </c:pt>
                <c:pt idx="1103">
                  <c:v>53.92</c:v>
                </c:pt>
                <c:pt idx="1104">
                  <c:v>53.67</c:v>
                </c:pt>
                <c:pt idx="1105">
                  <c:v>53.8</c:v>
                </c:pt>
                <c:pt idx="1106">
                  <c:v>54.07</c:v>
                </c:pt>
                <c:pt idx="1107">
                  <c:v>54.17</c:v>
                </c:pt>
                <c:pt idx="1108">
                  <c:v>54.29</c:v>
                </c:pt>
                <c:pt idx="1109">
                  <c:v>54.34</c:v>
                </c:pt>
                <c:pt idx="1110">
                  <c:v>55.13</c:v>
                </c:pt>
                <c:pt idx="1111">
                  <c:v>54.51</c:v>
                </c:pt>
                <c:pt idx="1112">
                  <c:v>54.76</c:v>
                </c:pt>
                <c:pt idx="1113">
                  <c:v>54.04</c:v>
                </c:pt>
                <c:pt idx="1114">
                  <c:v>54.24</c:v>
                </c:pt>
                <c:pt idx="1115">
                  <c:v>55.48</c:v>
                </c:pt>
                <c:pt idx="1116">
                  <c:v>54.98</c:v>
                </c:pt>
                <c:pt idx="1117">
                  <c:v>55.13</c:v>
                </c:pt>
                <c:pt idx="1118">
                  <c:v>55.38</c:v>
                </c:pt>
                <c:pt idx="1119">
                  <c:v>55.41</c:v>
                </c:pt>
                <c:pt idx="1120">
                  <c:v>55.89</c:v>
                </c:pt>
                <c:pt idx="1121">
                  <c:v>56.09</c:v>
                </c:pt>
                <c:pt idx="1122">
                  <c:v>56.06</c:v>
                </c:pt>
                <c:pt idx="1123">
                  <c:v>56.28</c:v>
                </c:pt>
                <c:pt idx="1124">
                  <c:v>55.69</c:v>
                </c:pt>
                <c:pt idx="1125">
                  <c:v>55.55</c:v>
                </c:pt>
                <c:pt idx="1126">
                  <c:v>55.71</c:v>
                </c:pt>
                <c:pt idx="1127">
                  <c:v>55.35</c:v>
                </c:pt>
                <c:pt idx="1128">
                  <c:v>54.49</c:v>
                </c:pt>
                <c:pt idx="1129">
                  <c:v>55.76</c:v>
                </c:pt>
                <c:pt idx="1130">
                  <c:v>55.35</c:v>
                </c:pt>
                <c:pt idx="1131">
                  <c:v>55.55</c:v>
                </c:pt>
                <c:pt idx="1132">
                  <c:v>56.56</c:v>
                </c:pt>
                <c:pt idx="1133">
                  <c:v>56.44</c:v>
                </c:pt>
                <c:pt idx="1134">
                  <c:v>56.77</c:v>
                </c:pt>
                <c:pt idx="1135">
                  <c:v>56.71</c:v>
                </c:pt>
                <c:pt idx="1136">
                  <c:v>58.25</c:v>
                </c:pt>
                <c:pt idx="1137">
                  <c:v>58.19</c:v>
                </c:pt>
                <c:pt idx="1138">
                  <c:v>59.49</c:v>
                </c:pt>
                <c:pt idx="1139">
                  <c:v>59.16</c:v>
                </c:pt>
                <c:pt idx="1140">
                  <c:v>59</c:v>
                </c:pt>
                <c:pt idx="1141">
                  <c:v>58.4</c:v>
                </c:pt>
                <c:pt idx="1142">
                  <c:v>58.38</c:v>
                </c:pt>
                <c:pt idx="1143">
                  <c:v>58.85</c:v>
                </c:pt>
                <c:pt idx="1144">
                  <c:v>59.72</c:v>
                </c:pt>
                <c:pt idx="1145">
                  <c:v>60.23</c:v>
                </c:pt>
                <c:pt idx="1146">
                  <c:v>60.48</c:v>
                </c:pt>
                <c:pt idx="1147">
                  <c:v>60.41</c:v>
                </c:pt>
                <c:pt idx="1148">
                  <c:v>59.75</c:v>
                </c:pt>
                <c:pt idx="1149">
                  <c:v>61.19</c:v>
                </c:pt>
                <c:pt idx="1150">
                  <c:v>62.05</c:v>
                </c:pt>
                <c:pt idx="1151">
                  <c:v>61.53</c:v>
                </c:pt>
                <c:pt idx="1152">
                  <c:v>61.39</c:v>
                </c:pt>
                <c:pt idx="1153">
                  <c:v>61.72</c:v>
                </c:pt>
                <c:pt idx="1154">
                  <c:v>61.64</c:v>
                </c:pt>
                <c:pt idx="1155">
                  <c:v>61.47</c:v>
                </c:pt>
                <c:pt idx="1156">
                  <c:v>61.6</c:v>
                </c:pt>
                <c:pt idx="1157">
                  <c:v>61.89</c:v>
                </c:pt>
                <c:pt idx="1158">
                  <c:v>61.06</c:v>
                </c:pt>
                <c:pt idx="1159">
                  <c:v>62.39</c:v>
                </c:pt>
                <c:pt idx="1160">
                  <c:v>63.43</c:v>
                </c:pt>
                <c:pt idx="1161">
                  <c:v>64.09</c:v>
                </c:pt>
                <c:pt idx="1162">
                  <c:v>65.239999999999995</c:v>
                </c:pt>
                <c:pt idx="1163">
                  <c:v>65.52</c:v>
                </c:pt>
                <c:pt idx="1164">
                  <c:v>65.73</c:v>
                </c:pt>
                <c:pt idx="1165">
                  <c:v>65.55</c:v>
                </c:pt>
                <c:pt idx="1166">
                  <c:v>66.709999999999994</c:v>
                </c:pt>
                <c:pt idx="1167">
                  <c:v>67.84</c:v>
                </c:pt>
                <c:pt idx="1168">
                  <c:v>67.25</c:v>
                </c:pt>
                <c:pt idx="1169">
                  <c:v>68.819999999999993</c:v>
                </c:pt>
                <c:pt idx="1170">
                  <c:v>68.55</c:v>
                </c:pt>
                <c:pt idx="1171">
                  <c:v>69.290000000000006</c:v>
                </c:pt>
                <c:pt idx="1172">
                  <c:v>70.650000000000006</c:v>
                </c:pt>
                <c:pt idx="1173">
                  <c:v>71.03</c:v>
                </c:pt>
                <c:pt idx="1174">
                  <c:v>70.930000000000007</c:v>
                </c:pt>
                <c:pt idx="1175">
                  <c:v>71.03</c:v>
                </c:pt>
                <c:pt idx="1176">
                  <c:v>73.06</c:v>
                </c:pt>
                <c:pt idx="1177">
                  <c:v>71.89</c:v>
                </c:pt>
                <c:pt idx="1178">
                  <c:v>70.02</c:v>
                </c:pt>
                <c:pt idx="1179">
                  <c:v>70.099999999999994</c:v>
                </c:pt>
                <c:pt idx="1180">
                  <c:v>69.989999999999995</c:v>
                </c:pt>
                <c:pt idx="1181">
                  <c:v>66.39</c:v>
                </c:pt>
                <c:pt idx="1182">
                  <c:v>59.57</c:v>
                </c:pt>
                <c:pt idx="1183">
                  <c:v>62.35</c:v>
                </c:pt>
                <c:pt idx="1184">
                  <c:v>61.54</c:v>
                </c:pt>
                <c:pt idx="1185">
                  <c:v>55.48</c:v>
                </c:pt>
                <c:pt idx="1186">
                  <c:v>57.8</c:v>
                </c:pt>
                <c:pt idx="1187">
                  <c:v>59.99</c:v>
                </c:pt>
                <c:pt idx="1188">
                  <c:v>60.41</c:v>
                </c:pt>
                <c:pt idx="1189">
                  <c:v>62.56</c:v>
                </c:pt>
                <c:pt idx="1190">
                  <c:v>64.52</c:v>
                </c:pt>
                <c:pt idx="1191">
                  <c:v>64.59</c:v>
                </c:pt>
                <c:pt idx="1192">
                  <c:v>63.62</c:v>
                </c:pt>
                <c:pt idx="1193">
                  <c:v>62.72</c:v>
                </c:pt>
                <c:pt idx="1194">
                  <c:v>62.88</c:v>
                </c:pt>
                <c:pt idx="1195">
                  <c:v>65.489999999999995</c:v>
                </c:pt>
                <c:pt idx="1196">
                  <c:v>67.44</c:v>
                </c:pt>
                <c:pt idx="1197">
                  <c:v>65.31</c:v>
                </c:pt>
                <c:pt idx="1198">
                  <c:v>63.48</c:v>
                </c:pt>
                <c:pt idx="1199">
                  <c:v>61.3</c:v>
                </c:pt>
                <c:pt idx="1200">
                  <c:v>62.12</c:v>
                </c:pt>
                <c:pt idx="1201">
                  <c:v>63.91</c:v>
                </c:pt>
                <c:pt idx="1202">
                  <c:v>64.34</c:v>
                </c:pt>
                <c:pt idx="1203">
                  <c:v>64.260000000000005</c:v>
                </c:pt>
                <c:pt idx="1204">
                  <c:v>64.989999999999995</c:v>
                </c:pt>
                <c:pt idx="1205">
                  <c:v>67.86</c:v>
                </c:pt>
                <c:pt idx="1206">
                  <c:v>67.650000000000006</c:v>
                </c:pt>
                <c:pt idx="1207">
                  <c:v>66.58</c:v>
                </c:pt>
                <c:pt idx="1208">
                  <c:v>65.63</c:v>
                </c:pt>
                <c:pt idx="1209">
                  <c:v>65.5</c:v>
                </c:pt>
                <c:pt idx="1210">
                  <c:v>65.78</c:v>
                </c:pt>
                <c:pt idx="1211">
                  <c:v>63.42</c:v>
                </c:pt>
                <c:pt idx="1212">
                  <c:v>63.67</c:v>
                </c:pt>
                <c:pt idx="1213">
                  <c:v>63.36</c:v>
                </c:pt>
                <c:pt idx="1214">
                  <c:v>59.25</c:v>
                </c:pt>
                <c:pt idx="1215">
                  <c:v>55.91</c:v>
                </c:pt>
                <c:pt idx="1216">
                  <c:v>60.15</c:v>
                </c:pt>
                <c:pt idx="1217">
                  <c:v>57.38</c:v>
                </c:pt>
                <c:pt idx="1218">
                  <c:v>56.92</c:v>
                </c:pt>
                <c:pt idx="1219">
                  <c:v>59.08</c:v>
                </c:pt>
                <c:pt idx="1220">
                  <c:v>55.53</c:v>
                </c:pt>
                <c:pt idx="1221">
                  <c:v>57.49</c:v>
                </c:pt>
                <c:pt idx="1222">
                  <c:v>59.31</c:v>
                </c:pt>
                <c:pt idx="1223">
                  <c:v>60.41</c:v>
                </c:pt>
                <c:pt idx="1224">
                  <c:v>56.89</c:v>
                </c:pt>
                <c:pt idx="1225">
                  <c:v>57.41</c:v>
                </c:pt>
                <c:pt idx="1226">
                  <c:v>60.05</c:v>
                </c:pt>
                <c:pt idx="1227">
                  <c:v>59.16</c:v>
                </c:pt>
                <c:pt idx="1228">
                  <c:v>60.48</c:v>
                </c:pt>
                <c:pt idx="1229">
                  <c:v>60.01</c:v>
                </c:pt>
                <c:pt idx="1230">
                  <c:v>61.31</c:v>
                </c:pt>
                <c:pt idx="1231">
                  <c:v>63.03</c:v>
                </c:pt>
                <c:pt idx="1232">
                  <c:v>63.17</c:v>
                </c:pt>
                <c:pt idx="1233">
                  <c:v>62.23</c:v>
                </c:pt>
                <c:pt idx="1234">
                  <c:v>60.85</c:v>
                </c:pt>
                <c:pt idx="1235">
                  <c:v>60.86</c:v>
                </c:pt>
                <c:pt idx="1236">
                  <c:v>58.7</c:v>
                </c:pt>
                <c:pt idx="1237">
                  <c:v>58.99</c:v>
                </c:pt>
                <c:pt idx="1238">
                  <c:v>60.65</c:v>
                </c:pt>
                <c:pt idx="1239">
                  <c:v>60.83</c:v>
                </c:pt>
                <c:pt idx="1240">
                  <c:v>59.52</c:v>
                </c:pt>
                <c:pt idx="1241">
                  <c:v>59.92</c:v>
                </c:pt>
                <c:pt idx="1242">
                  <c:v>58.77</c:v>
                </c:pt>
                <c:pt idx="1243">
                  <c:v>58.41</c:v>
                </c:pt>
                <c:pt idx="1244">
                  <c:v>60.44</c:v>
                </c:pt>
                <c:pt idx="1245">
                  <c:v>61</c:v>
                </c:pt>
                <c:pt idx="1246">
                  <c:v>60.95</c:v>
                </c:pt>
                <c:pt idx="1247">
                  <c:v>62.51</c:v>
                </c:pt>
                <c:pt idx="1248">
                  <c:v>64.03</c:v>
                </c:pt>
                <c:pt idx="1249">
                  <c:v>64.31</c:v>
                </c:pt>
                <c:pt idx="1250">
                  <c:v>64.459999999999994</c:v>
                </c:pt>
                <c:pt idx="1251">
                  <c:v>63.33</c:v>
                </c:pt>
                <c:pt idx="1252">
                  <c:v>64</c:v>
                </c:pt>
                <c:pt idx="1253">
                  <c:v>63.86</c:v>
                </c:pt>
                <c:pt idx="1254">
                  <c:v>63.43</c:v>
                </c:pt>
                <c:pt idx="1255">
                  <c:v>64.63</c:v>
                </c:pt>
                <c:pt idx="1256">
                  <c:v>64.12</c:v>
                </c:pt>
                <c:pt idx="1257">
                  <c:v>64.650000000000006</c:v>
                </c:pt>
                <c:pt idx="1258">
                  <c:v>64.319999999999993</c:v>
                </c:pt>
                <c:pt idx="1259">
                  <c:v>63.93</c:v>
                </c:pt>
                <c:pt idx="1260">
                  <c:v>62.03</c:v>
                </c:pt>
                <c:pt idx="1261">
                  <c:v>64.09</c:v>
                </c:pt>
                <c:pt idx="1262">
                  <c:v>62.96</c:v>
                </c:pt>
                <c:pt idx="1263">
                  <c:v>64.73</c:v>
                </c:pt>
                <c:pt idx="1264">
                  <c:v>65.47</c:v>
                </c:pt>
                <c:pt idx="1265">
                  <c:v>65.58</c:v>
                </c:pt>
                <c:pt idx="1266">
                  <c:v>67</c:v>
                </c:pt>
                <c:pt idx="1267">
                  <c:v>66.88</c:v>
                </c:pt>
                <c:pt idx="1268">
                  <c:v>67.41</c:v>
                </c:pt>
                <c:pt idx="1269">
                  <c:v>67.58</c:v>
                </c:pt>
                <c:pt idx="1270">
                  <c:v>67.88</c:v>
                </c:pt>
                <c:pt idx="1271">
                  <c:v>67.2</c:v>
                </c:pt>
                <c:pt idx="1272">
                  <c:v>67.61</c:v>
                </c:pt>
                <c:pt idx="1273">
                  <c:v>67.44</c:v>
                </c:pt>
                <c:pt idx="1274">
                  <c:v>67.09</c:v>
                </c:pt>
                <c:pt idx="1275">
                  <c:v>66.42</c:v>
                </c:pt>
                <c:pt idx="1276">
                  <c:v>66.7</c:v>
                </c:pt>
                <c:pt idx="1277">
                  <c:v>65.64</c:v>
                </c:pt>
                <c:pt idx="1278">
                  <c:v>65.95</c:v>
                </c:pt>
                <c:pt idx="1279">
                  <c:v>63.67</c:v>
                </c:pt>
                <c:pt idx="1280">
                  <c:v>64.03</c:v>
                </c:pt>
                <c:pt idx="1281">
                  <c:v>62.62</c:v>
                </c:pt>
                <c:pt idx="1282">
                  <c:v>63.63</c:v>
                </c:pt>
                <c:pt idx="1283">
                  <c:v>63.75</c:v>
                </c:pt>
                <c:pt idx="1284">
                  <c:v>64.25</c:v>
                </c:pt>
                <c:pt idx="1285">
                  <c:v>63.44</c:v>
                </c:pt>
                <c:pt idx="1286">
                  <c:v>64.849999999999994</c:v>
                </c:pt>
                <c:pt idx="1287">
                  <c:v>66.25</c:v>
                </c:pt>
                <c:pt idx="1288">
                  <c:v>67.72</c:v>
                </c:pt>
                <c:pt idx="1289">
                  <c:v>68.3</c:v>
                </c:pt>
                <c:pt idx="1290">
                  <c:v>67.099999999999994</c:v>
                </c:pt>
                <c:pt idx="1291">
                  <c:v>68.569999999999993</c:v>
                </c:pt>
                <c:pt idx="1292">
                  <c:v>68.75</c:v>
                </c:pt>
                <c:pt idx="1293">
                  <c:v>68.569999999999993</c:v>
                </c:pt>
                <c:pt idx="1294">
                  <c:v>69.239999999999995</c:v>
                </c:pt>
                <c:pt idx="1295">
                  <c:v>69.61</c:v>
                </c:pt>
                <c:pt idx="1296">
                  <c:v>68.94</c:v>
                </c:pt>
                <c:pt idx="1297">
                  <c:v>68.78</c:v>
                </c:pt>
                <c:pt idx="1298">
                  <c:v>69.09</c:v>
                </c:pt>
                <c:pt idx="1299">
                  <c:v>69.900000000000006</c:v>
                </c:pt>
                <c:pt idx="1300">
                  <c:v>71.44</c:v>
                </c:pt>
                <c:pt idx="1301">
                  <c:v>70.92</c:v>
                </c:pt>
                <c:pt idx="1302">
                  <c:v>69.8</c:v>
                </c:pt>
                <c:pt idx="1303">
                  <c:v>68.83</c:v>
                </c:pt>
                <c:pt idx="1304">
                  <c:v>69.650000000000006</c:v>
                </c:pt>
                <c:pt idx="1305">
                  <c:v>69.47</c:v>
                </c:pt>
                <c:pt idx="1306">
                  <c:v>70.31</c:v>
                </c:pt>
                <c:pt idx="1307">
                  <c:v>71.099999999999994</c:v>
                </c:pt>
                <c:pt idx="1308">
                  <c:v>71.7</c:v>
                </c:pt>
                <c:pt idx="1309">
                  <c:v>72.19</c:v>
                </c:pt>
                <c:pt idx="1310">
                  <c:v>72.14</c:v>
                </c:pt>
                <c:pt idx="1311">
                  <c:v>71.900000000000006</c:v>
                </c:pt>
                <c:pt idx="1312">
                  <c:v>70.67</c:v>
                </c:pt>
                <c:pt idx="1313">
                  <c:v>69.989999999999995</c:v>
                </c:pt>
                <c:pt idx="1314">
                  <c:v>71.08</c:v>
                </c:pt>
                <c:pt idx="1315">
                  <c:v>69.78</c:v>
                </c:pt>
                <c:pt idx="1316">
                  <c:v>71.12</c:v>
                </c:pt>
                <c:pt idx="1317">
                  <c:v>71.69</c:v>
                </c:pt>
                <c:pt idx="1318">
                  <c:v>72.11</c:v>
                </c:pt>
                <c:pt idx="1319">
                  <c:v>72.459999999999994</c:v>
                </c:pt>
                <c:pt idx="1320">
                  <c:v>72.39</c:v>
                </c:pt>
                <c:pt idx="1321">
                  <c:v>72.099999999999994</c:v>
                </c:pt>
                <c:pt idx="1322">
                  <c:v>73.17</c:v>
                </c:pt>
                <c:pt idx="1323">
                  <c:v>74.5</c:v>
                </c:pt>
                <c:pt idx="1324">
                  <c:v>74.540000000000006</c:v>
                </c:pt>
                <c:pt idx="1325">
                  <c:v>75.540000000000006</c:v>
                </c:pt>
                <c:pt idx="1326">
                  <c:v>74.760000000000005</c:v>
                </c:pt>
                <c:pt idx="1327">
                  <c:v>74.78</c:v>
                </c:pt>
                <c:pt idx="1328">
                  <c:v>74.5</c:v>
                </c:pt>
                <c:pt idx="1329">
                  <c:v>74.010000000000005</c:v>
                </c:pt>
                <c:pt idx="1330">
                  <c:v>73.37</c:v>
                </c:pt>
                <c:pt idx="1331">
                  <c:v>72.989999999999995</c:v>
                </c:pt>
                <c:pt idx="1332">
                  <c:v>73.31</c:v>
                </c:pt>
                <c:pt idx="1333">
                  <c:v>73.959999999999994</c:v>
                </c:pt>
                <c:pt idx="1334">
                  <c:v>74.02</c:v>
                </c:pt>
                <c:pt idx="1335">
                  <c:v>74.94</c:v>
                </c:pt>
                <c:pt idx="1336">
                  <c:v>74.989999999999995</c:v>
                </c:pt>
                <c:pt idx="1337">
                  <c:v>74.02</c:v>
                </c:pt>
                <c:pt idx="1338">
                  <c:v>74.95</c:v>
                </c:pt>
                <c:pt idx="1339">
                  <c:v>75.17</c:v>
                </c:pt>
                <c:pt idx="1340">
                  <c:v>76.540000000000006</c:v>
                </c:pt>
                <c:pt idx="1341">
                  <c:v>76.48</c:v>
                </c:pt>
                <c:pt idx="1342">
                  <c:v>75.86</c:v>
                </c:pt>
                <c:pt idx="1343">
                  <c:v>75.63</c:v>
                </c:pt>
                <c:pt idx="1344">
                  <c:v>75.05</c:v>
                </c:pt>
                <c:pt idx="1345">
                  <c:v>75.540000000000006</c:v>
                </c:pt>
                <c:pt idx="1346">
                  <c:v>75.53</c:v>
                </c:pt>
                <c:pt idx="1347">
                  <c:v>76.17</c:v>
                </c:pt>
                <c:pt idx="1348">
                  <c:v>76.099999999999994</c:v>
                </c:pt>
                <c:pt idx="1349">
                  <c:v>76.23</c:v>
                </c:pt>
                <c:pt idx="1350">
                  <c:v>74.790000000000006</c:v>
                </c:pt>
                <c:pt idx="1351">
                  <c:v>73.819999999999993</c:v>
                </c:pt>
                <c:pt idx="1352">
                  <c:v>73.75</c:v>
                </c:pt>
                <c:pt idx="1353">
                  <c:v>73.510000000000005</c:v>
                </c:pt>
                <c:pt idx="1354">
                  <c:v>67.81</c:v>
                </c:pt>
                <c:pt idx="1355">
                  <c:v>64.349999999999994</c:v>
                </c:pt>
                <c:pt idx="1356">
                  <c:v>66.69</c:v>
                </c:pt>
                <c:pt idx="1357">
                  <c:v>65.7</c:v>
                </c:pt>
                <c:pt idx="1358">
                  <c:v>69.27</c:v>
                </c:pt>
                <c:pt idx="1359">
                  <c:v>69.22</c:v>
                </c:pt>
                <c:pt idx="1360">
                  <c:v>66.790000000000006</c:v>
                </c:pt>
                <c:pt idx="1361">
                  <c:v>66.73</c:v>
                </c:pt>
                <c:pt idx="1362">
                  <c:v>66.010000000000005</c:v>
                </c:pt>
                <c:pt idx="1363">
                  <c:v>65.099999999999994</c:v>
                </c:pt>
                <c:pt idx="1364">
                  <c:v>60</c:v>
                </c:pt>
                <c:pt idx="1365">
                  <c:v>62.98</c:v>
                </c:pt>
                <c:pt idx="1366">
                  <c:v>60.16</c:v>
                </c:pt>
                <c:pt idx="1367">
                  <c:v>59.11</c:v>
                </c:pt>
                <c:pt idx="1368">
                  <c:v>61.6</c:v>
                </c:pt>
                <c:pt idx="1369">
                  <c:v>63.35</c:v>
                </c:pt>
                <c:pt idx="1370">
                  <c:v>65.08</c:v>
                </c:pt>
                <c:pt idx="1371">
                  <c:v>64.03</c:v>
                </c:pt>
                <c:pt idx="1372">
                  <c:v>64.95</c:v>
                </c:pt>
                <c:pt idx="1373">
                  <c:v>65.989999999999995</c:v>
                </c:pt>
                <c:pt idx="1374">
                  <c:v>69.510000000000005</c:v>
                </c:pt>
                <c:pt idx="1375">
                  <c:v>69.08</c:v>
                </c:pt>
                <c:pt idx="1376">
                  <c:v>67.52</c:v>
                </c:pt>
                <c:pt idx="1377">
                  <c:v>64.22</c:v>
                </c:pt>
                <c:pt idx="1378">
                  <c:v>63.98</c:v>
                </c:pt>
                <c:pt idx="1379">
                  <c:v>62.74</c:v>
                </c:pt>
                <c:pt idx="1380">
                  <c:v>64.459999999999994</c:v>
                </c:pt>
                <c:pt idx="1381">
                  <c:v>64.83</c:v>
                </c:pt>
                <c:pt idx="1382">
                  <c:v>62.09</c:v>
                </c:pt>
                <c:pt idx="1383">
                  <c:v>59.14</c:v>
                </c:pt>
                <c:pt idx="1384">
                  <c:v>59.63</c:v>
                </c:pt>
                <c:pt idx="1385">
                  <c:v>58.58</c:v>
                </c:pt>
                <c:pt idx="1386">
                  <c:v>61.05</c:v>
                </c:pt>
                <c:pt idx="1387">
                  <c:v>61.57</c:v>
                </c:pt>
                <c:pt idx="1388">
                  <c:v>65.28</c:v>
                </c:pt>
                <c:pt idx="1389">
                  <c:v>64.92</c:v>
                </c:pt>
                <c:pt idx="1390">
                  <c:v>66.27</c:v>
                </c:pt>
                <c:pt idx="1391">
                  <c:v>68.09</c:v>
                </c:pt>
                <c:pt idx="1392">
                  <c:v>62.65</c:v>
                </c:pt>
                <c:pt idx="1393">
                  <c:v>62.4</c:v>
                </c:pt>
                <c:pt idx="1394">
                  <c:v>58.61</c:v>
                </c:pt>
                <c:pt idx="1395">
                  <c:v>58.89</c:v>
                </c:pt>
                <c:pt idx="1396">
                  <c:v>58.84</c:v>
                </c:pt>
                <c:pt idx="1397">
                  <c:v>59.7</c:v>
                </c:pt>
                <c:pt idx="1398">
                  <c:v>59.67</c:v>
                </c:pt>
                <c:pt idx="1399">
                  <c:v>56.62</c:v>
                </c:pt>
                <c:pt idx="1400">
                  <c:v>53.36</c:v>
                </c:pt>
                <c:pt idx="1401">
                  <c:v>53.38</c:v>
                </c:pt>
                <c:pt idx="1402">
                  <c:v>51.02</c:v>
                </c:pt>
                <c:pt idx="1403">
                  <c:v>48.63</c:v>
                </c:pt>
                <c:pt idx="1404">
                  <c:v>45.57</c:v>
                </c:pt>
                <c:pt idx="1405">
                  <c:v>41.63</c:v>
                </c:pt>
                <c:pt idx="1406">
                  <c:v>48.65</c:v>
                </c:pt>
                <c:pt idx="1407">
                  <c:v>49.92</c:v>
                </c:pt>
                <c:pt idx="1408">
                  <c:v>49.74</c:v>
                </c:pt>
                <c:pt idx="1409">
                  <c:v>51.01</c:v>
                </c:pt>
                <c:pt idx="1410">
                  <c:v>51.2</c:v>
                </c:pt>
                <c:pt idx="1411">
                  <c:v>47.46</c:v>
                </c:pt>
                <c:pt idx="1412">
                  <c:v>52.52</c:v>
                </c:pt>
                <c:pt idx="1413">
                  <c:v>53.59</c:v>
                </c:pt>
                <c:pt idx="1414">
                  <c:v>55.08</c:v>
                </c:pt>
                <c:pt idx="1415">
                  <c:v>55.72</c:v>
                </c:pt>
                <c:pt idx="1416">
                  <c:v>56.42</c:v>
                </c:pt>
                <c:pt idx="1417">
                  <c:v>56.4</c:v>
                </c:pt>
                <c:pt idx="1418">
                  <c:v>55.57</c:v>
                </c:pt>
                <c:pt idx="1419">
                  <c:v>57.24</c:v>
                </c:pt>
                <c:pt idx="1420">
                  <c:v>57.59</c:v>
                </c:pt>
                <c:pt idx="1421">
                  <c:v>58.79</c:v>
                </c:pt>
                <c:pt idx="1422">
                  <c:v>60.88</c:v>
                </c:pt>
                <c:pt idx="1423">
                  <c:v>58.6</c:v>
                </c:pt>
                <c:pt idx="1424">
                  <c:v>58.95</c:v>
                </c:pt>
                <c:pt idx="1425">
                  <c:v>59.17</c:v>
                </c:pt>
                <c:pt idx="1426">
                  <c:v>60.52</c:v>
                </c:pt>
                <c:pt idx="1427">
                  <c:v>59.26</c:v>
                </c:pt>
                <c:pt idx="1428">
                  <c:v>59.03</c:v>
                </c:pt>
                <c:pt idx="1429">
                  <c:v>61.5</c:v>
                </c:pt>
                <c:pt idx="1430">
                  <c:v>62.89</c:v>
                </c:pt>
                <c:pt idx="1431">
                  <c:v>63.04</c:v>
                </c:pt>
                <c:pt idx="1432">
                  <c:v>64.14</c:v>
                </c:pt>
                <c:pt idx="1433">
                  <c:v>64.92</c:v>
                </c:pt>
                <c:pt idx="1434">
                  <c:v>64.55</c:v>
                </c:pt>
                <c:pt idx="1435">
                  <c:v>63.01</c:v>
                </c:pt>
                <c:pt idx="1436">
                  <c:v>63.12</c:v>
                </c:pt>
                <c:pt idx="1437">
                  <c:v>63.24</c:v>
                </c:pt>
                <c:pt idx="1438">
                  <c:v>65.34</c:v>
                </c:pt>
                <c:pt idx="1439">
                  <c:v>65.84</c:v>
                </c:pt>
                <c:pt idx="1440">
                  <c:v>65.400000000000006</c:v>
                </c:pt>
                <c:pt idx="1441">
                  <c:v>67.2</c:v>
                </c:pt>
                <c:pt idx="1442">
                  <c:v>67.45</c:v>
                </c:pt>
                <c:pt idx="1443">
                  <c:v>67.75</c:v>
                </c:pt>
                <c:pt idx="1444">
                  <c:v>67.16</c:v>
                </c:pt>
                <c:pt idx="1445">
                  <c:v>68.23</c:v>
                </c:pt>
                <c:pt idx="1446">
                  <c:v>68.430000000000007</c:v>
                </c:pt>
                <c:pt idx="1447">
                  <c:v>68.3</c:v>
                </c:pt>
                <c:pt idx="1448">
                  <c:v>68.209999999999994</c:v>
                </c:pt>
                <c:pt idx="1449">
                  <c:v>67.73</c:v>
                </c:pt>
                <c:pt idx="1450">
                  <c:v>68.89</c:v>
                </c:pt>
                <c:pt idx="1451">
                  <c:v>68.239999999999995</c:v>
                </c:pt>
                <c:pt idx="1452">
                  <c:v>68.05</c:v>
                </c:pt>
                <c:pt idx="1453">
                  <c:v>66.95</c:v>
                </c:pt>
                <c:pt idx="1454">
                  <c:v>65.59</c:v>
                </c:pt>
                <c:pt idx="1455">
                  <c:v>65.239999999999995</c:v>
                </c:pt>
                <c:pt idx="1456">
                  <c:v>67.66</c:v>
                </c:pt>
                <c:pt idx="1457">
                  <c:v>68.16</c:v>
                </c:pt>
                <c:pt idx="1458">
                  <c:v>69.33</c:v>
                </c:pt>
                <c:pt idx="1459">
                  <c:v>69.180000000000007</c:v>
                </c:pt>
                <c:pt idx="1460">
                  <c:v>70.02</c:v>
                </c:pt>
                <c:pt idx="1461">
                  <c:v>70.650000000000006</c:v>
                </c:pt>
                <c:pt idx="1462">
                  <c:v>70.63</c:v>
                </c:pt>
                <c:pt idx="1463">
                  <c:v>70.13</c:v>
                </c:pt>
                <c:pt idx="1464">
                  <c:v>71.97</c:v>
                </c:pt>
                <c:pt idx="1465">
                  <c:v>68.709999999999994</c:v>
                </c:pt>
                <c:pt idx="1466">
                  <c:v>68.569999999999993</c:v>
                </c:pt>
                <c:pt idx="1467">
                  <c:v>69.78</c:v>
                </c:pt>
                <c:pt idx="1468">
                  <c:v>68.989999999999995</c:v>
                </c:pt>
                <c:pt idx="1469">
                  <c:v>69.599999999999994</c:v>
                </c:pt>
                <c:pt idx="1470">
                  <c:v>70.739999999999995</c:v>
                </c:pt>
                <c:pt idx="1471">
                  <c:v>72.72</c:v>
                </c:pt>
                <c:pt idx="1472">
                  <c:v>72.72</c:v>
                </c:pt>
                <c:pt idx="1473">
                  <c:v>73.09</c:v>
                </c:pt>
                <c:pt idx="1474">
                  <c:v>73.45</c:v>
                </c:pt>
                <c:pt idx="1475">
                  <c:v>74.260000000000005</c:v>
                </c:pt>
                <c:pt idx="1476">
                  <c:v>74.44</c:v>
                </c:pt>
                <c:pt idx="1477">
                  <c:v>73.38</c:v>
                </c:pt>
                <c:pt idx="1478">
                  <c:v>73.98</c:v>
                </c:pt>
                <c:pt idx="1479">
                  <c:v>73.989999999999995</c:v>
                </c:pt>
                <c:pt idx="1480">
                  <c:v>75.14</c:v>
                </c:pt>
                <c:pt idx="1481">
                  <c:v>75.03</c:v>
                </c:pt>
                <c:pt idx="1482">
                  <c:v>75.12</c:v>
                </c:pt>
                <c:pt idx="1483">
                  <c:v>74.72</c:v>
                </c:pt>
                <c:pt idx="1484">
                  <c:v>75</c:v>
                </c:pt>
                <c:pt idx="1485">
                  <c:v>75.17</c:v>
                </c:pt>
                <c:pt idx="1486">
                  <c:v>76.72</c:v>
                </c:pt>
                <c:pt idx="1487">
                  <c:v>76.33</c:v>
                </c:pt>
                <c:pt idx="1488">
                  <c:v>76.27</c:v>
                </c:pt>
                <c:pt idx="1489">
                  <c:v>77.09</c:v>
                </c:pt>
                <c:pt idx="1490">
                  <c:v>77.28</c:v>
                </c:pt>
                <c:pt idx="1491">
                  <c:v>77.45</c:v>
                </c:pt>
                <c:pt idx="1492">
                  <c:v>76.12</c:v>
                </c:pt>
                <c:pt idx="1493">
                  <c:v>75.75</c:v>
                </c:pt>
                <c:pt idx="1494">
                  <c:v>77.44</c:v>
                </c:pt>
                <c:pt idx="1495">
                  <c:v>76.650000000000006</c:v>
                </c:pt>
                <c:pt idx="1496">
                  <c:v>73.73</c:v>
                </c:pt>
                <c:pt idx="1497">
                  <c:v>73.45</c:v>
                </c:pt>
                <c:pt idx="1498">
                  <c:v>72.930000000000007</c:v>
                </c:pt>
                <c:pt idx="1499">
                  <c:v>73.569999999999993</c:v>
                </c:pt>
                <c:pt idx="1500">
                  <c:v>69.38</c:v>
                </c:pt>
                <c:pt idx="1501">
                  <c:v>70.739999999999995</c:v>
                </c:pt>
                <c:pt idx="1502">
                  <c:v>71.739999999999995</c:v>
                </c:pt>
                <c:pt idx="1503">
                  <c:v>73.27</c:v>
                </c:pt>
                <c:pt idx="1504">
                  <c:v>72.25</c:v>
                </c:pt>
                <c:pt idx="1505">
                  <c:v>71.09</c:v>
                </c:pt>
                <c:pt idx="1506">
                  <c:v>72.55</c:v>
                </c:pt>
                <c:pt idx="1507">
                  <c:v>72.06</c:v>
                </c:pt>
                <c:pt idx="1508">
                  <c:v>70.010000000000005</c:v>
                </c:pt>
                <c:pt idx="1509">
                  <c:v>70.239999999999995</c:v>
                </c:pt>
                <c:pt idx="1510">
                  <c:v>68.81</c:v>
                </c:pt>
                <c:pt idx="1511">
                  <c:v>67.650000000000006</c:v>
                </c:pt>
                <c:pt idx="1512">
                  <c:v>68</c:v>
                </c:pt>
                <c:pt idx="1513">
                  <c:v>65.78</c:v>
                </c:pt>
                <c:pt idx="1514">
                  <c:v>65.319999999999993</c:v>
                </c:pt>
                <c:pt idx="1515">
                  <c:v>68.87</c:v>
                </c:pt>
                <c:pt idx="1516">
                  <c:v>70.239999999999995</c:v>
                </c:pt>
                <c:pt idx="1517">
                  <c:v>71.290000000000006</c:v>
                </c:pt>
                <c:pt idx="1518">
                  <c:v>73.09</c:v>
                </c:pt>
                <c:pt idx="1519">
                  <c:v>73.89</c:v>
                </c:pt>
                <c:pt idx="1520">
                  <c:v>73.83</c:v>
                </c:pt>
                <c:pt idx="1521">
                  <c:v>73.48</c:v>
                </c:pt>
                <c:pt idx="1522">
                  <c:v>74.19</c:v>
                </c:pt>
                <c:pt idx="1523">
                  <c:v>73.91</c:v>
                </c:pt>
                <c:pt idx="1524">
                  <c:v>74.069999999999993</c:v>
                </c:pt>
                <c:pt idx="1525">
                  <c:v>75.760000000000005</c:v>
                </c:pt>
                <c:pt idx="1526">
                  <c:v>76.290000000000006</c:v>
                </c:pt>
                <c:pt idx="1527">
                  <c:v>77.959999999999994</c:v>
                </c:pt>
                <c:pt idx="1528">
                  <c:v>77.73</c:v>
                </c:pt>
                <c:pt idx="1529">
                  <c:v>77.42</c:v>
                </c:pt>
                <c:pt idx="1530">
                  <c:v>75.739999999999995</c:v>
                </c:pt>
                <c:pt idx="1531">
                  <c:v>75.52</c:v>
                </c:pt>
                <c:pt idx="1532">
                  <c:v>76.19</c:v>
                </c:pt>
                <c:pt idx="1533">
                  <c:v>77.209999999999994</c:v>
                </c:pt>
                <c:pt idx="1534">
                  <c:v>78.569999999999993</c:v>
                </c:pt>
                <c:pt idx="1535">
                  <c:v>79.09</c:v>
                </c:pt>
                <c:pt idx="1536">
                  <c:v>80.459999999999994</c:v>
                </c:pt>
                <c:pt idx="1537">
                  <c:v>80.14</c:v>
                </c:pt>
                <c:pt idx="1538">
                  <c:v>79.27</c:v>
                </c:pt>
                <c:pt idx="1539">
                  <c:v>79.489999999999995</c:v>
                </c:pt>
                <c:pt idx="1540">
                  <c:v>80.3</c:v>
                </c:pt>
                <c:pt idx="1541">
                  <c:v>80.709999999999994</c:v>
                </c:pt>
                <c:pt idx="1542">
                  <c:v>81.55</c:v>
                </c:pt>
                <c:pt idx="1543">
                  <c:v>81.58</c:v>
                </c:pt>
                <c:pt idx="1544">
                  <c:v>80.959999999999994</c:v>
                </c:pt>
                <c:pt idx="1545">
                  <c:v>79.78</c:v>
                </c:pt>
                <c:pt idx="1546">
                  <c:v>80.42</c:v>
                </c:pt>
                <c:pt idx="1547">
                  <c:v>79.31</c:v>
                </c:pt>
                <c:pt idx="1548">
                  <c:v>79.81</c:v>
                </c:pt>
                <c:pt idx="1549">
                  <c:v>81.05</c:v>
                </c:pt>
                <c:pt idx="1550">
                  <c:v>81.89</c:v>
                </c:pt>
                <c:pt idx="1551">
                  <c:v>80.94</c:v>
                </c:pt>
                <c:pt idx="1552">
                  <c:v>82.27</c:v>
                </c:pt>
                <c:pt idx="1553">
                  <c:v>81.98</c:v>
                </c:pt>
                <c:pt idx="1554">
                  <c:v>81.510000000000005</c:v>
                </c:pt>
                <c:pt idx="1555">
                  <c:v>79.53</c:v>
                </c:pt>
                <c:pt idx="1556">
                  <c:v>77.92</c:v>
                </c:pt>
                <c:pt idx="1557">
                  <c:v>76.62</c:v>
                </c:pt>
                <c:pt idx="1558">
                  <c:v>71.36</c:v>
                </c:pt>
                <c:pt idx="1559">
                  <c:v>73.59</c:v>
                </c:pt>
                <c:pt idx="1560">
                  <c:v>73.73</c:v>
                </c:pt>
                <c:pt idx="1561">
                  <c:v>76.989999999999995</c:v>
                </c:pt>
                <c:pt idx="1562">
                  <c:v>75.819999999999993</c:v>
                </c:pt>
                <c:pt idx="1563">
                  <c:v>73.709999999999994</c:v>
                </c:pt>
                <c:pt idx="1564">
                  <c:v>76.28</c:v>
                </c:pt>
                <c:pt idx="1565">
                  <c:v>71.11</c:v>
                </c:pt>
                <c:pt idx="1566">
                  <c:v>71.540000000000006</c:v>
                </c:pt>
                <c:pt idx="1567">
                  <c:v>74.010000000000005</c:v>
                </c:pt>
                <c:pt idx="1568">
                  <c:v>76.12</c:v>
                </c:pt>
                <c:pt idx="1569">
                  <c:v>74.72</c:v>
                </c:pt>
                <c:pt idx="1570">
                  <c:v>76.16</c:v>
                </c:pt>
                <c:pt idx="1571">
                  <c:v>76.08</c:v>
                </c:pt>
                <c:pt idx="1572">
                  <c:v>71.510000000000005</c:v>
                </c:pt>
                <c:pt idx="1573">
                  <c:v>73.39</c:v>
                </c:pt>
                <c:pt idx="1574">
                  <c:v>72.83</c:v>
                </c:pt>
                <c:pt idx="1575">
                  <c:v>73.97</c:v>
                </c:pt>
                <c:pt idx="1576">
                  <c:v>76.17</c:v>
                </c:pt>
                <c:pt idx="1577">
                  <c:v>76.290000000000006</c:v>
                </c:pt>
                <c:pt idx="1578">
                  <c:v>75.069999999999993</c:v>
                </c:pt>
                <c:pt idx="1579">
                  <c:v>76.97</c:v>
                </c:pt>
                <c:pt idx="1580">
                  <c:v>79.27</c:v>
                </c:pt>
                <c:pt idx="1581">
                  <c:v>79.430000000000007</c:v>
                </c:pt>
                <c:pt idx="1582">
                  <c:v>79.42</c:v>
                </c:pt>
                <c:pt idx="1583">
                  <c:v>79.47</c:v>
                </c:pt>
                <c:pt idx="1584">
                  <c:v>80.77</c:v>
                </c:pt>
                <c:pt idx="1585">
                  <c:v>81.290000000000006</c:v>
                </c:pt>
                <c:pt idx="1586">
                  <c:v>81.16</c:v>
                </c:pt>
                <c:pt idx="1587">
                  <c:v>80.59</c:v>
                </c:pt>
                <c:pt idx="1588">
                  <c:v>81.06</c:v>
                </c:pt>
                <c:pt idx="1589">
                  <c:v>81.12</c:v>
                </c:pt>
                <c:pt idx="1590">
                  <c:v>81.13</c:v>
                </c:pt>
                <c:pt idx="1591">
                  <c:v>80.239999999999995</c:v>
                </c:pt>
                <c:pt idx="1592">
                  <c:v>80.22</c:v>
                </c:pt>
                <c:pt idx="1593">
                  <c:v>78.7</c:v>
                </c:pt>
                <c:pt idx="1594">
                  <c:v>79.8</c:v>
                </c:pt>
                <c:pt idx="1595">
                  <c:v>79.37</c:v>
                </c:pt>
                <c:pt idx="1596">
                  <c:v>78.41</c:v>
                </c:pt>
                <c:pt idx="1597">
                  <c:v>79.319999999999993</c:v>
                </c:pt>
                <c:pt idx="1598">
                  <c:v>77.12</c:v>
                </c:pt>
                <c:pt idx="1599">
                  <c:v>73.95</c:v>
                </c:pt>
                <c:pt idx="1600">
                  <c:v>75.33</c:v>
                </c:pt>
                <c:pt idx="1601">
                  <c:v>77.83</c:v>
                </c:pt>
                <c:pt idx="1602">
                  <c:v>77.03</c:v>
                </c:pt>
                <c:pt idx="1603">
                  <c:v>74.27</c:v>
                </c:pt>
                <c:pt idx="1604">
                  <c:v>75.86</c:v>
                </c:pt>
                <c:pt idx="1605">
                  <c:v>76.989999999999995</c:v>
                </c:pt>
                <c:pt idx="1606">
                  <c:v>78.930000000000007</c:v>
                </c:pt>
                <c:pt idx="1607">
                  <c:v>78.680000000000007</c:v>
                </c:pt>
                <c:pt idx="1608">
                  <c:v>80.459999999999994</c:v>
                </c:pt>
                <c:pt idx="1609">
                  <c:v>80.099999999999994</c:v>
                </c:pt>
                <c:pt idx="1610">
                  <c:v>80.59</c:v>
                </c:pt>
                <c:pt idx="1611">
                  <c:v>79.89</c:v>
                </c:pt>
                <c:pt idx="1612">
                  <c:v>81.12</c:v>
                </c:pt>
                <c:pt idx="1613">
                  <c:v>80.48</c:v>
                </c:pt>
                <c:pt idx="1614">
                  <c:v>80.989999999999995</c:v>
                </c:pt>
                <c:pt idx="1615">
                  <c:v>81.34</c:v>
                </c:pt>
                <c:pt idx="1616">
                  <c:v>82.07</c:v>
                </c:pt>
                <c:pt idx="1617">
                  <c:v>83.09</c:v>
                </c:pt>
                <c:pt idx="1618">
                  <c:v>82.94</c:v>
                </c:pt>
                <c:pt idx="1619">
                  <c:v>83.53</c:v>
                </c:pt>
                <c:pt idx="1620">
                  <c:v>82.98</c:v>
                </c:pt>
                <c:pt idx="1621">
                  <c:v>84.75</c:v>
                </c:pt>
                <c:pt idx="1622">
                  <c:v>85.43</c:v>
                </c:pt>
                <c:pt idx="1623">
                  <c:v>85.21</c:v>
                </c:pt>
                <c:pt idx="1624">
                  <c:v>85.34</c:v>
                </c:pt>
                <c:pt idx="1625">
                  <c:v>85.85</c:v>
                </c:pt>
                <c:pt idx="1626">
                  <c:v>86.32</c:v>
                </c:pt>
                <c:pt idx="1627">
                  <c:v>85.96</c:v>
                </c:pt>
                <c:pt idx="1628">
                  <c:v>86.25</c:v>
                </c:pt>
                <c:pt idx="1629">
                  <c:v>86.38</c:v>
                </c:pt>
                <c:pt idx="1630">
                  <c:v>86.54</c:v>
                </c:pt>
                <c:pt idx="1631">
                  <c:v>87.97</c:v>
                </c:pt>
                <c:pt idx="1632">
                  <c:v>88.07</c:v>
                </c:pt>
                <c:pt idx="1633">
                  <c:v>87.96</c:v>
                </c:pt>
                <c:pt idx="1634">
                  <c:v>87.25</c:v>
                </c:pt>
                <c:pt idx="1635">
                  <c:v>86.95</c:v>
                </c:pt>
                <c:pt idx="1636">
                  <c:v>87.36</c:v>
                </c:pt>
                <c:pt idx="1637">
                  <c:v>88.77</c:v>
                </c:pt>
                <c:pt idx="1638">
                  <c:v>89.18</c:v>
                </c:pt>
                <c:pt idx="1639">
                  <c:v>89.97</c:v>
                </c:pt>
                <c:pt idx="1640">
                  <c:v>89.21</c:v>
                </c:pt>
                <c:pt idx="1641">
                  <c:v>87.58</c:v>
                </c:pt>
                <c:pt idx="1642">
                  <c:v>86.33</c:v>
                </c:pt>
                <c:pt idx="1643">
                  <c:v>87.51</c:v>
                </c:pt>
                <c:pt idx="1644">
                  <c:v>87.79</c:v>
                </c:pt>
                <c:pt idx="1645">
                  <c:v>89.51</c:v>
                </c:pt>
                <c:pt idx="1646">
                  <c:v>88.91</c:v>
                </c:pt>
                <c:pt idx="1647">
                  <c:v>88.7</c:v>
                </c:pt>
                <c:pt idx="1648">
                  <c:v>89.25</c:v>
                </c:pt>
                <c:pt idx="1649">
                  <c:v>90.87</c:v>
                </c:pt>
                <c:pt idx="1650">
                  <c:v>90.88</c:v>
                </c:pt>
                <c:pt idx="1651">
                  <c:v>92.25</c:v>
                </c:pt>
                <c:pt idx="1652">
                  <c:v>92.31</c:v>
                </c:pt>
                <c:pt idx="1653">
                  <c:v>92.23</c:v>
                </c:pt>
                <c:pt idx="1654">
                  <c:v>93.09</c:v>
                </c:pt>
                <c:pt idx="1655">
                  <c:v>94.04</c:v>
                </c:pt>
                <c:pt idx="1656">
                  <c:v>94.21</c:v>
                </c:pt>
                <c:pt idx="1657">
                  <c:v>94.17</c:v>
                </c:pt>
                <c:pt idx="1658">
                  <c:v>95.17</c:v>
                </c:pt>
                <c:pt idx="1659">
                  <c:v>95.17</c:v>
                </c:pt>
                <c:pt idx="1660">
                  <c:v>94.05</c:v>
                </c:pt>
                <c:pt idx="1661">
                  <c:v>94.62</c:v>
                </c:pt>
                <c:pt idx="1662">
                  <c:v>96.25</c:v>
                </c:pt>
                <c:pt idx="1663">
                  <c:v>94.86</c:v>
                </c:pt>
                <c:pt idx="1664">
                  <c:v>95.55</c:v>
                </c:pt>
                <c:pt idx="1665">
                  <c:v>95</c:v>
                </c:pt>
                <c:pt idx="1666">
                  <c:v>95.96</c:v>
                </c:pt>
                <c:pt idx="1667">
                  <c:v>97.26</c:v>
                </c:pt>
                <c:pt idx="1668">
                  <c:v>96.7</c:v>
                </c:pt>
                <c:pt idx="1669">
                  <c:v>98.07</c:v>
                </c:pt>
                <c:pt idx="1670">
                  <c:v>97.77</c:v>
                </c:pt>
                <c:pt idx="1671">
                  <c:v>98.14</c:v>
                </c:pt>
                <c:pt idx="1672">
                  <c:v>99.8</c:v>
                </c:pt>
                <c:pt idx="1673">
                  <c:v>100.57</c:v>
                </c:pt>
                <c:pt idx="1674">
                  <c:v>100.04</c:v>
                </c:pt>
                <c:pt idx="1675">
                  <c:v>100.1</c:v>
                </c:pt>
                <c:pt idx="1676">
                  <c:v>100.33</c:v>
                </c:pt>
                <c:pt idx="1677">
                  <c:v>98.52</c:v>
                </c:pt>
                <c:pt idx="1678">
                  <c:v>95.39</c:v>
                </c:pt>
                <c:pt idx="1679">
                  <c:v>97.36</c:v>
                </c:pt>
                <c:pt idx="1680">
                  <c:v>97.19</c:v>
                </c:pt>
                <c:pt idx="1681">
                  <c:v>97.8</c:v>
                </c:pt>
                <c:pt idx="1682">
                  <c:v>94.3</c:v>
                </c:pt>
                <c:pt idx="1683">
                  <c:v>95.71</c:v>
                </c:pt>
                <c:pt idx="1684">
                  <c:v>98.64</c:v>
                </c:pt>
                <c:pt idx="1685">
                  <c:v>100.88</c:v>
                </c:pt>
                <c:pt idx="1686">
                  <c:v>101.55</c:v>
                </c:pt>
                <c:pt idx="1687">
                  <c:v>100.46</c:v>
                </c:pt>
                <c:pt idx="1688">
                  <c:v>101.93</c:v>
                </c:pt>
                <c:pt idx="1689">
                  <c:v>102.27</c:v>
                </c:pt>
                <c:pt idx="1690">
                  <c:v>103.57</c:v>
                </c:pt>
                <c:pt idx="1691">
                  <c:v>103.24</c:v>
                </c:pt>
                <c:pt idx="1692">
                  <c:v>103.62</c:v>
                </c:pt>
                <c:pt idx="1693">
                  <c:v>103.02</c:v>
                </c:pt>
                <c:pt idx="1694">
                  <c:v>103.98</c:v>
                </c:pt>
                <c:pt idx="1695">
                  <c:v>103.2</c:v>
                </c:pt>
                <c:pt idx="1696">
                  <c:v>101.06</c:v>
                </c:pt>
                <c:pt idx="1697">
                  <c:v>94.32</c:v>
                </c:pt>
                <c:pt idx="1698">
                  <c:v>88.44</c:v>
                </c:pt>
                <c:pt idx="1699">
                  <c:v>87.73</c:v>
                </c:pt>
                <c:pt idx="1700">
                  <c:v>79.44</c:v>
                </c:pt>
                <c:pt idx="1701">
                  <c:v>77.959999999999994</c:v>
                </c:pt>
                <c:pt idx="1702">
                  <c:v>86.15</c:v>
                </c:pt>
                <c:pt idx="1703">
                  <c:v>80.92</c:v>
                </c:pt>
                <c:pt idx="1704">
                  <c:v>88.55</c:v>
                </c:pt>
                <c:pt idx="1705">
                  <c:v>82.16</c:v>
                </c:pt>
                <c:pt idx="1706">
                  <c:v>79.05</c:v>
                </c:pt>
                <c:pt idx="1707">
                  <c:v>65.45</c:v>
                </c:pt>
                <c:pt idx="1708">
                  <c:v>73.62</c:v>
                </c:pt>
                <c:pt idx="1709">
                  <c:v>65.14</c:v>
                </c:pt>
                <c:pt idx="1710">
                  <c:v>49.43</c:v>
                </c:pt>
                <c:pt idx="1711">
                  <c:v>63.31</c:v>
                </c:pt>
                <c:pt idx="1712">
                  <c:v>43.74</c:v>
                </c:pt>
                <c:pt idx="1713">
                  <c:v>52.36</c:v>
                </c:pt>
                <c:pt idx="1714">
                  <c:v>44.46</c:v>
                </c:pt>
                <c:pt idx="1715">
                  <c:v>45.14</c:v>
                </c:pt>
                <c:pt idx="1716">
                  <c:v>38.85</c:v>
                </c:pt>
                <c:pt idx="1717">
                  <c:v>34.78</c:v>
                </c:pt>
                <c:pt idx="1718">
                  <c:v>47.42</c:v>
                </c:pt>
                <c:pt idx="1719">
                  <c:v>49.12</c:v>
                </c:pt>
                <c:pt idx="1720">
                  <c:v>58.43</c:v>
                </c:pt>
                <c:pt idx="1721">
                  <c:v>53.1</c:v>
                </c:pt>
                <c:pt idx="1722">
                  <c:v>58.23</c:v>
                </c:pt>
                <c:pt idx="1723">
                  <c:v>55.69</c:v>
                </c:pt>
                <c:pt idx="1724">
                  <c:v>48.82</c:v>
                </c:pt>
                <c:pt idx="1725">
                  <c:v>52.22</c:v>
                </c:pt>
                <c:pt idx="1726">
                  <c:v>49.91</c:v>
                </c:pt>
                <c:pt idx="1727">
                  <c:v>60.46</c:v>
                </c:pt>
                <c:pt idx="1728">
                  <c:v>60.2</c:v>
                </c:pt>
                <c:pt idx="1729">
                  <c:v>65.66</c:v>
                </c:pt>
                <c:pt idx="1730">
                  <c:v>68.06</c:v>
                </c:pt>
                <c:pt idx="1731">
                  <c:v>66.36</c:v>
                </c:pt>
                <c:pt idx="1732">
                  <c:v>71.44</c:v>
                </c:pt>
                <c:pt idx="1733">
                  <c:v>67.67</c:v>
                </c:pt>
                <c:pt idx="1734">
                  <c:v>68.64</c:v>
                </c:pt>
                <c:pt idx="1735">
                  <c:v>73.16</c:v>
                </c:pt>
                <c:pt idx="1736">
                  <c:v>70.06</c:v>
                </c:pt>
                <c:pt idx="1737">
                  <c:v>64.849999999999994</c:v>
                </c:pt>
                <c:pt idx="1738">
                  <c:v>68.63</c:v>
                </c:pt>
                <c:pt idx="1739">
                  <c:v>68.540000000000006</c:v>
                </c:pt>
                <c:pt idx="1740">
                  <c:v>70.88</c:v>
                </c:pt>
                <c:pt idx="1741">
                  <c:v>73.400000000000006</c:v>
                </c:pt>
                <c:pt idx="1742">
                  <c:v>72.489999999999995</c:v>
                </c:pt>
                <c:pt idx="1743">
                  <c:v>77.069999999999993</c:v>
                </c:pt>
                <c:pt idx="1744">
                  <c:v>75.44</c:v>
                </c:pt>
                <c:pt idx="1745">
                  <c:v>70.52</c:v>
                </c:pt>
                <c:pt idx="1746">
                  <c:v>71.239999999999995</c:v>
                </c:pt>
                <c:pt idx="1747">
                  <c:v>72.790000000000006</c:v>
                </c:pt>
                <c:pt idx="1748">
                  <c:v>71.59</c:v>
                </c:pt>
                <c:pt idx="1749">
                  <c:v>73.56</c:v>
                </c:pt>
                <c:pt idx="1750">
                  <c:v>76.489999999999995</c:v>
                </c:pt>
                <c:pt idx="1751">
                  <c:v>76.52</c:v>
                </c:pt>
                <c:pt idx="1752">
                  <c:v>72.89</c:v>
                </c:pt>
                <c:pt idx="1753">
                  <c:v>69.87</c:v>
                </c:pt>
                <c:pt idx="1754">
                  <c:v>71.83</c:v>
                </c:pt>
                <c:pt idx="1755">
                  <c:v>72.510000000000005</c:v>
                </c:pt>
                <c:pt idx="1756">
                  <c:v>77.94</c:v>
                </c:pt>
                <c:pt idx="1757">
                  <c:v>76.069999999999993</c:v>
                </c:pt>
                <c:pt idx="1758">
                  <c:v>79.010000000000005</c:v>
                </c:pt>
                <c:pt idx="1759">
                  <c:v>77.61</c:v>
                </c:pt>
                <c:pt idx="1760">
                  <c:v>78.03</c:v>
                </c:pt>
                <c:pt idx="1761">
                  <c:v>80.22</c:v>
                </c:pt>
                <c:pt idx="1762">
                  <c:v>82.89</c:v>
                </c:pt>
                <c:pt idx="1763">
                  <c:v>82.51</c:v>
                </c:pt>
                <c:pt idx="1764">
                  <c:v>83.39</c:v>
                </c:pt>
                <c:pt idx="1765">
                  <c:v>84.07</c:v>
                </c:pt>
                <c:pt idx="1766">
                  <c:v>85.59</c:v>
                </c:pt>
                <c:pt idx="1767">
                  <c:v>88.12</c:v>
                </c:pt>
                <c:pt idx="1768">
                  <c:v>87.48</c:v>
                </c:pt>
                <c:pt idx="1769">
                  <c:v>92.4</c:v>
                </c:pt>
                <c:pt idx="1770">
                  <c:v>94.72</c:v>
                </c:pt>
                <c:pt idx="1771">
                  <c:v>93.2</c:v>
                </c:pt>
                <c:pt idx="1772">
                  <c:v>92.17</c:v>
                </c:pt>
                <c:pt idx="1773">
                  <c:v>80.84</c:v>
                </c:pt>
                <c:pt idx="1774">
                  <c:v>83.21</c:v>
                </c:pt>
                <c:pt idx="1775">
                  <c:v>84.73</c:v>
                </c:pt>
                <c:pt idx="1776">
                  <c:v>88.23</c:v>
                </c:pt>
                <c:pt idx="1777">
                  <c:v>87.55</c:v>
                </c:pt>
                <c:pt idx="1778">
                  <c:v>87.66</c:v>
                </c:pt>
                <c:pt idx="1779">
                  <c:v>86.6</c:v>
                </c:pt>
                <c:pt idx="1780">
                  <c:v>87.82</c:v>
                </c:pt>
                <c:pt idx="1781">
                  <c:v>88.62</c:v>
                </c:pt>
                <c:pt idx="1782">
                  <c:v>83.75</c:v>
                </c:pt>
                <c:pt idx="1783">
                  <c:v>85.76</c:v>
                </c:pt>
                <c:pt idx="1784">
                  <c:v>81.260000000000005</c:v>
                </c:pt>
                <c:pt idx="1785">
                  <c:v>83.92</c:v>
                </c:pt>
                <c:pt idx="1786">
                  <c:v>86.76</c:v>
                </c:pt>
                <c:pt idx="1787">
                  <c:v>87.7</c:v>
                </c:pt>
                <c:pt idx="1788">
                  <c:v>88.55</c:v>
                </c:pt>
                <c:pt idx="1789">
                  <c:v>91.54</c:v>
                </c:pt>
                <c:pt idx="1790">
                  <c:v>89.47</c:v>
                </c:pt>
                <c:pt idx="1791">
                  <c:v>90.95</c:v>
                </c:pt>
                <c:pt idx="1792">
                  <c:v>89.88</c:v>
                </c:pt>
                <c:pt idx="1793">
                  <c:v>91.86</c:v>
                </c:pt>
                <c:pt idx="1794">
                  <c:v>90.07</c:v>
                </c:pt>
                <c:pt idx="1795">
                  <c:v>92.61</c:v>
                </c:pt>
                <c:pt idx="1796">
                  <c:v>94.36</c:v>
                </c:pt>
                <c:pt idx="1797">
                  <c:v>93.7</c:v>
                </c:pt>
                <c:pt idx="1798">
                  <c:v>94.25</c:v>
                </c:pt>
                <c:pt idx="1799">
                  <c:v>95.89</c:v>
                </c:pt>
                <c:pt idx="1800">
                  <c:v>96.22</c:v>
                </c:pt>
                <c:pt idx="1801">
                  <c:v>97.34</c:v>
                </c:pt>
                <c:pt idx="1802">
                  <c:v>94.91</c:v>
                </c:pt>
                <c:pt idx="1803">
                  <c:v>93.71</c:v>
                </c:pt>
                <c:pt idx="1804">
                  <c:v>95.14</c:v>
                </c:pt>
                <c:pt idx="1805">
                  <c:v>93.87</c:v>
                </c:pt>
                <c:pt idx="1806">
                  <c:v>96.28</c:v>
                </c:pt>
                <c:pt idx="1807">
                  <c:v>95.55</c:v>
                </c:pt>
                <c:pt idx="1808">
                  <c:v>97.05</c:v>
                </c:pt>
                <c:pt idx="1809">
                  <c:v>98.46</c:v>
                </c:pt>
                <c:pt idx="1810">
                  <c:v>99.18</c:v>
                </c:pt>
                <c:pt idx="1811">
                  <c:v>100.46</c:v>
                </c:pt>
                <c:pt idx="1812">
                  <c:v>101.75</c:v>
                </c:pt>
                <c:pt idx="1813">
                  <c:v>101.88</c:v>
                </c:pt>
                <c:pt idx="1814">
                  <c:v>102.43</c:v>
                </c:pt>
                <c:pt idx="1815">
                  <c:v>100.82</c:v>
                </c:pt>
                <c:pt idx="1816">
                  <c:v>103.63</c:v>
                </c:pt>
                <c:pt idx="1817">
                  <c:v>103.21</c:v>
                </c:pt>
                <c:pt idx="1818">
                  <c:v>103.18</c:v>
                </c:pt>
                <c:pt idx="1819">
                  <c:v>103.73</c:v>
                </c:pt>
                <c:pt idx="1820">
                  <c:v>104.2</c:v>
                </c:pt>
                <c:pt idx="1821">
                  <c:v>103.3</c:v>
                </c:pt>
                <c:pt idx="1822">
                  <c:v>103.94</c:v>
                </c:pt>
                <c:pt idx="1823">
                  <c:v>104.64</c:v>
                </c:pt>
                <c:pt idx="1824">
                  <c:v>106.7</c:v>
                </c:pt>
                <c:pt idx="1825">
                  <c:v>107.44</c:v>
                </c:pt>
                <c:pt idx="1826">
                  <c:v>109.55</c:v>
                </c:pt>
                <c:pt idx="1827">
                  <c:v>109.91</c:v>
                </c:pt>
                <c:pt idx="1828">
                  <c:v>111.32</c:v>
                </c:pt>
                <c:pt idx="1829">
                  <c:v>110.85</c:v>
                </c:pt>
                <c:pt idx="1830">
                  <c:v>112.44</c:v>
                </c:pt>
                <c:pt idx="1831">
                  <c:v>115.71</c:v>
                </c:pt>
                <c:pt idx="1832">
                  <c:v>108.13</c:v>
                </c:pt>
                <c:pt idx="1833">
                  <c:v>106.44</c:v>
                </c:pt>
                <c:pt idx="1834">
                  <c:v>100.71</c:v>
                </c:pt>
                <c:pt idx="1835">
                  <c:v>104.75</c:v>
                </c:pt>
                <c:pt idx="1836">
                  <c:v>101.15</c:v>
                </c:pt>
                <c:pt idx="1837">
                  <c:v>101.26</c:v>
                </c:pt>
                <c:pt idx="1838">
                  <c:v>103.82</c:v>
                </c:pt>
                <c:pt idx="1839">
                  <c:v>104.88</c:v>
                </c:pt>
                <c:pt idx="1840">
                  <c:v>103.94</c:v>
                </c:pt>
                <c:pt idx="1841">
                  <c:v>102.22</c:v>
                </c:pt>
                <c:pt idx="1842">
                  <c:v>99.96</c:v>
                </c:pt>
                <c:pt idx="1843">
                  <c:v>97.65</c:v>
                </c:pt>
                <c:pt idx="1844">
                  <c:v>99.73</c:v>
                </c:pt>
                <c:pt idx="1845">
                  <c:v>94.99</c:v>
                </c:pt>
                <c:pt idx="1846">
                  <c:v>95.57</c:v>
                </c:pt>
                <c:pt idx="1847">
                  <c:v>98.7</c:v>
                </c:pt>
                <c:pt idx="1848">
                  <c:v>101.9</c:v>
                </c:pt>
                <c:pt idx="1849">
                  <c:v>100.93</c:v>
                </c:pt>
                <c:pt idx="1850">
                  <c:v>102.58</c:v>
                </c:pt>
                <c:pt idx="1851">
                  <c:v>103.66</c:v>
                </c:pt>
                <c:pt idx="1852">
                  <c:v>101.71</c:v>
                </c:pt>
                <c:pt idx="1853">
                  <c:v>105.33</c:v>
                </c:pt>
                <c:pt idx="1854">
                  <c:v>102.46</c:v>
                </c:pt>
                <c:pt idx="1855">
                  <c:v>105.98</c:v>
                </c:pt>
                <c:pt idx="1856">
                  <c:v>107.63</c:v>
                </c:pt>
                <c:pt idx="1857">
                  <c:v>109.46</c:v>
                </c:pt>
                <c:pt idx="1858">
                  <c:v>112.9</c:v>
                </c:pt>
                <c:pt idx="1859">
                  <c:v>111.55</c:v>
                </c:pt>
                <c:pt idx="1860">
                  <c:v>110.15</c:v>
                </c:pt>
                <c:pt idx="1861">
                  <c:v>109.83</c:v>
                </c:pt>
                <c:pt idx="1862">
                  <c:v>109.86</c:v>
                </c:pt>
                <c:pt idx="1863">
                  <c:v>106.43</c:v>
                </c:pt>
                <c:pt idx="1864">
                  <c:v>107.41</c:v>
                </c:pt>
                <c:pt idx="1865">
                  <c:v>106.95</c:v>
                </c:pt>
                <c:pt idx="1866">
                  <c:v>108.03</c:v>
                </c:pt>
                <c:pt idx="1867">
                  <c:v>108.75</c:v>
                </c:pt>
                <c:pt idx="1868">
                  <c:v>104.87</c:v>
                </c:pt>
                <c:pt idx="1869">
                  <c:v>104.25</c:v>
                </c:pt>
                <c:pt idx="1870">
                  <c:v>97.04</c:v>
                </c:pt>
                <c:pt idx="1871">
                  <c:v>99.4</c:v>
                </c:pt>
                <c:pt idx="1872">
                  <c:v>96.98</c:v>
                </c:pt>
                <c:pt idx="1873">
                  <c:v>99.4</c:v>
                </c:pt>
                <c:pt idx="1874">
                  <c:v>102.95</c:v>
                </c:pt>
                <c:pt idx="1875">
                  <c:v>107.43</c:v>
                </c:pt>
                <c:pt idx="1876">
                  <c:v>111.47</c:v>
                </c:pt>
                <c:pt idx="1877">
                  <c:v>111.4</c:v>
                </c:pt>
                <c:pt idx="1878">
                  <c:v>113.88</c:v>
                </c:pt>
                <c:pt idx="1879">
                  <c:v>113.58</c:v>
                </c:pt>
                <c:pt idx="1880">
                  <c:v>115.21</c:v>
                </c:pt>
                <c:pt idx="1881">
                  <c:v>113.07</c:v>
                </c:pt>
                <c:pt idx="1882">
                  <c:v>115.97</c:v>
                </c:pt>
                <c:pt idx="1883">
                  <c:v>118.48</c:v>
                </c:pt>
                <c:pt idx="1884">
                  <c:v>117.43</c:v>
                </c:pt>
                <c:pt idx="1885">
                  <c:v>114.92</c:v>
                </c:pt>
                <c:pt idx="1886">
                  <c:v>115.77</c:v>
                </c:pt>
                <c:pt idx="1887">
                  <c:v>114.3</c:v>
                </c:pt>
                <c:pt idx="1888">
                  <c:v>115.51</c:v>
                </c:pt>
                <c:pt idx="1889">
                  <c:v>118.99</c:v>
                </c:pt>
                <c:pt idx="1890">
                  <c:v>118.65</c:v>
                </c:pt>
                <c:pt idx="1891">
                  <c:v>119.17</c:v>
                </c:pt>
                <c:pt idx="1892">
                  <c:v>118.16</c:v>
                </c:pt>
                <c:pt idx="1893">
                  <c:v>120.62</c:v>
                </c:pt>
                <c:pt idx="1894">
                  <c:v>121.02</c:v>
                </c:pt>
                <c:pt idx="1895">
                  <c:v>120.88</c:v>
                </c:pt>
                <c:pt idx="1896">
                  <c:v>122.83</c:v>
                </c:pt>
                <c:pt idx="1897">
                  <c:v>122.4</c:v>
                </c:pt>
                <c:pt idx="1898">
                  <c:v>123.02</c:v>
                </c:pt>
                <c:pt idx="1899">
                  <c:v>121.25</c:v>
                </c:pt>
                <c:pt idx="1900">
                  <c:v>120.96</c:v>
                </c:pt>
                <c:pt idx="1901">
                  <c:v>120.68</c:v>
                </c:pt>
                <c:pt idx="1902">
                  <c:v>119.72</c:v>
                </c:pt>
                <c:pt idx="1903">
                  <c:v>122.56</c:v>
                </c:pt>
                <c:pt idx="1904">
                  <c:v>122.95</c:v>
                </c:pt>
                <c:pt idx="1905">
                  <c:v>124.24</c:v>
                </c:pt>
                <c:pt idx="1906">
                  <c:v>123.45</c:v>
                </c:pt>
                <c:pt idx="1907">
                  <c:v>122.58</c:v>
                </c:pt>
                <c:pt idx="1908">
                  <c:v>122.12</c:v>
                </c:pt>
                <c:pt idx="1909">
                  <c:v>122.28</c:v>
                </c:pt>
                <c:pt idx="1910">
                  <c:v>123.07</c:v>
                </c:pt>
                <c:pt idx="1911">
                  <c:v>125.01</c:v>
                </c:pt>
                <c:pt idx="1912">
                  <c:v>124.51</c:v>
                </c:pt>
                <c:pt idx="1913">
                  <c:v>124.81</c:v>
                </c:pt>
                <c:pt idx="1914">
                  <c:v>126.26</c:v>
                </c:pt>
                <c:pt idx="1915">
                  <c:v>122.92</c:v>
                </c:pt>
                <c:pt idx="1916">
                  <c:v>124.5</c:v>
                </c:pt>
                <c:pt idx="1917">
                  <c:v>125.78</c:v>
                </c:pt>
                <c:pt idx="1918">
                  <c:v>129.13999999999999</c:v>
                </c:pt>
                <c:pt idx="1919">
                  <c:v>130.38999999999999</c:v>
                </c:pt>
                <c:pt idx="1920">
                  <c:v>128.88</c:v>
                </c:pt>
                <c:pt idx="1921">
                  <c:v>128.97999999999999</c:v>
                </c:pt>
                <c:pt idx="1922">
                  <c:v>129.5</c:v>
                </c:pt>
                <c:pt idx="1923">
                  <c:v>128.63999999999999</c:v>
                </c:pt>
                <c:pt idx="1924">
                  <c:v>126.99</c:v>
                </c:pt>
                <c:pt idx="1925">
                  <c:v>128.84</c:v>
                </c:pt>
                <c:pt idx="1926">
                  <c:v>132.03</c:v>
                </c:pt>
                <c:pt idx="1927">
                  <c:v>132.1</c:v>
                </c:pt>
                <c:pt idx="1928">
                  <c:v>131.41</c:v>
                </c:pt>
                <c:pt idx="1929">
                  <c:v>132.24</c:v>
                </c:pt>
                <c:pt idx="1930">
                  <c:v>131.9</c:v>
                </c:pt>
                <c:pt idx="1931">
                  <c:v>125.94</c:v>
                </c:pt>
                <c:pt idx="1932">
                  <c:v>128.15</c:v>
                </c:pt>
                <c:pt idx="1933">
                  <c:v>123.74</c:v>
                </c:pt>
                <c:pt idx="1934">
                  <c:v>127.33</c:v>
                </c:pt>
                <c:pt idx="1935">
                  <c:v>130.49</c:v>
                </c:pt>
                <c:pt idx="1936">
                  <c:v>130.72</c:v>
                </c:pt>
                <c:pt idx="1937">
                  <c:v>133.22999999999999</c:v>
                </c:pt>
                <c:pt idx="1938">
                  <c:v>134.13999999999999</c:v>
                </c:pt>
                <c:pt idx="1939">
                  <c:v>135.87</c:v>
                </c:pt>
                <c:pt idx="1940">
                  <c:v>135.61000000000001</c:v>
                </c:pt>
                <c:pt idx="1941">
                  <c:v>135.53</c:v>
                </c:pt>
                <c:pt idx="1942">
                  <c:v>135.91999999999999</c:v>
                </c:pt>
                <c:pt idx="1943">
                  <c:v>137.03</c:v>
                </c:pt>
                <c:pt idx="1944">
                  <c:v>136.88999999999999</c:v>
                </c:pt>
                <c:pt idx="1945">
                  <c:v>136.82</c:v>
                </c:pt>
                <c:pt idx="1946">
                  <c:v>135.77000000000001</c:v>
                </c:pt>
                <c:pt idx="1947">
                  <c:v>135.34</c:v>
                </c:pt>
                <c:pt idx="1948">
                  <c:v>133.52000000000001</c:v>
                </c:pt>
                <c:pt idx="1949">
                  <c:v>133.81</c:v>
                </c:pt>
                <c:pt idx="1950">
                  <c:v>136.46</c:v>
                </c:pt>
                <c:pt idx="1951">
                  <c:v>130.66999999999999</c:v>
                </c:pt>
                <c:pt idx="1952">
                  <c:v>129.58000000000001</c:v>
                </c:pt>
                <c:pt idx="1953">
                  <c:v>135.04</c:v>
                </c:pt>
                <c:pt idx="1954">
                  <c:v>133.13999999999999</c:v>
                </c:pt>
                <c:pt idx="1955">
                  <c:v>130.1</c:v>
                </c:pt>
                <c:pt idx="1956">
                  <c:v>127.01</c:v>
                </c:pt>
                <c:pt idx="1957">
                  <c:v>131.43</c:v>
                </c:pt>
                <c:pt idx="1958">
                  <c:v>130.19</c:v>
                </c:pt>
                <c:pt idx="1959">
                  <c:v>133.44999999999999</c:v>
                </c:pt>
                <c:pt idx="1960">
                  <c:v>134.86000000000001</c:v>
                </c:pt>
                <c:pt idx="1961">
                  <c:v>137.30000000000001</c:v>
                </c:pt>
                <c:pt idx="1962">
                  <c:v>137.54</c:v>
                </c:pt>
                <c:pt idx="1963">
                  <c:v>139.08000000000001</c:v>
                </c:pt>
                <c:pt idx="1964">
                  <c:v>138.71</c:v>
                </c:pt>
                <c:pt idx="1965">
                  <c:v>139.4</c:v>
                </c:pt>
                <c:pt idx="1966">
                  <c:v>135.86000000000001</c:v>
                </c:pt>
                <c:pt idx="1967">
                  <c:v>135.72</c:v>
                </c:pt>
                <c:pt idx="1968">
                  <c:v>137.38</c:v>
                </c:pt>
                <c:pt idx="1969">
                  <c:v>135.56</c:v>
                </c:pt>
                <c:pt idx="1970">
                  <c:v>134.28</c:v>
                </c:pt>
                <c:pt idx="1971">
                  <c:v>135.5</c:v>
                </c:pt>
                <c:pt idx="1972">
                  <c:v>139.41999999999999</c:v>
                </c:pt>
                <c:pt idx="1973">
                  <c:v>139.21</c:v>
                </c:pt>
                <c:pt idx="1974">
                  <c:v>138.46</c:v>
                </c:pt>
                <c:pt idx="1975">
                  <c:v>139.32</c:v>
                </c:pt>
                <c:pt idx="1976">
                  <c:v>142.15</c:v>
                </c:pt>
                <c:pt idx="1977">
                  <c:v>145.65</c:v>
                </c:pt>
                <c:pt idx="1978">
                  <c:v>145.41</c:v>
                </c:pt>
                <c:pt idx="1979">
                  <c:v>145.77000000000001</c:v>
                </c:pt>
                <c:pt idx="1980">
                  <c:v>146.81</c:v>
                </c:pt>
                <c:pt idx="1981">
                  <c:v>148.71</c:v>
                </c:pt>
                <c:pt idx="1982">
                  <c:v>148.66999999999999</c:v>
                </c:pt>
                <c:pt idx="1983">
                  <c:v>149.47999999999999</c:v>
                </c:pt>
                <c:pt idx="1984">
                  <c:v>148.46</c:v>
                </c:pt>
                <c:pt idx="1985">
                  <c:v>151.22</c:v>
                </c:pt>
                <c:pt idx="1986">
                  <c:v>152.13</c:v>
                </c:pt>
                <c:pt idx="1987">
                  <c:v>150.79</c:v>
                </c:pt>
                <c:pt idx="1988">
                  <c:v>149.08000000000001</c:v>
                </c:pt>
                <c:pt idx="1989">
                  <c:v>151.4</c:v>
                </c:pt>
                <c:pt idx="1990">
                  <c:v>149.09</c:v>
                </c:pt>
                <c:pt idx="1991">
                  <c:v>151.81</c:v>
                </c:pt>
                <c:pt idx="1992">
                  <c:v>152.26</c:v>
                </c:pt>
                <c:pt idx="1993">
                  <c:v>152.19999999999999</c:v>
                </c:pt>
                <c:pt idx="1994">
                  <c:v>151.99</c:v>
                </c:pt>
                <c:pt idx="1995">
                  <c:v>153.69</c:v>
                </c:pt>
                <c:pt idx="1996">
                  <c:v>151.87</c:v>
                </c:pt>
                <c:pt idx="1997">
                  <c:v>152.56</c:v>
                </c:pt>
                <c:pt idx="1998">
                  <c:v>150.87</c:v>
                </c:pt>
                <c:pt idx="1999">
                  <c:v>151.05000000000001</c:v>
                </c:pt>
                <c:pt idx="2000">
                  <c:v>153.1</c:v>
                </c:pt>
                <c:pt idx="2001">
                  <c:v>154.97</c:v>
                </c:pt>
                <c:pt idx="2002">
                  <c:v>152.31</c:v>
                </c:pt>
                <c:pt idx="2003">
                  <c:v>150.12</c:v>
                </c:pt>
                <c:pt idx="2004">
                  <c:v>144.75</c:v>
                </c:pt>
                <c:pt idx="2005">
                  <c:v>147.72999999999999</c:v>
                </c:pt>
                <c:pt idx="2006">
                  <c:v>151.43</c:v>
                </c:pt>
                <c:pt idx="2007">
                  <c:v>150.79</c:v>
                </c:pt>
                <c:pt idx="2008">
                  <c:v>148.66</c:v>
                </c:pt>
                <c:pt idx="2009">
                  <c:v>147.91999999999999</c:v>
                </c:pt>
                <c:pt idx="2010">
                  <c:v>150.54</c:v>
                </c:pt>
                <c:pt idx="2011">
                  <c:v>150.34</c:v>
                </c:pt>
                <c:pt idx="2012">
                  <c:v>152.83000000000001</c:v>
                </c:pt>
                <c:pt idx="2013">
                  <c:v>152.29</c:v>
                </c:pt>
                <c:pt idx="2014">
                  <c:v>152.76</c:v>
                </c:pt>
                <c:pt idx="2015">
                  <c:v>153.06</c:v>
                </c:pt>
                <c:pt idx="2016">
                  <c:v>153.25</c:v>
                </c:pt>
                <c:pt idx="2017">
                  <c:v>153.13</c:v>
                </c:pt>
                <c:pt idx="2018">
                  <c:v>153.49</c:v>
                </c:pt>
                <c:pt idx="2019">
                  <c:v>152.57</c:v>
                </c:pt>
                <c:pt idx="2020">
                  <c:v>154.80000000000001</c:v>
                </c:pt>
                <c:pt idx="2021">
                  <c:v>154.6</c:v>
                </c:pt>
                <c:pt idx="2022">
                  <c:v>154.63999999999999</c:v>
                </c:pt>
                <c:pt idx="2023">
                  <c:v>154.18</c:v>
                </c:pt>
                <c:pt idx="2024">
                  <c:v>155.36000000000001</c:v>
                </c:pt>
                <c:pt idx="2025">
                  <c:v>155.86000000000001</c:v>
                </c:pt>
                <c:pt idx="2026">
                  <c:v>156.33000000000001</c:v>
                </c:pt>
                <c:pt idx="2027">
                  <c:v>155.81</c:v>
                </c:pt>
                <c:pt idx="2028">
                  <c:v>154.43</c:v>
                </c:pt>
                <c:pt idx="2029">
                  <c:v>154.32</c:v>
                </c:pt>
                <c:pt idx="2030">
                  <c:v>150.97999999999999</c:v>
                </c:pt>
                <c:pt idx="2031">
                  <c:v>154.5</c:v>
                </c:pt>
                <c:pt idx="2032">
                  <c:v>155.80000000000001</c:v>
                </c:pt>
                <c:pt idx="2033">
                  <c:v>155.52000000000001</c:v>
                </c:pt>
                <c:pt idx="2034">
                  <c:v>157.01</c:v>
                </c:pt>
                <c:pt idx="2035">
                  <c:v>157.86000000000001</c:v>
                </c:pt>
                <c:pt idx="2036">
                  <c:v>158.46</c:v>
                </c:pt>
                <c:pt idx="2037">
                  <c:v>158.53</c:v>
                </c:pt>
                <c:pt idx="2038">
                  <c:v>158.88</c:v>
                </c:pt>
                <c:pt idx="2039">
                  <c:v>160.22999999999999</c:v>
                </c:pt>
                <c:pt idx="2040">
                  <c:v>162.18</c:v>
                </c:pt>
                <c:pt idx="2041">
                  <c:v>161.65</c:v>
                </c:pt>
                <c:pt idx="2042">
                  <c:v>162.53</c:v>
                </c:pt>
                <c:pt idx="2043">
                  <c:v>160.28</c:v>
                </c:pt>
                <c:pt idx="2044">
                  <c:v>163.22</c:v>
                </c:pt>
                <c:pt idx="2045">
                  <c:v>164.12</c:v>
                </c:pt>
                <c:pt idx="2046">
                  <c:v>163.19999999999999</c:v>
                </c:pt>
                <c:pt idx="2047">
                  <c:v>163.5</c:v>
                </c:pt>
                <c:pt idx="2048">
                  <c:v>162.63999999999999</c:v>
                </c:pt>
                <c:pt idx="2049">
                  <c:v>160.66</c:v>
                </c:pt>
                <c:pt idx="2050">
                  <c:v>156.53</c:v>
                </c:pt>
                <c:pt idx="2051">
                  <c:v>160.41999999999999</c:v>
                </c:pt>
                <c:pt idx="2052">
                  <c:v>162.56</c:v>
                </c:pt>
                <c:pt idx="2053">
                  <c:v>163.09</c:v>
                </c:pt>
                <c:pt idx="2054">
                  <c:v>165.76</c:v>
                </c:pt>
                <c:pt idx="2055">
                  <c:v>166.39</c:v>
                </c:pt>
                <c:pt idx="2056">
                  <c:v>165.14</c:v>
                </c:pt>
                <c:pt idx="2057">
                  <c:v>165.09</c:v>
                </c:pt>
                <c:pt idx="2058">
                  <c:v>166.2</c:v>
                </c:pt>
                <c:pt idx="2059">
                  <c:v>164.77</c:v>
                </c:pt>
                <c:pt idx="2060">
                  <c:v>164.28</c:v>
                </c:pt>
                <c:pt idx="2061">
                  <c:v>166.45</c:v>
                </c:pt>
                <c:pt idx="2062">
                  <c:v>165.21</c:v>
                </c:pt>
                <c:pt idx="2063">
                  <c:v>166.8</c:v>
                </c:pt>
                <c:pt idx="2064">
                  <c:v>167.25</c:v>
                </c:pt>
                <c:pt idx="2065">
                  <c:v>167</c:v>
                </c:pt>
                <c:pt idx="2066">
                  <c:v>167.26</c:v>
                </c:pt>
                <c:pt idx="2067">
                  <c:v>167.92</c:v>
                </c:pt>
                <c:pt idx="2068">
                  <c:v>168.72</c:v>
                </c:pt>
                <c:pt idx="2069">
                  <c:v>169.15</c:v>
                </c:pt>
                <c:pt idx="2070">
                  <c:v>169.85</c:v>
                </c:pt>
                <c:pt idx="2071">
                  <c:v>167.95</c:v>
                </c:pt>
                <c:pt idx="2072">
                  <c:v>165.07</c:v>
                </c:pt>
                <c:pt idx="2073">
                  <c:v>165.4</c:v>
                </c:pt>
                <c:pt idx="2074">
                  <c:v>167.56</c:v>
                </c:pt>
                <c:pt idx="2075">
                  <c:v>169.84</c:v>
                </c:pt>
                <c:pt idx="2076">
                  <c:v>170.25</c:v>
                </c:pt>
                <c:pt idx="2077">
                  <c:v>170.85</c:v>
                </c:pt>
                <c:pt idx="2078">
                  <c:v>169.27</c:v>
                </c:pt>
                <c:pt idx="2079">
                  <c:v>171.64</c:v>
                </c:pt>
                <c:pt idx="2080">
                  <c:v>172.81</c:v>
                </c:pt>
                <c:pt idx="2081">
                  <c:v>172.44</c:v>
                </c:pt>
                <c:pt idx="2082">
                  <c:v>172.53</c:v>
                </c:pt>
                <c:pt idx="2083">
                  <c:v>173.3</c:v>
                </c:pt>
                <c:pt idx="2084">
                  <c:v>173.21</c:v>
                </c:pt>
                <c:pt idx="2085">
                  <c:v>172.28</c:v>
                </c:pt>
                <c:pt idx="2086">
                  <c:v>171.92</c:v>
                </c:pt>
                <c:pt idx="2087">
                  <c:v>170.67</c:v>
                </c:pt>
                <c:pt idx="2088">
                  <c:v>168.58</c:v>
                </c:pt>
                <c:pt idx="2089">
                  <c:v>169.19</c:v>
                </c:pt>
                <c:pt idx="2090">
                  <c:v>167.64</c:v>
                </c:pt>
                <c:pt idx="2091">
                  <c:v>169.91</c:v>
                </c:pt>
                <c:pt idx="2092">
                  <c:v>169.49</c:v>
                </c:pt>
                <c:pt idx="2093">
                  <c:v>167.04</c:v>
                </c:pt>
                <c:pt idx="2094">
                  <c:v>162.5</c:v>
                </c:pt>
                <c:pt idx="2095">
                  <c:v>162.29</c:v>
                </c:pt>
                <c:pt idx="2096">
                  <c:v>164.79</c:v>
                </c:pt>
                <c:pt idx="2097">
                  <c:v>168</c:v>
                </c:pt>
                <c:pt idx="2098">
                  <c:v>168.39</c:v>
                </c:pt>
                <c:pt idx="2099">
                  <c:v>167.65</c:v>
                </c:pt>
                <c:pt idx="2100">
                  <c:v>162.19999999999999</c:v>
                </c:pt>
                <c:pt idx="2101">
                  <c:v>162.61000000000001</c:v>
                </c:pt>
                <c:pt idx="2102">
                  <c:v>159.47999999999999</c:v>
                </c:pt>
                <c:pt idx="2103">
                  <c:v>162.46</c:v>
                </c:pt>
                <c:pt idx="2104">
                  <c:v>159.05000000000001</c:v>
                </c:pt>
                <c:pt idx="2105">
                  <c:v>161.78</c:v>
                </c:pt>
                <c:pt idx="2106">
                  <c:v>162.85</c:v>
                </c:pt>
                <c:pt idx="2107">
                  <c:v>165.04</c:v>
                </c:pt>
                <c:pt idx="2108">
                  <c:v>164.53</c:v>
                </c:pt>
                <c:pt idx="2109">
                  <c:v>162.71</c:v>
                </c:pt>
                <c:pt idx="2110">
                  <c:v>162.08000000000001</c:v>
                </c:pt>
                <c:pt idx="2111">
                  <c:v>162.87</c:v>
                </c:pt>
                <c:pt idx="2112">
                  <c:v>167.36</c:v>
                </c:pt>
                <c:pt idx="2113">
                  <c:v>169.35</c:v>
                </c:pt>
                <c:pt idx="2114">
                  <c:v>170.26</c:v>
                </c:pt>
                <c:pt idx="2115">
                  <c:v>172.26</c:v>
                </c:pt>
                <c:pt idx="2116">
                  <c:v>173.25</c:v>
                </c:pt>
                <c:pt idx="2117">
                  <c:v>174.07</c:v>
                </c:pt>
                <c:pt idx="2118">
                  <c:v>173.78</c:v>
                </c:pt>
                <c:pt idx="2119">
                  <c:v>175.08</c:v>
                </c:pt>
                <c:pt idx="2120">
                  <c:v>175.58</c:v>
                </c:pt>
                <c:pt idx="2121">
                  <c:v>174.19</c:v>
                </c:pt>
                <c:pt idx="2122">
                  <c:v>176.88</c:v>
                </c:pt>
                <c:pt idx="2123">
                  <c:v>177.42</c:v>
                </c:pt>
                <c:pt idx="2124">
                  <c:v>177.92</c:v>
                </c:pt>
                <c:pt idx="2125">
                  <c:v>178.95</c:v>
                </c:pt>
                <c:pt idx="2126">
                  <c:v>180.75</c:v>
                </c:pt>
                <c:pt idx="2127">
                  <c:v>181.92</c:v>
                </c:pt>
                <c:pt idx="2128">
                  <c:v>182.97</c:v>
                </c:pt>
                <c:pt idx="2129">
                  <c:v>183.22</c:v>
                </c:pt>
                <c:pt idx="2130">
                  <c:v>182.23</c:v>
                </c:pt>
                <c:pt idx="2131">
                  <c:v>179.91</c:v>
                </c:pt>
                <c:pt idx="2132">
                  <c:v>180.07</c:v>
                </c:pt>
                <c:pt idx="2133">
                  <c:v>182.09</c:v>
                </c:pt>
                <c:pt idx="2134">
                  <c:v>182.09</c:v>
                </c:pt>
                <c:pt idx="2135">
                  <c:v>183.18</c:v>
                </c:pt>
                <c:pt idx="2136">
                  <c:v>182.44</c:v>
                </c:pt>
                <c:pt idx="2137">
                  <c:v>183.4</c:v>
                </c:pt>
                <c:pt idx="2138">
                  <c:v>183</c:v>
                </c:pt>
                <c:pt idx="2139">
                  <c:v>182.09</c:v>
                </c:pt>
                <c:pt idx="2140">
                  <c:v>182.56</c:v>
                </c:pt>
                <c:pt idx="2141">
                  <c:v>183.21</c:v>
                </c:pt>
                <c:pt idx="2142">
                  <c:v>176.77</c:v>
                </c:pt>
                <c:pt idx="2143">
                  <c:v>180.43</c:v>
                </c:pt>
                <c:pt idx="2144">
                  <c:v>175.11</c:v>
                </c:pt>
                <c:pt idx="2145">
                  <c:v>171.86</c:v>
                </c:pt>
                <c:pt idx="2146">
                  <c:v>175.72</c:v>
                </c:pt>
                <c:pt idx="2147">
                  <c:v>173.39</c:v>
                </c:pt>
                <c:pt idx="2148">
                  <c:v>176.6</c:v>
                </c:pt>
                <c:pt idx="2149">
                  <c:v>182.32</c:v>
                </c:pt>
                <c:pt idx="2150">
                  <c:v>183.2</c:v>
                </c:pt>
                <c:pt idx="2151">
                  <c:v>181.16</c:v>
                </c:pt>
                <c:pt idx="2152">
                  <c:v>183.85</c:v>
                </c:pt>
                <c:pt idx="2153">
                  <c:v>181.25</c:v>
                </c:pt>
                <c:pt idx="2154">
                  <c:v>179.15</c:v>
                </c:pt>
                <c:pt idx="2155">
                  <c:v>183.72</c:v>
                </c:pt>
                <c:pt idx="2156">
                  <c:v>181.24</c:v>
                </c:pt>
                <c:pt idx="2157">
                  <c:v>178.34</c:v>
                </c:pt>
                <c:pt idx="2158">
                  <c:v>175.17</c:v>
                </c:pt>
                <c:pt idx="2159">
                  <c:v>180.06</c:v>
                </c:pt>
                <c:pt idx="2160">
                  <c:v>182.92</c:v>
                </c:pt>
                <c:pt idx="2161">
                  <c:v>184.68</c:v>
                </c:pt>
                <c:pt idx="2162">
                  <c:v>188.62</c:v>
                </c:pt>
                <c:pt idx="2163">
                  <c:v>188.32</c:v>
                </c:pt>
                <c:pt idx="2164">
                  <c:v>188.73</c:v>
                </c:pt>
                <c:pt idx="2165">
                  <c:v>187.86</c:v>
                </c:pt>
                <c:pt idx="2166">
                  <c:v>187.11</c:v>
                </c:pt>
                <c:pt idx="2167">
                  <c:v>188.94</c:v>
                </c:pt>
                <c:pt idx="2168">
                  <c:v>188.76</c:v>
                </c:pt>
                <c:pt idx="2169">
                  <c:v>183.16</c:v>
                </c:pt>
                <c:pt idx="2170">
                  <c:v>182.88</c:v>
                </c:pt>
                <c:pt idx="2171">
                  <c:v>181.74</c:v>
                </c:pt>
                <c:pt idx="2172">
                  <c:v>181.33</c:v>
                </c:pt>
                <c:pt idx="2173">
                  <c:v>183.91</c:v>
                </c:pt>
                <c:pt idx="2174">
                  <c:v>184.71</c:v>
                </c:pt>
                <c:pt idx="2175">
                  <c:v>180.65</c:v>
                </c:pt>
                <c:pt idx="2176">
                  <c:v>180.88</c:v>
                </c:pt>
                <c:pt idx="2177">
                  <c:v>175.72</c:v>
                </c:pt>
                <c:pt idx="2178">
                  <c:v>173.05</c:v>
                </c:pt>
                <c:pt idx="2179">
                  <c:v>170.03</c:v>
                </c:pt>
                <c:pt idx="2180">
                  <c:v>164.93</c:v>
                </c:pt>
                <c:pt idx="2181">
                  <c:v>165.66</c:v>
                </c:pt>
                <c:pt idx="2182">
                  <c:v>162.43</c:v>
                </c:pt>
                <c:pt idx="2183">
                  <c:v>162.03</c:v>
                </c:pt>
                <c:pt idx="2184">
                  <c:v>160.62</c:v>
                </c:pt>
                <c:pt idx="2185">
                  <c:v>166.97</c:v>
                </c:pt>
                <c:pt idx="2186">
                  <c:v>172.01</c:v>
                </c:pt>
                <c:pt idx="2187">
                  <c:v>173.88</c:v>
                </c:pt>
                <c:pt idx="2188">
                  <c:v>176.46</c:v>
                </c:pt>
                <c:pt idx="2189">
                  <c:v>169.72</c:v>
                </c:pt>
                <c:pt idx="2190">
                  <c:v>171.11</c:v>
                </c:pt>
                <c:pt idx="2191">
                  <c:v>170.1</c:v>
                </c:pt>
                <c:pt idx="2192">
                  <c:v>172.37</c:v>
                </c:pt>
                <c:pt idx="2193">
                  <c:v>176.33</c:v>
                </c:pt>
                <c:pt idx="2194">
                  <c:v>171.32</c:v>
                </c:pt>
                <c:pt idx="2195">
                  <c:v>166.17</c:v>
                </c:pt>
                <c:pt idx="2196">
                  <c:v>165.15</c:v>
                </c:pt>
                <c:pt idx="2197">
                  <c:v>169.33</c:v>
                </c:pt>
                <c:pt idx="2198">
                  <c:v>169.57</c:v>
                </c:pt>
                <c:pt idx="2199">
                  <c:v>163.86</c:v>
                </c:pt>
                <c:pt idx="2200">
                  <c:v>161.97</c:v>
                </c:pt>
                <c:pt idx="2201">
                  <c:v>159.31</c:v>
                </c:pt>
                <c:pt idx="2202">
                  <c:v>154.54</c:v>
                </c:pt>
                <c:pt idx="2203">
                  <c:v>158.35</c:v>
                </c:pt>
                <c:pt idx="2204">
                  <c:v>164.13</c:v>
                </c:pt>
                <c:pt idx="2205">
                  <c:v>163.47999999999999</c:v>
                </c:pt>
                <c:pt idx="2206">
                  <c:v>159.4</c:v>
                </c:pt>
                <c:pt idx="2207">
                  <c:v>164.24</c:v>
                </c:pt>
                <c:pt idx="2208">
                  <c:v>162.85</c:v>
                </c:pt>
                <c:pt idx="2209">
                  <c:v>160.77000000000001</c:v>
                </c:pt>
                <c:pt idx="2210">
                  <c:v>153.07</c:v>
                </c:pt>
                <c:pt idx="2211">
                  <c:v>151.24</c:v>
                </c:pt>
                <c:pt idx="2212">
                  <c:v>157.69</c:v>
                </c:pt>
                <c:pt idx="2213">
                  <c:v>156.59</c:v>
                </c:pt>
                <c:pt idx="2214">
                  <c:v>153.26</c:v>
                </c:pt>
                <c:pt idx="2215">
                  <c:v>151.38</c:v>
                </c:pt>
                <c:pt idx="2216">
                  <c:v>156.76</c:v>
                </c:pt>
                <c:pt idx="2217">
                  <c:v>162.51</c:v>
                </c:pt>
                <c:pt idx="2218">
                  <c:v>165.75</c:v>
                </c:pt>
                <c:pt idx="2219">
                  <c:v>168.85</c:v>
                </c:pt>
                <c:pt idx="2220">
                  <c:v>168.74</c:v>
                </c:pt>
                <c:pt idx="2221">
                  <c:v>171.77</c:v>
                </c:pt>
                <c:pt idx="2222">
                  <c:v>168.44</c:v>
                </c:pt>
                <c:pt idx="2223">
                  <c:v>172.29</c:v>
                </c:pt>
                <c:pt idx="2224">
                  <c:v>173.67</c:v>
                </c:pt>
                <c:pt idx="2225">
                  <c:v>175.62</c:v>
                </c:pt>
                <c:pt idx="2226">
                  <c:v>179</c:v>
                </c:pt>
                <c:pt idx="2227">
                  <c:v>177.25</c:v>
                </c:pt>
                <c:pt idx="2228">
                  <c:v>172.91</c:v>
                </c:pt>
                <c:pt idx="2229">
                  <c:v>173.84</c:v>
                </c:pt>
                <c:pt idx="2230">
                  <c:v>176.05</c:v>
                </c:pt>
                <c:pt idx="2231">
                  <c:v>172.59</c:v>
                </c:pt>
                <c:pt idx="2232">
                  <c:v>169.94</c:v>
                </c:pt>
                <c:pt idx="2233">
                  <c:v>171.09</c:v>
                </c:pt>
                <c:pt idx="2234">
                  <c:v>170.37</c:v>
                </c:pt>
                <c:pt idx="2235">
                  <c:v>165.81</c:v>
                </c:pt>
                <c:pt idx="2236">
                  <c:v>164.9</c:v>
                </c:pt>
                <c:pt idx="2237">
                  <c:v>167.86</c:v>
                </c:pt>
                <c:pt idx="2238">
                  <c:v>164.6</c:v>
                </c:pt>
                <c:pt idx="2239">
                  <c:v>164.55</c:v>
                </c:pt>
                <c:pt idx="2240">
                  <c:v>168.8</c:v>
                </c:pt>
                <c:pt idx="2241">
                  <c:v>168.63</c:v>
                </c:pt>
                <c:pt idx="2242">
                  <c:v>164.67</c:v>
                </c:pt>
                <c:pt idx="2243">
                  <c:v>157.33000000000001</c:v>
                </c:pt>
                <c:pt idx="2244">
                  <c:v>158.79</c:v>
                </c:pt>
                <c:pt idx="2245">
                  <c:v>151.51</c:v>
                </c:pt>
                <c:pt idx="2246">
                  <c:v>152.04</c:v>
                </c:pt>
                <c:pt idx="2247">
                  <c:v>158.27000000000001</c:v>
                </c:pt>
                <c:pt idx="2248">
                  <c:v>148.9</c:v>
                </c:pt>
                <c:pt idx="2249">
                  <c:v>150.31</c:v>
                </c:pt>
                <c:pt idx="2250">
                  <c:v>151.53</c:v>
                </c:pt>
                <c:pt idx="2251">
                  <c:v>159.04</c:v>
                </c:pt>
                <c:pt idx="2252">
                  <c:v>149.80000000000001</c:v>
                </c:pt>
                <c:pt idx="2253">
                  <c:v>148.38</c:v>
                </c:pt>
                <c:pt idx="2254">
                  <c:v>140.43</c:v>
                </c:pt>
                <c:pt idx="2255">
                  <c:v>141.02000000000001</c:v>
                </c:pt>
                <c:pt idx="2256">
                  <c:v>137.05000000000001</c:v>
                </c:pt>
                <c:pt idx="2257">
                  <c:v>136.74</c:v>
                </c:pt>
                <c:pt idx="2258">
                  <c:v>142.38999999999999</c:v>
                </c:pt>
                <c:pt idx="2259">
                  <c:v>141.44</c:v>
                </c:pt>
                <c:pt idx="2260">
                  <c:v>146.31</c:v>
                </c:pt>
                <c:pt idx="2261">
                  <c:v>136.36000000000001</c:v>
                </c:pt>
                <c:pt idx="2262">
                  <c:v>134.97999999999999</c:v>
                </c:pt>
                <c:pt idx="2263">
                  <c:v>135.01</c:v>
                </c:pt>
                <c:pt idx="2264">
                  <c:v>139.37</c:v>
                </c:pt>
                <c:pt idx="2265">
                  <c:v>137.43</c:v>
                </c:pt>
                <c:pt idx="2266">
                  <c:v>139.66999999999999</c:v>
                </c:pt>
                <c:pt idx="2267">
                  <c:v>144.44</c:v>
                </c:pt>
                <c:pt idx="2268">
                  <c:v>150.49</c:v>
                </c:pt>
                <c:pt idx="2269">
                  <c:v>148.91999999999999</c:v>
                </c:pt>
                <c:pt idx="2270">
                  <c:v>147.05000000000001</c:v>
                </c:pt>
                <c:pt idx="2271">
                  <c:v>151.61000000000001</c:v>
                </c:pt>
                <c:pt idx="2272">
                  <c:v>147.49</c:v>
                </c:pt>
                <c:pt idx="2273">
                  <c:v>148.27000000000001</c:v>
                </c:pt>
                <c:pt idx="2274">
                  <c:v>150.63</c:v>
                </c:pt>
                <c:pt idx="2275">
                  <c:v>147.93</c:v>
                </c:pt>
                <c:pt idx="2276">
                  <c:v>142.03</c:v>
                </c:pt>
                <c:pt idx="2277">
                  <c:v>134.97999999999999</c:v>
                </c:pt>
                <c:pt idx="2278">
                  <c:v>125.87</c:v>
                </c:pt>
                <c:pt idx="2279">
                  <c:v>125.02</c:v>
                </c:pt>
                <c:pt idx="2280">
                  <c:v>128.30000000000001</c:v>
                </c:pt>
                <c:pt idx="2281">
                  <c:v>120.88</c:v>
                </c:pt>
                <c:pt idx="2282">
                  <c:v>121.37</c:v>
                </c:pt>
                <c:pt idx="2283">
                  <c:v>126.79</c:v>
                </c:pt>
                <c:pt idx="2284">
                  <c:v>126.49</c:v>
                </c:pt>
                <c:pt idx="2285">
                  <c:v>128.65</c:v>
                </c:pt>
                <c:pt idx="2286">
                  <c:v>135.63999999999999</c:v>
                </c:pt>
                <c:pt idx="2287">
                  <c:v>134.94</c:v>
                </c:pt>
                <c:pt idx="2288">
                  <c:v>130.21</c:v>
                </c:pt>
                <c:pt idx="2289">
                  <c:v>130.04</c:v>
                </c:pt>
                <c:pt idx="2290">
                  <c:v>128.03</c:v>
                </c:pt>
                <c:pt idx="2291">
                  <c:v>130.43</c:v>
                </c:pt>
                <c:pt idx="2292">
                  <c:v>130.80000000000001</c:v>
                </c:pt>
                <c:pt idx="2293">
                  <c:v>131.62</c:v>
                </c:pt>
                <c:pt idx="2294">
                  <c:v>135.09</c:v>
                </c:pt>
                <c:pt idx="2295">
                  <c:v>134.88999999999999</c:v>
                </c:pt>
                <c:pt idx="2296">
                  <c:v>132.19</c:v>
                </c:pt>
                <c:pt idx="2297">
                  <c:v>130.04</c:v>
                </c:pt>
                <c:pt idx="2298">
                  <c:v>129.01</c:v>
                </c:pt>
                <c:pt idx="2299">
                  <c:v>128.33000000000001</c:v>
                </c:pt>
                <c:pt idx="2300">
                  <c:v>132.71</c:v>
                </c:pt>
                <c:pt idx="2301">
                  <c:v>130.77000000000001</c:v>
                </c:pt>
                <c:pt idx="2302">
                  <c:v>137.13999999999999</c:v>
                </c:pt>
                <c:pt idx="2303">
                  <c:v>138.54</c:v>
                </c:pt>
                <c:pt idx="2304">
                  <c:v>140.88999999999999</c:v>
                </c:pt>
                <c:pt idx="2305">
                  <c:v>138.63999999999999</c:v>
                </c:pt>
                <c:pt idx="2306">
                  <c:v>138.96</c:v>
                </c:pt>
                <c:pt idx="2307">
                  <c:v>136.19999999999999</c:v>
                </c:pt>
                <c:pt idx="2308">
                  <c:v>142.38</c:v>
                </c:pt>
                <c:pt idx="2309">
                  <c:v>145.32</c:v>
                </c:pt>
                <c:pt idx="2310">
                  <c:v>148.80000000000001</c:v>
                </c:pt>
                <c:pt idx="2311">
                  <c:v>148.1</c:v>
                </c:pt>
                <c:pt idx="2312">
                  <c:v>146.44999999999999</c:v>
                </c:pt>
                <c:pt idx="2313">
                  <c:v>150.30000000000001</c:v>
                </c:pt>
                <c:pt idx="2314">
                  <c:v>150.11000000000001</c:v>
                </c:pt>
                <c:pt idx="2315">
                  <c:v>149.69999999999999</c:v>
                </c:pt>
                <c:pt idx="2316">
                  <c:v>149.38999999999999</c:v>
                </c:pt>
                <c:pt idx="2317">
                  <c:v>148.33000000000001</c:v>
                </c:pt>
                <c:pt idx="2318">
                  <c:v>153.62</c:v>
                </c:pt>
                <c:pt idx="2319">
                  <c:v>153.44</c:v>
                </c:pt>
                <c:pt idx="2320">
                  <c:v>157.83000000000001</c:v>
                </c:pt>
                <c:pt idx="2321">
                  <c:v>158.85</c:v>
                </c:pt>
                <c:pt idx="2322">
                  <c:v>159.34</c:v>
                </c:pt>
                <c:pt idx="2323">
                  <c:v>157.46</c:v>
                </c:pt>
                <c:pt idx="2324">
                  <c:v>158.05000000000001</c:v>
                </c:pt>
                <c:pt idx="2325">
                  <c:v>154.72</c:v>
                </c:pt>
                <c:pt idx="2326">
                  <c:v>149.27000000000001</c:v>
                </c:pt>
                <c:pt idx="2327">
                  <c:v>148.71</c:v>
                </c:pt>
                <c:pt idx="2328">
                  <c:v>149.43</c:v>
                </c:pt>
                <c:pt idx="2329">
                  <c:v>152.94999999999999</c:v>
                </c:pt>
                <c:pt idx="2330">
                  <c:v>144.43</c:v>
                </c:pt>
                <c:pt idx="2331">
                  <c:v>142.80000000000001</c:v>
                </c:pt>
                <c:pt idx="2332">
                  <c:v>140.12</c:v>
                </c:pt>
                <c:pt idx="2333">
                  <c:v>138.24</c:v>
                </c:pt>
                <c:pt idx="2334">
                  <c:v>138.96</c:v>
                </c:pt>
                <c:pt idx="2335">
                  <c:v>136.38999999999999</c:v>
                </c:pt>
                <c:pt idx="2336">
                  <c:v>135.41999999999999</c:v>
                </c:pt>
                <c:pt idx="2337">
                  <c:v>139.74</c:v>
                </c:pt>
                <c:pt idx="2338">
                  <c:v>141.33000000000001</c:v>
                </c:pt>
                <c:pt idx="2339">
                  <c:v>145.01</c:v>
                </c:pt>
                <c:pt idx="2340">
                  <c:v>147.61000000000001</c:v>
                </c:pt>
                <c:pt idx="2341">
                  <c:v>136.9</c:v>
                </c:pt>
                <c:pt idx="2342">
                  <c:v>137.69999999999999</c:v>
                </c:pt>
                <c:pt idx="2343">
                  <c:v>135.01</c:v>
                </c:pt>
                <c:pt idx="2344">
                  <c:v>133.33000000000001</c:v>
                </c:pt>
                <c:pt idx="2345">
                  <c:v>134.91999999999999</c:v>
                </c:pt>
                <c:pt idx="2346">
                  <c:v>132.28</c:v>
                </c:pt>
                <c:pt idx="2347">
                  <c:v>128.30000000000001</c:v>
                </c:pt>
                <c:pt idx="2348">
                  <c:v>126.38</c:v>
                </c:pt>
                <c:pt idx="2349">
                  <c:v>122.48</c:v>
                </c:pt>
                <c:pt idx="2350">
                  <c:v>120.18</c:v>
                </c:pt>
                <c:pt idx="2351">
                  <c:v>119.71</c:v>
                </c:pt>
                <c:pt idx="2352">
                  <c:v>124.03</c:v>
                </c:pt>
                <c:pt idx="2353">
                  <c:v>119.3</c:v>
                </c:pt>
                <c:pt idx="2354">
                  <c:v>115.99</c:v>
                </c:pt>
                <c:pt idx="2355">
                  <c:v>121.58</c:v>
                </c:pt>
                <c:pt idx="2356">
                  <c:v>128.36000000000001</c:v>
                </c:pt>
                <c:pt idx="2357">
                  <c:v>127.9</c:v>
                </c:pt>
                <c:pt idx="2358">
                  <c:v>125.57</c:v>
                </c:pt>
                <c:pt idx="2359">
                  <c:v>119.25</c:v>
                </c:pt>
                <c:pt idx="2360">
                  <c:v>117.61</c:v>
                </c:pt>
                <c:pt idx="2361">
                  <c:v>116.19</c:v>
                </c:pt>
                <c:pt idx="2362">
                  <c:v>115.48</c:v>
                </c:pt>
                <c:pt idx="2363">
                  <c:v>121.07</c:v>
                </c:pt>
                <c:pt idx="2364">
                  <c:v>115.84</c:v>
                </c:pt>
                <c:pt idx="2365">
                  <c:v>121.56</c:v>
                </c:pt>
                <c:pt idx="2366">
                  <c:v>124.09</c:v>
                </c:pt>
                <c:pt idx="2367">
                  <c:v>122.59</c:v>
                </c:pt>
                <c:pt idx="2368">
                  <c:v>120.82</c:v>
                </c:pt>
                <c:pt idx="2369">
                  <c:v>126.06</c:v>
                </c:pt>
                <c:pt idx="2370">
                  <c:v>128.75</c:v>
                </c:pt>
                <c:pt idx="2371">
                  <c:v>132.47</c:v>
                </c:pt>
                <c:pt idx="2372">
                  <c:v>130.75</c:v>
                </c:pt>
                <c:pt idx="2373">
                  <c:v>129.35</c:v>
                </c:pt>
                <c:pt idx="2374">
                  <c:v>135</c:v>
                </c:pt>
                <c:pt idx="2375">
                  <c:v>133.24</c:v>
                </c:pt>
                <c:pt idx="2376">
                  <c:v>132.29</c:v>
                </c:pt>
                <c:pt idx="2377">
                  <c:v>126.48</c:v>
                </c:pt>
                <c:pt idx="2378">
                  <c:v>124.08</c:v>
                </c:pt>
                <c:pt idx="2379">
                  <c:v>127.13</c:v>
                </c:pt>
                <c:pt idx="2380">
                  <c:v>129.32</c:v>
                </c:pt>
                <c:pt idx="2381">
                  <c:v>130.6</c:v>
                </c:pt>
                <c:pt idx="2382">
                  <c:v>125.81</c:v>
                </c:pt>
                <c:pt idx="2383">
                  <c:v>138.33000000000001</c:v>
                </c:pt>
                <c:pt idx="2384">
                  <c:v>140.53</c:v>
                </c:pt>
                <c:pt idx="2385">
                  <c:v>138.38</c:v>
                </c:pt>
                <c:pt idx="2386">
                  <c:v>140.46</c:v>
                </c:pt>
                <c:pt idx="2387">
                  <c:v>138.47</c:v>
                </c:pt>
                <c:pt idx="2388">
                  <c:v>137.74</c:v>
                </c:pt>
                <c:pt idx="2389">
                  <c:v>138.87</c:v>
                </c:pt>
                <c:pt idx="2390">
                  <c:v>137.94</c:v>
                </c:pt>
                <c:pt idx="2391">
                  <c:v>141.16999999999999</c:v>
                </c:pt>
                <c:pt idx="2392">
                  <c:v>142.6</c:v>
                </c:pt>
                <c:pt idx="2393">
                  <c:v>142.53</c:v>
                </c:pt>
                <c:pt idx="2394">
                  <c:v>138.78</c:v>
                </c:pt>
                <c:pt idx="2395">
                  <c:v>138.4</c:v>
                </c:pt>
                <c:pt idx="2396">
                  <c:v>145.78</c:v>
                </c:pt>
                <c:pt idx="2397">
                  <c:v>145.57</c:v>
                </c:pt>
                <c:pt idx="2398">
                  <c:v>145.27000000000001</c:v>
                </c:pt>
                <c:pt idx="2399">
                  <c:v>140.88999999999999</c:v>
                </c:pt>
                <c:pt idx="2400">
                  <c:v>137.41999999999999</c:v>
                </c:pt>
                <c:pt idx="2401">
                  <c:v>136.97</c:v>
                </c:pt>
                <c:pt idx="2402">
                  <c:v>138.76</c:v>
                </c:pt>
                <c:pt idx="2403">
                  <c:v>137</c:v>
                </c:pt>
                <c:pt idx="2404">
                  <c:v>140.38999999999999</c:v>
                </c:pt>
                <c:pt idx="2405">
                  <c:v>142.13999999999999</c:v>
                </c:pt>
                <c:pt idx="2406">
                  <c:v>140.66999999999999</c:v>
                </c:pt>
                <c:pt idx="2407">
                  <c:v>134.68</c:v>
                </c:pt>
                <c:pt idx="2408">
                  <c:v>132.06</c:v>
                </c:pt>
                <c:pt idx="2409">
                  <c:v>129.97</c:v>
                </c:pt>
                <c:pt idx="2410">
                  <c:v>130.21</c:v>
                </c:pt>
                <c:pt idx="2411">
                  <c:v>133.63</c:v>
                </c:pt>
                <c:pt idx="2412">
                  <c:v>130.26</c:v>
                </c:pt>
                <c:pt idx="2413">
                  <c:v>131.61000000000001</c:v>
                </c:pt>
                <c:pt idx="2414">
                  <c:v>130.66999999999999</c:v>
                </c:pt>
                <c:pt idx="2415">
                  <c:v>127.9</c:v>
                </c:pt>
                <c:pt idx="2416">
                  <c:v>131.88</c:v>
                </c:pt>
                <c:pt idx="2417">
                  <c:v>131.29</c:v>
                </c:pt>
                <c:pt idx="2418">
                  <c:v>130.36000000000001</c:v>
                </c:pt>
                <c:pt idx="2419">
                  <c:v>132.1</c:v>
                </c:pt>
                <c:pt idx="2420">
                  <c:v>129.4</c:v>
                </c:pt>
                <c:pt idx="2421">
                  <c:v>134.63</c:v>
                </c:pt>
                <c:pt idx="2422">
                  <c:v>134.44999999999999</c:v>
                </c:pt>
                <c:pt idx="2423">
                  <c:v>136.09</c:v>
                </c:pt>
                <c:pt idx="2424">
                  <c:v>139.12</c:v>
                </c:pt>
                <c:pt idx="2425">
                  <c:v>139.94</c:v>
                </c:pt>
                <c:pt idx="2426">
                  <c:v>140.9</c:v>
                </c:pt>
                <c:pt idx="2427">
                  <c:v>140.41</c:v>
                </c:pt>
                <c:pt idx="2428">
                  <c:v>136.66999999999999</c:v>
                </c:pt>
                <c:pt idx="2429">
                  <c:v>134.86000000000001</c:v>
                </c:pt>
                <c:pt idx="2430">
                  <c:v>139.31</c:v>
                </c:pt>
                <c:pt idx="2431">
                  <c:v>142.15</c:v>
                </c:pt>
                <c:pt idx="2432">
                  <c:v>141.97999999999999</c:v>
                </c:pt>
                <c:pt idx="2433">
                  <c:v>141.93</c:v>
                </c:pt>
                <c:pt idx="2434">
                  <c:v>144.6</c:v>
                </c:pt>
                <c:pt idx="2435">
                  <c:v>145.21</c:v>
                </c:pt>
                <c:pt idx="2436">
                  <c:v>142.03</c:v>
                </c:pt>
                <c:pt idx="2437">
                  <c:v>145.57</c:v>
                </c:pt>
                <c:pt idx="2438">
                  <c:v>148.13999999999999</c:v>
                </c:pt>
                <c:pt idx="2439">
                  <c:v>151.78</c:v>
                </c:pt>
                <c:pt idx="2440">
                  <c:v>149.18</c:v>
                </c:pt>
                <c:pt idx="2441">
                  <c:v>147.65</c:v>
                </c:pt>
                <c:pt idx="2442">
                  <c:v>150.83000000000001</c:v>
                </c:pt>
                <c:pt idx="2443">
                  <c:v>148.06</c:v>
                </c:pt>
                <c:pt idx="2444">
                  <c:v>145.86000000000001</c:v>
                </c:pt>
                <c:pt idx="2445">
                  <c:v>146.4</c:v>
                </c:pt>
                <c:pt idx="2446">
                  <c:v>149.22999999999999</c:v>
                </c:pt>
                <c:pt idx="2447">
                  <c:v>149.16</c:v>
                </c:pt>
                <c:pt idx="2448">
                  <c:v>149.85</c:v>
                </c:pt>
                <c:pt idx="2449">
                  <c:v>146.4</c:v>
                </c:pt>
                <c:pt idx="2450">
                  <c:v>145.72</c:v>
                </c:pt>
                <c:pt idx="2451">
                  <c:v>140.79</c:v>
                </c:pt>
                <c:pt idx="2452">
                  <c:v>140.41999999999999</c:v>
                </c:pt>
                <c:pt idx="2453">
                  <c:v>141.69999999999999</c:v>
                </c:pt>
                <c:pt idx="2454">
                  <c:v>139.15</c:v>
                </c:pt>
                <c:pt idx="2455">
                  <c:v>139.88999999999999</c:v>
                </c:pt>
                <c:pt idx="2456">
                  <c:v>139.16</c:v>
                </c:pt>
                <c:pt idx="2457">
                  <c:v>138.03</c:v>
                </c:pt>
                <c:pt idx="2458">
                  <c:v>139.83000000000001</c:v>
                </c:pt>
                <c:pt idx="2459">
                  <c:v>143.69999999999999</c:v>
                </c:pt>
                <c:pt idx="2460">
                  <c:v>143.87</c:v>
                </c:pt>
                <c:pt idx="2461">
                  <c:v>140.13</c:v>
                </c:pt>
                <c:pt idx="2462">
                  <c:v>140.47</c:v>
                </c:pt>
                <c:pt idx="2463">
                  <c:v>136.03</c:v>
                </c:pt>
                <c:pt idx="2464">
                  <c:v>132.62</c:v>
                </c:pt>
                <c:pt idx="2465">
                  <c:v>132.27000000000001</c:v>
                </c:pt>
                <c:pt idx="2466">
                  <c:v>136.09</c:v>
                </c:pt>
                <c:pt idx="2467">
                  <c:v>134.44</c:v>
                </c:pt>
                <c:pt idx="2468">
                  <c:v>138.56</c:v>
                </c:pt>
                <c:pt idx="2469">
                  <c:v>135.93</c:v>
                </c:pt>
                <c:pt idx="2470">
                  <c:v>138.04</c:v>
                </c:pt>
                <c:pt idx="2471">
                  <c:v>141.13</c:v>
                </c:pt>
                <c:pt idx="2472">
                  <c:v>137.16</c:v>
                </c:pt>
                <c:pt idx="2473">
                  <c:v>137.87</c:v>
                </c:pt>
                <c:pt idx="2474">
                  <c:v>139.21</c:v>
                </c:pt>
                <c:pt idx="2475">
                  <c:v>139.6</c:v>
                </c:pt>
                <c:pt idx="2476">
                  <c:v>139.22</c:v>
                </c:pt>
                <c:pt idx="2477">
                  <c:v>142.63</c:v>
                </c:pt>
                <c:pt idx="2478">
                  <c:v>144.02000000000001</c:v>
                </c:pt>
                <c:pt idx="2479">
                  <c:v>147.54</c:v>
                </c:pt>
                <c:pt idx="2480">
                  <c:v>148.46</c:v>
                </c:pt>
                <c:pt idx="2481">
                  <c:v>147.02000000000001</c:v>
                </c:pt>
                <c:pt idx="2482">
                  <c:v>146.4</c:v>
                </c:pt>
                <c:pt idx="2483">
                  <c:v>147.28</c:v>
                </c:pt>
                <c:pt idx="2484">
                  <c:v>147.53</c:v>
                </c:pt>
                <c:pt idx="2485">
                  <c:v>147.52000000000001</c:v>
                </c:pt>
                <c:pt idx="2486">
                  <c:v>146.49</c:v>
                </c:pt>
                <c:pt idx="2487">
                  <c:v>149.76</c:v>
                </c:pt>
                <c:pt idx="2488">
                  <c:v>149.25</c:v>
                </c:pt>
                <c:pt idx="2489">
                  <c:v>150.07</c:v>
                </c:pt>
                <c:pt idx="2490">
                  <c:v>150.28</c:v>
                </c:pt>
                <c:pt idx="2491">
                  <c:v>150.26</c:v>
                </c:pt>
                <c:pt idx="2492">
                  <c:v>148.77000000000001</c:v>
                </c:pt>
                <c:pt idx="2493">
                  <c:v>149</c:v>
                </c:pt>
                <c:pt idx="2494">
                  <c:v>149.21</c:v>
                </c:pt>
                <c:pt idx="2495">
                  <c:v>145.27000000000001</c:v>
                </c:pt>
                <c:pt idx="2496">
                  <c:v>144.33000000000001</c:v>
                </c:pt>
                <c:pt idx="2497">
                  <c:v>149.11000000000001</c:v>
                </c:pt>
                <c:pt idx="2498">
                  <c:v>151.16</c:v>
                </c:pt>
                <c:pt idx="2499">
                  <c:v>151.07</c:v>
                </c:pt>
                <c:pt idx="2500">
                  <c:v>148.16</c:v>
                </c:pt>
                <c:pt idx="2501">
                  <c:v>146.41999999999999</c:v>
                </c:pt>
                <c:pt idx="2502">
                  <c:v>144.63999999999999</c:v>
                </c:pt>
                <c:pt idx="2503">
                  <c:v>149.16</c:v>
                </c:pt>
                <c:pt idx="2504">
                  <c:v>149.28</c:v>
                </c:pt>
                <c:pt idx="2505">
                  <c:v>148.13</c:v>
                </c:pt>
                <c:pt idx="2506">
                  <c:v>149.25</c:v>
                </c:pt>
                <c:pt idx="2507">
                  <c:v>148.82</c:v>
                </c:pt>
                <c:pt idx="2508">
                  <c:v>148.43</c:v>
                </c:pt>
                <c:pt idx="2509">
                  <c:v>149.16</c:v>
                </c:pt>
                <c:pt idx="2510">
                  <c:v>147.58000000000001</c:v>
                </c:pt>
                <c:pt idx="2511">
                  <c:v>150.52000000000001</c:v>
                </c:pt>
                <c:pt idx="2512">
                  <c:v>152.88999999999999</c:v>
                </c:pt>
                <c:pt idx="2513">
                  <c:v>152.52000000000001</c:v>
                </c:pt>
                <c:pt idx="2514">
                  <c:v>152.56</c:v>
                </c:pt>
                <c:pt idx="2515">
                  <c:v>149.72</c:v>
                </c:pt>
                <c:pt idx="2516">
                  <c:v>147.9</c:v>
                </c:pt>
                <c:pt idx="2517">
                  <c:v>150.07</c:v>
                </c:pt>
                <c:pt idx="2518">
                  <c:v>153.33000000000001</c:v>
                </c:pt>
              </c:numCache>
            </c:numRef>
          </c:yVal>
          <c:smooth val="0"/>
          <c:extLst>
            <c:ext xmlns:c16="http://schemas.microsoft.com/office/drawing/2014/chart" uri="{C3380CC4-5D6E-409C-BE32-E72D297353CC}">
              <c16:uniqueId val="{00000001-2C3D-EE44-94AB-B847D45E59DD}"/>
            </c:ext>
          </c:extLst>
        </c:ser>
        <c:dLbls>
          <c:showLegendKey val="0"/>
          <c:showVal val="0"/>
          <c:showCatName val="0"/>
          <c:showSerName val="0"/>
          <c:showPercent val="0"/>
          <c:showBubbleSize val="0"/>
        </c:dLbls>
        <c:axId val="4"/>
        <c:axId val="5"/>
      </c:scatterChart>
      <c:valAx>
        <c:axId val="4"/>
        <c:scaling>
          <c:orientation val="minMax"/>
          <c:max val="19723"/>
          <c:min val="15706"/>
        </c:scaling>
        <c:delete val="0"/>
        <c:axPos val="b"/>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5"/>
        <c:crossesAt val="0"/>
        <c:crossBetween val="midCat"/>
      </c:valAx>
      <c:valAx>
        <c:axId val="5"/>
        <c:scaling>
          <c:orientation val="minMax"/>
          <c:max val="800"/>
          <c:min val="-5.24"/>
        </c:scaling>
        <c:delete val="0"/>
        <c:axPos val="l"/>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4"/>
        <c:crosses val="min"/>
        <c:crossBetween val="midCat"/>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680365296803651E-2"/>
          <c:y val="7.4391988555078684E-2"/>
          <c:w val="0.94063926940639264"/>
          <c:h val="0.85121602288984266"/>
        </c:manualLayout>
      </c:layout>
      <c:scatterChart>
        <c:scatterStyle val="lineMarker"/>
        <c:varyColors val="0"/>
        <c:ser>
          <c:idx val="0"/>
          <c:order val="0"/>
          <c:spPr>
            <a:ln>
              <a:noFill/>
            </a:ln>
          </c:spPr>
          <c:marker>
            <c:symbol val="circle"/>
            <c:size val="7"/>
            <c:spPr>
              <a:solidFill>
                <a:srgbClr val="50A26E"/>
              </a:solidFill>
              <a:ln w="9525" cmpd="sng" algn="ctr">
                <a:solidFill>
                  <a:srgbClr val="50A26E"/>
                </a:solidFill>
                <a:prstDash val="solid"/>
              </a:ln>
            </c:spPr>
          </c:marker>
          <c:xVal>
            <c:numRef>
              <c:f>Sheet1!$A$1:$A$115</c:f>
              <c:numCache>
                <c:formatCode>General</c:formatCode>
                <c:ptCount val="115"/>
                <c:pt idx="0">
                  <c:v>2010.08</c:v>
                </c:pt>
                <c:pt idx="1">
                  <c:v>2009.39</c:v>
                </c:pt>
                <c:pt idx="2">
                  <c:v>2009.25</c:v>
                </c:pt>
                <c:pt idx="3">
                  <c:v>2009.39</c:v>
                </c:pt>
                <c:pt idx="4">
                  <c:v>2009.39</c:v>
                </c:pt>
                <c:pt idx="5">
                  <c:v>2007.43</c:v>
                </c:pt>
                <c:pt idx="6">
                  <c:v>2008.41</c:v>
                </c:pt>
                <c:pt idx="7">
                  <c:v>2008.36</c:v>
                </c:pt>
                <c:pt idx="8">
                  <c:v>2008.36</c:v>
                </c:pt>
                <c:pt idx="9">
                  <c:v>2008.26</c:v>
                </c:pt>
                <c:pt idx="10">
                  <c:v>2008.31</c:v>
                </c:pt>
                <c:pt idx="11">
                  <c:v>2007.23</c:v>
                </c:pt>
                <c:pt idx="12">
                  <c:v>2007.33</c:v>
                </c:pt>
                <c:pt idx="13">
                  <c:v>2007.28</c:v>
                </c:pt>
                <c:pt idx="14">
                  <c:v>2007.37</c:v>
                </c:pt>
                <c:pt idx="15">
                  <c:v>2006.41</c:v>
                </c:pt>
                <c:pt idx="16">
                  <c:v>2006.41</c:v>
                </c:pt>
                <c:pt idx="17">
                  <c:v>2005.45</c:v>
                </c:pt>
                <c:pt idx="18">
                  <c:v>2004.38</c:v>
                </c:pt>
                <c:pt idx="19">
                  <c:v>2005.29</c:v>
                </c:pt>
                <c:pt idx="20">
                  <c:v>2003.47</c:v>
                </c:pt>
                <c:pt idx="21">
                  <c:v>2004.38</c:v>
                </c:pt>
                <c:pt idx="22">
                  <c:v>2004.38</c:v>
                </c:pt>
                <c:pt idx="23">
                  <c:v>2003.37</c:v>
                </c:pt>
                <c:pt idx="24">
                  <c:v>2002.41</c:v>
                </c:pt>
                <c:pt idx="25">
                  <c:v>2001.45</c:v>
                </c:pt>
                <c:pt idx="26">
                  <c:v>2001.39</c:v>
                </c:pt>
                <c:pt idx="27">
                  <c:v>2000.32</c:v>
                </c:pt>
                <c:pt idx="28">
                  <c:v>2000.43</c:v>
                </c:pt>
                <c:pt idx="29">
                  <c:v>1998.46</c:v>
                </c:pt>
                <c:pt idx="30">
                  <c:v>1998.46</c:v>
                </c:pt>
                <c:pt idx="31">
                  <c:v>1999.52</c:v>
                </c:pt>
                <c:pt idx="32">
                  <c:v>2000.48</c:v>
                </c:pt>
                <c:pt idx="33">
                  <c:v>2000.32</c:v>
                </c:pt>
                <c:pt idx="34">
                  <c:v>1996.48</c:v>
                </c:pt>
                <c:pt idx="35">
                  <c:v>1997.55</c:v>
                </c:pt>
                <c:pt idx="36">
                  <c:v>1996.64</c:v>
                </c:pt>
                <c:pt idx="37">
                  <c:v>1995.52</c:v>
                </c:pt>
                <c:pt idx="38">
                  <c:v>1994.56</c:v>
                </c:pt>
                <c:pt idx="39">
                  <c:v>1992.58</c:v>
                </c:pt>
                <c:pt idx="40">
                  <c:v>1992.53</c:v>
                </c:pt>
                <c:pt idx="41">
                  <c:v>1990.66</c:v>
                </c:pt>
                <c:pt idx="42">
                  <c:v>1989.7</c:v>
                </c:pt>
                <c:pt idx="43">
                  <c:v>1990.61</c:v>
                </c:pt>
                <c:pt idx="44">
                  <c:v>1989.7</c:v>
                </c:pt>
                <c:pt idx="45">
                  <c:v>1988.53</c:v>
                </c:pt>
                <c:pt idx="46">
                  <c:v>1987.89</c:v>
                </c:pt>
                <c:pt idx="47">
                  <c:v>1986.55</c:v>
                </c:pt>
                <c:pt idx="48">
                  <c:v>1986.76</c:v>
                </c:pt>
                <c:pt idx="49">
                  <c:v>1986.71</c:v>
                </c:pt>
                <c:pt idx="50">
                  <c:v>1985.75</c:v>
                </c:pt>
                <c:pt idx="51">
                  <c:v>1984.68</c:v>
                </c:pt>
                <c:pt idx="52">
                  <c:v>1983.61</c:v>
                </c:pt>
                <c:pt idx="53">
                  <c:v>1983.67</c:v>
                </c:pt>
                <c:pt idx="54">
                  <c:v>1972.88</c:v>
                </c:pt>
                <c:pt idx="55">
                  <c:v>1973.84</c:v>
                </c:pt>
                <c:pt idx="56">
                  <c:v>1976.78</c:v>
                </c:pt>
                <c:pt idx="57">
                  <c:v>1975.87</c:v>
                </c:pt>
                <c:pt idx="58">
                  <c:v>1975.82</c:v>
                </c:pt>
                <c:pt idx="59">
                  <c:v>1982.76</c:v>
                </c:pt>
                <c:pt idx="60">
                  <c:v>1977.85</c:v>
                </c:pt>
                <c:pt idx="61">
                  <c:v>1977.69</c:v>
                </c:pt>
                <c:pt idx="62">
                  <c:v>1979.93</c:v>
                </c:pt>
                <c:pt idx="63">
                  <c:v>1980.73</c:v>
                </c:pt>
                <c:pt idx="64">
                  <c:v>1980.73</c:v>
                </c:pt>
                <c:pt idx="65">
                  <c:v>1980</c:v>
                </c:pt>
                <c:pt idx="66">
                  <c:v>1972.72</c:v>
                </c:pt>
                <c:pt idx="67">
                  <c:v>2020.09</c:v>
                </c:pt>
                <c:pt idx="68">
                  <c:v>2020.13</c:v>
                </c:pt>
                <c:pt idx="69">
                  <c:v>2020.21</c:v>
                </c:pt>
                <c:pt idx="70">
                  <c:v>2020.21</c:v>
                </c:pt>
                <c:pt idx="71">
                  <c:v>2020.17</c:v>
                </c:pt>
                <c:pt idx="72">
                  <c:v>2019.11</c:v>
                </c:pt>
                <c:pt idx="73">
                  <c:v>2019.15</c:v>
                </c:pt>
                <c:pt idx="74">
                  <c:v>2019.2</c:v>
                </c:pt>
                <c:pt idx="75">
                  <c:v>2019.15</c:v>
                </c:pt>
                <c:pt idx="76">
                  <c:v>2018.08</c:v>
                </c:pt>
                <c:pt idx="77">
                  <c:v>2018.08</c:v>
                </c:pt>
                <c:pt idx="78">
                  <c:v>2018.17</c:v>
                </c:pt>
                <c:pt idx="79">
                  <c:v>2018.17</c:v>
                </c:pt>
                <c:pt idx="80">
                  <c:v>2018.22</c:v>
                </c:pt>
                <c:pt idx="81">
                  <c:v>2017.19</c:v>
                </c:pt>
                <c:pt idx="82">
                  <c:v>2017.24</c:v>
                </c:pt>
                <c:pt idx="83">
                  <c:v>2017.09</c:v>
                </c:pt>
                <c:pt idx="84">
                  <c:v>2017.09</c:v>
                </c:pt>
                <c:pt idx="85">
                  <c:v>2017.09</c:v>
                </c:pt>
                <c:pt idx="86">
                  <c:v>2016.16</c:v>
                </c:pt>
                <c:pt idx="87">
                  <c:v>2016.16</c:v>
                </c:pt>
                <c:pt idx="88">
                  <c:v>2016.06</c:v>
                </c:pt>
                <c:pt idx="89">
                  <c:v>2016.11</c:v>
                </c:pt>
                <c:pt idx="90">
                  <c:v>2015.13</c:v>
                </c:pt>
                <c:pt idx="91">
                  <c:v>2015.18</c:v>
                </c:pt>
                <c:pt idx="92">
                  <c:v>2015.23</c:v>
                </c:pt>
                <c:pt idx="93">
                  <c:v>2015.23</c:v>
                </c:pt>
                <c:pt idx="94">
                  <c:v>2015.23</c:v>
                </c:pt>
                <c:pt idx="95">
                  <c:v>2015.23</c:v>
                </c:pt>
                <c:pt idx="96">
                  <c:v>2014.1</c:v>
                </c:pt>
                <c:pt idx="97">
                  <c:v>2014.2</c:v>
                </c:pt>
                <c:pt idx="98">
                  <c:v>2014.2</c:v>
                </c:pt>
                <c:pt idx="99">
                  <c:v>2014.15</c:v>
                </c:pt>
                <c:pt idx="100">
                  <c:v>2013.32</c:v>
                </c:pt>
                <c:pt idx="101">
                  <c:v>2013.27</c:v>
                </c:pt>
                <c:pt idx="102">
                  <c:v>2013.17</c:v>
                </c:pt>
                <c:pt idx="103">
                  <c:v>2013.27</c:v>
                </c:pt>
                <c:pt idx="104">
                  <c:v>2013.32</c:v>
                </c:pt>
                <c:pt idx="105">
                  <c:v>2012.14</c:v>
                </c:pt>
                <c:pt idx="106">
                  <c:v>2012.19</c:v>
                </c:pt>
                <c:pt idx="107">
                  <c:v>2012.14</c:v>
                </c:pt>
                <c:pt idx="108">
                  <c:v>2011.31</c:v>
                </c:pt>
                <c:pt idx="109">
                  <c:v>2011.31</c:v>
                </c:pt>
                <c:pt idx="110">
                  <c:v>2011.26</c:v>
                </c:pt>
                <c:pt idx="111">
                  <c:v>2011.31</c:v>
                </c:pt>
                <c:pt idx="112">
                  <c:v>2011.26</c:v>
                </c:pt>
              </c:numCache>
            </c:numRef>
          </c:xVal>
          <c:yVal>
            <c:numRef>
              <c:f>Sheet1!$B$1:$B$115</c:f>
              <c:numCache>
                <c:formatCode>General</c:formatCode>
                <c:ptCount val="115"/>
                <c:pt idx="0">
                  <c:v>891250938.10000002</c:v>
                </c:pt>
                <c:pt idx="1">
                  <c:v>1819700859</c:v>
                </c:pt>
                <c:pt idx="2">
                  <c:v>758577575</c:v>
                </c:pt>
                <c:pt idx="3">
                  <c:v>245470891.59999999</c:v>
                </c:pt>
                <c:pt idx="4">
                  <c:v>48977881.939999998</c:v>
                </c:pt>
                <c:pt idx="5">
                  <c:v>1778279410</c:v>
                </c:pt>
                <c:pt idx="6">
                  <c:v>851138038.20000005</c:v>
                </c:pt>
                <c:pt idx="7">
                  <c:v>489778819.39999998</c:v>
                </c:pt>
                <c:pt idx="8">
                  <c:v>389045145</c:v>
                </c:pt>
                <c:pt idx="9">
                  <c:v>162181009.69999999</c:v>
                </c:pt>
                <c:pt idx="10">
                  <c:v>25703957.829999998</c:v>
                </c:pt>
                <c:pt idx="11">
                  <c:v>380189396.30000001</c:v>
                </c:pt>
                <c:pt idx="12">
                  <c:v>275422870.30000001</c:v>
                </c:pt>
                <c:pt idx="13">
                  <c:v>245470891.59999999</c:v>
                </c:pt>
                <c:pt idx="14">
                  <c:v>190546071.80000001</c:v>
                </c:pt>
                <c:pt idx="15">
                  <c:v>234422881.5</c:v>
                </c:pt>
                <c:pt idx="16">
                  <c:v>162181009.69999999</c:v>
                </c:pt>
                <c:pt idx="17">
                  <c:v>588843655.39999998</c:v>
                </c:pt>
                <c:pt idx="18">
                  <c:v>407380277.80000001</c:v>
                </c:pt>
                <c:pt idx="19">
                  <c:v>112201845.40000001</c:v>
                </c:pt>
                <c:pt idx="20">
                  <c:v>223872113.90000001</c:v>
                </c:pt>
                <c:pt idx="21">
                  <c:v>112201845.40000001</c:v>
                </c:pt>
                <c:pt idx="22">
                  <c:v>53703179.640000001</c:v>
                </c:pt>
                <c:pt idx="23">
                  <c:v>52480746.020000003</c:v>
                </c:pt>
                <c:pt idx="24">
                  <c:v>44668359.219999999</c:v>
                </c:pt>
                <c:pt idx="25">
                  <c:v>42657951.880000003</c:v>
                </c:pt>
                <c:pt idx="26">
                  <c:v>20417379.449999999</c:v>
                </c:pt>
                <c:pt idx="27">
                  <c:v>28183829.309999999</c:v>
                </c:pt>
                <c:pt idx="28">
                  <c:v>21877616.239999998</c:v>
                </c:pt>
                <c:pt idx="29">
                  <c:v>8912509.3809999991</c:v>
                </c:pt>
                <c:pt idx="30">
                  <c:v>6918309.7089999998</c:v>
                </c:pt>
                <c:pt idx="31">
                  <c:v>6918309.7089999998</c:v>
                </c:pt>
                <c:pt idx="32">
                  <c:v>9120108.3939999994</c:v>
                </c:pt>
                <c:pt idx="33">
                  <c:v>93325.430080000006</c:v>
                </c:pt>
                <c:pt idx="34">
                  <c:v>5495408.7390000001</c:v>
                </c:pt>
                <c:pt idx="35">
                  <c:v>4265795.1880000001</c:v>
                </c:pt>
                <c:pt idx="36">
                  <c:v>2344228.8149999999</c:v>
                </c:pt>
                <c:pt idx="37">
                  <c:v>524807.46019999997</c:v>
                </c:pt>
                <c:pt idx="38">
                  <c:v>2951209.227</c:v>
                </c:pt>
                <c:pt idx="39">
                  <c:v>30199.517199999998</c:v>
                </c:pt>
                <c:pt idx="40">
                  <c:v>1230268.7709999999</c:v>
                </c:pt>
                <c:pt idx="41">
                  <c:v>1122018.4539999999</c:v>
                </c:pt>
                <c:pt idx="42">
                  <c:v>169824.3652</c:v>
                </c:pt>
                <c:pt idx="43">
                  <c:v>281838.29310000001</c:v>
                </c:pt>
                <c:pt idx="44">
                  <c:v>234422.88149999999</c:v>
                </c:pt>
                <c:pt idx="45">
                  <c:v>512861.38400000002</c:v>
                </c:pt>
                <c:pt idx="46">
                  <c:v>28840.315030000002</c:v>
                </c:pt>
                <c:pt idx="47">
                  <c:v>24547.08916</c:v>
                </c:pt>
                <c:pt idx="48">
                  <c:v>14454.397709999999</c:v>
                </c:pt>
                <c:pt idx="49">
                  <c:v>257039.57829999999</c:v>
                </c:pt>
                <c:pt idx="50">
                  <c:v>169824.3652</c:v>
                </c:pt>
                <c:pt idx="51">
                  <c:v>17378.008290000002</c:v>
                </c:pt>
                <c:pt idx="52">
                  <c:v>117489.7555</c:v>
                </c:pt>
                <c:pt idx="53">
                  <c:v>53703.179640000002</c:v>
                </c:pt>
                <c:pt idx="54">
                  <c:v>1995.2623149999999</c:v>
                </c:pt>
                <c:pt idx="55">
                  <c:v>2884.0315030000002</c:v>
                </c:pt>
                <c:pt idx="56">
                  <c:v>3019.95172</c:v>
                </c:pt>
                <c:pt idx="57">
                  <c:v>4786.3009229999998</c:v>
                </c:pt>
                <c:pt idx="58">
                  <c:v>3715.3522910000002</c:v>
                </c:pt>
                <c:pt idx="59">
                  <c:v>10471.28548</c:v>
                </c:pt>
                <c:pt idx="60">
                  <c:v>7943.2823470000003</c:v>
                </c:pt>
                <c:pt idx="61">
                  <c:v>5754.3993730000002</c:v>
                </c:pt>
                <c:pt idx="62">
                  <c:v>7585.7757499999998</c:v>
                </c:pt>
                <c:pt idx="63">
                  <c:v>28840.315030000002</c:v>
                </c:pt>
                <c:pt idx="64">
                  <c:v>60255.958610000001</c:v>
                </c:pt>
                <c:pt idx="65">
                  <c:v>26915.348040000001</c:v>
                </c:pt>
                <c:pt idx="66">
                  <c:v>6760.8297540000003</c:v>
                </c:pt>
                <c:pt idx="67">
                  <c:v>39810717055</c:v>
                </c:pt>
                <c:pt idx="68">
                  <c:v>26302679919</c:v>
                </c:pt>
                <c:pt idx="69">
                  <c:v>10964781961</c:v>
                </c:pt>
                <c:pt idx="70">
                  <c:v>7943282347</c:v>
                </c:pt>
                <c:pt idx="71">
                  <c:v>5495408739</c:v>
                </c:pt>
                <c:pt idx="72">
                  <c:v>25118864315</c:v>
                </c:pt>
                <c:pt idx="73">
                  <c:v>9549925860</c:v>
                </c:pt>
                <c:pt idx="74">
                  <c:v>6918309709</c:v>
                </c:pt>
                <c:pt idx="75">
                  <c:v>5495408739</c:v>
                </c:pt>
                <c:pt idx="76">
                  <c:v>9772372210</c:v>
                </c:pt>
                <c:pt idx="77">
                  <c:v>19952623150</c:v>
                </c:pt>
                <c:pt idx="78">
                  <c:v>7585775750</c:v>
                </c:pt>
                <c:pt idx="79">
                  <c:v>5495408739</c:v>
                </c:pt>
                <c:pt idx="80">
                  <c:v>4073802778</c:v>
                </c:pt>
                <c:pt idx="81">
                  <c:v>8709635900</c:v>
                </c:pt>
                <c:pt idx="82">
                  <c:v>6918309709</c:v>
                </c:pt>
                <c:pt idx="83">
                  <c:v>3981071706</c:v>
                </c:pt>
                <c:pt idx="84">
                  <c:v>3235936569</c:v>
                </c:pt>
                <c:pt idx="85">
                  <c:v>2570395783</c:v>
                </c:pt>
                <c:pt idx="86">
                  <c:v>10964781961</c:v>
                </c:pt>
                <c:pt idx="87">
                  <c:v>7585775750</c:v>
                </c:pt>
                <c:pt idx="88">
                  <c:v>4365158322</c:v>
                </c:pt>
                <c:pt idx="89">
                  <c:v>1949844600</c:v>
                </c:pt>
                <c:pt idx="90">
                  <c:v>6309573445</c:v>
                </c:pt>
                <c:pt idx="91">
                  <c:v>4570881896</c:v>
                </c:pt>
                <c:pt idx="92">
                  <c:v>3235936569</c:v>
                </c:pt>
                <c:pt idx="93">
                  <c:v>2754228703</c:v>
                </c:pt>
                <c:pt idx="94">
                  <c:v>1995262315</c:v>
                </c:pt>
                <c:pt idx="95">
                  <c:v>1412537545</c:v>
                </c:pt>
                <c:pt idx="96">
                  <c:v>6025595861</c:v>
                </c:pt>
                <c:pt idx="97">
                  <c:v>4265795188</c:v>
                </c:pt>
                <c:pt idx="98">
                  <c:v>1949844600</c:v>
                </c:pt>
                <c:pt idx="99">
                  <c:v>1000000000</c:v>
                </c:pt>
                <c:pt idx="100">
                  <c:v>5128613840</c:v>
                </c:pt>
                <c:pt idx="101">
                  <c:v>3235936569</c:v>
                </c:pt>
                <c:pt idx="102">
                  <c:v>2238721139</c:v>
                </c:pt>
                <c:pt idx="103">
                  <c:v>1412537545</c:v>
                </c:pt>
                <c:pt idx="104">
                  <c:v>1148153621</c:v>
                </c:pt>
                <c:pt idx="105">
                  <c:v>2754228703</c:v>
                </c:pt>
                <c:pt idx="106">
                  <c:v>2187761624</c:v>
                </c:pt>
                <c:pt idx="107">
                  <c:v>1202264435</c:v>
                </c:pt>
                <c:pt idx="108">
                  <c:v>2570395783</c:v>
                </c:pt>
                <c:pt idx="109">
                  <c:v>1995262315</c:v>
                </c:pt>
                <c:pt idx="110">
                  <c:v>1288249552</c:v>
                </c:pt>
                <c:pt idx="111">
                  <c:v>1122018454</c:v>
                </c:pt>
                <c:pt idx="112">
                  <c:v>891250938.10000002</c:v>
                </c:pt>
              </c:numCache>
            </c:numRef>
          </c:yVal>
          <c:smooth val="0"/>
          <c:extLst>
            <c:ext xmlns:c16="http://schemas.microsoft.com/office/drawing/2014/chart" uri="{C3380CC4-5D6E-409C-BE32-E72D297353CC}">
              <c16:uniqueId val="{00000000-B643-264D-8247-A1499BB301C9}"/>
            </c:ext>
          </c:extLst>
        </c:ser>
        <c:ser>
          <c:idx val="1"/>
          <c:order val="1"/>
          <c:spPr>
            <a:ln>
              <a:noFill/>
            </a:ln>
          </c:spPr>
          <c:marker>
            <c:symbol val="none"/>
          </c:marker>
          <c:xVal>
            <c:numRef>
              <c:f>Sheet1!$A$1:$A$115</c:f>
              <c:numCache>
                <c:formatCode>General</c:formatCode>
                <c:ptCount val="115"/>
                <c:pt idx="113">
                  <c:v>1970.43</c:v>
                </c:pt>
                <c:pt idx="114">
                  <c:v>2021.96</c:v>
                </c:pt>
              </c:numCache>
            </c:numRef>
          </c:xVal>
          <c:yVal>
            <c:numRef>
              <c:f>Sheet1!$C$1:$C$115</c:f>
              <c:numCache>
                <c:formatCode>General</c:formatCode>
                <c:ptCount val="115"/>
                <c:pt idx="113">
                  <c:v>1023.292992</c:v>
                </c:pt>
                <c:pt idx="114">
                  <c:v>69183097092</c:v>
                </c:pt>
              </c:numCache>
            </c:numRef>
          </c:yVal>
          <c:smooth val="0"/>
          <c:extLst>
            <c:ext xmlns:c16="http://schemas.microsoft.com/office/drawing/2014/chart" uri="{C3380CC4-5D6E-409C-BE32-E72D297353CC}">
              <c16:uniqueId val="{00000001-B643-264D-8247-A1499BB301C9}"/>
            </c:ext>
          </c:extLst>
        </c:ser>
        <c:dLbls>
          <c:showLegendKey val="0"/>
          <c:showVal val="0"/>
          <c:showCatName val="0"/>
          <c:showSerName val="0"/>
          <c:showPercent val="0"/>
          <c:showBubbleSize val="0"/>
        </c:dLbls>
        <c:axId val="885488799"/>
        <c:axId val="1"/>
      </c:scatterChart>
      <c:valAx>
        <c:axId val="885488799"/>
        <c:scaling>
          <c:orientation val="minMax"/>
          <c:max val="2022"/>
          <c:min val="1970.43"/>
        </c:scaling>
        <c:delete val="0"/>
        <c:axPos val="b"/>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1"/>
        <c:crosses val="min"/>
        <c:crossBetween val="midCat"/>
      </c:valAx>
      <c:valAx>
        <c:axId val="1"/>
        <c:scaling>
          <c:logBase val="10"/>
          <c:orientation val="minMax"/>
          <c:max val="1000000000000"/>
          <c:min val="1000"/>
        </c:scaling>
        <c:delete val="0"/>
        <c:axPos val="l"/>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885488799"/>
        <c:crosses val="min"/>
        <c:crossBetween val="midCat"/>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318210068365445E-2"/>
          <c:y val="3.1804281345565746E-2"/>
          <c:w val="0.93536357986326912"/>
          <c:h val="0.93639143730886854"/>
        </c:manualLayout>
      </c:layout>
      <c:barChart>
        <c:barDir val="col"/>
        <c:grouping val="stacked"/>
        <c:varyColors val="0"/>
        <c:ser>
          <c:idx val="0"/>
          <c:order val="0"/>
          <c:spPr>
            <a:solidFill>
              <a:srgbClr val="40B1C4"/>
            </a:solidFill>
            <a:ln>
              <a:noFill/>
            </a:ln>
          </c:spPr>
          <c:invertIfNegative val="0"/>
          <c:val>
            <c:numRef>
              <c:f>Sheet1!$A$1:$I$1</c:f>
              <c:numCache>
                <c:formatCode>General</c:formatCode>
                <c:ptCount val="9"/>
                <c:pt idx="0">
                  <c:v>204037.27252898822</c:v>
                </c:pt>
                <c:pt idx="1">
                  <c:v>184850.8203131583</c:v>
                </c:pt>
                <c:pt idx="2">
                  <c:v>153126.48580280709</c:v>
                </c:pt>
                <c:pt idx="3">
                  <c:v>184661.2173136957</c:v>
                </c:pt>
                <c:pt idx="4">
                  <c:v>217519.60873243594</c:v>
                </c:pt>
                <c:pt idx="5">
                  <c:v>232245.38336871765</c:v>
                </c:pt>
                <c:pt idx="6">
                  <c:v>218881.89986940497</c:v>
                </c:pt>
                <c:pt idx="8">
                  <c:v>286140.61097918579</c:v>
                </c:pt>
              </c:numCache>
            </c:numRef>
          </c:val>
          <c:extLst>
            <c:ext xmlns:c16="http://schemas.microsoft.com/office/drawing/2014/chart" uri="{C3380CC4-5D6E-409C-BE32-E72D297353CC}">
              <c16:uniqueId val="{00000000-D5DF-B141-8445-F8E0483E3BD4}"/>
            </c:ext>
          </c:extLst>
        </c:ser>
        <c:ser>
          <c:idx val="1"/>
          <c:order val="1"/>
          <c:spPr>
            <a:solidFill>
              <a:srgbClr val="44AA9B"/>
            </a:solidFill>
            <a:ln>
              <a:noFill/>
            </a:ln>
          </c:spPr>
          <c:invertIfNegative val="0"/>
          <c:val>
            <c:numRef>
              <c:f>Sheet1!$A$2:$I$2</c:f>
              <c:numCache>
                <c:formatCode>General</c:formatCode>
                <c:ptCount val="9"/>
                <c:pt idx="0">
                  <c:v>177672.8827953024</c:v>
                </c:pt>
                <c:pt idx="1">
                  <c:v>179341.89187966633</c:v>
                </c:pt>
                <c:pt idx="2">
                  <c:v>144687.66163422744</c:v>
                </c:pt>
                <c:pt idx="3">
                  <c:v>176363.35691136867</c:v>
                </c:pt>
                <c:pt idx="4">
                  <c:v>198303.67909831283</c:v>
                </c:pt>
                <c:pt idx="5">
                  <c:v>210130.06780907253</c:v>
                </c:pt>
                <c:pt idx="6">
                  <c:v>206332.97150012344</c:v>
                </c:pt>
                <c:pt idx="8">
                  <c:v>269259.7782807172</c:v>
                </c:pt>
              </c:numCache>
            </c:numRef>
          </c:val>
          <c:extLst>
            <c:ext xmlns:c16="http://schemas.microsoft.com/office/drawing/2014/chart" uri="{C3380CC4-5D6E-409C-BE32-E72D297353CC}">
              <c16:uniqueId val="{00000001-D5DF-B141-8445-F8E0483E3BD4}"/>
            </c:ext>
          </c:extLst>
        </c:ser>
        <c:ser>
          <c:idx val="2"/>
          <c:order val="2"/>
          <c:spPr>
            <a:solidFill>
              <a:srgbClr val="50A26E"/>
            </a:solidFill>
            <a:ln>
              <a:noFill/>
            </a:ln>
          </c:spPr>
          <c:invertIfNegative val="0"/>
          <c:val>
            <c:numRef>
              <c:f>Sheet1!$A$3:$I$3</c:f>
              <c:numCache>
                <c:formatCode>General</c:formatCode>
                <c:ptCount val="9"/>
                <c:pt idx="0">
                  <c:v>50735.270314177149</c:v>
                </c:pt>
                <c:pt idx="1">
                  <c:v>62803.001176119666</c:v>
                </c:pt>
                <c:pt idx="2">
                  <c:v>73736.894270845514</c:v>
                </c:pt>
                <c:pt idx="3">
                  <c:v>83301.414914271445</c:v>
                </c:pt>
                <c:pt idx="4">
                  <c:v>97262.439647010353</c:v>
                </c:pt>
                <c:pt idx="5">
                  <c:v>106856.85683905054</c:v>
                </c:pt>
                <c:pt idx="6">
                  <c:v>113620.58255769027</c:v>
                </c:pt>
                <c:pt idx="8">
                  <c:v>157139.77944091556</c:v>
                </c:pt>
              </c:numCache>
            </c:numRef>
          </c:val>
          <c:extLst>
            <c:ext xmlns:c16="http://schemas.microsoft.com/office/drawing/2014/chart" uri="{C3380CC4-5D6E-409C-BE32-E72D297353CC}">
              <c16:uniqueId val="{00000002-D5DF-B141-8445-F8E0483E3BD4}"/>
            </c:ext>
          </c:extLst>
        </c:ser>
        <c:ser>
          <c:idx val="3"/>
          <c:order val="3"/>
          <c:spPr>
            <a:solidFill>
              <a:srgbClr val="90AB30"/>
            </a:solidFill>
            <a:ln>
              <a:noFill/>
            </a:ln>
          </c:spPr>
          <c:invertIfNegative val="0"/>
          <c:val>
            <c:numRef>
              <c:f>Sheet1!$A$4:$I$4</c:f>
              <c:numCache>
                <c:formatCode>General</c:formatCode>
                <c:ptCount val="9"/>
                <c:pt idx="0">
                  <c:v>61356.753520491591</c:v>
                </c:pt>
                <c:pt idx="1">
                  <c:v>68530.000074836134</c:v>
                </c:pt>
                <c:pt idx="2">
                  <c:v>68816.277975995443</c:v>
                </c:pt>
                <c:pt idx="3">
                  <c:v>77989.164041785756</c:v>
                </c:pt>
                <c:pt idx="4">
                  <c:v>86541.067035686341</c:v>
                </c:pt>
                <c:pt idx="5">
                  <c:v>94976.933470848016</c:v>
                </c:pt>
                <c:pt idx="6">
                  <c:v>101889.93784214684</c:v>
                </c:pt>
                <c:pt idx="8">
                  <c:v>136760.72223658126</c:v>
                </c:pt>
              </c:numCache>
            </c:numRef>
          </c:val>
          <c:extLst>
            <c:ext xmlns:c16="http://schemas.microsoft.com/office/drawing/2014/chart" uri="{C3380CC4-5D6E-409C-BE32-E72D297353CC}">
              <c16:uniqueId val="{00000003-D5DF-B141-8445-F8E0483E3BD4}"/>
            </c:ext>
          </c:extLst>
        </c:ser>
        <c:ser>
          <c:idx val="4"/>
          <c:order val="4"/>
          <c:spPr>
            <a:solidFill>
              <a:srgbClr val="C4C013"/>
            </a:solidFill>
            <a:ln>
              <a:noFill/>
            </a:ln>
          </c:spPr>
          <c:invertIfNegative val="0"/>
          <c:val>
            <c:numRef>
              <c:f>Sheet1!$A$5:$I$5</c:f>
              <c:numCache>
                <c:formatCode>General</c:formatCode>
                <c:ptCount val="9"/>
                <c:pt idx="0">
                  <c:v>62677.148170425615</c:v>
                </c:pt>
                <c:pt idx="1">
                  <c:v>62067.23263304506</c:v>
                </c:pt>
                <c:pt idx="2">
                  <c:v>55346.016860825068</c:v>
                </c:pt>
                <c:pt idx="3">
                  <c:v>63517.284991438151</c:v>
                </c:pt>
                <c:pt idx="4">
                  <c:v>68152.552992750891</c:v>
                </c:pt>
                <c:pt idx="5">
                  <c:v>69964.224556622328</c:v>
                </c:pt>
                <c:pt idx="6">
                  <c:v>70309.7574952594</c:v>
                </c:pt>
                <c:pt idx="8">
                  <c:v>84132.253499320243</c:v>
                </c:pt>
              </c:numCache>
            </c:numRef>
          </c:val>
          <c:extLst>
            <c:ext xmlns:c16="http://schemas.microsoft.com/office/drawing/2014/chart" uri="{C3380CC4-5D6E-409C-BE32-E72D297353CC}">
              <c16:uniqueId val="{00000004-D5DF-B141-8445-F8E0483E3BD4}"/>
            </c:ext>
          </c:extLst>
        </c:ser>
        <c:dLbls>
          <c:showLegendKey val="0"/>
          <c:showVal val="0"/>
          <c:showCatName val="0"/>
          <c:showSerName val="0"/>
          <c:showPercent val="0"/>
          <c:showBubbleSize val="0"/>
        </c:dLbls>
        <c:gapWidth val="60"/>
        <c:overlap val="100"/>
        <c:axId val="1332581711"/>
        <c:axId val="1"/>
      </c:barChart>
      <c:catAx>
        <c:axId val="1332581711"/>
        <c:scaling>
          <c:orientation val="minMax"/>
        </c:scaling>
        <c:delete val="0"/>
        <c:axPos val="b"/>
        <c:majorGridlines>
          <c:spPr>
            <a:ln>
              <a:noFill/>
            </a:ln>
          </c:spPr>
        </c:majorGridlines>
        <c:majorTickMark val="out"/>
        <c:minorTickMark val="none"/>
        <c:tickLblPos val="none"/>
        <c:spPr>
          <a:ln w="9525" cmpd="sng" algn="ctr">
            <a:solidFill>
              <a:srgbClr val="7F7F7F"/>
            </a:solidFill>
            <a:prstDash val="solid"/>
          </a:ln>
        </c:spPr>
        <c:txPr>
          <a:bodyPr wrap="none"/>
          <a:lstStyle/>
          <a:p>
            <a:pPr>
              <a:defRPr sz="600" kern="1200">
                <a:latin typeface="+mj-lt"/>
                <a:ea typeface="+mj-ea"/>
                <a:cs typeface="+mj-cs"/>
                <a:sym typeface="Arial"/>
              </a:defRPr>
            </a:pPr>
            <a:endParaRPr lang="fi-FI"/>
          </a:p>
        </c:txPr>
        <c:crossAx val="1"/>
        <c:crosses val="min"/>
        <c:auto val="0"/>
        <c:lblAlgn val="ctr"/>
        <c:lblOffset val="100"/>
        <c:noMultiLvlLbl val="0"/>
      </c:catAx>
      <c:valAx>
        <c:axId val="1"/>
        <c:scaling>
          <c:orientation val="minMax"/>
          <c:max val="1000000"/>
          <c:min val="0"/>
        </c:scaling>
        <c:delete val="0"/>
        <c:axPos val="l"/>
        <c:majorGridlines>
          <c:spPr>
            <a:ln>
              <a:noFill/>
            </a:ln>
          </c:spPr>
        </c:majorGridlines>
        <c:numFmt formatCode="General" sourceLinked="1"/>
        <c:majorTickMark val="out"/>
        <c:minorTickMark val="none"/>
        <c:tickLblPos val="none"/>
        <c:spPr>
          <a:ln w="9525" cmpd="sng" algn="ctr">
            <a:solidFill>
              <a:srgbClr val="7F7F7F"/>
            </a:solidFill>
            <a:prstDash val="solid"/>
          </a:ln>
        </c:spPr>
        <c:txPr>
          <a:bodyPr wrap="none"/>
          <a:lstStyle/>
          <a:p>
            <a:pPr>
              <a:defRPr sz="600" kern="1200">
                <a:latin typeface="+mn-lt"/>
                <a:ea typeface="+mj-ea"/>
                <a:cs typeface="+mj-cs"/>
                <a:sym typeface="Arial"/>
              </a:defRPr>
            </a:pPr>
            <a:endParaRPr lang="fi-FI"/>
          </a:p>
        </c:txPr>
        <c:crossAx val="1332581711"/>
        <c:crosses val="min"/>
        <c:crossBetween val="between"/>
        <c:majorUnit val="100000"/>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1306805827353772E-2"/>
          <c:y val="2.009273570324575E-2"/>
          <c:w val="0.97738638834529246"/>
          <c:h val="0.95131375579598143"/>
        </c:manualLayout>
      </c:layout>
      <c:bubbleChart>
        <c:varyColors val="0"/>
        <c:ser>
          <c:idx val="0"/>
          <c:order val="0"/>
          <c:spPr>
            <a:solidFill>
              <a:srgbClr val="324E27"/>
            </a:solidFill>
            <a:ln>
              <a:noFill/>
            </a:ln>
          </c:spPr>
          <c:invertIfNegative val="0"/>
          <c:dPt>
            <c:idx val="0"/>
            <c:invertIfNegative val="0"/>
            <c:bubble3D val="0"/>
            <c:spPr>
              <a:solidFill>
                <a:srgbClr val="619B42"/>
              </a:solidFill>
              <a:ln>
                <a:noFill/>
              </a:ln>
            </c:spPr>
            <c:extLst>
              <c:ext xmlns:c16="http://schemas.microsoft.com/office/drawing/2014/chart" uri="{C3380CC4-5D6E-409C-BE32-E72D297353CC}">
                <c16:uniqueId val="{00000000-13CB-7B47-A244-3DC9C60D5646}"/>
              </c:ext>
            </c:extLst>
          </c:dPt>
          <c:dPt>
            <c:idx val="1"/>
            <c:invertIfNegative val="0"/>
            <c:bubble3D val="0"/>
            <c:spPr>
              <a:solidFill>
                <a:srgbClr val="6FDD85"/>
              </a:solidFill>
              <a:ln>
                <a:noFill/>
              </a:ln>
            </c:spPr>
            <c:extLst>
              <c:ext xmlns:c16="http://schemas.microsoft.com/office/drawing/2014/chart" uri="{C3380CC4-5D6E-409C-BE32-E72D297353CC}">
                <c16:uniqueId val="{00000001-13CB-7B47-A244-3DC9C60D5646}"/>
              </c:ext>
            </c:extLst>
          </c:dPt>
          <c:dPt>
            <c:idx val="2"/>
            <c:invertIfNegative val="0"/>
            <c:bubble3D val="0"/>
            <c:extLst>
              <c:ext xmlns:c16="http://schemas.microsoft.com/office/drawing/2014/chart" uri="{C3380CC4-5D6E-409C-BE32-E72D297353CC}">
                <c16:uniqueId val="{00000002-13CB-7B47-A244-3DC9C60D5646}"/>
              </c:ext>
            </c:extLst>
          </c:dPt>
          <c:dPt>
            <c:idx val="3"/>
            <c:invertIfNegative val="0"/>
            <c:bubble3D val="0"/>
            <c:extLst>
              <c:ext xmlns:c16="http://schemas.microsoft.com/office/drawing/2014/chart" uri="{C3380CC4-5D6E-409C-BE32-E72D297353CC}">
                <c16:uniqueId val="{00000003-13CB-7B47-A244-3DC9C60D5646}"/>
              </c:ext>
            </c:extLst>
          </c:dPt>
          <c:dPt>
            <c:idx val="4"/>
            <c:invertIfNegative val="0"/>
            <c:bubble3D val="0"/>
            <c:spPr>
              <a:solidFill>
                <a:srgbClr val="6FDD85"/>
              </a:solidFill>
              <a:ln>
                <a:noFill/>
              </a:ln>
            </c:spPr>
            <c:extLst>
              <c:ext xmlns:c16="http://schemas.microsoft.com/office/drawing/2014/chart" uri="{C3380CC4-5D6E-409C-BE32-E72D297353CC}">
                <c16:uniqueId val="{00000004-13CB-7B47-A244-3DC9C60D5646}"/>
              </c:ext>
            </c:extLst>
          </c:dPt>
          <c:xVal>
            <c:numRef>
              <c:f>Sheet1!$A$1:$A$15</c:f>
              <c:numCache>
                <c:formatCode>General</c:formatCode>
                <c:ptCount val="15"/>
                <c:pt idx="0">
                  <c:v>1</c:v>
                </c:pt>
                <c:pt idx="1">
                  <c:v>1</c:v>
                </c:pt>
                <c:pt idx="2">
                  <c:v>1</c:v>
                </c:pt>
                <c:pt idx="3">
                  <c:v>1</c:v>
                </c:pt>
                <c:pt idx="4">
                  <c:v>1</c:v>
                </c:pt>
              </c:numCache>
            </c:numRef>
          </c:xVal>
          <c:yVal>
            <c:numRef>
              <c:f>Sheet1!$B$1:$B$15</c:f>
              <c:numCache>
                <c:formatCode>General</c:formatCode>
                <c:ptCount val="15"/>
                <c:pt idx="0">
                  <c:v>5</c:v>
                </c:pt>
                <c:pt idx="1">
                  <c:v>4</c:v>
                </c:pt>
                <c:pt idx="2">
                  <c:v>3</c:v>
                </c:pt>
                <c:pt idx="3">
                  <c:v>2</c:v>
                </c:pt>
                <c:pt idx="4">
                  <c:v>1</c:v>
                </c:pt>
              </c:numCache>
            </c:numRef>
          </c:yVal>
          <c:bubbleSize>
            <c:numRef>
              <c:f>Sheet1!$C$1:$C$15</c:f>
              <c:numCache>
                <c:formatCode>General</c:formatCode>
                <c:ptCount val="15"/>
                <c:pt idx="0">
                  <c:v>89645.49</c:v>
                </c:pt>
                <c:pt idx="1">
                  <c:v>51376.920000000006</c:v>
                </c:pt>
                <c:pt idx="2">
                  <c:v>21206.79</c:v>
                </c:pt>
                <c:pt idx="3">
                  <c:v>19953.150000000001</c:v>
                </c:pt>
                <c:pt idx="4">
                  <c:v>25694.04</c:v>
                </c:pt>
              </c:numCache>
            </c:numRef>
          </c:bubbleSize>
          <c:bubble3D val="0"/>
          <c:extLst>
            <c:ext xmlns:c16="http://schemas.microsoft.com/office/drawing/2014/chart" uri="{C3380CC4-5D6E-409C-BE32-E72D297353CC}">
              <c16:uniqueId val="{00000005-13CB-7B47-A244-3DC9C60D5646}"/>
            </c:ext>
          </c:extLst>
        </c:ser>
        <c:ser>
          <c:idx val="1"/>
          <c:order val="1"/>
          <c:spPr>
            <a:solidFill>
              <a:srgbClr val="324E27"/>
            </a:solidFill>
            <a:ln>
              <a:noFill/>
            </a:ln>
          </c:spPr>
          <c:invertIfNegative val="0"/>
          <c:dPt>
            <c:idx val="5"/>
            <c:invertIfNegative val="0"/>
            <c:bubble3D val="0"/>
            <c:spPr>
              <a:solidFill>
                <a:srgbClr val="619B42"/>
              </a:solidFill>
              <a:ln>
                <a:noFill/>
              </a:ln>
            </c:spPr>
            <c:extLst>
              <c:ext xmlns:c16="http://schemas.microsoft.com/office/drawing/2014/chart" uri="{C3380CC4-5D6E-409C-BE32-E72D297353CC}">
                <c16:uniqueId val="{00000006-13CB-7B47-A244-3DC9C60D5646}"/>
              </c:ext>
            </c:extLst>
          </c:dPt>
          <c:dPt>
            <c:idx val="6"/>
            <c:invertIfNegative val="0"/>
            <c:bubble3D val="0"/>
            <c:spPr>
              <a:solidFill>
                <a:srgbClr val="619B42"/>
              </a:solidFill>
              <a:ln>
                <a:noFill/>
              </a:ln>
            </c:spPr>
            <c:extLst>
              <c:ext xmlns:c16="http://schemas.microsoft.com/office/drawing/2014/chart" uri="{C3380CC4-5D6E-409C-BE32-E72D297353CC}">
                <c16:uniqueId val="{00000007-13CB-7B47-A244-3DC9C60D5646}"/>
              </c:ext>
            </c:extLst>
          </c:dPt>
          <c:dPt>
            <c:idx val="7"/>
            <c:invertIfNegative val="0"/>
            <c:bubble3D val="0"/>
            <c:extLst>
              <c:ext xmlns:c16="http://schemas.microsoft.com/office/drawing/2014/chart" uri="{C3380CC4-5D6E-409C-BE32-E72D297353CC}">
                <c16:uniqueId val="{00000008-13CB-7B47-A244-3DC9C60D5646}"/>
              </c:ext>
            </c:extLst>
          </c:dPt>
          <c:dPt>
            <c:idx val="8"/>
            <c:invertIfNegative val="0"/>
            <c:bubble3D val="0"/>
            <c:extLst>
              <c:ext xmlns:c16="http://schemas.microsoft.com/office/drawing/2014/chart" uri="{C3380CC4-5D6E-409C-BE32-E72D297353CC}">
                <c16:uniqueId val="{00000009-13CB-7B47-A244-3DC9C60D5646}"/>
              </c:ext>
            </c:extLst>
          </c:dPt>
          <c:dPt>
            <c:idx val="9"/>
            <c:invertIfNegative val="0"/>
            <c:bubble3D val="0"/>
            <c:spPr>
              <a:solidFill>
                <a:srgbClr val="6FDD85"/>
              </a:solidFill>
              <a:ln>
                <a:noFill/>
              </a:ln>
            </c:spPr>
            <c:extLst>
              <c:ext xmlns:c16="http://schemas.microsoft.com/office/drawing/2014/chart" uri="{C3380CC4-5D6E-409C-BE32-E72D297353CC}">
                <c16:uniqueId val="{0000000A-13CB-7B47-A244-3DC9C60D5646}"/>
              </c:ext>
            </c:extLst>
          </c:dPt>
          <c:xVal>
            <c:numRef>
              <c:f>Sheet1!$A$1:$A$15</c:f>
              <c:numCache>
                <c:formatCode>General</c:formatCode>
                <c:ptCount val="15"/>
                <c:pt idx="5">
                  <c:v>2</c:v>
                </c:pt>
                <c:pt idx="6">
                  <c:v>2</c:v>
                </c:pt>
                <c:pt idx="7">
                  <c:v>2</c:v>
                </c:pt>
                <c:pt idx="8">
                  <c:v>2</c:v>
                </c:pt>
                <c:pt idx="9">
                  <c:v>2</c:v>
                </c:pt>
              </c:numCache>
            </c:numRef>
          </c:xVal>
          <c:yVal>
            <c:numRef>
              <c:f>Sheet1!$D$1:$D$15</c:f>
              <c:numCache>
                <c:formatCode>General</c:formatCode>
                <c:ptCount val="15"/>
                <c:pt idx="5">
                  <c:v>5</c:v>
                </c:pt>
                <c:pt idx="6">
                  <c:v>4</c:v>
                </c:pt>
                <c:pt idx="7">
                  <c:v>3</c:v>
                </c:pt>
                <c:pt idx="8">
                  <c:v>2</c:v>
                </c:pt>
                <c:pt idx="9">
                  <c:v>1</c:v>
                </c:pt>
              </c:numCache>
            </c:numRef>
          </c:yVal>
          <c:bubbleSize>
            <c:numRef>
              <c:f>Sheet1!$E$1:$E$15</c:f>
              <c:numCache>
                <c:formatCode>General</c:formatCode>
                <c:ptCount val="15"/>
                <c:pt idx="5">
                  <c:v>64014.690006455152</c:v>
                </c:pt>
                <c:pt idx="6">
                  <c:v>45277.980013708198</c:v>
                </c:pt>
                <c:pt idx="7">
                  <c:v>4621.1700008583884</c:v>
                </c:pt>
                <c:pt idx="8">
                  <c:v>5638.5901068439789</c:v>
                </c:pt>
                <c:pt idx="9">
                  <c:v>13600.320006702514</c:v>
                </c:pt>
              </c:numCache>
            </c:numRef>
          </c:bubbleSize>
          <c:bubble3D val="0"/>
          <c:extLst>
            <c:ext xmlns:c16="http://schemas.microsoft.com/office/drawing/2014/chart" uri="{C3380CC4-5D6E-409C-BE32-E72D297353CC}">
              <c16:uniqueId val="{0000000B-13CB-7B47-A244-3DC9C60D5646}"/>
            </c:ext>
          </c:extLst>
        </c:ser>
        <c:ser>
          <c:idx val="2"/>
          <c:order val="2"/>
          <c:spPr>
            <a:solidFill>
              <a:srgbClr val="619B42"/>
            </a:solidFill>
            <a:ln>
              <a:noFill/>
            </a:ln>
          </c:spPr>
          <c:invertIfNegative val="0"/>
          <c:dPt>
            <c:idx val="10"/>
            <c:invertIfNegative val="0"/>
            <c:bubble3D val="0"/>
            <c:extLst>
              <c:ext xmlns:c16="http://schemas.microsoft.com/office/drawing/2014/chart" uri="{C3380CC4-5D6E-409C-BE32-E72D297353CC}">
                <c16:uniqueId val="{0000000C-13CB-7B47-A244-3DC9C60D5646}"/>
              </c:ext>
            </c:extLst>
          </c:dPt>
          <c:dPt>
            <c:idx val="11"/>
            <c:invertIfNegative val="0"/>
            <c:bubble3D val="0"/>
            <c:extLst>
              <c:ext xmlns:c16="http://schemas.microsoft.com/office/drawing/2014/chart" uri="{C3380CC4-5D6E-409C-BE32-E72D297353CC}">
                <c16:uniqueId val="{0000000D-13CB-7B47-A244-3DC9C60D5646}"/>
              </c:ext>
            </c:extLst>
          </c:dPt>
          <c:dPt>
            <c:idx val="12"/>
            <c:invertIfNegative val="0"/>
            <c:bubble3D val="0"/>
            <c:spPr>
              <a:solidFill>
                <a:srgbClr val="324E27"/>
              </a:solidFill>
              <a:ln>
                <a:noFill/>
              </a:ln>
            </c:spPr>
            <c:extLst>
              <c:ext xmlns:c16="http://schemas.microsoft.com/office/drawing/2014/chart" uri="{C3380CC4-5D6E-409C-BE32-E72D297353CC}">
                <c16:uniqueId val="{0000000E-13CB-7B47-A244-3DC9C60D5646}"/>
              </c:ext>
            </c:extLst>
          </c:dPt>
          <c:xVal>
            <c:numRef>
              <c:f>Sheet1!$A$1:$A$15</c:f>
              <c:numCache>
                <c:formatCode>General</c:formatCode>
                <c:ptCount val="15"/>
                <c:pt idx="10">
                  <c:v>3</c:v>
                </c:pt>
                <c:pt idx="11">
                  <c:v>3</c:v>
                </c:pt>
                <c:pt idx="12">
                  <c:v>3</c:v>
                </c:pt>
                <c:pt idx="13">
                  <c:v>3</c:v>
                </c:pt>
                <c:pt idx="14">
                  <c:v>3</c:v>
                </c:pt>
              </c:numCache>
            </c:numRef>
          </c:xVal>
          <c:yVal>
            <c:numRef>
              <c:f>Sheet1!$F$1:$F$15</c:f>
              <c:numCache>
                <c:formatCode>General</c:formatCode>
                <c:ptCount val="15"/>
                <c:pt idx="10">
                  <c:v>5</c:v>
                </c:pt>
                <c:pt idx="11">
                  <c:v>4</c:v>
                </c:pt>
                <c:pt idx="12">
                  <c:v>3</c:v>
                </c:pt>
                <c:pt idx="13">
                  <c:v>2</c:v>
                </c:pt>
                <c:pt idx="14">
                  <c:v>1</c:v>
                </c:pt>
              </c:numCache>
            </c:numRef>
          </c:yVal>
          <c:bubbleSize>
            <c:numRef>
              <c:f>Sheet1!$G$1:$G$15</c:f>
              <c:numCache>
                <c:formatCode>General</c:formatCode>
                <c:ptCount val="15"/>
                <c:pt idx="10">
                  <c:v>31191.007838206511</c:v>
                </c:pt>
                <c:pt idx="11">
                  <c:v>82686.956060889162</c:v>
                </c:pt>
                <c:pt idx="12">
                  <c:v>36975.041246217457</c:v>
                </c:pt>
                <c:pt idx="13">
                  <c:v>42938.696561469304</c:v>
                </c:pt>
                <c:pt idx="14">
                  <c:v>22772.922750488695</c:v>
                </c:pt>
              </c:numCache>
            </c:numRef>
          </c:bubbleSize>
          <c:bubble3D val="0"/>
          <c:extLst>
            <c:ext xmlns:c16="http://schemas.microsoft.com/office/drawing/2014/chart" uri="{C3380CC4-5D6E-409C-BE32-E72D297353CC}">
              <c16:uniqueId val="{0000000F-13CB-7B47-A244-3DC9C60D5646}"/>
            </c:ext>
          </c:extLst>
        </c:ser>
        <c:dLbls>
          <c:showLegendKey val="0"/>
          <c:showVal val="0"/>
          <c:showCatName val="0"/>
          <c:showSerName val="0"/>
          <c:showPercent val="0"/>
          <c:showBubbleSize val="0"/>
        </c:dLbls>
        <c:bubbleScale val="36"/>
        <c:showNegBubbles val="0"/>
        <c:axId val="1031266863"/>
        <c:axId val="1"/>
      </c:bubbleChart>
      <c:valAx>
        <c:axId val="1031266863"/>
        <c:scaling>
          <c:orientation val="minMax"/>
          <c:max val="3.5"/>
          <c:min val="0.5"/>
        </c:scaling>
        <c:delete val="1"/>
        <c:axPos val="b"/>
        <c:numFmt formatCode="General" sourceLinked="1"/>
        <c:majorTickMark val="out"/>
        <c:minorTickMark val="none"/>
        <c:tickLblPos val="nextTo"/>
        <c:crossAx val="1"/>
        <c:crosses val="min"/>
        <c:crossBetween val="midCat"/>
      </c:valAx>
      <c:valAx>
        <c:axId val="1"/>
        <c:scaling>
          <c:orientation val="minMax"/>
          <c:max val="6"/>
          <c:min val="0"/>
        </c:scaling>
        <c:delete val="1"/>
        <c:axPos val="l"/>
        <c:numFmt formatCode="General" sourceLinked="1"/>
        <c:majorTickMark val="out"/>
        <c:minorTickMark val="none"/>
        <c:tickLblPos val="nextTo"/>
        <c:crossAx val="1031266863"/>
        <c:crosses val="min"/>
        <c:crossBetween val="midCat"/>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870365430781541E-2"/>
          <c:y val="2.4355971896955503E-2"/>
          <c:w val="0.97225926913843697"/>
          <c:h val="0.94051522248243558"/>
        </c:manualLayout>
      </c:layout>
      <c:bubbleChart>
        <c:varyColors val="0"/>
        <c:ser>
          <c:idx val="0"/>
          <c:order val="0"/>
          <c:spPr>
            <a:solidFill>
              <a:srgbClr val="3078B3"/>
            </a:solidFill>
            <a:ln>
              <a:noFill/>
            </a:ln>
          </c:spPr>
          <c:invertIfNegative val="0"/>
          <c:xVal>
            <c:numRef>
              <c:f>Sheet1!$A$1:$A$25</c:f>
              <c:numCache>
                <c:formatCode>General</c:formatCode>
                <c:ptCount val="25"/>
                <c:pt idx="0">
                  <c:v>1</c:v>
                </c:pt>
                <c:pt idx="1">
                  <c:v>1</c:v>
                </c:pt>
                <c:pt idx="2">
                  <c:v>1</c:v>
                </c:pt>
                <c:pt idx="3">
                  <c:v>1</c:v>
                </c:pt>
                <c:pt idx="4">
                  <c:v>1</c:v>
                </c:pt>
              </c:numCache>
            </c:numRef>
          </c:xVal>
          <c:yVal>
            <c:numRef>
              <c:f>Sheet1!$B$1:$B$25</c:f>
              <c:numCache>
                <c:formatCode>General</c:formatCode>
                <c:ptCount val="25"/>
                <c:pt idx="0">
                  <c:v>5</c:v>
                </c:pt>
                <c:pt idx="1">
                  <c:v>4</c:v>
                </c:pt>
                <c:pt idx="2">
                  <c:v>3</c:v>
                </c:pt>
                <c:pt idx="3">
                  <c:v>2</c:v>
                </c:pt>
                <c:pt idx="4">
                  <c:v>1</c:v>
                </c:pt>
              </c:numCache>
            </c:numRef>
          </c:yVal>
          <c:bubbleSize>
            <c:numRef>
              <c:f>Sheet1!$C$1:$C$25</c:f>
              <c:numCache>
                <c:formatCode>General</c:formatCode>
                <c:ptCount val="25"/>
                <c:pt idx="0">
                  <c:v>15</c:v>
                </c:pt>
                <c:pt idx="1">
                  <c:v>0</c:v>
                </c:pt>
                <c:pt idx="2">
                  <c:v>0</c:v>
                </c:pt>
                <c:pt idx="3">
                  <c:v>55</c:v>
                </c:pt>
                <c:pt idx="4">
                  <c:v>15</c:v>
                </c:pt>
              </c:numCache>
            </c:numRef>
          </c:bubbleSize>
          <c:bubble3D val="0"/>
          <c:extLst>
            <c:ext xmlns:c16="http://schemas.microsoft.com/office/drawing/2014/chart" uri="{C3380CC4-5D6E-409C-BE32-E72D297353CC}">
              <c16:uniqueId val="{00000000-66F0-7546-BF9F-2A486E4F1F70}"/>
            </c:ext>
          </c:extLst>
        </c:ser>
        <c:ser>
          <c:idx val="1"/>
          <c:order val="1"/>
          <c:spPr>
            <a:solidFill>
              <a:srgbClr val="3078B3"/>
            </a:solidFill>
            <a:ln>
              <a:noFill/>
            </a:ln>
          </c:spPr>
          <c:invertIfNegative val="0"/>
          <c:xVal>
            <c:numRef>
              <c:f>Sheet1!$A$1:$A$25</c:f>
              <c:numCache>
                <c:formatCode>General</c:formatCode>
                <c:ptCount val="25"/>
                <c:pt idx="5">
                  <c:v>2</c:v>
                </c:pt>
                <c:pt idx="6">
                  <c:v>2</c:v>
                </c:pt>
                <c:pt idx="7">
                  <c:v>2</c:v>
                </c:pt>
                <c:pt idx="8">
                  <c:v>2</c:v>
                </c:pt>
                <c:pt idx="9">
                  <c:v>2</c:v>
                </c:pt>
              </c:numCache>
            </c:numRef>
          </c:xVal>
          <c:yVal>
            <c:numRef>
              <c:f>Sheet1!$D$1:$D$25</c:f>
              <c:numCache>
                <c:formatCode>General</c:formatCode>
                <c:ptCount val="25"/>
                <c:pt idx="5">
                  <c:v>5</c:v>
                </c:pt>
                <c:pt idx="6">
                  <c:v>4</c:v>
                </c:pt>
                <c:pt idx="7">
                  <c:v>3</c:v>
                </c:pt>
                <c:pt idx="8">
                  <c:v>2</c:v>
                </c:pt>
                <c:pt idx="9">
                  <c:v>1</c:v>
                </c:pt>
              </c:numCache>
            </c:numRef>
          </c:yVal>
          <c:bubbleSize>
            <c:numRef>
              <c:f>Sheet1!$E$1:$E$25</c:f>
              <c:numCache>
                <c:formatCode>General</c:formatCode>
                <c:ptCount val="25"/>
                <c:pt idx="5">
                  <c:v>0</c:v>
                </c:pt>
                <c:pt idx="6">
                  <c:v>410</c:v>
                </c:pt>
                <c:pt idx="7">
                  <c:v>5</c:v>
                </c:pt>
                <c:pt idx="8">
                  <c:v>20</c:v>
                </c:pt>
                <c:pt idx="9">
                  <c:v>80</c:v>
                </c:pt>
              </c:numCache>
            </c:numRef>
          </c:bubbleSize>
          <c:bubble3D val="0"/>
          <c:extLst>
            <c:ext xmlns:c16="http://schemas.microsoft.com/office/drawing/2014/chart" uri="{C3380CC4-5D6E-409C-BE32-E72D297353CC}">
              <c16:uniqueId val="{00000001-66F0-7546-BF9F-2A486E4F1F70}"/>
            </c:ext>
          </c:extLst>
        </c:ser>
        <c:ser>
          <c:idx val="2"/>
          <c:order val="2"/>
          <c:spPr>
            <a:solidFill>
              <a:srgbClr val="3078B3"/>
            </a:solidFill>
            <a:ln>
              <a:noFill/>
            </a:ln>
          </c:spPr>
          <c:invertIfNegative val="0"/>
          <c:xVal>
            <c:numRef>
              <c:f>Sheet1!$A$1:$A$25</c:f>
              <c:numCache>
                <c:formatCode>General</c:formatCode>
                <c:ptCount val="25"/>
                <c:pt idx="10">
                  <c:v>3</c:v>
                </c:pt>
                <c:pt idx="11">
                  <c:v>3</c:v>
                </c:pt>
                <c:pt idx="12">
                  <c:v>3</c:v>
                </c:pt>
                <c:pt idx="13">
                  <c:v>3</c:v>
                </c:pt>
                <c:pt idx="14">
                  <c:v>3</c:v>
                </c:pt>
              </c:numCache>
            </c:numRef>
          </c:xVal>
          <c:yVal>
            <c:numRef>
              <c:f>Sheet1!$F$1:$F$25</c:f>
              <c:numCache>
                <c:formatCode>General</c:formatCode>
                <c:ptCount val="25"/>
                <c:pt idx="10">
                  <c:v>5</c:v>
                </c:pt>
                <c:pt idx="11">
                  <c:v>4</c:v>
                </c:pt>
                <c:pt idx="12">
                  <c:v>3</c:v>
                </c:pt>
                <c:pt idx="13">
                  <c:v>2</c:v>
                </c:pt>
                <c:pt idx="14">
                  <c:v>1</c:v>
                </c:pt>
              </c:numCache>
            </c:numRef>
          </c:yVal>
          <c:bubbleSize>
            <c:numRef>
              <c:f>Sheet1!$G$1:$G$25</c:f>
              <c:numCache>
                <c:formatCode>General</c:formatCode>
                <c:ptCount val="25"/>
                <c:pt idx="10">
                  <c:v>0</c:v>
                </c:pt>
                <c:pt idx="11">
                  <c:v>240</c:v>
                </c:pt>
                <c:pt idx="12">
                  <c:v>50</c:v>
                </c:pt>
                <c:pt idx="13">
                  <c:v>73</c:v>
                </c:pt>
                <c:pt idx="14">
                  <c:v>10</c:v>
                </c:pt>
              </c:numCache>
            </c:numRef>
          </c:bubbleSize>
          <c:bubble3D val="0"/>
          <c:extLst>
            <c:ext xmlns:c16="http://schemas.microsoft.com/office/drawing/2014/chart" uri="{C3380CC4-5D6E-409C-BE32-E72D297353CC}">
              <c16:uniqueId val="{00000002-66F0-7546-BF9F-2A486E4F1F70}"/>
            </c:ext>
          </c:extLst>
        </c:ser>
        <c:ser>
          <c:idx val="3"/>
          <c:order val="3"/>
          <c:spPr>
            <a:solidFill>
              <a:srgbClr val="3078B3"/>
            </a:solidFill>
            <a:ln>
              <a:noFill/>
            </a:ln>
          </c:spPr>
          <c:invertIfNegative val="0"/>
          <c:xVal>
            <c:numRef>
              <c:f>Sheet1!$A$1:$A$25</c:f>
              <c:numCache>
                <c:formatCode>General</c:formatCode>
                <c:ptCount val="25"/>
                <c:pt idx="15">
                  <c:v>4</c:v>
                </c:pt>
                <c:pt idx="16">
                  <c:v>4</c:v>
                </c:pt>
                <c:pt idx="17">
                  <c:v>4</c:v>
                </c:pt>
                <c:pt idx="18">
                  <c:v>4</c:v>
                </c:pt>
                <c:pt idx="19">
                  <c:v>4</c:v>
                </c:pt>
              </c:numCache>
            </c:numRef>
          </c:xVal>
          <c:yVal>
            <c:numRef>
              <c:f>Sheet1!$H$1:$H$25</c:f>
              <c:numCache>
                <c:formatCode>General</c:formatCode>
                <c:ptCount val="25"/>
                <c:pt idx="15">
                  <c:v>5</c:v>
                </c:pt>
                <c:pt idx="16">
                  <c:v>4</c:v>
                </c:pt>
                <c:pt idx="17">
                  <c:v>3</c:v>
                </c:pt>
                <c:pt idx="18">
                  <c:v>2</c:v>
                </c:pt>
                <c:pt idx="19">
                  <c:v>1</c:v>
                </c:pt>
              </c:numCache>
            </c:numRef>
          </c:yVal>
          <c:bubbleSize>
            <c:numRef>
              <c:f>Sheet1!$I$1:$I$25</c:f>
              <c:numCache>
                <c:formatCode>General</c:formatCode>
                <c:ptCount val="25"/>
                <c:pt idx="15">
                  <c:v>325</c:v>
                </c:pt>
                <c:pt idx="16">
                  <c:v>5</c:v>
                </c:pt>
                <c:pt idx="17">
                  <c:v>0</c:v>
                </c:pt>
                <c:pt idx="18">
                  <c:v>20</c:v>
                </c:pt>
                <c:pt idx="19">
                  <c:v>75</c:v>
                </c:pt>
              </c:numCache>
            </c:numRef>
          </c:bubbleSize>
          <c:bubble3D val="0"/>
          <c:extLst>
            <c:ext xmlns:c16="http://schemas.microsoft.com/office/drawing/2014/chart" uri="{C3380CC4-5D6E-409C-BE32-E72D297353CC}">
              <c16:uniqueId val="{00000003-66F0-7546-BF9F-2A486E4F1F70}"/>
            </c:ext>
          </c:extLst>
        </c:ser>
        <c:ser>
          <c:idx val="4"/>
          <c:order val="4"/>
          <c:spPr>
            <a:solidFill>
              <a:srgbClr val="3078B3"/>
            </a:solidFill>
            <a:ln>
              <a:noFill/>
            </a:ln>
          </c:spPr>
          <c:invertIfNegative val="0"/>
          <c:xVal>
            <c:numRef>
              <c:f>Sheet1!$A$1:$A$25</c:f>
              <c:numCache>
                <c:formatCode>General</c:formatCode>
                <c:ptCount val="25"/>
                <c:pt idx="20">
                  <c:v>5</c:v>
                </c:pt>
                <c:pt idx="21">
                  <c:v>5</c:v>
                </c:pt>
                <c:pt idx="22">
                  <c:v>5</c:v>
                </c:pt>
                <c:pt idx="23">
                  <c:v>5</c:v>
                </c:pt>
                <c:pt idx="24">
                  <c:v>5</c:v>
                </c:pt>
              </c:numCache>
            </c:numRef>
          </c:xVal>
          <c:yVal>
            <c:numRef>
              <c:f>Sheet1!$J$1:$J$25</c:f>
              <c:numCache>
                <c:formatCode>General</c:formatCode>
                <c:ptCount val="25"/>
                <c:pt idx="20">
                  <c:v>5</c:v>
                </c:pt>
                <c:pt idx="21">
                  <c:v>4</c:v>
                </c:pt>
                <c:pt idx="22">
                  <c:v>3</c:v>
                </c:pt>
                <c:pt idx="23">
                  <c:v>2</c:v>
                </c:pt>
                <c:pt idx="24">
                  <c:v>1</c:v>
                </c:pt>
              </c:numCache>
            </c:numRef>
          </c:yVal>
          <c:bubbleSize>
            <c:numRef>
              <c:f>Sheet1!$K$1:$K$25</c:f>
              <c:numCache>
                <c:formatCode>General</c:formatCode>
                <c:ptCount val="25"/>
                <c:pt idx="20">
                  <c:v>20</c:v>
                </c:pt>
                <c:pt idx="21">
                  <c:v>10</c:v>
                </c:pt>
                <c:pt idx="22">
                  <c:v>0</c:v>
                </c:pt>
                <c:pt idx="23">
                  <c:v>150</c:v>
                </c:pt>
                <c:pt idx="24">
                  <c:v>0</c:v>
                </c:pt>
              </c:numCache>
            </c:numRef>
          </c:bubbleSize>
          <c:bubble3D val="0"/>
          <c:extLst>
            <c:ext xmlns:c16="http://schemas.microsoft.com/office/drawing/2014/chart" uri="{C3380CC4-5D6E-409C-BE32-E72D297353CC}">
              <c16:uniqueId val="{00000004-66F0-7546-BF9F-2A486E4F1F70}"/>
            </c:ext>
          </c:extLst>
        </c:ser>
        <c:dLbls>
          <c:showLegendKey val="0"/>
          <c:showVal val="0"/>
          <c:showCatName val="0"/>
          <c:showSerName val="0"/>
          <c:showPercent val="0"/>
          <c:showBubbleSize val="0"/>
        </c:dLbls>
        <c:bubbleScale val="36"/>
        <c:showNegBubbles val="0"/>
        <c:axId val="1024048047"/>
        <c:axId val="1"/>
      </c:bubbleChart>
      <c:valAx>
        <c:axId val="1024048047"/>
        <c:scaling>
          <c:orientation val="minMax"/>
          <c:max val="5.3000000000000007"/>
          <c:min val="0.5"/>
        </c:scaling>
        <c:delete val="1"/>
        <c:axPos val="b"/>
        <c:numFmt formatCode="General" sourceLinked="1"/>
        <c:majorTickMark val="out"/>
        <c:minorTickMark val="none"/>
        <c:tickLblPos val="nextTo"/>
        <c:crossAx val="1"/>
        <c:crosses val="min"/>
        <c:crossBetween val="midCat"/>
      </c:valAx>
      <c:valAx>
        <c:axId val="1"/>
        <c:scaling>
          <c:orientation val="minMax"/>
          <c:max val="6"/>
          <c:min val="0"/>
        </c:scaling>
        <c:delete val="1"/>
        <c:axPos val="l"/>
        <c:numFmt formatCode="General" sourceLinked="1"/>
        <c:majorTickMark val="out"/>
        <c:minorTickMark val="none"/>
        <c:tickLblPos val="nextTo"/>
        <c:crossAx val="1024048047"/>
        <c:crosses val="min"/>
        <c:crossBetween val="midCat"/>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0097087378640776E-2"/>
          <c:y val="0.1034688995215311"/>
          <c:w val="0.97980582524271842"/>
          <c:h val="0.82655502392344493"/>
        </c:manualLayout>
      </c:layout>
      <c:barChart>
        <c:barDir val="col"/>
        <c:grouping val="clustered"/>
        <c:varyColors val="0"/>
        <c:ser>
          <c:idx val="0"/>
          <c:order val="0"/>
          <c:spPr>
            <a:solidFill>
              <a:srgbClr val="3078B3"/>
            </a:solidFill>
            <a:ln w="19050" cmpd="sng" algn="ctr">
              <a:solidFill>
                <a:schemeClr val="bg1"/>
              </a:solidFill>
              <a:prstDash val="solid"/>
            </a:ln>
          </c:spPr>
          <c:invertIfNegative val="0"/>
          <c:dPt>
            <c:idx val="0"/>
            <c:invertIfNegative val="0"/>
            <c:bubble3D val="0"/>
            <c:spPr>
              <a:solidFill>
                <a:srgbClr val="000000"/>
              </a:solidFill>
              <a:ln w="19050" cmpd="sng" algn="ctr">
                <a:solidFill>
                  <a:schemeClr val="bg1"/>
                </a:solidFill>
                <a:prstDash val="solid"/>
              </a:ln>
            </c:spPr>
            <c:extLst>
              <c:ext xmlns:c16="http://schemas.microsoft.com/office/drawing/2014/chart" uri="{C3380CC4-5D6E-409C-BE32-E72D297353CC}">
                <c16:uniqueId val="{00000000-1ABD-294D-88DB-A17CEFCE0ADF}"/>
              </c:ext>
            </c:extLst>
          </c:dPt>
          <c:dPt>
            <c:idx val="3"/>
            <c:invertIfNegative val="0"/>
            <c:bubble3D val="0"/>
            <c:spPr>
              <a:solidFill>
                <a:srgbClr val="F67E58"/>
              </a:solidFill>
              <a:ln w="19050" cmpd="sng" algn="ctr">
                <a:solidFill>
                  <a:schemeClr val="bg1"/>
                </a:solidFill>
                <a:prstDash val="solid"/>
              </a:ln>
            </c:spPr>
            <c:extLst>
              <c:ext xmlns:c16="http://schemas.microsoft.com/office/drawing/2014/chart" uri="{C3380CC4-5D6E-409C-BE32-E72D297353CC}">
                <c16:uniqueId val="{00000001-1ABD-294D-88DB-A17CEFCE0ADF}"/>
              </c:ext>
            </c:extLst>
          </c:dPt>
          <c:dPt>
            <c:idx val="6"/>
            <c:invertIfNegative val="0"/>
            <c:bubble3D val="0"/>
            <c:spPr>
              <a:solidFill>
                <a:srgbClr val="F67E58"/>
              </a:solidFill>
              <a:ln w="19050" cmpd="sng" algn="ctr">
                <a:solidFill>
                  <a:schemeClr val="bg1"/>
                </a:solidFill>
                <a:prstDash val="solid"/>
              </a:ln>
            </c:spPr>
            <c:extLst>
              <c:ext xmlns:c16="http://schemas.microsoft.com/office/drawing/2014/chart" uri="{C3380CC4-5D6E-409C-BE32-E72D297353CC}">
                <c16:uniqueId val="{00000002-1ABD-294D-88DB-A17CEFCE0ADF}"/>
              </c:ext>
            </c:extLst>
          </c:dPt>
          <c:dPt>
            <c:idx val="7"/>
            <c:invertIfNegative val="0"/>
            <c:bubble3D val="0"/>
            <c:spPr>
              <a:solidFill>
                <a:srgbClr val="F67E58"/>
              </a:solidFill>
              <a:ln w="19050" cmpd="sng" algn="ctr">
                <a:solidFill>
                  <a:schemeClr val="bg1"/>
                </a:solidFill>
                <a:prstDash val="solid"/>
              </a:ln>
            </c:spPr>
            <c:extLst>
              <c:ext xmlns:c16="http://schemas.microsoft.com/office/drawing/2014/chart" uri="{C3380CC4-5D6E-409C-BE32-E72D297353CC}">
                <c16:uniqueId val="{00000003-1ABD-294D-88DB-A17CEFCE0ADF}"/>
              </c:ext>
            </c:extLst>
          </c:dPt>
          <c:dPt>
            <c:idx val="9"/>
            <c:invertIfNegative val="0"/>
            <c:bubble3D val="0"/>
            <c:spPr>
              <a:solidFill>
                <a:srgbClr val="F67E58"/>
              </a:solidFill>
              <a:ln w="19050" cmpd="sng" algn="ctr">
                <a:solidFill>
                  <a:schemeClr val="bg1"/>
                </a:solidFill>
                <a:prstDash val="solid"/>
              </a:ln>
            </c:spPr>
            <c:extLst>
              <c:ext xmlns:c16="http://schemas.microsoft.com/office/drawing/2014/chart" uri="{C3380CC4-5D6E-409C-BE32-E72D297353CC}">
                <c16:uniqueId val="{00000004-1ABD-294D-88DB-A17CEFCE0ADF}"/>
              </c:ext>
            </c:extLst>
          </c:dPt>
          <c:dPt>
            <c:idx val="12"/>
            <c:invertIfNegative val="0"/>
            <c:bubble3D val="0"/>
            <c:spPr>
              <a:solidFill>
                <a:srgbClr val="F67E58"/>
              </a:solidFill>
              <a:ln w="19050" cmpd="sng" algn="ctr">
                <a:solidFill>
                  <a:schemeClr val="bg1"/>
                </a:solidFill>
                <a:prstDash val="solid"/>
              </a:ln>
            </c:spPr>
            <c:extLst>
              <c:ext xmlns:c16="http://schemas.microsoft.com/office/drawing/2014/chart" uri="{C3380CC4-5D6E-409C-BE32-E72D297353CC}">
                <c16:uniqueId val="{00000005-1ABD-294D-88DB-A17CEFCE0ADF}"/>
              </c:ext>
            </c:extLst>
          </c:dPt>
          <c:dPt>
            <c:idx val="13"/>
            <c:invertIfNegative val="0"/>
            <c:bubble3D val="0"/>
            <c:spPr>
              <a:solidFill>
                <a:srgbClr val="6E6F73"/>
              </a:solidFill>
              <a:ln w="19050" cmpd="sng" algn="ctr">
                <a:solidFill>
                  <a:schemeClr val="bg1"/>
                </a:solidFill>
                <a:prstDash val="solid"/>
              </a:ln>
            </c:spPr>
            <c:extLst>
              <c:ext xmlns:c16="http://schemas.microsoft.com/office/drawing/2014/chart" uri="{C3380CC4-5D6E-409C-BE32-E72D297353CC}">
                <c16:uniqueId val="{00000006-1ABD-294D-88DB-A17CEFCE0ADF}"/>
              </c:ext>
            </c:extLst>
          </c:dPt>
          <c:dPt>
            <c:idx val="14"/>
            <c:invertIfNegative val="0"/>
            <c:bubble3D val="0"/>
            <c:spPr>
              <a:solidFill>
                <a:srgbClr val="6E6F73"/>
              </a:solidFill>
              <a:ln w="19050" cmpd="sng" algn="ctr">
                <a:solidFill>
                  <a:schemeClr val="bg1"/>
                </a:solidFill>
                <a:prstDash val="solid"/>
              </a:ln>
            </c:spPr>
            <c:extLst>
              <c:ext xmlns:c16="http://schemas.microsoft.com/office/drawing/2014/chart" uri="{C3380CC4-5D6E-409C-BE32-E72D297353CC}">
                <c16:uniqueId val="{00000007-1ABD-294D-88DB-A17CEFCE0ADF}"/>
              </c:ext>
            </c:extLst>
          </c:dPt>
          <c:dPt>
            <c:idx val="15"/>
            <c:invertIfNegative val="0"/>
            <c:bubble3D val="0"/>
            <c:spPr>
              <a:solidFill>
                <a:srgbClr val="F67E58"/>
              </a:solidFill>
              <a:ln w="19050" cmpd="sng" algn="ctr">
                <a:solidFill>
                  <a:schemeClr val="bg1"/>
                </a:solidFill>
                <a:prstDash val="solid"/>
              </a:ln>
            </c:spPr>
            <c:extLst>
              <c:ext xmlns:c16="http://schemas.microsoft.com/office/drawing/2014/chart" uri="{C3380CC4-5D6E-409C-BE32-E72D297353CC}">
                <c16:uniqueId val="{00000008-1ABD-294D-88DB-A17CEFCE0ADF}"/>
              </c:ext>
            </c:extLst>
          </c:dPt>
          <c:dPt>
            <c:idx val="16"/>
            <c:invertIfNegative val="0"/>
            <c:bubble3D val="0"/>
            <c:spPr>
              <a:solidFill>
                <a:srgbClr val="6E6F73"/>
              </a:solidFill>
              <a:ln w="19050" cmpd="sng" algn="ctr">
                <a:solidFill>
                  <a:schemeClr val="bg1"/>
                </a:solidFill>
                <a:prstDash val="solid"/>
              </a:ln>
            </c:spPr>
            <c:extLst>
              <c:ext xmlns:c16="http://schemas.microsoft.com/office/drawing/2014/chart" uri="{C3380CC4-5D6E-409C-BE32-E72D297353CC}">
                <c16:uniqueId val="{00000009-1ABD-294D-88DB-A17CEFCE0ADF}"/>
              </c:ext>
            </c:extLst>
          </c:dPt>
          <c:dPt>
            <c:idx val="17"/>
            <c:invertIfNegative val="0"/>
            <c:bubble3D val="0"/>
            <c:spPr>
              <a:solidFill>
                <a:srgbClr val="6E6F73"/>
              </a:solidFill>
              <a:ln w="19050" cmpd="sng" algn="ctr">
                <a:solidFill>
                  <a:schemeClr val="bg1"/>
                </a:solidFill>
                <a:prstDash val="solid"/>
              </a:ln>
            </c:spPr>
            <c:extLst>
              <c:ext xmlns:c16="http://schemas.microsoft.com/office/drawing/2014/chart" uri="{C3380CC4-5D6E-409C-BE32-E72D297353CC}">
                <c16:uniqueId val="{0000000A-1ABD-294D-88DB-A17CEFCE0ADF}"/>
              </c:ext>
            </c:extLst>
          </c:dPt>
          <c:dPt>
            <c:idx val="18"/>
            <c:invertIfNegative val="0"/>
            <c:bubble3D val="0"/>
            <c:spPr>
              <a:solidFill>
                <a:srgbClr val="6E6F73"/>
              </a:solidFill>
              <a:ln w="19050" cmpd="sng" algn="ctr">
                <a:solidFill>
                  <a:schemeClr val="bg1"/>
                </a:solidFill>
                <a:prstDash val="solid"/>
              </a:ln>
            </c:spPr>
            <c:extLst>
              <c:ext xmlns:c16="http://schemas.microsoft.com/office/drawing/2014/chart" uri="{C3380CC4-5D6E-409C-BE32-E72D297353CC}">
                <c16:uniqueId val="{0000000B-1ABD-294D-88DB-A17CEFCE0ADF}"/>
              </c:ext>
            </c:extLst>
          </c:dPt>
          <c:dPt>
            <c:idx val="19"/>
            <c:invertIfNegative val="0"/>
            <c:bubble3D val="0"/>
            <c:spPr>
              <a:solidFill>
                <a:srgbClr val="6E6F73"/>
              </a:solidFill>
              <a:ln w="19050" cmpd="sng" algn="ctr">
                <a:solidFill>
                  <a:schemeClr val="bg1"/>
                </a:solidFill>
                <a:prstDash val="solid"/>
              </a:ln>
            </c:spPr>
            <c:extLst>
              <c:ext xmlns:c16="http://schemas.microsoft.com/office/drawing/2014/chart" uri="{C3380CC4-5D6E-409C-BE32-E72D297353CC}">
                <c16:uniqueId val="{0000000C-1ABD-294D-88DB-A17CEFCE0ADF}"/>
              </c:ext>
            </c:extLst>
          </c:dPt>
          <c:dLbls>
            <c:dLbl>
              <c:idx val="0"/>
              <c:layout>
                <c:manualLayout>
                  <c:x val="0"/>
                  <c:y val="-0.44736842105263158"/>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ABD-294D-88DB-A17CEFCE0ADF}"/>
                </c:ext>
              </c:extLst>
            </c:dLbl>
            <c:dLbl>
              <c:idx val="1"/>
              <c:layout>
                <c:manualLayout>
                  <c:x val="-5.6310679611650486E-3"/>
                  <c:y val="-0.4162679425837320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ABD-294D-88DB-A17CEFCE0ADF}"/>
                </c:ext>
              </c:extLst>
            </c:dLbl>
            <c:dLbl>
              <c:idx val="2"/>
              <c:layout>
                <c:manualLayout>
                  <c:x val="-5.6310679611650486E-3"/>
                  <c:y val="-0.36124401913875598"/>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1ABD-294D-88DB-A17CEFCE0ADF}"/>
                </c:ext>
              </c:extLst>
            </c:dLbl>
            <c:dLbl>
              <c:idx val="3"/>
              <c:layout>
                <c:manualLayout>
                  <c:x val="-5.6310679611650486E-3"/>
                  <c:y val="-0.33851674641148327"/>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ABD-294D-88DB-A17CEFCE0ADF}"/>
                </c:ext>
              </c:extLst>
            </c:dLbl>
            <c:dLbl>
              <c:idx val="4"/>
              <c:layout>
                <c:manualLayout>
                  <c:x val="0"/>
                  <c:y val="-0.32296650717703351"/>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1ABD-294D-88DB-A17CEFCE0ADF}"/>
                </c:ext>
              </c:extLst>
            </c:dLbl>
            <c:dLbl>
              <c:idx val="5"/>
              <c:layout>
                <c:manualLayout>
                  <c:x val="-8.3495145631067962E-3"/>
                  <c:y val="-0.30741626794258375"/>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0-1ABD-294D-88DB-A17CEFCE0ADF}"/>
                </c:ext>
              </c:extLst>
            </c:dLbl>
            <c:dLbl>
              <c:idx val="6"/>
              <c:layout>
                <c:manualLayout>
                  <c:x val="-5.6310679611650486E-3"/>
                  <c:y val="-0.2834928229665071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1ABD-294D-88DB-A17CEFCE0ADF}"/>
                </c:ext>
              </c:extLst>
            </c:dLbl>
            <c:dLbl>
              <c:idx val="7"/>
              <c:layout>
                <c:manualLayout>
                  <c:x val="-5.6310679611650486E-3"/>
                  <c:y val="-0.2834928229665071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ABD-294D-88DB-A17CEFCE0ADF}"/>
                </c:ext>
              </c:extLst>
            </c:dLbl>
            <c:dLbl>
              <c:idx val="8"/>
              <c:layout>
                <c:manualLayout>
                  <c:x val="-5.6310679611650486E-3"/>
                  <c:y val="-0.26794258373205743"/>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1-1ABD-294D-88DB-A17CEFCE0ADF}"/>
                </c:ext>
              </c:extLst>
            </c:dLbl>
            <c:dLbl>
              <c:idx val="9"/>
              <c:layout>
                <c:manualLayout>
                  <c:x val="-5.6310679611650486E-3"/>
                  <c:y val="-0.26016746411483255"/>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1ABD-294D-88DB-A17CEFCE0ADF}"/>
                </c:ext>
              </c:extLst>
            </c:dLbl>
            <c:dLbl>
              <c:idx val="10"/>
              <c:layout>
                <c:manualLayout>
                  <c:x val="0"/>
                  <c:y val="-0.24461722488038279"/>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1ABD-294D-88DB-A17CEFCE0ADF}"/>
                </c:ext>
              </c:extLst>
            </c:dLbl>
            <c:dLbl>
              <c:idx val="11"/>
              <c:layout>
                <c:manualLayout>
                  <c:x val="-5.6310679611650486E-3"/>
                  <c:y val="-0.2057416267942583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1ABD-294D-88DB-A17CEFCE0ADF}"/>
                </c:ext>
              </c:extLst>
            </c:dLbl>
            <c:dLbl>
              <c:idx val="12"/>
              <c:layout>
                <c:manualLayout>
                  <c:x val="-5.6310679611650486E-3"/>
                  <c:y val="-0.16626794258373206"/>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ABD-294D-88DB-A17CEFCE0ADF}"/>
                </c:ext>
              </c:extLst>
            </c:dLbl>
            <c:dLbl>
              <c:idx val="13"/>
              <c:layout>
                <c:manualLayout>
                  <c:x val="-5.6310679611650486E-3"/>
                  <c:y val="-0.15131578947368421"/>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1ABD-294D-88DB-A17CEFCE0ADF}"/>
                </c:ext>
              </c:extLst>
            </c:dLbl>
            <c:dLbl>
              <c:idx val="14"/>
              <c:layout>
                <c:manualLayout>
                  <c:x val="-5.6310679611650486E-3"/>
                  <c:y val="-0.13576555023923445"/>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ABD-294D-88DB-A17CEFCE0ADF}"/>
                </c:ext>
              </c:extLst>
            </c:dLbl>
            <c:dLbl>
              <c:idx val="15"/>
              <c:layout>
                <c:manualLayout>
                  <c:x val="-5.6310679611650486E-3"/>
                  <c:y val="-0.12021531100478469"/>
                </c:manualLayout>
              </c:layout>
              <c:numFmt formatCode="#,##0&quot;%&quot;;&quot;-&quot;#,##0&quot;%&quot;"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ABD-294D-88DB-A17CEFCE0ADF}"/>
                </c:ext>
              </c:extLst>
            </c:dLbl>
            <c:dLbl>
              <c:idx val="16"/>
              <c:layout>
                <c:manualLayout>
                  <c:x val="0"/>
                  <c:y val="-5.6220095693779906E-2"/>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ABD-294D-88DB-A17CEFCE0ADF}"/>
                </c:ext>
              </c:extLst>
            </c:dLbl>
            <c:dLbl>
              <c:idx val="17"/>
              <c:layout>
                <c:manualLayout>
                  <c:x val="-4.8543689320388345E-3"/>
                  <c:y val="-5.0837320574162681E-2"/>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ABD-294D-88DB-A17CEFCE0ADF}"/>
                </c:ext>
              </c:extLst>
            </c:dLbl>
            <c:dLbl>
              <c:idx val="18"/>
              <c:layout>
                <c:manualLayout>
                  <c:x val="-2.524271844660194E-3"/>
                  <c:y val="-3.5287081339712915E-2"/>
                </c:manualLayout>
              </c:layout>
              <c:numFmt formatCode="#,##0&quot;%&quot;;&quot;-&quot;#,##0&quot;%&quot;" sourceLinked="0"/>
              <c:spPr>
                <a:noFill/>
                <a:ln>
                  <a:noFill/>
                </a:ln>
              </c:spPr>
              <c:txPr>
                <a:bodyPr wrap="none"/>
                <a:lstStyle/>
                <a:p>
                  <a:pPr>
                    <a:defRPr sz="800" kern="1200">
                      <a:solidFill>
                        <a:schemeClr val="tx1"/>
                      </a:solidFill>
                      <a:latin typeface="+mn-lt"/>
                      <a:ea typeface="+mn-ea"/>
                      <a:cs typeface="+mn-cs"/>
                      <a:sym typeface="DINPro"/>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ABD-294D-88DB-A17CEFCE0A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T$1</c:f>
              <c:numCache>
                <c:formatCode>General</c:formatCode>
                <c:ptCount val="20"/>
                <c:pt idx="0">
                  <c:v>73.611111111111114</c:v>
                </c:pt>
                <c:pt idx="1">
                  <c:v>68.055555555555557</c:v>
                </c:pt>
                <c:pt idx="2">
                  <c:v>58.333333333333336</c:v>
                </c:pt>
                <c:pt idx="3">
                  <c:v>54.166666666666664</c:v>
                </c:pt>
                <c:pt idx="4">
                  <c:v>51.388888888888886</c:v>
                </c:pt>
                <c:pt idx="5">
                  <c:v>48.611111111111107</c:v>
                </c:pt>
                <c:pt idx="6">
                  <c:v>44.444444444444443</c:v>
                </c:pt>
                <c:pt idx="7">
                  <c:v>44.444444444444443</c:v>
                </c:pt>
                <c:pt idx="8">
                  <c:v>41.666666666666671</c:v>
                </c:pt>
                <c:pt idx="9">
                  <c:v>40.277777777777779</c:v>
                </c:pt>
                <c:pt idx="10">
                  <c:v>37.5</c:v>
                </c:pt>
                <c:pt idx="11">
                  <c:v>30.555555555555557</c:v>
                </c:pt>
                <c:pt idx="12">
                  <c:v>23.611111111111111</c:v>
                </c:pt>
                <c:pt idx="13">
                  <c:v>20.833333333333336</c:v>
                </c:pt>
                <c:pt idx="14">
                  <c:v>18.055555555555554</c:v>
                </c:pt>
                <c:pt idx="15">
                  <c:v>15.277777777777779</c:v>
                </c:pt>
                <c:pt idx="16">
                  <c:v>5.5555555555555554</c:v>
                </c:pt>
                <c:pt idx="17">
                  <c:v>5.5555555555555554</c:v>
                </c:pt>
                <c:pt idx="18">
                  <c:v>4.1666666666666661</c:v>
                </c:pt>
                <c:pt idx="19">
                  <c:v>0</c:v>
                </c:pt>
              </c:numCache>
            </c:numRef>
          </c:val>
          <c:extLst>
            <c:ext xmlns:c16="http://schemas.microsoft.com/office/drawing/2014/chart" uri="{C3380CC4-5D6E-409C-BE32-E72D297353CC}">
              <c16:uniqueId val="{00000014-1ABD-294D-88DB-A17CEFCE0ADF}"/>
            </c:ext>
          </c:extLst>
        </c:ser>
        <c:ser>
          <c:idx val="1"/>
          <c:order val="1"/>
          <c:spPr>
            <a:noFill/>
            <a:ln>
              <a:noFill/>
            </a:ln>
          </c:spPr>
          <c:invertIfNegative val="0"/>
          <c:dPt>
            <c:idx val="19"/>
            <c:invertIfNegative val="0"/>
            <c:bubble3D val="0"/>
            <c:spPr>
              <a:solidFill>
                <a:srgbClr val="C8C8C8"/>
              </a:solidFill>
              <a:ln w="19050" cmpd="sng" algn="ctr">
                <a:solidFill>
                  <a:schemeClr val="bg1"/>
                </a:solidFill>
                <a:prstDash val="solid"/>
              </a:ln>
            </c:spPr>
            <c:extLst>
              <c:ext xmlns:c16="http://schemas.microsoft.com/office/drawing/2014/chart" uri="{C3380CC4-5D6E-409C-BE32-E72D297353CC}">
                <c16:uniqueId val="{00000015-1ABD-294D-88DB-A17CEFCE0ADF}"/>
              </c:ext>
            </c:extLst>
          </c:dPt>
          <c:dLbls>
            <c:dLbl>
              <c:idx val="17"/>
              <c:layout>
                <c:manualLayout>
                  <c:x val="3.1067961165048546E-3"/>
                  <c:y val="-2.2129186602870814E-2"/>
                </c:manualLayout>
              </c:layout>
              <c:numFmt formatCode="#,##0&quot;%&quot;;&quot;-&quot;#,##0&quot;%&quot;" sourceLinked="0"/>
              <c:spPr>
                <a:noFill/>
                <a:ln>
                  <a:noFill/>
                </a:ln>
              </c:spPr>
              <c:txPr>
                <a:bodyPr wrap="none"/>
                <a:lstStyle/>
                <a:p>
                  <a:pPr>
                    <a:defRPr sz="800" kern="1200">
                      <a:solidFill>
                        <a:srgbClr val="ABA8B3"/>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1ABD-294D-88DB-A17CEFCE0ADF}"/>
                </c:ext>
              </c:extLst>
            </c:dLbl>
            <c:dLbl>
              <c:idx val="18"/>
              <c:layout>
                <c:manualLayout>
                  <c:x val="3.1067961165048546E-3"/>
                  <c:y val="-2.2129186602870814E-2"/>
                </c:manualLayout>
              </c:layout>
              <c:numFmt formatCode="#,##0&quot;%&quot;;&quot;-&quot;#,##0&quot;%&quot;" sourceLinked="0"/>
              <c:spPr>
                <a:noFill/>
                <a:ln>
                  <a:noFill/>
                </a:ln>
              </c:spPr>
              <c:txPr>
                <a:bodyPr wrap="none"/>
                <a:lstStyle/>
                <a:p>
                  <a:pPr>
                    <a:defRPr sz="800" kern="1200">
                      <a:solidFill>
                        <a:srgbClr val="ABA8B3"/>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7-1ABD-294D-88DB-A17CEFCE0AD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T$2</c:f>
              <c:numCache>
                <c:formatCode>General</c:formatCode>
                <c:ptCount val="20"/>
                <c:pt idx="0">
                  <c:v>72.727272727272734</c:v>
                </c:pt>
                <c:pt idx="1">
                  <c:v>72.727272727272734</c:v>
                </c:pt>
                <c:pt idx="2">
                  <c:v>67</c:v>
                </c:pt>
                <c:pt idx="3">
                  <c:v>57.999999999999993</c:v>
                </c:pt>
                <c:pt idx="4">
                  <c:v>39</c:v>
                </c:pt>
                <c:pt idx="5">
                  <c:v>52</c:v>
                </c:pt>
                <c:pt idx="6">
                  <c:v>52</c:v>
                </c:pt>
                <c:pt idx="7">
                  <c:v>57.575757575757578</c:v>
                </c:pt>
                <c:pt idx="8">
                  <c:v>48.484848484848484</c:v>
                </c:pt>
                <c:pt idx="9">
                  <c:v>52</c:v>
                </c:pt>
                <c:pt idx="10">
                  <c:v>36</c:v>
                </c:pt>
                <c:pt idx="11">
                  <c:v>42</c:v>
                </c:pt>
                <c:pt idx="12">
                  <c:v>39</c:v>
                </c:pt>
                <c:pt idx="13">
                  <c:v>24</c:v>
                </c:pt>
                <c:pt idx="14">
                  <c:v>21</c:v>
                </c:pt>
                <c:pt idx="15">
                  <c:v>21</c:v>
                </c:pt>
                <c:pt idx="16">
                  <c:v>6</c:v>
                </c:pt>
                <c:pt idx="17">
                  <c:v>3</c:v>
                </c:pt>
                <c:pt idx="18">
                  <c:v>3</c:v>
                </c:pt>
                <c:pt idx="19">
                  <c:v>0</c:v>
                </c:pt>
              </c:numCache>
            </c:numRef>
          </c:val>
          <c:extLst>
            <c:ext xmlns:c16="http://schemas.microsoft.com/office/drawing/2014/chart" uri="{C3380CC4-5D6E-409C-BE32-E72D297353CC}">
              <c16:uniqueId val="{00000018-1ABD-294D-88DB-A17CEFCE0ADF}"/>
            </c:ext>
          </c:extLst>
        </c:ser>
        <c:dLbls>
          <c:showLegendKey val="0"/>
          <c:showVal val="0"/>
          <c:showCatName val="0"/>
          <c:showSerName val="0"/>
          <c:showPercent val="0"/>
          <c:showBubbleSize val="0"/>
        </c:dLbls>
        <c:gapWidth val="60"/>
        <c:axId val="966462447"/>
        <c:axId val="1"/>
      </c:barChart>
      <c:catAx>
        <c:axId val="96646244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73.611111111111114"/>
          <c:min val="0"/>
        </c:scaling>
        <c:delete val="1"/>
        <c:axPos val="l"/>
        <c:numFmt formatCode="General" sourceLinked="1"/>
        <c:majorTickMark val="out"/>
        <c:minorTickMark val="none"/>
        <c:tickLblPos val="nextTo"/>
        <c:crossAx val="966462447"/>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2138442521631644E-2"/>
          <c:y val="6.9395017793594305E-2"/>
          <c:w val="0.93572311495673666"/>
          <c:h val="0.86120996441281139"/>
        </c:manualLayout>
      </c:layout>
      <c:barChart>
        <c:barDir val="col"/>
        <c:grouping val="stacked"/>
        <c:varyColors val="0"/>
        <c:ser>
          <c:idx val="0"/>
          <c:order val="0"/>
          <c:spPr>
            <a:noFill/>
            <a:ln>
              <a:noFill/>
            </a:ln>
          </c:spPr>
          <c:invertIfNegative val="0"/>
          <c:dPt>
            <c:idx val="0"/>
            <c:invertIfNegative val="0"/>
            <c:bubble3D val="0"/>
            <c:spPr>
              <a:solidFill>
                <a:schemeClr val="tx1"/>
              </a:solidFill>
              <a:ln>
                <a:noFill/>
              </a:ln>
            </c:spPr>
            <c:extLst>
              <c:ext xmlns:c16="http://schemas.microsoft.com/office/drawing/2014/chart" uri="{C3380CC4-5D6E-409C-BE32-E72D297353CC}">
                <c16:uniqueId val="{00000000-0F00-3841-AB8B-4BA14868AAA8}"/>
              </c:ext>
            </c:extLst>
          </c:dPt>
          <c:dLbls>
            <c:dLbl>
              <c:idx val="0"/>
              <c:layout>
                <c:manualLayout>
                  <c:x val="0"/>
                  <c:y val="-0.17734282325029657"/>
                </c:manualLayout>
              </c:layout>
              <c:numFmt formatCode="#,##0;&quot;-&quot;#,##0"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F00-3841-AB8B-4BA14868AA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6670</c:v>
                </c:pt>
                <c:pt idx="1">
                  <c:v>4370</c:v>
                </c:pt>
                <c:pt idx="2">
                  <c:v>4370</c:v>
                </c:pt>
                <c:pt idx="3">
                  <c:v>30</c:v>
                </c:pt>
              </c:numCache>
            </c:numRef>
          </c:val>
          <c:extLst>
            <c:ext xmlns:c16="http://schemas.microsoft.com/office/drawing/2014/chart" uri="{C3380CC4-5D6E-409C-BE32-E72D297353CC}">
              <c16:uniqueId val="{00000001-0F00-3841-AB8B-4BA14868AAA8}"/>
            </c:ext>
          </c:extLst>
        </c:ser>
        <c:ser>
          <c:idx val="1"/>
          <c:order val="1"/>
          <c:spPr>
            <a:solidFill>
              <a:srgbClr val="003860"/>
            </a:solidFill>
            <a:ln>
              <a:noFill/>
            </a:ln>
          </c:spPr>
          <c:invertIfNegative val="0"/>
          <c:dPt>
            <c:idx val="1"/>
            <c:invertIfNegative val="0"/>
            <c:bubble3D val="0"/>
            <c:spPr>
              <a:solidFill>
                <a:srgbClr val="7F7F7F"/>
              </a:solidFill>
              <a:ln>
                <a:noFill/>
              </a:ln>
            </c:spPr>
            <c:extLst>
              <c:ext xmlns:c16="http://schemas.microsoft.com/office/drawing/2014/chart" uri="{C3380CC4-5D6E-409C-BE32-E72D297353CC}">
                <c16:uniqueId val="{00000002-0F00-3841-AB8B-4BA14868AAA8}"/>
              </c:ext>
            </c:extLst>
          </c:dPt>
          <c:dPt>
            <c:idx val="3"/>
            <c:invertIfNegative val="0"/>
            <c:bubble3D val="0"/>
            <c:spPr>
              <a:solidFill>
                <a:schemeClr val="tx2"/>
              </a:solidFill>
              <a:ln>
                <a:noFill/>
              </a:ln>
            </c:spPr>
            <c:extLst>
              <c:ext xmlns:c16="http://schemas.microsoft.com/office/drawing/2014/chart" uri="{C3380CC4-5D6E-409C-BE32-E72D297353CC}">
                <c16:uniqueId val="{00000003-0F00-3841-AB8B-4BA14868AAA8}"/>
              </c:ext>
            </c:extLst>
          </c:dPt>
          <c:dLbls>
            <c:dLbl>
              <c:idx val="1"/>
              <c:layout>
                <c:manualLayout>
                  <c:x val="0"/>
                  <c:y val="0"/>
                </c:manualLayout>
              </c:layout>
              <c:numFmt formatCode="#,##0;#,##0" sourceLinked="0"/>
              <c:spPr>
                <a:noFill/>
                <a:ln>
                  <a:noFill/>
                </a:ln>
              </c:spPr>
              <c:txPr>
                <a:bodyPr wrap="none"/>
                <a:lstStyle/>
                <a:p>
                  <a:pPr>
                    <a:defRPr sz="800" kern="1200">
                      <a:solidFill>
                        <a:schemeClr val="bg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F00-3841-AB8B-4BA14868AAA8}"/>
                </c:ext>
              </c:extLst>
            </c:dLbl>
            <c:dLbl>
              <c:idx val="2"/>
              <c:layout>
                <c:manualLayout>
                  <c:x val="0"/>
                  <c:y val="5.9311981020166078E-4"/>
                </c:manualLayout>
              </c:layout>
              <c:numFmt formatCode="#,##0;#,##0" sourceLinked="0"/>
              <c:spPr>
                <a:noFill/>
                <a:ln>
                  <a:noFill/>
                </a:ln>
              </c:spPr>
              <c:txPr>
                <a:bodyPr wrap="none"/>
                <a:lstStyle/>
                <a:p>
                  <a:pPr>
                    <a:defRPr sz="800" kern="1200">
                      <a:solidFill>
                        <a:schemeClr val="bg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F00-3841-AB8B-4BA14868AAA8}"/>
                </c:ext>
              </c:extLst>
            </c:dLbl>
            <c:dLbl>
              <c:idx val="3"/>
              <c:layout>
                <c:manualLayout>
                  <c:x val="0"/>
                  <c:y val="5.9311981020166078E-4"/>
                </c:manualLayout>
              </c:layout>
              <c:numFmt formatCode="#,##0;#,##0" sourceLinked="0"/>
              <c:spPr>
                <a:noFill/>
                <a:ln>
                  <a:noFill/>
                </a:ln>
              </c:spPr>
              <c:txPr>
                <a:bodyPr wrap="none"/>
                <a:lstStyle/>
                <a:p>
                  <a:pPr>
                    <a:defRPr sz="800" kern="1200">
                      <a:solidFill>
                        <a:schemeClr val="bg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F00-3841-AB8B-4BA14868AA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D$2</c:f>
              <c:numCache>
                <c:formatCode>General</c:formatCode>
                <c:ptCount val="4"/>
                <c:pt idx="1">
                  <c:v>2300</c:v>
                </c:pt>
                <c:pt idx="2">
                  <c:v>1570</c:v>
                </c:pt>
                <c:pt idx="3">
                  <c:v>20000</c:v>
                </c:pt>
              </c:numCache>
            </c:numRef>
          </c:val>
          <c:extLst>
            <c:ext xmlns:c16="http://schemas.microsoft.com/office/drawing/2014/chart" uri="{C3380CC4-5D6E-409C-BE32-E72D297353CC}">
              <c16:uniqueId val="{00000005-0F00-3841-AB8B-4BA14868AAA8}"/>
            </c:ext>
          </c:extLst>
        </c:ser>
        <c:ser>
          <c:idx val="2"/>
          <c:order val="2"/>
          <c:spPr>
            <a:solidFill>
              <a:srgbClr val="005490"/>
            </a:solidFill>
            <a:ln>
              <a:noFill/>
            </a:ln>
          </c:spPr>
          <c:invertIfNegative val="0"/>
          <c:dLbls>
            <c:dLbl>
              <c:idx val="2"/>
              <c:layout>
                <c:manualLayout>
                  <c:x val="0"/>
                  <c:y val="0"/>
                </c:manualLayout>
              </c:layout>
              <c:numFmt formatCode="#,##0;#,##0" sourceLinked="0"/>
              <c:spPr>
                <a:noFill/>
                <a:ln>
                  <a:noFill/>
                </a:ln>
              </c:spPr>
              <c:txPr>
                <a:bodyPr wrap="none"/>
                <a:lstStyle/>
                <a:p>
                  <a:pPr>
                    <a:defRPr sz="800" kern="1200">
                      <a:solidFill>
                        <a:schemeClr val="bg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F00-3841-AB8B-4BA14868AA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D$3</c:f>
              <c:numCache>
                <c:formatCode>General</c:formatCode>
                <c:ptCount val="4"/>
                <c:pt idx="2">
                  <c:v>3600</c:v>
                </c:pt>
              </c:numCache>
            </c:numRef>
          </c:val>
          <c:extLst>
            <c:ext xmlns:c16="http://schemas.microsoft.com/office/drawing/2014/chart" uri="{C3380CC4-5D6E-409C-BE32-E72D297353CC}">
              <c16:uniqueId val="{00000007-0F00-3841-AB8B-4BA14868AAA8}"/>
            </c:ext>
          </c:extLst>
        </c:ser>
        <c:ser>
          <c:idx val="3"/>
          <c:order val="3"/>
          <c:spPr>
            <a:solidFill>
              <a:srgbClr val="40B0FF"/>
            </a:solidFill>
            <a:ln>
              <a:noFill/>
            </a:ln>
          </c:spPr>
          <c:invertIfNegative val="0"/>
          <c:dLbls>
            <c:dLbl>
              <c:idx val="2"/>
              <c:layout>
                <c:manualLayout>
                  <c:x val="0"/>
                  <c:y val="0"/>
                </c:manualLayout>
              </c:layout>
              <c:numFmt formatCode="#,##0;#,##0" sourceLinked="0"/>
              <c:spPr>
                <a:noFill/>
                <a:ln>
                  <a:noFill/>
                </a:ln>
              </c:spPr>
              <c:txPr>
                <a:bodyPr wrap="none"/>
                <a:lstStyle/>
                <a:p>
                  <a:pPr>
                    <a:defRPr sz="800" kern="1200">
                      <a:solidFill>
                        <a:schemeClr val="bg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F00-3841-AB8B-4BA14868AA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4:$D$4</c:f>
              <c:numCache>
                <c:formatCode>General</c:formatCode>
                <c:ptCount val="4"/>
                <c:pt idx="2">
                  <c:v>8770</c:v>
                </c:pt>
              </c:numCache>
            </c:numRef>
          </c:val>
          <c:extLst>
            <c:ext xmlns:c16="http://schemas.microsoft.com/office/drawing/2014/chart" uri="{C3380CC4-5D6E-409C-BE32-E72D297353CC}">
              <c16:uniqueId val="{00000009-0F00-3841-AB8B-4BA14868AAA8}"/>
            </c:ext>
          </c:extLst>
        </c:ser>
        <c:ser>
          <c:idx val="4"/>
          <c:order val="4"/>
          <c:spPr>
            <a:solidFill>
              <a:srgbClr val="80CAFF"/>
            </a:solidFill>
            <a:ln>
              <a:noFill/>
            </a:ln>
          </c:spPr>
          <c:invertIfNegative val="0"/>
          <c:dLbls>
            <c:dLbl>
              <c:idx val="2"/>
              <c:layout>
                <c:manualLayout>
                  <c:x val="0"/>
                  <c:y val="5.9311981020166078E-4"/>
                </c:manualLayout>
              </c:layout>
              <c:numFmt formatCode="#,##0;#,##0" sourceLinked="0"/>
              <c:spPr>
                <a:noFill/>
                <a:ln>
                  <a:noFill/>
                </a:ln>
              </c:spPr>
              <c:txPr>
                <a:bodyPr wrap="none"/>
                <a:lstStyle/>
                <a:p>
                  <a:pPr>
                    <a:defRPr sz="800" kern="1200">
                      <a:solidFill>
                        <a:schemeClr val="tx1"/>
                      </a:solidFill>
                      <a:latin typeface="+mn-lt"/>
                      <a:ea typeface="+mn-ea"/>
                      <a:cs typeface="+mn-cs"/>
                    </a:defRPr>
                  </a:pPr>
                  <a:endParaRPr lang="fi-FI"/>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0F00-3841-AB8B-4BA14868AA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D$5</c:f>
              <c:numCache>
                <c:formatCode>General</c:formatCode>
                <c:ptCount val="4"/>
                <c:pt idx="2">
                  <c:v>1720</c:v>
                </c:pt>
              </c:numCache>
            </c:numRef>
          </c:val>
          <c:extLst>
            <c:ext xmlns:c16="http://schemas.microsoft.com/office/drawing/2014/chart" uri="{C3380CC4-5D6E-409C-BE32-E72D297353CC}">
              <c16:uniqueId val="{0000000B-0F00-3841-AB8B-4BA14868AAA8}"/>
            </c:ext>
          </c:extLst>
        </c:ser>
        <c:dLbls>
          <c:showLegendKey val="0"/>
          <c:showVal val="0"/>
          <c:showCatName val="0"/>
          <c:showSerName val="0"/>
          <c:showPercent val="0"/>
          <c:showBubbleSize val="0"/>
        </c:dLbls>
        <c:gapWidth val="60"/>
        <c:overlap val="100"/>
        <c:axId val="1186544783"/>
        <c:axId val="1"/>
      </c:barChart>
      <c:catAx>
        <c:axId val="118654478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20030"/>
          <c:min val="0"/>
        </c:scaling>
        <c:delete val="1"/>
        <c:axPos val="l"/>
        <c:numFmt formatCode="General" sourceLinked="1"/>
        <c:majorTickMark val="out"/>
        <c:minorTickMark val="none"/>
        <c:tickLblPos val="nextTo"/>
        <c:crossAx val="118654478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i-FI"/>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4.5734388742304309E-2"/>
          <c:y val="3.1649421789409618E-2"/>
          <c:w val="0.90853122251539142"/>
          <c:h val="0.93670115642118079"/>
        </c:manualLayout>
      </c:layout>
      <c:barChart>
        <c:barDir val="bar"/>
        <c:grouping val="stacked"/>
        <c:varyColors val="0"/>
        <c:ser>
          <c:idx val="0"/>
          <c:order val="0"/>
          <c:spPr>
            <a:solidFill>
              <a:schemeClr val="tx2"/>
            </a:solid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9511-134B-BCEC-BDDF3213FC4F}"/>
              </c:ext>
            </c:extLst>
          </c:dPt>
          <c:val>
            <c:numRef>
              <c:f>Sheet1!$A$1:$G$1</c:f>
              <c:numCache>
                <c:formatCode>General</c:formatCode>
                <c:ptCount val="7"/>
                <c:pt idx="0">
                  <c:v>2.1052631578947367</c:v>
                </c:pt>
                <c:pt idx="1">
                  <c:v>2.215686274509804</c:v>
                </c:pt>
                <c:pt idx="2">
                  <c:v>3.441860465116279</c:v>
                </c:pt>
                <c:pt idx="3">
                  <c:v>4.0217391304347823</c:v>
                </c:pt>
                <c:pt idx="4">
                  <c:v>4.2439024390243905</c:v>
                </c:pt>
                <c:pt idx="5">
                  <c:v>4.8936170212765955</c:v>
                </c:pt>
                <c:pt idx="6">
                  <c:v>4.9000000000000004</c:v>
                </c:pt>
              </c:numCache>
            </c:numRef>
          </c:val>
          <c:extLst>
            <c:ext xmlns:c16="http://schemas.microsoft.com/office/drawing/2014/chart" uri="{C3380CC4-5D6E-409C-BE32-E72D297353CC}">
              <c16:uniqueId val="{00000001-9511-134B-BCEC-BDDF3213FC4F}"/>
            </c:ext>
          </c:extLst>
        </c:ser>
        <c:dLbls>
          <c:showLegendKey val="0"/>
          <c:showVal val="0"/>
          <c:showCatName val="0"/>
          <c:showSerName val="0"/>
          <c:showPercent val="0"/>
          <c:showBubbleSize val="0"/>
        </c:dLbls>
        <c:gapWidth val="60"/>
        <c:overlap val="100"/>
        <c:axId val="2067992847"/>
        <c:axId val="1"/>
      </c:barChart>
      <c:catAx>
        <c:axId val="2067992847"/>
        <c:scaling>
          <c:orientation val="maxMin"/>
        </c:scaling>
        <c:delete val="0"/>
        <c:axPos val="l"/>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4.9000000000000004"/>
          <c:min val="0"/>
        </c:scaling>
        <c:delete val="1"/>
        <c:axPos val="b"/>
        <c:numFmt formatCode="General" sourceLinked="1"/>
        <c:majorTickMark val="out"/>
        <c:minorTickMark val="none"/>
        <c:tickLblPos val="nextTo"/>
        <c:crossAx val="2067992847"/>
        <c:crosses val="max"/>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Footer Placehold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r>
              <a:rPr lang="en-US" sz="1050" err="1">
                <a:latin typeface="Verdana" panose="020B0604030504040204" pitchFamily="34" charset="0"/>
                <a:ea typeface="Verdana" panose="020B0604030504040204" pitchFamily="34" charset="0"/>
                <a:cs typeface="Verdana" panose="020B0604030504040204" pitchFamily="34" charset="0"/>
              </a:rPr>
              <a:t>Teknologiateollisuus</a:t>
            </a:r>
            <a:endParaRPr lang="en-US" sz="1050">
              <a:latin typeface="Verdana" panose="020B0604030504040204" pitchFamily="34" charset="0"/>
              <a:ea typeface="Verdana" panose="020B0604030504040204" pitchFamily="34" charset="0"/>
              <a:cs typeface="Verdana" panose="020B0604030504040204" pitchFamily="34" charset="0"/>
            </a:endParaRPr>
          </a:p>
        </p:txBody>
      </p:sp>
      <p:sp>
        <p:nvSpPr>
          <p:cNvPr id="5" name="Slide Number Placehold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6F2C89C3-1639-C64F-B7DC-4038F10D3C80}" type="slidenum">
              <a:rPr sz="1050">
                <a:latin typeface="Verdana" panose="020B0604030504040204" pitchFamily="34" charset="0"/>
                <a:ea typeface="Verdana" panose="020B0604030504040204" pitchFamily="34" charset="0"/>
                <a:cs typeface="Verdana" panose="020B0604030504040204" pitchFamily="34" charset="0"/>
              </a:rPr>
              <a:t>‹#›</a:t>
            </a:fld>
            <a:endParaRPr lang="en-US" sz="1050">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636375265"/>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rtl="0">
              <a:defRPr sz="1050">
                <a:latin typeface="Verdana" panose="020B0604030504040204" pitchFamily="34" charset="0"/>
                <a:ea typeface="Verdana" panose="020B0604030504040204" pitchFamily="34" charset="0"/>
                <a:cs typeface="Verdana" panose="020B0604030504040204" pitchFamily="34" charset="0"/>
              </a:defRPr>
            </a:lvl1pPr>
          </a:lstStyle>
          <a:p>
            <a:r>
              <a:rPr lang="en-US"/>
              <a:t>Teknologiateollisuus</a:t>
            </a:r>
          </a:p>
        </p:txBody>
      </p:sp>
      <p:sp>
        <p:nvSpPr>
          <p:cNvPr id="7" name="Slide Number Placehold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rtl="0">
              <a:defRPr sz="1050">
                <a:latin typeface="Verdana" panose="020B0604030504040204" pitchFamily="34" charset="0"/>
                <a:ea typeface="Verdana" panose="020B0604030504040204" pitchFamily="34" charset="0"/>
                <a:cs typeface="Verdana" panose="020B0604030504040204" pitchFamily="34" charset="0"/>
              </a:defRPr>
            </a:lvl1pPr>
          </a:lstStyle>
          <a:p>
            <a:fld id="{B5A0B3B4-F971-4AD3-B530-DE860EFC07D2}" type="slidenum">
              <a:rPr lang="en-US" smtClean="0"/>
              <a:pPr/>
              <a:t>‹#›</a:t>
            </a:fld>
            <a:endParaRPr lang="en-US"/>
          </a:p>
        </p:txBody>
      </p:sp>
    </p:spTree>
    <p:extLst>
      <p:ext uri="{BB962C8B-B14F-4D97-AF65-F5344CB8AC3E}">
        <p14:creationId xmlns:p14="http://schemas.microsoft.com/office/powerpoint/2010/main" val="4248243881"/>
      </p:ext>
    </p:extLst>
  </p:cSld>
  <p:clrMap bg1="lt1" tx1="dk1" bg2="lt2" tx2="dk2" accent1="accent1" accent2="accent2" accent3="accent3" accent4="accent4" accent5="accent5" accent6="accent6" hlink="hlink" folHlink="folHlink"/>
  <p:hf/>
  <p:notesStyle>
    <a:lvl1pPr marL="0"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79871"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019807"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359744" algn="l" defTabSz="679871" rtl="0" eaLnBrk="1" latinLnBrk="0" hangingPunct="1">
      <a:defRPr sz="90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1699681" algn="l" defTabSz="679871" rtl="0" eaLnBrk="1" latinLnBrk="0" hangingPunct="1">
      <a:defRPr sz="893" kern="1200">
        <a:solidFill>
          <a:schemeClr val="tx1"/>
        </a:solidFill>
        <a:latin typeface="+mn-lt"/>
        <a:ea typeface="+mn-ea"/>
        <a:cs typeface="+mn-cs"/>
      </a:defRPr>
    </a:lvl6pPr>
    <a:lvl7pPr marL="2039614" algn="l" defTabSz="679871" rtl="0" eaLnBrk="1" latinLnBrk="0" hangingPunct="1">
      <a:defRPr sz="893" kern="1200">
        <a:solidFill>
          <a:schemeClr val="tx1"/>
        </a:solidFill>
        <a:latin typeface="+mn-lt"/>
        <a:ea typeface="+mn-ea"/>
        <a:cs typeface="+mn-cs"/>
      </a:defRPr>
    </a:lvl7pPr>
    <a:lvl8pPr marL="2379548" algn="l" defTabSz="679871" rtl="0" eaLnBrk="1" latinLnBrk="0" hangingPunct="1">
      <a:defRPr sz="893" kern="1200">
        <a:solidFill>
          <a:schemeClr val="tx1"/>
        </a:solidFill>
        <a:latin typeface="+mn-lt"/>
        <a:ea typeface="+mn-ea"/>
        <a:cs typeface="+mn-cs"/>
      </a:defRPr>
    </a:lvl8pPr>
    <a:lvl9pPr marL="2719486" algn="l" defTabSz="679871" rtl="0" eaLnBrk="1" latinLnBrk="0" hangingPunct="1">
      <a:defRPr sz="893"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1</a:t>
            </a:fld>
            <a:endParaRPr lang="en-US"/>
          </a:p>
        </p:txBody>
      </p:sp>
    </p:spTree>
    <p:extLst>
      <p:ext uri="{BB962C8B-B14F-4D97-AF65-F5344CB8AC3E}">
        <p14:creationId xmlns:p14="http://schemas.microsoft.com/office/powerpoint/2010/main" val="16074408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eknologiateollisuus</a:t>
            </a:r>
          </a:p>
        </p:txBody>
      </p:sp>
      <p:sp>
        <p:nvSpPr>
          <p:cNvPr id="5" name="Slide Number Placeholder 4"/>
          <p:cNvSpPr>
            <a:spLocks noGrp="1"/>
          </p:cNvSpPr>
          <p:nvPr>
            <p:ph type="sldNum" sz="quarter" idx="5"/>
          </p:nvPr>
        </p:nvSpPr>
        <p:spPr/>
        <p:txBody>
          <a:bodyPr/>
          <a:lstStyle/>
          <a:p>
            <a:fld id="{B5A0B3B4-F971-4AD3-B530-DE860EFC07D2}" type="slidenum">
              <a:rPr lang="en-US" smtClean="0"/>
              <a:pPr/>
              <a:t>16</a:t>
            </a:fld>
            <a:endParaRPr lang="en-US"/>
          </a:p>
        </p:txBody>
      </p:sp>
    </p:spTree>
    <p:extLst>
      <p:ext uri="{BB962C8B-B14F-4D97-AF65-F5344CB8AC3E}">
        <p14:creationId xmlns:p14="http://schemas.microsoft.com/office/powerpoint/2010/main" val="35096442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eknologiateollisuus</a:t>
            </a:r>
          </a:p>
        </p:txBody>
      </p:sp>
      <p:sp>
        <p:nvSpPr>
          <p:cNvPr id="5" name="Slide Number Placeholder 4"/>
          <p:cNvSpPr>
            <a:spLocks noGrp="1"/>
          </p:cNvSpPr>
          <p:nvPr>
            <p:ph type="sldNum" sz="quarter" idx="5"/>
          </p:nvPr>
        </p:nvSpPr>
        <p:spPr/>
        <p:txBody>
          <a:bodyPr/>
          <a:lstStyle/>
          <a:p>
            <a:fld id="{B5A0B3B4-F971-4AD3-B530-DE860EFC07D2}" type="slidenum">
              <a:rPr lang="en-US" smtClean="0"/>
              <a:pPr/>
              <a:t>17</a:t>
            </a:fld>
            <a:endParaRPr lang="en-US"/>
          </a:p>
        </p:txBody>
      </p:sp>
    </p:spTree>
    <p:extLst>
      <p:ext uri="{BB962C8B-B14F-4D97-AF65-F5344CB8AC3E}">
        <p14:creationId xmlns:p14="http://schemas.microsoft.com/office/powerpoint/2010/main" val="415671702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19</a:t>
            </a:fld>
            <a:endParaRPr lang="en-US"/>
          </a:p>
        </p:txBody>
      </p:sp>
    </p:spTree>
    <p:extLst>
      <p:ext uri="{BB962C8B-B14F-4D97-AF65-F5344CB8AC3E}">
        <p14:creationId xmlns:p14="http://schemas.microsoft.com/office/powerpoint/2010/main" val="395831332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20</a:t>
            </a:fld>
            <a:endParaRPr lang="en-US"/>
          </a:p>
        </p:txBody>
      </p:sp>
    </p:spTree>
    <p:extLst>
      <p:ext uri="{BB962C8B-B14F-4D97-AF65-F5344CB8AC3E}">
        <p14:creationId xmlns:p14="http://schemas.microsoft.com/office/powerpoint/2010/main" val="56366075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22</a:t>
            </a:fld>
            <a:endParaRPr kumimoji="0" lang="en-US" sz="1400" b="0" i="0" u="none" strike="noStrike" kern="1200" cap="none" spc="0" normalizeH="0" baseline="0" noProof="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17620428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24</a:t>
            </a:fld>
            <a:endParaRPr lang="en-US"/>
          </a:p>
        </p:txBody>
      </p:sp>
    </p:spTree>
    <p:extLst>
      <p:ext uri="{BB962C8B-B14F-4D97-AF65-F5344CB8AC3E}">
        <p14:creationId xmlns:p14="http://schemas.microsoft.com/office/powerpoint/2010/main" val="366442521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25</a:t>
            </a:fld>
            <a:endParaRPr lang="en-US"/>
          </a:p>
        </p:txBody>
      </p:sp>
    </p:spTree>
    <p:extLst>
      <p:ext uri="{BB962C8B-B14F-4D97-AF65-F5344CB8AC3E}">
        <p14:creationId xmlns:p14="http://schemas.microsoft.com/office/powerpoint/2010/main" val="182870829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26</a:t>
            </a:fld>
            <a:endParaRPr lang="en-US"/>
          </a:p>
        </p:txBody>
      </p:sp>
    </p:spTree>
    <p:extLst>
      <p:ext uri="{BB962C8B-B14F-4D97-AF65-F5344CB8AC3E}">
        <p14:creationId xmlns:p14="http://schemas.microsoft.com/office/powerpoint/2010/main" val="3648969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3</a:t>
            </a:fld>
            <a:endParaRPr lang="en-US"/>
          </a:p>
        </p:txBody>
      </p:sp>
    </p:spTree>
    <p:extLst>
      <p:ext uri="{BB962C8B-B14F-4D97-AF65-F5344CB8AC3E}">
        <p14:creationId xmlns:p14="http://schemas.microsoft.com/office/powerpoint/2010/main" val="134859615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4</a:t>
            </a:fld>
            <a:endParaRPr lang="en-US"/>
          </a:p>
        </p:txBody>
      </p:sp>
    </p:spTree>
    <p:extLst>
      <p:ext uri="{BB962C8B-B14F-4D97-AF65-F5344CB8AC3E}">
        <p14:creationId xmlns:p14="http://schemas.microsoft.com/office/powerpoint/2010/main" val="3548892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5</a:t>
            </a:fld>
            <a:endParaRPr lang="en-US"/>
          </a:p>
        </p:txBody>
      </p:sp>
    </p:spTree>
    <p:extLst>
      <p:ext uri="{BB962C8B-B14F-4D97-AF65-F5344CB8AC3E}">
        <p14:creationId xmlns:p14="http://schemas.microsoft.com/office/powerpoint/2010/main" val="61177024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err="1"/>
              <a:t>Teknologiateollisuus</a:t>
            </a:r>
            <a:endParaRPr lang="en-US"/>
          </a:p>
        </p:txBody>
      </p:sp>
      <p:sp>
        <p:nvSpPr>
          <p:cNvPr id="5" name="Slide Number Placeholder 4"/>
          <p:cNvSpPr>
            <a:spLocks noGrp="1"/>
          </p:cNvSpPr>
          <p:nvPr>
            <p:ph type="sldNum" sz="quarter" idx="5"/>
          </p:nvPr>
        </p:nvSpPr>
        <p:spPr/>
        <p:txBody>
          <a:bodyPr/>
          <a:lstStyle/>
          <a:p>
            <a:fld id="{B5A0B3B4-F971-4AD3-B530-DE860EFC07D2}" type="slidenum">
              <a:rPr lang="en-US" smtClean="0"/>
              <a:pPr/>
              <a:t>7</a:t>
            </a:fld>
            <a:endParaRPr lang="en-US"/>
          </a:p>
        </p:txBody>
      </p:sp>
    </p:spTree>
    <p:extLst>
      <p:ext uri="{BB962C8B-B14F-4D97-AF65-F5344CB8AC3E}">
        <p14:creationId xmlns:p14="http://schemas.microsoft.com/office/powerpoint/2010/main" val="29745012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eknologiateollisuus</a:t>
            </a:r>
          </a:p>
        </p:txBody>
      </p:sp>
      <p:sp>
        <p:nvSpPr>
          <p:cNvPr id="5" name="Slide Number Placeholder 4"/>
          <p:cNvSpPr>
            <a:spLocks noGrp="1"/>
          </p:cNvSpPr>
          <p:nvPr>
            <p:ph type="sldNum" sz="quarter" idx="5"/>
          </p:nvPr>
        </p:nvSpPr>
        <p:spPr/>
        <p:txBody>
          <a:bodyPr/>
          <a:lstStyle/>
          <a:p>
            <a:fld id="{B5A0B3B4-F971-4AD3-B530-DE860EFC07D2}" type="slidenum">
              <a:rPr lang="en-US" smtClean="0"/>
              <a:pPr/>
              <a:t>12</a:t>
            </a:fld>
            <a:endParaRPr lang="en-US"/>
          </a:p>
        </p:txBody>
      </p:sp>
    </p:spTree>
    <p:extLst>
      <p:ext uri="{BB962C8B-B14F-4D97-AF65-F5344CB8AC3E}">
        <p14:creationId xmlns:p14="http://schemas.microsoft.com/office/powerpoint/2010/main" val="216840877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r>
              <a:rPr lang="en-US"/>
              <a:t>Notes view: </a:t>
            </a:r>
            <a:fld id="{128CEAFE-FA94-43E5-B0FF-D47E1CCDD1B4}" type="slidenum">
              <a:rPr lang="en-US" smtClean="0"/>
              <a:pPr/>
              <a:t>13</a:t>
            </a:fld>
            <a:endParaRPr lang="en-US"/>
          </a:p>
        </p:txBody>
      </p:sp>
    </p:spTree>
    <p:extLst>
      <p:ext uri="{BB962C8B-B14F-4D97-AF65-F5344CB8AC3E}">
        <p14:creationId xmlns:p14="http://schemas.microsoft.com/office/powerpoint/2010/main" val="177085563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eep-dive</a:t>
            </a:r>
          </a:p>
        </p:txBody>
      </p:sp>
      <p:sp>
        <p:nvSpPr>
          <p:cNvPr id="4" name="Footer Placeholder 3"/>
          <p:cNvSpPr>
            <a:spLocks noGrp="1"/>
          </p:cNvSpPr>
          <p:nvPr>
            <p:ph type="ftr" sz="quarter" idx="4"/>
          </p:nvPr>
        </p:nvSpPr>
        <p:spPr/>
        <p:txBody>
          <a:bodyPr/>
          <a:lstStyle/>
          <a:p>
            <a:r>
              <a:rPr lang="en-US"/>
              <a:t>Teknologiateollisuus</a:t>
            </a:r>
          </a:p>
        </p:txBody>
      </p:sp>
      <p:sp>
        <p:nvSpPr>
          <p:cNvPr id="5" name="Slide Number Placeholder 4"/>
          <p:cNvSpPr>
            <a:spLocks noGrp="1"/>
          </p:cNvSpPr>
          <p:nvPr>
            <p:ph type="sldNum" sz="quarter" idx="5"/>
          </p:nvPr>
        </p:nvSpPr>
        <p:spPr/>
        <p:txBody>
          <a:bodyPr/>
          <a:lstStyle/>
          <a:p>
            <a:fld id="{B5A0B3B4-F971-4AD3-B530-DE860EFC07D2}" type="slidenum">
              <a:rPr lang="en-US" smtClean="0"/>
              <a:pPr/>
              <a:t>14</a:t>
            </a:fld>
            <a:endParaRPr lang="en-US"/>
          </a:p>
        </p:txBody>
      </p:sp>
    </p:spTree>
    <p:extLst>
      <p:ext uri="{BB962C8B-B14F-4D97-AF65-F5344CB8AC3E}">
        <p14:creationId xmlns:p14="http://schemas.microsoft.com/office/powerpoint/2010/main" val="4067761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4"/>
          </p:nvPr>
        </p:nvSpPr>
        <p:spPr/>
        <p:txBody>
          <a:bodyPr/>
          <a:lstStyle/>
          <a:p>
            <a:r>
              <a:rPr lang="en-US"/>
              <a:t>Teknologiateollisuus</a:t>
            </a:r>
          </a:p>
        </p:txBody>
      </p:sp>
      <p:sp>
        <p:nvSpPr>
          <p:cNvPr id="5" name="Slide Number Placeholder 4"/>
          <p:cNvSpPr>
            <a:spLocks noGrp="1"/>
          </p:cNvSpPr>
          <p:nvPr>
            <p:ph type="sldNum" sz="quarter" idx="5"/>
          </p:nvPr>
        </p:nvSpPr>
        <p:spPr/>
        <p:txBody>
          <a:bodyPr/>
          <a:lstStyle/>
          <a:p>
            <a:fld id="{B5A0B3B4-F971-4AD3-B530-DE860EFC07D2}" type="slidenum">
              <a:rPr lang="en-US" smtClean="0"/>
              <a:pPr/>
              <a:t>15</a:t>
            </a:fld>
            <a:endParaRPr lang="en-US"/>
          </a:p>
        </p:txBody>
      </p:sp>
    </p:spTree>
    <p:extLst>
      <p:ext uri="{BB962C8B-B14F-4D97-AF65-F5344CB8AC3E}">
        <p14:creationId xmlns:p14="http://schemas.microsoft.com/office/powerpoint/2010/main" val="270086333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3.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3.xml"/><Relationship Id="rId1" Type="http://schemas.openxmlformats.org/officeDocument/2006/relationships/tags" Target="../tags/tag115.xml"/><Relationship Id="rId5" Type="http://schemas.openxmlformats.org/officeDocument/2006/relationships/image" Target="../media/image5.emf"/><Relationship Id="rId4" Type="http://schemas.openxmlformats.org/officeDocument/2006/relationships/image" Target="../media/image15.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3.xml"/><Relationship Id="rId1" Type="http://schemas.openxmlformats.org/officeDocument/2006/relationships/tags" Target="../tags/tag116.xml"/><Relationship Id="rId4" Type="http://schemas.openxmlformats.org/officeDocument/2006/relationships/image" Target="../media/image15.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3.xml"/><Relationship Id="rId1" Type="http://schemas.openxmlformats.org/officeDocument/2006/relationships/tags" Target="../tags/tag117.xml"/><Relationship Id="rId4" Type="http://schemas.openxmlformats.org/officeDocument/2006/relationships/image" Target="../media/image15.emf"/></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8.xml"/><Relationship Id="rId1" Type="http://schemas.openxmlformats.org/officeDocument/2006/relationships/themeOverride" Target="../theme/themeOverride1.xml"/><Relationship Id="rId5" Type="http://schemas.openxmlformats.org/officeDocument/2006/relationships/image" Target="../media/image15.emf"/><Relationship Id="rId4" Type="http://schemas.openxmlformats.org/officeDocument/2006/relationships/oleObject" Target="../embeddings/oleObject104.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9.xml"/><Relationship Id="rId1" Type="http://schemas.openxmlformats.org/officeDocument/2006/relationships/themeOverride" Target="../theme/themeOverride2.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05.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0.xml"/><Relationship Id="rId1" Type="http://schemas.openxmlformats.org/officeDocument/2006/relationships/themeOverride" Target="../theme/themeOverride3.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06.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1.xml"/><Relationship Id="rId1" Type="http://schemas.openxmlformats.org/officeDocument/2006/relationships/themeOverride" Target="../theme/themeOverride4.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07.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2.xml"/><Relationship Id="rId1" Type="http://schemas.openxmlformats.org/officeDocument/2006/relationships/themeOverride" Target="../theme/themeOverride5.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08.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3.xml"/><Relationship Id="rId1" Type="http://schemas.openxmlformats.org/officeDocument/2006/relationships/themeOverride" Target="../theme/themeOverride6.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09.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4.xml"/><Relationship Id="rId1" Type="http://schemas.openxmlformats.org/officeDocument/2006/relationships/themeOverride" Target="../theme/themeOverride7.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10.bin"/></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3.xml"/><Relationship Id="rId1" Type="http://schemas.openxmlformats.org/officeDocument/2006/relationships/tags" Target="../tags/tag125.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6.xml"/><Relationship Id="rId1" Type="http://schemas.openxmlformats.org/officeDocument/2006/relationships/themeOverride" Target="../theme/themeOverride8.xml"/><Relationship Id="rId6" Type="http://schemas.openxmlformats.org/officeDocument/2006/relationships/image" Target="../media/image13.png"/><Relationship Id="rId5" Type="http://schemas.openxmlformats.org/officeDocument/2006/relationships/image" Target="../media/image12.emf"/><Relationship Id="rId4" Type="http://schemas.openxmlformats.org/officeDocument/2006/relationships/oleObject" Target="../embeddings/oleObject112.bin"/></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3.xml"/><Relationship Id="rId1" Type="http://schemas.openxmlformats.org/officeDocument/2006/relationships/tags" Target="../tags/tag127.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8.xml"/><Relationship Id="rId1" Type="http://schemas.openxmlformats.org/officeDocument/2006/relationships/themeOverride" Target="../theme/themeOverride9.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14.bin"/></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3.xml"/><Relationship Id="rId1" Type="http://schemas.openxmlformats.org/officeDocument/2006/relationships/tags" Target="../tags/tag129.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0.xml"/><Relationship Id="rId1" Type="http://schemas.openxmlformats.org/officeDocument/2006/relationships/themeOverride" Target="../theme/themeOverride10.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16.bin"/></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3.xml"/><Relationship Id="rId1" Type="http://schemas.openxmlformats.org/officeDocument/2006/relationships/tags" Target="../tags/tag131.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2.xml"/><Relationship Id="rId1" Type="http://schemas.openxmlformats.org/officeDocument/2006/relationships/themeOverride" Target="../theme/themeOverride11.xml"/><Relationship Id="rId5" Type="http://schemas.openxmlformats.org/officeDocument/2006/relationships/image" Target="../media/image15.emf"/><Relationship Id="rId4" Type="http://schemas.openxmlformats.org/officeDocument/2006/relationships/oleObject" Target="../embeddings/oleObject118.bin"/></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3.xml"/><Relationship Id="rId1" Type="http://schemas.openxmlformats.org/officeDocument/2006/relationships/tags" Target="../tags/tag133.xml"/><Relationship Id="rId4" Type="http://schemas.openxmlformats.org/officeDocument/2006/relationships/image" Target="../media/image15.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3.xml"/><Relationship Id="rId1" Type="http://schemas.openxmlformats.org/officeDocument/2006/relationships/tags" Target="../tags/tag134.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3.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3.xml"/><Relationship Id="rId1" Type="http://schemas.openxmlformats.org/officeDocument/2006/relationships/tags" Target="../tags/tag135.xml"/><Relationship Id="rId4" Type="http://schemas.openxmlformats.org/officeDocument/2006/relationships/image" Target="../media/image15.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3.xml"/><Relationship Id="rId1" Type="http://schemas.openxmlformats.org/officeDocument/2006/relationships/tags" Target="../tags/tag136.xml"/><Relationship Id="rId4" Type="http://schemas.openxmlformats.org/officeDocument/2006/relationships/image" Target="../media/image15.emf"/></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7.xml"/><Relationship Id="rId1" Type="http://schemas.openxmlformats.org/officeDocument/2006/relationships/themeOverride" Target="../theme/themeOverride12.xml"/><Relationship Id="rId5" Type="http://schemas.openxmlformats.org/officeDocument/2006/relationships/image" Target="../media/image15.emf"/><Relationship Id="rId4" Type="http://schemas.openxmlformats.org/officeDocument/2006/relationships/oleObject" Target="../embeddings/oleObject123.bin"/></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3.xml"/><Relationship Id="rId1" Type="http://schemas.openxmlformats.org/officeDocument/2006/relationships/tags" Target="../tags/tag138.xml"/><Relationship Id="rId4" Type="http://schemas.openxmlformats.org/officeDocument/2006/relationships/image" Target="../media/image15.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3.xml"/><Relationship Id="rId1" Type="http://schemas.openxmlformats.org/officeDocument/2006/relationships/tags" Target="../tags/tag139.xml"/><Relationship Id="rId5" Type="http://schemas.openxmlformats.org/officeDocument/2006/relationships/image" Target="../media/image2.emf"/><Relationship Id="rId4" Type="http://schemas.openxmlformats.org/officeDocument/2006/relationships/image" Target="../media/image7.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3.xml"/><Relationship Id="rId1" Type="http://schemas.openxmlformats.org/officeDocument/2006/relationships/tags" Target="../tags/tag140.xml"/><Relationship Id="rId4" Type="http://schemas.openxmlformats.org/officeDocument/2006/relationships/image" Target="../media/image15.emf"/></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2.xml"/><Relationship Id="rId1" Type="http://schemas.openxmlformats.org/officeDocument/2006/relationships/tags" Target="../tags/tag141.x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127.bin"/></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3.xml"/><Relationship Id="rId1" Type="http://schemas.openxmlformats.org/officeDocument/2006/relationships/tags" Target="../tags/tag143.xml"/><Relationship Id="rId5" Type="http://schemas.openxmlformats.org/officeDocument/2006/relationships/image" Target="../media/image5.emf"/><Relationship Id="rId4" Type="http://schemas.openxmlformats.org/officeDocument/2006/relationships/image" Target="../media/image15.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3.xml"/><Relationship Id="rId1" Type="http://schemas.openxmlformats.org/officeDocument/2006/relationships/tags" Target="../tags/tag144.xml"/><Relationship Id="rId5" Type="http://schemas.openxmlformats.org/officeDocument/2006/relationships/image" Target="../media/image5.emf"/><Relationship Id="rId4" Type="http://schemas.openxmlformats.org/officeDocument/2006/relationships/image" Target="../media/image15.emf"/></Relationships>
</file>

<file path=ppt/slideLayouts/_rels/slideLayout129.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3.xml"/><Relationship Id="rId1" Type="http://schemas.openxmlformats.org/officeDocument/2006/relationships/tags" Target="../tags/tag145.xml"/><Relationship Id="rId4" Type="http://schemas.openxmlformats.org/officeDocument/2006/relationships/image" Target="../media/image15.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130.xml.rels><?xml version="1.0" encoding="UTF-8" standalone="yes"?>
<Relationships xmlns="http://schemas.openxmlformats.org/package/2006/relationships"><Relationship Id="rId3" Type="http://schemas.openxmlformats.org/officeDocument/2006/relationships/oleObject" Target="../embeddings/oleObject131.bin"/><Relationship Id="rId2" Type="http://schemas.openxmlformats.org/officeDocument/2006/relationships/slideMaster" Target="../slideMasters/slideMaster3.xml"/><Relationship Id="rId1" Type="http://schemas.openxmlformats.org/officeDocument/2006/relationships/tags" Target="../tags/tag146.xml"/><Relationship Id="rId4" Type="http://schemas.openxmlformats.org/officeDocument/2006/relationships/image" Target="../media/image15.emf"/></Relationships>
</file>

<file path=ppt/slideLayouts/_rels/slideLayout131.xml.rels><?xml version="1.0" encoding="UTF-8" standalone="yes"?>
<Relationships xmlns="http://schemas.openxmlformats.org/package/2006/relationships"><Relationship Id="rId3" Type="http://schemas.openxmlformats.org/officeDocument/2006/relationships/oleObject" Target="../embeddings/oleObject132.bin"/><Relationship Id="rId2" Type="http://schemas.openxmlformats.org/officeDocument/2006/relationships/slideMaster" Target="../slideMasters/slideMaster3.xml"/><Relationship Id="rId1" Type="http://schemas.openxmlformats.org/officeDocument/2006/relationships/tags" Target="../tags/tag147.xml"/><Relationship Id="rId4" Type="http://schemas.openxmlformats.org/officeDocument/2006/relationships/image" Target="../media/image15.emf"/></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8.xml"/><Relationship Id="rId1" Type="http://schemas.openxmlformats.org/officeDocument/2006/relationships/themeOverride" Target="../theme/themeOverride13.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33.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9.xml"/><Relationship Id="rId1" Type="http://schemas.openxmlformats.org/officeDocument/2006/relationships/themeOverride" Target="../theme/themeOverride14.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34.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0.xml"/><Relationship Id="rId1" Type="http://schemas.openxmlformats.org/officeDocument/2006/relationships/themeOverride" Target="../theme/themeOverride15.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35.bin"/></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1.xml"/><Relationship Id="rId1" Type="http://schemas.openxmlformats.org/officeDocument/2006/relationships/themeOverride" Target="../theme/themeOverride16.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36.bin"/></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2.xml"/><Relationship Id="rId1" Type="http://schemas.openxmlformats.org/officeDocument/2006/relationships/themeOverride" Target="../theme/themeOverride17.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3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3.xml"/><Relationship Id="rId1" Type="http://schemas.openxmlformats.org/officeDocument/2006/relationships/themeOverride" Target="../theme/themeOverride18.xml"/><Relationship Id="rId6" Type="http://schemas.openxmlformats.org/officeDocument/2006/relationships/image" Target="../media/image8.png"/><Relationship Id="rId5" Type="http://schemas.openxmlformats.org/officeDocument/2006/relationships/image" Target="../media/image15.emf"/><Relationship Id="rId4" Type="http://schemas.openxmlformats.org/officeDocument/2006/relationships/oleObject" Target="../embeddings/oleObject138.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4.xml"/><Relationship Id="rId1" Type="http://schemas.openxmlformats.org/officeDocument/2006/relationships/themeOverride" Target="../theme/themeOverride19.xml"/><Relationship Id="rId6" Type="http://schemas.openxmlformats.org/officeDocument/2006/relationships/image" Target="../media/image10.png"/><Relationship Id="rId5" Type="http://schemas.openxmlformats.org/officeDocument/2006/relationships/image" Target="../media/image12.emf"/><Relationship Id="rId4" Type="http://schemas.openxmlformats.org/officeDocument/2006/relationships/oleObject" Target="../embeddings/oleObject139.bin"/></Relationships>
</file>

<file path=ppt/slideLayouts/_rels/slideLayout139.xml.rels><?xml version="1.0" encoding="UTF-8" standalone="yes"?>
<Relationships xmlns="http://schemas.openxmlformats.org/package/2006/relationships"><Relationship Id="rId3" Type="http://schemas.openxmlformats.org/officeDocument/2006/relationships/oleObject" Target="../embeddings/oleObject140.bin"/><Relationship Id="rId2" Type="http://schemas.openxmlformats.org/officeDocument/2006/relationships/slideMaster" Target="../slideMasters/slideMaster3.xml"/><Relationship Id="rId1" Type="http://schemas.openxmlformats.org/officeDocument/2006/relationships/tags" Target="../tags/tag155.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3.emf"/></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6.xml"/><Relationship Id="rId1" Type="http://schemas.openxmlformats.org/officeDocument/2006/relationships/themeOverride" Target="../theme/themeOverride20.xml"/><Relationship Id="rId6" Type="http://schemas.openxmlformats.org/officeDocument/2006/relationships/image" Target="../media/image13.png"/><Relationship Id="rId5" Type="http://schemas.openxmlformats.org/officeDocument/2006/relationships/image" Target="../media/image15.emf"/><Relationship Id="rId4" Type="http://schemas.openxmlformats.org/officeDocument/2006/relationships/oleObject" Target="../embeddings/oleObject141.bin"/></Relationships>
</file>

<file path=ppt/slideLayouts/_rels/slideLayout141.xml.rels><?xml version="1.0" encoding="UTF-8" standalone="yes"?>
<Relationships xmlns="http://schemas.openxmlformats.org/package/2006/relationships"><Relationship Id="rId3" Type="http://schemas.openxmlformats.org/officeDocument/2006/relationships/oleObject" Target="../embeddings/oleObject142.bin"/><Relationship Id="rId2" Type="http://schemas.openxmlformats.org/officeDocument/2006/relationships/slideMaster" Target="../slideMasters/slideMaster3.xml"/><Relationship Id="rId1" Type="http://schemas.openxmlformats.org/officeDocument/2006/relationships/tags" Target="../tags/tag157.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8.xml"/><Relationship Id="rId1" Type="http://schemas.openxmlformats.org/officeDocument/2006/relationships/themeOverride" Target="../theme/themeOverride21.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43.bin"/></Relationships>
</file>

<file path=ppt/slideLayouts/_rels/slideLayout143.xml.rels><?xml version="1.0" encoding="UTF-8" standalone="yes"?>
<Relationships xmlns="http://schemas.openxmlformats.org/package/2006/relationships"><Relationship Id="rId3" Type="http://schemas.openxmlformats.org/officeDocument/2006/relationships/oleObject" Target="../embeddings/oleObject144.bin"/><Relationship Id="rId2" Type="http://schemas.openxmlformats.org/officeDocument/2006/relationships/slideMaster" Target="../slideMasters/slideMaster3.xml"/><Relationship Id="rId1" Type="http://schemas.openxmlformats.org/officeDocument/2006/relationships/tags" Target="../tags/tag159.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0.xml"/><Relationship Id="rId1" Type="http://schemas.openxmlformats.org/officeDocument/2006/relationships/themeOverride" Target="../theme/themeOverride22.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45.bin"/></Relationships>
</file>

<file path=ppt/slideLayouts/_rels/slideLayout145.xml.rels><?xml version="1.0" encoding="UTF-8" standalone="yes"?>
<Relationships xmlns="http://schemas.openxmlformats.org/package/2006/relationships"><Relationship Id="rId3" Type="http://schemas.openxmlformats.org/officeDocument/2006/relationships/oleObject" Target="../embeddings/oleObject146.bin"/><Relationship Id="rId2" Type="http://schemas.openxmlformats.org/officeDocument/2006/relationships/slideMaster" Target="../slideMasters/slideMaster3.xml"/><Relationship Id="rId1" Type="http://schemas.openxmlformats.org/officeDocument/2006/relationships/tags" Target="../tags/tag161.xml"/><Relationship Id="rId5" Type="http://schemas.openxmlformats.org/officeDocument/2006/relationships/image" Target="../media/image11.png"/><Relationship Id="rId4" Type="http://schemas.openxmlformats.org/officeDocument/2006/relationships/image" Target="../media/image15.emf"/></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2.xml"/><Relationship Id="rId1" Type="http://schemas.openxmlformats.org/officeDocument/2006/relationships/themeOverride" Target="../theme/themeOverride23.xml"/><Relationship Id="rId5" Type="http://schemas.openxmlformats.org/officeDocument/2006/relationships/image" Target="../media/image15.emf"/><Relationship Id="rId4" Type="http://schemas.openxmlformats.org/officeDocument/2006/relationships/oleObject" Target="../embeddings/oleObject147.bin"/></Relationships>
</file>

<file path=ppt/slideLayouts/_rels/slideLayout147.xml.rels><?xml version="1.0" encoding="UTF-8" standalone="yes"?>
<Relationships xmlns="http://schemas.openxmlformats.org/package/2006/relationships"><Relationship Id="rId3" Type="http://schemas.openxmlformats.org/officeDocument/2006/relationships/oleObject" Target="../embeddings/oleObject148.bin"/><Relationship Id="rId2" Type="http://schemas.openxmlformats.org/officeDocument/2006/relationships/slideMaster" Target="../slideMasters/slideMaster3.xml"/><Relationship Id="rId1" Type="http://schemas.openxmlformats.org/officeDocument/2006/relationships/tags" Target="../tags/tag163.xml"/><Relationship Id="rId4" Type="http://schemas.openxmlformats.org/officeDocument/2006/relationships/image" Target="../media/image15.emf"/></Relationships>
</file>

<file path=ppt/slideLayouts/_rels/slideLayout148.xml.rels><?xml version="1.0" encoding="UTF-8" standalone="yes"?>
<Relationships xmlns="http://schemas.openxmlformats.org/package/2006/relationships"><Relationship Id="rId3" Type="http://schemas.openxmlformats.org/officeDocument/2006/relationships/oleObject" Target="../embeddings/oleObject149.bin"/><Relationship Id="rId2" Type="http://schemas.openxmlformats.org/officeDocument/2006/relationships/slideMaster" Target="../slideMasters/slideMaster3.xml"/><Relationship Id="rId1" Type="http://schemas.openxmlformats.org/officeDocument/2006/relationships/tags" Target="../tags/tag164.xml"/><Relationship Id="rId5" Type="http://schemas.openxmlformats.org/officeDocument/2006/relationships/image" Target="../media/image14.png"/><Relationship Id="rId4" Type="http://schemas.openxmlformats.org/officeDocument/2006/relationships/image" Target="../media/image7.emf"/></Relationships>
</file>

<file path=ppt/slideLayouts/_rels/slideLayout149.xml.rels><?xml version="1.0" encoding="UTF-8" standalone="yes"?>
<Relationships xmlns="http://schemas.openxmlformats.org/package/2006/relationships"><Relationship Id="rId3" Type="http://schemas.openxmlformats.org/officeDocument/2006/relationships/oleObject" Target="../embeddings/oleObject150.bin"/><Relationship Id="rId2" Type="http://schemas.openxmlformats.org/officeDocument/2006/relationships/slideMaster" Target="../slideMasters/slideMaster3.xml"/><Relationship Id="rId1" Type="http://schemas.openxmlformats.org/officeDocument/2006/relationships/tags" Target="../tags/tag165.xml"/><Relationship Id="rId4" Type="http://schemas.openxmlformats.org/officeDocument/2006/relationships/image" Target="../media/image15.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6.xml"/><Relationship Id="rId1" Type="http://schemas.openxmlformats.org/officeDocument/2006/relationships/themeOverride" Target="../theme/themeOverride24.xml"/><Relationship Id="rId6" Type="http://schemas.openxmlformats.org/officeDocument/2006/relationships/image" Target="../media/image10.png"/><Relationship Id="rId5" Type="http://schemas.openxmlformats.org/officeDocument/2006/relationships/image" Target="../media/image15.emf"/><Relationship Id="rId4" Type="http://schemas.openxmlformats.org/officeDocument/2006/relationships/oleObject" Target="../embeddings/oleObject151.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7.xml"/><Relationship Id="rId1" Type="http://schemas.openxmlformats.org/officeDocument/2006/relationships/themeOverride" Target="../theme/themeOverride25.xml"/><Relationship Id="rId5" Type="http://schemas.openxmlformats.org/officeDocument/2006/relationships/image" Target="../media/image15.emf"/><Relationship Id="rId4" Type="http://schemas.openxmlformats.org/officeDocument/2006/relationships/oleObject" Target="../embeddings/oleObject152.bin"/></Relationships>
</file>

<file path=ppt/slideLayouts/_rels/slideLayout152.xml.rels><?xml version="1.0" encoding="UTF-8" standalone="yes"?>
<Relationships xmlns="http://schemas.openxmlformats.org/package/2006/relationships"><Relationship Id="rId3" Type="http://schemas.openxmlformats.org/officeDocument/2006/relationships/oleObject" Target="../embeddings/oleObject153.bin"/><Relationship Id="rId2" Type="http://schemas.openxmlformats.org/officeDocument/2006/relationships/slideMaster" Target="../slideMasters/slideMaster3.xml"/><Relationship Id="rId1" Type="http://schemas.openxmlformats.org/officeDocument/2006/relationships/tags" Target="../tags/tag168.xml"/><Relationship Id="rId4" Type="http://schemas.openxmlformats.org/officeDocument/2006/relationships/image" Target="../media/image15.emf"/></Relationships>
</file>

<file path=ppt/slideLayouts/_rels/slideLayout153.xml.rels><?xml version="1.0" encoding="UTF-8" standalone="yes"?>
<Relationships xmlns="http://schemas.openxmlformats.org/package/2006/relationships"><Relationship Id="rId3" Type="http://schemas.openxmlformats.org/officeDocument/2006/relationships/oleObject" Target="../embeddings/oleObject154.bin"/><Relationship Id="rId2" Type="http://schemas.openxmlformats.org/officeDocument/2006/relationships/slideMaster" Target="../slideMasters/slideMaster3.xml"/><Relationship Id="rId1" Type="http://schemas.openxmlformats.org/officeDocument/2006/relationships/tags" Target="../tags/tag169.xml"/><Relationship Id="rId4" Type="http://schemas.openxmlformats.org/officeDocument/2006/relationships/image" Target="../media/image15.emf"/></Relationships>
</file>

<file path=ppt/slideLayouts/_rels/slideLayout154.xml.rels><?xml version="1.0" encoding="UTF-8" standalone="yes"?>
<Relationships xmlns="http://schemas.openxmlformats.org/package/2006/relationships"><Relationship Id="rId3" Type="http://schemas.openxmlformats.org/officeDocument/2006/relationships/oleObject" Target="../embeddings/oleObject155.bin"/><Relationship Id="rId2" Type="http://schemas.openxmlformats.org/officeDocument/2006/relationships/slideMaster" Target="../slideMasters/slideMaster3.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image" Target="../media/image7.emf"/></Relationships>
</file>

<file path=ppt/slideLayouts/_rels/slideLayout155.xml.rels><?xml version="1.0" encoding="UTF-8" standalone="yes"?>
<Relationships xmlns="http://schemas.openxmlformats.org/package/2006/relationships"><Relationship Id="rId3" Type="http://schemas.openxmlformats.org/officeDocument/2006/relationships/oleObject" Target="../embeddings/oleObject156.bin"/><Relationship Id="rId2" Type="http://schemas.openxmlformats.org/officeDocument/2006/relationships/slideMaster" Target="../slideMasters/slideMaster3.xml"/><Relationship Id="rId1" Type="http://schemas.openxmlformats.org/officeDocument/2006/relationships/tags" Target="../tags/tag171.xml"/><Relationship Id="rId4" Type="http://schemas.openxmlformats.org/officeDocument/2006/relationships/image" Target="../media/image15.emf"/></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173.xml"/><Relationship Id="rId2" Type="http://schemas.openxmlformats.org/officeDocument/2006/relationships/tags" Target="../tags/tag172.xml"/><Relationship Id="rId1" Type="http://schemas.openxmlformats.org/officeDocument/2006/relationships/themeOverride" Target="../theme/themeOverride26.xml"/><Relationship Id="rId6" Type="http://schemas.openxmlformats.org/officeDocument/2006/relationships/image" Target="../media/image6.emf"/><Relationship Id="rId5" Type="http://schemas.openxmlformats.org/officeDocument/2006/relationships/oleObject" Target="../embeddings/oleObject157.bin"/><Relationship Id="rId4" Type="http://schemas.openxmlformats.org/officeDocument/2006/relationships/slideMaster" Target="../slideMasters/slideMaster3.xml"/></Relationships>
</file>

<file path=ppt/slideLayouts/_rels/slideLayout15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4.xml"/><Relationship Id="rId1" Type="http://schemas.openxmlformats.org/officeDocument/2006/relationships/themeOverride" Target="../theme/themeOverride27.xml"/><Relationship Id="rId5" Type="http://schemas.openxmlformats.org/officeDocument/2006/relationships/image" Target="../media/image6.emf"/><Relationship Id="rId4" Type="http://schemas.openxmlformats.org/officeDocument/2006/relationships/oleObject" Target="../embeddings/oleObject158.bin"/></Relationships>
</file>

<file path=ppt/slideLayouts/_rels/slideLayout15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5.xml"/><Relationship Id="rId1" Type="http://schemas.openxmlformats.org/officeDocument/2006/relationships/themeOverride" Target="../theme/themeOverride28.xml"/><Relationship Id="rId5" Type="http://schemas.openxmlformats.org/officeDocument/2006/relationships/image" Target="../media/image6.emf"/><Relationship Id="rId4" Type="http://schemas.openxmlformats.org/officeDocument/2006/relationships/oleObject" Target="../embeddings/oleObject159.bin"/></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6.xml"/><Relationship Id="rId1" Type="http://schemas.openxmlformats.org/officeDocument/2006/relationships/themeOverride" Target="../theme/themeOverride29.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60.bin"/></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3.emf"/></Relationships>
</file>

<file path=ppt/slideLayouts/_rels/slideLayout16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6.emf"/><Relationship Id="rId4" Type="http://schemas.openxmlformats.org/officeDocument/2006/relationships/oleObject" Target="../embeddings/oleObject161.bin"/></Relationships>
</file>

<file path=ppt/slideLayouts/_rels/slideLayout161.xml.rels><?xml version="1.0" encoding="UTF-8" standalone="yes"?>
<Relationships xmlns="http://schemas.openxmlformats.org/package/2006/relationships"><Relationship Id="rId3" Type="http://schemas.openxmlformats.org/officeDocument/2006/relationships/oleObject" Target="../embeddings/oleObject162.bin"/><Relationship Id="rId2" Type="http://schemas.openxmlformats.org/officeDocument/2006/relationships/slideMaster" Target="../slideMasters/slideMaster3.xml"/><Relationship Id="rId1" Type="http://schemas.openxmlformats.org/officeDocument/2006/relationships/tags" Target="../tags/tag179.xml"/><Relationship Id="rId4" Type="http://schemas.openxmlformats.org/officeDocument/2006/relationships/image" Target="../media/image6.emf"/></Relationships>
</file>

<file path=ppt/slideLayouts/_rels/slideLayout162.xml.rels><?xml version="1.0" encoding="UTF-8" standalone="yes"?>
<Relationships xmlns="http://schemas.openxmlformats.org/package/2006/relationships"><Relationship Id="rId3" Type="http://schemas.openxmlformats.org/officeDocument/2006/relationships/oleObject" Target="../embeddings/oleObject163.bin"/><Relationship Id="rId2" Type="http://schemas.openxmlformats.org/officeDocument/2006/relationships/slideMaster" Target="../slideMasters/slideMaster3.xml"/><Relationship Id="rId1" Type="http://schemas.openxmlformats.org/officeDocument/2006/relationships/tags" Target="../tags/tag180.xml"/><Relationship Id="rId4" Type="http://schemas.openxmlformats.org/officeDocument/2006/relationships/image" Target="../media/image6.emf"/></Relationships>
</file>

<file path=ppt/slideLayouts/_rels/slideLayout16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1.xml"/><Relationship Id="rId1" Type="http://schemas.openxmlformats.org/officeDocument/2006/relationships/themeOverride" Target="../theme/themeOverride30.xml"/><Relationship Id="rId6" Type="http://schemas.openxmlformats.org/officeDocument/2006/relationships/image" Target="../media/image8.png"/><Relationship Id="rId5" Type="http://schemas.openxmlformats.org/officeDocument/2006/relationships/image" Target="../media/image6.emf"/><Relationship Id="rId4" Type="http://schemas.openxmlformats.org/officeDocument/2006/relationships/oleObject" Target="../embeddings/oleObject164.bin"/></Relationships>
</file>

<file path=ppt/slideLayouts/_rels/slideLayout16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2.xml"/><Relationship Id="rId1" Type="http://schemas.openxmlformats.org/officeDocument/2006/relationships/themeOverride" Target="../theme/themeOverride31.xml"/><Relationship Id="rId6" Type="http://schemas.openxmlformats.org/officeDocument/2006/relationships/image" Target="../media/image10.png"/><Relationship Id="rId5" Type="http://schemas.openxmlformats.org/officeDocument/2006/relationships/image" Target="../media/image6.emf"/><Relationship Id="rId4" Type="http://schemas.openxmlformats.org/officeDocument/2006/relationships/oleObject" Target="../embeddings/oleObject165.bin"/></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3.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5.emf"/><Relationship Id="rId4" Type="http://schemas.openxmlformats.org/officeDocument/2006/relationships/image" Target="../media/image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3.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34.xml"/><Relationship Id="rId7" Type="http://schemas.openxmlformats.org/officeDocument/2006/relationships/image" Target="../media/image7.emf"/><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oleObject" Target="../embeddings/oleObject31.bin"/><Relationship Id="rId5" Type="http://schemas.openxmlformats.org/officeDocument/2006/relationships/slideMaster" Target="../slideMasters/slideMaster2.xml"/><Relationship Id="rId4" Type="http://schemas.openxmlformats.org/officeDocument/2006/relationships/tags" Target="../tags/tag35.xml"/><Relationship Id="rId9" Type="http://schemas.openxmlformats.org/officeDocument/2006/relationships/image" Target="../media/image9.jpeg"/></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8.xml"/><Relationship Id="rId4" Type="http://schemas.openxmlformats.org/officeDocument/2006/relationships/image" Target="../media/image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39.xml"/><Relationship Id="rId4" Type="http://schemas.openxmlformats.org/officeDocument/2006/relationships/image" Target="../media/image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0.xml"/><Relationship Id="rId4" Type="http://schemas.openxmlformats.org/officeDocument/2006/relationships/image" Target="../media/image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3.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13.png"/><Relationship Id="rId4" Type="http://schemas.openxmlformats.org/officeDocument/2006/relationships/image" Target="../media/image12.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49.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4.xml"/><Relationship Id="rId4" Type="http://schemas.openxmlformats.org/officeDocument/2006/relationships/image" Target="../media/image3.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5.xml"/><Relationship Id="rId4" Type="http://schemas.openxmlformats.org/officeDocument/2006/relationships/image" Target="../media/image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6.xml"/><Relationship Id="rId5" Type="http://schemas.openxmlformats.org/officeDocument/2006/relationships/image" Target="../media/image14.png"/><Relationship Id="rId4" Type="http://schemas.openxmlformats.org/officeDocument/2006/relationships/image" Target="../media/image12.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58.xml"/><Relationship Id="rId4" Type="http://schemas.openxmlformats.org/officeDocument/2006/relationships/image" Target="../media/image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59.xml"/><Relationship Id="rId4" Type="http://schemas.openxmlformats.org/officeDocument/2006/relationships/image" Target="../media/image3.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3.emf"/></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9.jpeg"/><Relationship Id="rId2" Type="http://schemas.openxmlformats.org/officeDocument/2006/relationships/tags" Target="../tags/tag62.xml"/><Relationship Id="rId1" Type="http://schemas.openxmlformats.org/officeDocument/2006/relationships/tags" Target="../tags/tag61.xml"/><Relationship Id="rId6" Type="http://schemas.openxmlformats.org/officeDocument/2006/relationships/image" Target="../media/image7.emf"/><Relationship Id="rId5" Type="http://schemas.openxmlformats.org/officeDocument/2006/relationships/oleObject" Target="../embeddings/oleObject57.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4" Type="http://schemas.openxmlformats.org/officeDocument/2006/relationships/image" Target="../media/image3.emf"/></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tags" Target="../tags/tag67.xml"/><Relationship Id="rId7" Type="http://schemas.openxmlformats.org/officeDocument/2006/relationships/image" Target="../media/image7.emf"/><Relationship Id="rId2" Type="http://schemas.openxmlformats.org/officeDocument/2006/relationships/tags" Target="../tags/tag66.xml"/><Relationship Id="rId1" Type="http://schemas.openxmlformats.org/officeDocument/2006/relationships/tags" Target="../tags/tag65.xml"/><Relationship Id="rId6" Type="http://schemas.openxmlformats.org/officeDocument/2006/relationships/oleObject" Target="../embeddings/oleObject59.bin"/><Relationship Id="rId5" Type="http://schemas.openxmlformats.org/officeDocument/2006/relationships/slideMaster" Target="../slideMasters/slideMaster2.xml"/><Relationship Id="rId4" Type="http://schemas.openxmlformats.org/officeDocument/2006/relationships/tags" Target="../tags/tag68.xml"/><Relationship Id="rId9" Type="http://schemas.openxmlformats.org/officeDocument/2006/relationships/image" Target="../media/image9.jpeg"/></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3.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8.png"/><Relationship Id="rId4" Type="http://schemas.openxmlformats.org/officeDocument/2006/relationships/image" Target="../media/image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80.xml"/><Relationship Id="rId5" Type="http://schemas.openxmlformats.org/officeDocument/2006/relationships/image" Target="../media/image10.png"/><Relationship Id="rId4" Type="http://schemas.openxmlformats.org/officeDocument/2006/relationships/image" Target="../media/image12.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3.png"/><Relationship Id="rId4" Type="http://schemas.openxmlformats.org/officeDocument/2006/relationships/image" Target="../media/image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4.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5.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1.png"/><Relationship Id="rId4" Type="http://schemas.openxmlformats.org/officeDocument/2006/relationships/image" Target="../media/image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3.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3.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3.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90.xml"/><Relationship Id="rId5" Type="http://schemas.openxmlformats.org/officeDocument/2006/relationships/image" Target="../media/image14.png"/><Relationship Id="rId4" Type="http://schemas.openxmlformats.org/officeDocument/2006/relationships/image" Target="../media/image7.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92.xml"/><Relationship Id="rId5" Type="http://schemas.openxmlformats.org/officeDocument/2006/relationships/image" Target="../media/image10.png"/><Relationship Id="rId4" Type="http://schemas.openxmlformats.org/officeDocument/2006/relationships/image" Target="../media/image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3.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3.emf"/></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98.xml"/><Relationship Id="rId7" Type="http://schemas.openxmlformats.org/officeDocument/2006/relationships/image" Target="../media/image9.jpe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7.emf"/><Relationship Id="rId5" Type="http://schemas.openxmlformats.org/officeDocument/2006/relationships/oleObject" Target="../embeddings/oleObject87.bin"/><Relationship Id="rId4"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3.emf"/></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6.emf"/><Relationship Id="rId4" Type="http://schemas.openxmlformats.org/officeDocument/2006/relationships/oleObject" Target="../embeddings/oleObject89.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4.emf"/><Relationship Id="rId4" Type="http://schemas.openxmlformats.org/officeDocument/2006/relationships/image" Target="../media/image3.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6.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6.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104.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6.xml"/><Relationship Id="rId1" Type="http://schemas.openxmlformats.org/officeDocument/2006/relationships/tags" Target="../tags/tag105.xml"/><Relationship Id="rId5" Type="http://schemas.openxmlformats.org/officeDocument/2006/relationships/image" Target="../media/image6.emf"/><Relationship Id="rId4" Type="http://schemas.openxmlformats.org/officeDocument/2006/relationships/oleObject" Target="../embeddings/oleObject93.bin"/></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6.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6.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109.xml"/><Relationship Id="rId5" Type="http://schemas.openxmlformats.org/officeDocument/2006/relationships/image" Target="../media/image8.png"/><Relationship Id="rId4" Type="http://schemas.openxmlformats.org/officeDocument/2006/relationships/image" Target="../media/image6.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110.xml"/><Relationship Id="rId5" Type="http://schemas.openxmlformats.org/officeDocument/2006/relationships/image" Target="../media/image10.png"/><Relationship Id="rId4" Type="http://schemas.openxmlformats.org/officeDocument/2006/relationships/image" Target="../media/image6.emf"/></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4.emf"/><Relationship Id="rId5" Type="http://schemas.openxmlformats.org/officeDocument/2006/relationships/image" Target="../media/image7.emf"/><Relationship Id="rId4" Type="http://schemas.openxmlformats.org/officeDocument/2006/relationships/oleObject" Target="../embeddings/oleObject99.bin"/></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3.xml"/><Relationship Id="rId1" Type="http://schemas.openxmlformats.org/officeDocument/2006/relationships/tags" Target="../tags/tag114.xml"/><Relationship Id="rId5" Type="http://schemas.openxmlformats.org/officeDocument/2006/relationships/image" Target="../media/image5.emf"/><Relationship Id="rId4" Type="http://schemas.openxmlformats.org/officeDocument/2006/relationships/image" Target="../media/image15.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ogodia">
    <p:bg>
      <p:bgPr>
        <a:solidFill>
          <a:srgbClr val="000000"/>
        </a:solidFill>
        <a:effectLst/>
      </p:bgPr>
    </p:bg>
    <p:spTree>
      <p:nvGrpSpPr>
        <p:cNvPr id="1" name=""/>
        <p:cNvGrpSpPr/>
        <p:nvPr/>
      </p:nvGrpSpPr>
      <p:grpSpPr>
        <a:xfrm>
          <a:off x="0" y="0"/>
          <a:ext cx="0" cy="0"/>
          <a:chOff x="0" y="0"/>
          <a:chExt cx="0" cy="0"/>
        </a:xfrm>
      </p:grpSpPr>
      <p:pic>
        <p:nvPicPr>
          <p:cNvPr id="4" name="Kuva 3"/>
          <p:cNvPicPr>
            <a:picLocks noChangeAspect="1"/>
          </p:cNvPicPr>
          <p:nvPr userDrawn="1"/>
        </p:nvPicPr>
        <p:blipFill>
          <a:blip r:embed="rId2"/>
          <a:stretch>
            <a:fillRect/>
          </a:stretch>
        </p:blipFill>
        <p:spPr>
          <a:xfrm>
            <a:off x="2079603" y="1975958"/>
            <a:ext cx="4813996" cy="1081796"/>
          </a:xfrm>
          <a:prstGeom prst="rect">
            <a:avLst/>
          </a:prstGeom>
        </p:spPr>
      </p:pic>
    </p:spTree>
    <p:extLst>
      <p:ext uri="{BB962C8B-B14F-4D97-AF65-F5344CB8AC3E}">
        <p14:creationId xmlns:p14="http://schemas.microsoft.com/office/powerpoint/2010/main" val="1151411044"/>
      </p:ext>
    </p:extLst>
  </p:cSld>
  <p:clrMapOvr>
    <a:masterClrMapping/>
  </p:clrMapOvr>
  <p:transition spd="med">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ioletti">
    <p:bg>
      <p:bgPr>
        <a:solidFill>
          <a:srgbClr val="8A0FA6"/>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455246A-9BAE-6936-6A93-6E559225714E}"/>
              </a:ext>
            </a:extLst>
          </p:cNvPr>
          <p:cNvGraphicFramePr>
            <a:graphicFrameLocks noChangeAspect="1"/>
          </p:cNvGraphicFramePr>
          <p:nvPr userDrawn="1">
            <p:custDataLst>
              <p:tags r:id="rId1"/>
            </p:custDataLst>
            <p:extLst>
              <p:ext uri="{D42A27DB-BD31-4B8C-83A1-F6EECF244321}">
                <p14:modId xmlns:p14="http://schemas.microsoft.com/office/powerpoint/2010/main" val="36365723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6455246A-9BAE-6936-6A93-6E55922571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26CD9711-B79C-44AA-92AF-F487B44B99C1}"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7" name="Tekstin paikkamerkki 2"/>
          <p:cNvSpPr>
            <a:spLocks noGrp="1"/>
          </p:cNvSpPr>
          <p:nvPr>
            <p:ph idx="21" hasCustomPrompt="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6"/>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376262288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DFA5804-2183-4FD3-8AA0-7F1E35FA4E74}"/>
              </a:ext>
            </a:extLst>
          </p:cNvPr>
          <p:cNvGraphicFramePr>
            <a:graphicFrameLocks noChangeAspect="1"/>
          </p:cNvGraphicFramePr>
          <p:nvPr userDrawn="1">
            <p:custDataLst>
              <p:tags r:id="rId1"/>
            </p:custDataLst>
            <p:extLst>
              <p:ext uri="{D42A27DB-BD31-4B8C-83A1-F6EECF244321}">
                <p14:modId xmlns:p14="http://schemas.microsoft.com/office/powerpoint/2010/main" val="15740774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1DFA5804-2183-4FD3-8AA0-7F1E35FA4E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381221" y="1377908"/>
            <a:ext cx="8381779" cy="3032289"/>
          </a:xfrm>
        </p:spPr>
        <p:txBody>
          <a:bodyPr/>
          <a:lstStyle>
            <a:lvl1pPr>
              <a:lnSpc>
                <a:spcPct val="100000"/>
              </a:lnSpc>
              <a:spcBef>
                <a:spcPts val="0"/>
              </a:spcBef>
              <a:spcAft>
                <a:spcPts val="0"/>
              </a:spcAft>
              <a:defRPr sz="800">
                <a:latin typeface="+mn-lt"/>
                <a:ea typeface="+mn-ea"/>
                <a:cs typeface="+mn-cs"/>
              </a:defRPr>
            </a:lvl1pPr>
            <a:lvl2pPr>
              <a:lnSpc>
                <a:spcPct val="100000"/>
              </a:lnSpc>
              <a:spcBef>
                <a:spcPts val="0"/>
              </a:spcBef>
              <a:spcAft>
                <a:spcPts val="0"/>
              </a:spcAft>
              <a:defRPr sz="800">
                <a:latin typeface="+mn-lt"/>
                <a:ea typeface="+mn-ea"/>
                <a:cs typeface="+mn-cs"/>
              </a:defRPr>
            </a:lvl2pPr>
            <a:lvl3pPr>
              <a:lnSpc>
                <a:spcPct val="100000"/>
              </a:lnSpc>
              <a:spcBef>
                <a:spcPts val="0"/>
              </a:spcBef>
              <a:spcAft>
                <a:spcPts val="0"/>
              </a:spcAft>
              <a:defRPr sz="800">
                <a:latin typeface="+mn-lt"/>
                <a:ea typeface="+mn-ea"/>
                <a:cs typeface="+mn-cs"/>
              </a:defRPr>
            </a:lvl3pPr>
            <a:lvl4pPr>
              <a:lnSpc>
                <a:spcPct val="100000"/>
              </a:lnSpc>
              <a:spcBef>
                <a:spcPts val="0"/>
              </a:spcBef>
              <a:spcAft>
                <a:spcPts val="0"/>
              </a:spcAft>
              <a:defRPr sz="1200">
                <a:latin typeface="+mn-lt"/>
                <a:ea typeface="+mn-ea"/>
                <a:cs typeface="+mn-cs"/>
              </a:defRPr>
            </a:lvl4pPr>
            <a:lvl5pPr>
              <a:lnSpc>
                <a:spcPct val="100000"/>
              </a:lnSpc>
              <a:spcBef>
                <a:spcPts val="0"/>
              </a:spcBef>
              <a:spcAft>
                <a:spcPts val="0"/>
              </a:spcAft>
              <a:defRPr sz="1200">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Kuva 9">
            <a:extLst>
              <a:ext uri="{FF2B5EF4-FFF2-40B4-BE49-F238E27FC236}">
                <a16:creationId xmlns:a16="http://schemas.microsoft.com/office/drawing/2014/main" id="{05160788-500B-4834-9313-EF6C5B5DBE26}"/>
              </a:ext>
            </a:extLst>
          </p:cNvPr>
          <p:cNvPicPr>
            <a:picLocks noChangeAspect="1"/>
          </p:cNvPicPr>
          <p:nvPr userDrawn="1"/>
        </p:nvPicPr>
        <p:blipFill>
          <a:blip r:embed="rId5"/>
          <a:stretch>
            <a:fillRect/>
          </a:stretch>
        </p:blipFill>
        <p:spPr>
          <a:xfrm>
            <a:off x="8335624" y="368923"/>
            <a:ext cx="437056" cy="437032"/>
          </a:xfrm>
          <a:prstGeom prst="rect">
            <a:avLst/>
          </a:prstGeom>
        </p:spPr>
      </p:pic>
      <p:sp>
        <p:nvSpPr>
          <p:cNvPr id="10" name="Date Placeholder 3">
            <a:extLst>
              <a:ext uri="{FF2B5EF4-FFF2-40B4-BE49-F238E27FC236}">
                <a16:creationId xmlns:a16="http://schemas.microsoft.com/office/drawing/2014/main" id="{019A8070-33B3-4133-BF7D-1C40EDDB99A6}"/>
              </a:ext>
            </a:extLst>
          </p:cNvPr>
          <p:cNvSpPr txBox="1">
            <a:spLocks/>
          </p:cNvSpPr>
          <p:nvPr userDrawn="1"/>
        </p:nvSpPr>
        <p:spPr>
          <a:xfrm>
            <a:off x="282027" y="4728047"/>
            <a:ext cx="916709"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fld id="{CBE7DC44-C376-4F45-AAD9-CF0021B2BA36}" type="datetime1">
              <a:rPr kumimoji="0" lang="en-US" sz="700" b="0" i="0" u="none" strike="noStrike" kern="1200" cap="none" spc="0" normalizeH="0" baseline="0" noProof="0" smtClean="0">
                <a:ln>
                  <a:noFill/>
                </a:ln>
                <a:solidFill>
                  <a:srgbClr val="29282E"/>
                </a:solidFill>
                <a:effectLst/>
                <a:uLnTx/>
                <a:uFillTx/>
                <a:latin typeface="Verdana" panose="020B0604030504040204" pitchFamily="34" charset="0"/>
                <a:ea typeface="Verdana" panose="020B0604030504040204" pitchFamily="34" charset="0"/>
              </a:rPr>
              <a:pPr marL="0" marR="0" lvl="0" indent="0" algn="l" defTabSz="679871" rtl="0" eaLnBrk="1" fontAlgn="auto" latinLnBrk="0" hangingPunct="1">
                <a:lnSpc>
                  <a:spcPct val="100000"/>
                </a:lnSpc>
                <a:spcBef>
                  <a:spcPts val="0"/>
                </a:spcBef>
                <a:spcAft>
                  <a:spcPts val="0"/>
                </a:spcAft>
                <a:buClrTx/>
                <a:buSzTx/>
                <a:buFontTx/>
                <a:buNone/>
                <a:tabLst/>
                <a:defRPr/>
              </a:pPr>
              <a:t>4/9/2024</a:t>
            </a:fld>
            <a:endPar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endParaRPr>
          </a:p>
        </p:txBody>
      </p:sp>
      <p:sp>
        <p:nvSpPr>
          <p:cNvPr id="11" name="Footer Placeholder 4">
            <a:extLst>
              <a:ext uri="{FF2B5EF4-FFF2-40B4-BE49-F238E27FC236}">
                <a16:creationId xmlns:a16="http://schemas.microsoft.com/office/drawing/2014/main" id="{EC488045-A6F4-42B9-9405-F49740ADF264}"/>
              </a:ext>
            </a:extLst>
          </p:cNvPr>
          <p:cNvSpPr txBox="1">
            <a:spLocks/>
          </p:cNvSpPr>
          <p:nvPr userDrawn="1"/>
        </p:nvSpPr>
        <p:spPr>
          <a:xfrm>
            <a:off x="1111510" y="4728047"/>
            <a:ext cx="1775664"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Technology Industries of Finland</a:t>
            </a:r>
          </a:p>
        </p:txBody>
      </p:sp>
      <p:sp>
        <p:nvSpPr>
          <p:cNvPr id="12" name="Title Placeholder 1">
            <a:extLst>
              <a:ext uri="{FF2B5EF4-FFF2-40B4-BE49-F238E27FC236}">
                <a16:creationId xmlns:a16="http://schemas.microsoft.com/office/drawing/2014/main" id="{C1D33682-0DC4-4A8F-A8A9-1B8AD5DB97E1}"/>
              </a:ext>
            </a:extLst>
          </p:cNvPr>
          <p:cNvSpPr>
            <a:spLocks noGrp="1"/>
          </p:cNvSpPr>
          <p:nvPr>
            <p:ph type="title" hasCustomPrompt="1"/>
          </p:nvPr>
        </p:nvSpPr>
        <p:spPr>
          <a:xfrm>
            <a:off x="252414" y="282575"/>
            <a:ext cx="7991475" cy="820738"/>
          </a:xfrm>
          <a:prstGeom prst="rect">
            <a:avLst/>
          </a:prstGeom>
        </p:spPr>
        <p:txBody>
          <a:bodyPr vert="horz" wrap="square" lIns="91440" tIns="45720" rIns="91440" bIns="45720" rtlCol="0" anchor="t">
            <a:noAutofit/>
          </a:bodyPr>
          <a:lstStyle/>
          <a:p>
            <a:r>
              <a:rPr lang="en-US"/>
              <a:t>Click to add title</a:t>
            </a:r>
          </a:p>
        </p:txBody>
      </p:sp>
    </p:spTree>
    <p:extLst>
      <p:ext uri="{BB962C8B-B14F-4D97-AF65-F5344CB8AC3E}">
        <p14:creationId xmlns:p14="http://schemas.microsoft.com/office/powerpoint/2010/main" val="52470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BF196A1-EE90-4A60-BBAD-A632CC1B5D7B}"/>
              </a:ext>
            </a:extLst>
          </p:cNvPr>
          <p:cNvGraphicFramePr>
            <a:graphicFrameLocks noChangeAspect="1"/>
          </p:cNvGraphicFramePr>
          <p:nvPr userDrawn="1">
            <p:custDataLst>
              <p:tags r:id="rId1"/>
            </p:custDataLst>
            <p:extLst>
              <p:ext uri="{D42A27DB-BD31-4B8C-83A1-F6EECF244321}">
                <p14:modId xmlns:p14="http://schemas.microsoft.com/office/powerpoint/2010/main" val="39469270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BF196A1-EE90-4A60-BBAD-A632CC1B5D7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endParaRPr>
          </a:p>
        </p:txBody>
      </p:sp>
      <p:sp>
        <p:nvSpPr>
          <p:cNvPr id="9" name="Title 1"/>
          <p:cNvSpPr>
            <a:spLocks noGrp="1"/>
          </p:cNvSpPr>
          <p:nvPr>
            <p:ph type="title" hasCustomPrompt="1"/>
          </p:nvPr>
        </p:nvSpPr>
        <p:spPr bwMode="ltGray">
          <a:xfrm>
            <a:off x="252413" y="1158205"/>
            <a:ext cx="2809387" cy="1121846"/>
          </a:xfrm>
          <a:noFill/>
        </p:spPr>
        <p:txBody>
          <a:bodyPr vert="horz" wrap="square" lIns="91440" tIns="45720" rIns="91440" bIns="45720" anchor="b">
            <a:noAutofit/>
          </a:bodyPr>
          <a:lstStyle>
            <a:lvl1pPr>
              <a:defRPr sz="1400">
                <a:solidFill>
                  <a:srgbClr val="000000"/>
                </a:solidFill>
                <a:latin typeface="+mj-lt"/>
                <a:ea typeface="+mj-ea"/>
                <a:cs typeface="+mj-cs"/>
              </a:defRPr>
            </a:lvl1pPr>
          </a:lstStyle>
          <a:p>
            <a:r>
              <a:rPr lang="en-US"/>
              <a:t>Click to add title</a:t>
            </a: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8248310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solidFill>
          <a:srgbClr val="000000"/>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0926B2E-5CFC-4C0E-9608-E29C60CA9E91}"/>
              </a:ext>
            </a:extLst>
          </p:cNvPr>
          <p:cNvGraphicFramePr>
            <a:graphicFrameLocks noChangeAspect="1"/>
          </p:cNvGraphicFramePr>
          <p:nvPr userDrawn="1">
            <p:custDataLst>
              <p:tags r:id="rId1"/>
            </p:custDataLst>
            <p:extLst>
              <p:ext uri="{D42A27DB-BD31-4B8C-83A1-F6EECF244321}">
                <p14:modId xmlns:p14="http://schemas.microsoft.com/office/powerpoint/2010/main" val="541352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90926B2E-5CFC-4C0E-9608-E29C60CA9E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381221" y="2001031"/>
            <a:ext cx="8381779"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59" name="Rectangle 58"/>
          <p:cNvSpPr/>
          <p:nvPr userDrawn="1"/>
        </p:nvSpPr>
        <p:spPr bwMode="white">
          <a:xfrm>
            <a:off x="381221"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14" name="Slide Number Placeholder 2">
            <a:extLst>
              <a:ext uri="{FF2B5EF4-FFF2-40B4-BE49-F238E27FC236}">
                <a16:creationId xmlns:a16="http://schemas.microsoft.com/office/drawing/2014/main" id="{A93DE1DC-0314-4192-8C52-60B52A2B1659}"/>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0088506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C3E194FC-A681-475D-A0E0-2CB7E19D9FE6}"/>
              </a:ext>
            </a:extLst>
          </p:cNvPr>
          <p:cNvGraphicFramePr>
            <a:graphicFrameLocks noChangeAspect="1"/>
          </p:cNvGraphicFramePr>
          <p:nvPr userDrawn="1">
            <p:custDataLst>
              <p:tags r:id="rId2"/>
            </p:custDataLst>
            <p:extLst>
              <p:ext uri="{D42A27DB-BD31-4B8C-83A1-F6EECF244321}">
                <p14:modId xmlns:p14="http://schemas.microsoft.com/office/powerpoint/2010/main" val="2543300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C3E194FC-A681-475D-A0E0-2CB7E19D9FE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7" name="Title 1"/>
          <p:cNvSpPr>
            <a:spLocks noGrp="1"/>
          </p:cNvSpPr>
          <p:nvPr>
            <p:ph type="title" hasCustomPrompt="1"/>
          </p:nvPr>
        </p:nvSpPr>
        <p:spPr bwMode="blackWhite">
          <a:xfrm>
            <a:off x="252000" y="2870100"/>
            <a:ext cx="8511000" cy="1530900"/>
          </a:xfrm>
        </p:spPr>
        <p:txBody>
          <a:bodyPr vert="horz" anchor="t">
            <a:noAutofit/>
          </a:bodyPr>
          <a:lstStyle>
            <a:lvl1pPr>
              <a:lnSpc>
                <a:spcPts val="4500"/>
              </a:lnSpc>
              <a:defRPr sz="4000">
                <a:solidFill>
                  <a:schemeClr val="bg1"/>
                </a:solidFill>
                <a:latin typeface="+mj-lt"/>
                <a:ea typeface="+mj-ea"/>
                <a:cs typeface="+mj-cs"/>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381221" y="2760012"/>
            <a:ext cx="8765181"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20" name="Slide Number Placeholder 2">
            <a:extLst>
              <a:ext uri="{FF2B5EF4-FFF2-40B4-BE49-F238E27FC236}">
                <a16:creationId xmlns:a16="http://schemas.microsoft.com/office/drawing/2014/main" id="{96288DEF-B69B-48C1-9868-88E3969BF155}"/>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40865994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E8D4B9E-36A3-4FDB-BF40-02DB3CC523F5}"/>
              </a:ext>
            </a:extLst>
          </p:cNvPr>
          <p:cNvGraphicFramePr>
            <a:graphicFrameLocks noChangeAspect="1"/>
          </p:cNvGraphicFramePr>
          <p:nvPr userDrawn="1">
            <p:custDataLst>
              <p:tags r:id="rId2"/>
            </p:custDataLst>
            <p:extLst>
              <p:ext uri="{D42A27DB-BD31-4B8C-83A1-F6EECF244321}">
                <p14:modId xmlns:p14="http://schemas.microsoft.com/office/powerpoint/2010/main" val="773551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E8D4B9E-36A3-4FDB-BF40-02DB3CC523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6" name="Rectangle 25"/>
          <p:cNvSpPr/>
          <p:nvPr userDrawn="1"/>
        </p:nvSpPr>
        <p:spPr bwMode="white">
          <a:xfrm>
            <a:off x="0" y="0"/>
            <a:ext cx="3059631"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252412" y="2010827"/>
            <a:ext cx="2565998" cy="1121846"/>
          </a:xfrm>
          <a:prstGeom prst="rect">
            <a:avLst/>
          </a:prstGeom>
        </p:spPr>
        <p:txBody>
          <a:bodyPr vert="horz" anchor="ctr">
            <a:noAutofit/>
          </a:bodyPr>
          <a:lstStyle>
            <a:lvl1pPr>
              <a:defRPr sz="1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4" name="Slide Number Placeholder 2">
            <a:extLst>
              <a:ext uri="{FF2B5EF4-FFF2-40B4-BE49-F238E27FC236}">
                <a16:creationId xmlns:a16="http://schemas.microsoft.com/office/drawing/2014/main" id="{45BD354A-238D-4363-B086-F7A8A1FD88B2}"/>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6013264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50743E-4A86-4E79-9E0A-0BCEB71D6C05}"/>
              </a:ext>
            </a:extLst>
          </p:cNvPr>
          <p:cNvGraphicFramePr>
            <a:graphicFrameLocks noChangeAspect="1"/>
          </p:cNvGraphicFramePr>
          <p:nvPr userDrawn="1">
            <p:custDataLst>
              <p:tags r:id="rId2"/>
            </p:custDataLst>
            <p:extLst>
              <p:ext uri="{D42A27DB-BD31-4B8C-83A1-F6EECF244321}">
                <p14:modId xmlns:p14="http://schemas.microsoft.com/office/powerpoint/2010/main" val="10416396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AC50743E-4A86-4E79-9E0A-0BCEB71D6C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3" name="Title 3"/>
          <p:cNvSpPr>
            <a:spLocks noGrp="1"/>
          </p:cNvSpPr>
          <p:nvPr>
            <p:ph type="title" hasCustomPrompt="1"/>
          </p:nvPr>
        </p:nvSpPr>
        <p:spPr>
          <a:xfrm>
            <a:off x="252413" y="282575"/>
            <a:ext cx="4912687" cy="820738"/>
          </a:xfrm>
          <a:prstGeom prst="rect">
            <a:avLst/>
          </a:prstGeom>
        </p:spPr>
        <p:txBody>
          <a:bodyPr vert="horz" wrap="square" lIns="91440" tIns="45720" rIns="91440" bIns="45720" anchor="t" anchorCtr="0">
            <a:noAutofit/>
          </a:bodyPr>
          <a:lstStyle>
            <a:lvl1pPr marL="18288" indent="0" algn="l">
              <a:lnSpc>
                <a:spcPts val="2700"/>
              </a:lnSpc>
              <a:spcBef>
                <a:spcPts val="400"/>
              </a:spcBef>
              <a:spcAft>
                <a:spcPts val="0"/>
              </a:spcAft>
              <a:defRPr sz="140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sp>
        <p:nvSpPr>
          <p:cNvPr id="24" name="Slide Number Placeholder 2">
            <a:extLst>
              <a:ext uri="{FF2B5EF4-FFF2-40B4-BE49-F238E27FC236}">
                <a16:creationId xmlns:a16="http://schemas.microsoft.com/office/drawing/2014/main" id="{C94069A0-75AC-4B77-8B2B-E42B9A57509D}"/>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01022088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56F0E7F-74DC-4031-87BC-4BAE97588265}"/>
              </a:ext>
            </a:extLst>
          </p:cNvPr>
          <p:cNvGraphicFramePr>
            <a:graphicFrameLocks noChangeAspect="1"/>
          </p:cNvGraphicFramePr>
          <p:nvPr userDrawn="1">
            <p:custDataLst>
              <p:tags r:id="rId2"/>
            </p:custDataLst>
            <p:extLst>
              <p:ext uri="{D42A27DB-BD31-4B8C-83A1-F6EECF244321}">
                <p14:modId xmlns:p14="http://schemas.microsoft.com/office/powerpoint/2010/main" val="4008000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56F0E7F-74DC-4031-87BC-4BAE9758826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252412" y="2010827"/>
            <a:ext cx="2565998" cy="1121846"/>
          </a:xfrm>
          <a:prstGeom prst="rect">
            <a:avLst/>
          </a:prstGeom>
        </p:spPr>
        <p:txBody>
          <a:bodyPr vert="horz" anchor="ctr">
            <a:noAutofit/>
          </a:bodyPr>
          <a:lstStyle>
            <a:lvl1pPr>
              <a:defRPr sz="1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7" name="Slide Number Placeholder 2">
            <a:extLst>
              <a:ext uri="{FF2B5EF4-FFF2-40B4-BE49-F238E27FC236}">
                <a16:creationId xmlns:a16="http://schemas.microsoft.com/office/drawing/2014/main" id="{D741B92E-1F53-4BC0-9F65-740473CBD889}"/>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2627003509"/>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CA1A547-C7B1-464B-90A5-44F8E8935537}"/>
              </a:ext>
            </a:extLst>
          </p:cNvPr>
          <p:cNvGraphicFramePr>
            <a:graphicFrameLocks noChangeAspect="1"/>
          </p:cNvGraphicFramePr>
          <p:nvPr userDrawn="1">
            <p:custDataLst>
              <p:tags r:id="rId2"/>
            </p:custDataLst>
            <p:extLst>
              <p:ext uri="{D42A27DB-BD31-4B8C-83A1-F6EECF244321}">
                <p14:modId xmlns:p14="http://schemas.microsoft.com/office/powerpoint/2010/main" val="2993927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CA1A547-C7B1-464B-90A5-44F8E893553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4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252413" y="1339200"/>
            <a:ext cx="3511387" cy="2465100"/>
          </a:xfrm>
          <a:prstGeom prst="rect">
            <a:avLst/>
          </a:prstGeom>
          <a:noFill/>
        </p:spPr>
        <p:txBody>
          <a:bodyPr vert="horz" wrap="square" lIns="91440" tIns="45720" rIns="91440" bIns="4572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8" name="Slide Number Placeholder 2">
            <a:extLst>
              <a:ext uri="{FF2B5EF4-FFF2-40B4-BE49-F238E27FC236}">
                <a16:creationId xmlns:a16="http://schemas.microsoft.com/office/drawing/2014/main" id="{9CD0E801-7080-4323-A93D-82F56FE62532}"/>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131179663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AC63096-58FC-4304-8E08-83E7509DE460}"/>
              </a:ext>
            </a:extLst>
          </p:cNvPr>
          <p:cNvGraphicFramePr>
            <a:graphicFrameLocks noChangeAspect="1"/>
          </p:cNvGraphicFramePr>
          <p:nvPr userDrawn="1">
            <p:custDataLst>
              <p:tags r:id="rId2"/>
            </p:custDataLst>
            <p:extLst>
              <p:ext uri="{D42A27DB-BD31-4B8C-83A1-F6EECF244321}">
                <p14:modId xmlns:p14="http://schemas.microsoft.com/office/powerpoint/2010/main" val="2347892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AC63096-58FC-4304-8E08-83E7509DE46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5" name="Copyright" hidden="1"/>
          <p:cNvSpPr txBox="1"/>
          <p:nvPr userDrawn="1"/>
        </p:nvSpPr>
        <p:spPr>
          <a:xfrm rot="16200000">
            <a:off x="7115176" y="2937969"/>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252413" y="1353488"/>
            <a:ext cx="4905751"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edit title</a:t>
            </a:r>
          </a:p>
        </p:txBody>
      </p:sp>
      <p:sp>
        <p:nvSpPr>
          <p:cNvPr id="17" name="Slide Number Placeholder 2">
            <a:extLst>
              <a:ext uri="{FF2B5EF4-FFF2-40B4-BE49-F238E27FC236}">
                <a16:creationId xmlns:a16="http://schemas.microsoft.com/office/drawing/2014/main" id="{ADBBC406-FA43-43F9-A8BA-E28396F75CBA}"/>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83463226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F01674F1-1143-4D21-BC01-2ADBA008B4A8}"/>
              </a:ext>
            </a:extLst>
          </p:cNvPr>
          <p:cNvGraphicFramePr>
            <a:graphicFrameLocks noChangeAspect="1"/>
          </p:cNvGraphicFramePr>
          <p:nvPr userDrawn="1">
            <p:custDataLst>
              <p:tags r:id="rId2"/>
            </p:custDataLst>
            <p:extLst>
              <p:ext uri="{D42A27DB-BD31-4B8C-83A1-F6EECF244321}">
                <p14:modId xmlns:p14="http://schemas.microsoft.com/office/powerpoint/2010/main" val="2842169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F01674F1-1143-4D21-BC01-2ADBA008B4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2F2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7" name="Title 2"/>
          <p:cNvSpPr>
            <a:spLocks noGrp="1"/>
          </p:cNvSpPr>
          <p:nvPr>
            <p:ph type="title" hasCustomPrompt="1"/>
          </p:nvPr>
        </p:nvSpPr>
        <p:spPr>
          <a:xfrm>
            <a:off x="252412" y="2073153"/>
            <a:ext cx="2079066" cy="985733"/>
          </a:xfrm>
          <a:prstGeom prst="rect">
            <a:avLst/>
          </a:prstGeom>
        </p:spPr>
        <p:txBody>
          <a:bodyPr vert="horz" anchor="ctr">
            <a:noAutofit/>
          </a:bodyPr>
          <a:lstStyle>
            <a:lvl1pPr>
              <a:defRPr sz="1400" baseline="0">
                <a:solidFill>
                  <a:srgbClr val="000000"/>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Placeholder 2">
            <a:extLst>
              <a:ext uri="{FF2B5EF4-FFF2-40B4-BE49-F238E27FC236}">
                <a16:creationId xmlns:a16="http://schemas.microsoft.com/office/drawing/2014/main" id="{C62FDDE7-AB7B-4751-BDAC-CE9A086E8B14}"/>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405088416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äliotsikkodia - pinkki">
    <p:bg>
      <p:bgPr>
        <a:solidFill>
          <a:srgbClr val="FF00B8"/>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1C4763D-9549-1D53-8C2F-59ED4E9AE26F}"/>
              </a:ext>
            </a:extLst>
          </p:cNvPr>
          <p:cNvGraphicFramePr>
            <a:graphicFrameLocks noChangeAspect="1"/>
          </p:cNvGraphicFramePr>
          <p:nvPr userDrawn="1">
            <p:custDataLst>
              <p:tags r:id="rId1"/>
            </p:custDataLst>
            <p:extLst>
              <p:ext uri="{D42A27DB-BD31-4B8C-83A1-F6EECF244321}">
                <p14:modId xmlns:p14="http://schemas.microsoft.com/office/powerpoint/2010/main" val="44489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D1C4763D-9549-1D53-8C2F-59ED4E9AE2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14"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5"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7"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E00F5C09-30E4-468F-B4DD-3CFFB8A0562D}" type="datetime1">
              <a:rPr lang="en-US" smtClean="0"/>
              <a:pPr/>
              <a:t>4/9/2024</a:t>
            </a:fld>
            <a:endParaRPr lang="en-US"/>
          </a:p>
        </p:txBody>
      </p:sp>
      <p:sp>
        <p:nvSpPr>
          <p:cNvPr id="18"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208088662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7C86E71-C55B-414D-A170-1CA58A63176E}"/>
              </a:ext>
            </a:extLst>
          </p:cNvPr>
          <p:cNvGraphicFramePr>
            <a:graphicFrameLocks noChangeAspect="1"/>
          </p:cNvGraphicFramePr>
          <p:nvPr userDrawn="1">
            <p:custDataLst>
              <p:tags r:id="rId1"/>
            </p:custDataLst>
            <p:extLst>
              <p:ext uri="{D42A27DB-BD31-4B8C-83A1-F6EECF244321}">
                <p14:modId xmlns:p14="http://schemas.microsoft.com/office/powerpoint/2010/main" val="38228439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A7C86E71-C55B-414D-A170-1CA58A6317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52412" y="2073153"/>
            <a:ext cx="2079066" cy="985733"/>
          </a:xfrm>
        </p:spPr>
        <p:txBody>
          <a:bodyPr vert="horz" anchor="ctr" anchorCtr="0">
            <a:noAutofit/>
          </a:bodyPr>
          <a:lstStyle>
            <a:lvl1pPr>
              <a:defRPr sz="1400" baseline="0">
                <a:solidFill>
                  <a:srgbClr val="FFFFFF"/>
                </a:solidFill>
                <a:latin typeface="+mj-lt"/>
                <a:ea typeface="+mj-ea"/>
                <a:cs typeface="+mj-cs"/>
              </a:defRPr>
            </a:lvl1pPr>
          </a:lstStyle>
          <a:p>
            <a:r>
              <a:rPr lang="en-US"/>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8" name="Slide Number Placeholder 2">
            <a:extLst>
              <a:ext uri="{FF2B5EF4-FFF2-40B4-BE49-F238E27FC236}">
                <a16:creationId xmlns:a16="http://schemas.microsoft.com/office/drawing/2014/main" id="{F0C65AE7-9533-4FA9-8D2B-06E07EC05B17}"/>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2205056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4601110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252413" y="1339200"/>
            <a:ext cx="3266764" cy="2465100"/>
          </a:xfrm>
          <a:prstGeom prst="rect">
            <a:avLst/>
          </a:prstGeom>
        </p:spPr>
        <p:txBody>
          <a:bodyPr vert="horz" anchor="ctr">
            <a:noAutofit/>
          </a:bodyPr>
          <a:lstStyle>
            <a:lvl1pPr>
              <a:defRPr sz="3300" b="1">
                <a:solidFill>
                  <a:srgbClr val="000000"/>
                </a:solidFill>
                <a:latin typeface="+mj-lt"/>
                <a:ea typeface="+mj-ea"/>
                <a:cs typeface="+mj-cs"/>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Placeholder 2">
            <a:extLst>
              <a:ext uri="{FF2B5EF4-FFF2-40B4-BE49-F238E27FC236}">
                <a16:creationId xmlns:a16="http://schemas.microsoft.com/office/drawing/2014/main" id="{46F70F0C-7B0B-4195-A5E9-4828953342CB}"/>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74759654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31A4A8B-0023-433B-8162-C1A20435F285}"/>
              </a:ext>
            </a:extLst>
          </p:cNvPr>
          <p:cNvGraphicFramePr>
            <a:graphicFrameLocks noChangeAspect="1"/>
          </p:cNvGraphicFramePr>
          <p:nvPr userDrawn="1">
            <p:custDataLst>
              <p:tags r:id="rId1"/>
            </p:custDataLst>
            <p:extLst>
              <p:ext uri="{D42A27DB-BD31-4B8C-83A1-F6EECF244321}">
                <p14:modId xmlns:p14="http://schemas.microsoft.com/office/powerpoint/2010/main" val="22246088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831A4A8B-0023-433B-8162-C1A20435F28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252413" y="1339200"/>
            <a:ext cx="3266764" cy="2465100"/>
          </a:xfrm>
          <a:prstGeom prst="rect">
            <a:avLst/>
          </a:prstGeom>
        </p:spPr>
        <p:txBody>
          <a:bodyPr vert="horz" anchor="ctr">
            <a:noAutofit/>
          </a:bodyPr>
          <a:lstStyle>
            <a:lvl1pPr>
              <a:defRPr sz="33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5" name="Slide Number Placeholder 2">
            <a:extLst>
              <a:ext uri="{FF2B5EF4-FFF2-40B4-BE49-F238E27FC236}">
                <a16:creationId xmlns:a16="http://schemas.microsoft.com/office/drawing/2014/main" id="{9B41484B-BEA3-4E5F-BC39-CD7406B11A32}"/>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790401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C502377-6994-49D0-AF32-C53AEDC81785}"/>
              </a:ext>
            </a:extLst>
          </p:cNvPr>
          <p:cNvGraphicFramePr>
            <a:graphicFrameLocks noChangeAspect="1"/>
          </p:cNvGraphicFramePr>
          <p:nvPr userDrawn="1">
            <p:custDataLst>
              <p:tags r:id="rId2"/>
            </p:custDataLst>
            <p:extLst>
              <p:ext uri="{D42A27DB-BD31-4B8C-83A1-F6EECF244321}">
                <p14:modId xmlns:p14="http://schemas.microsoft.com/office/powerpoint/2010/main" val="13190054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C502377-6994-49D0-AF32-C53AEDC8178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4" name="Pentagon 8"/>
          <p:cNvSpPr/>
          <p:nvPr userDrawn="1"/>
        </p:nvSpPr>
        <p:spPr bwMode="white">
          <a:xfrm>
            <a:off x="0" y="0"/>
            <a:ext cx="4772660" cy="5143500"/>
          </a:xfrm>
          <a:prstGeom prst="homePlate">
            <a:avLst>
              <a:gd name="adj" fmla="val 12939"/>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252412" y="282575"/>
            <a:ext cx="3725322" cy="820738"/>
          </a:xfrm>
          <a:prstGeom prst="rect">
            <a:avLst/>
          </a:prstGeom>
        </p:spPr>
        <p:txBody>
          <a:bodyPr vert="horz" wrap="square" lIns="91440" tIns="45720" rIns="91440" bIns="45720" anchor="t" anchorCtr="0">
            <a:noAutofit/>
          </a:bodyPr>
          <a:lstStyle>
            <a:lvl1pPr marL="18288" indent="0" algn="l">
              <a:lnSpc>
                <a:spcPts val="2700"/>
              </a:lnSpc>
              <a:spcBef>
                <a:spcPts val="400"/>
              </a:spcBef>
              <a:spcAft>
                <a:spcPts val="0"/>
              </a:spcAft>
              <a:defRPr sz="140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24" name="Slide Number Placeholder 2">
            <a:extLst>
              <a:ext uri="{FF2B5EF4-FFF2-40B4-BE49-F238E27FC236}">
                <a16:creationId xmlns:a16="http://schemas.microsoft.com/office/drawing/2014/main" id="{0E42C3A1-A34B-43AC-B718-DB4AF0638413}"/>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41479870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FECB7E7-9DB2-4151-9C9D-D74437B38F63}"/>
              </a:ext>
            </a:extLst>
          </p:cNvPr>
          <p:cNvGraphicFramePr>
            <a:graphicFrameLocks noChangeAspect="1"/>
          </p:cNvGraphicFramePr>
          <p:nvPr userDrawn="1">
            <p:custDataLst>
              <p:tags r:id="rId1"/>
            </p:custDataLst>
            <p:extLst>
              <p:ext uri="{D42A27DB-BD31-4B8C-83A1-F6EECF244321}">
                <p14:modId xmlns:p14="http://schemas.microsoft.com/office/powerpoint/2010/main" val="33214592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FECB7E7-9DB2-4151-9C9D-D74437B38F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252412" y="282575"/>
            <a:ext cx="3725322" cy="820738"/>
          </a:xfrm>
          <a:prstGeom prst="rect">
            <a:avLst/>
          </a:prstGeom>
        </p:spPr>
        <p:txBody>
          <a:bodyPr vert="horz" wrap="square" lIns="91440" tIns="45720" rIns="91440" bIns="45720" anchor="t" anchorCtr="0">
            <a:noAutofit/>
          </a:bodyPr>
          <a:lstStyle>
            <a:lvl1pPr marL="18288" indent="0" algn="l">
              <a:lnSpc>
                <a:spcPts val="2700"/>
              </a:lnSpc>
              <a:spcBef>
                <a:spcPts val="400"/>
              </a:spcBef>
              <a:spcAft>
                <a:spcPts val="0"/>
              </a:spcAft>
              <a:defRPr sz="1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22" name="Slide Number Placeholder 2">
            <a:extLst>
              <a:ext uri="{FF2B5EF4-FFF2-40B4-BE49-F238E27FC236}">
                <a16:creationId xmlns:a16="http://schemas.microsoft.com/office/drawing/2014/main" id="{E252DAF2-8941-4D5D-BC83-0C29781FBE4E}"/>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2955760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ABFEF4E-BD2D-4CD2-901F-B5BDFA2B0DA4}"/>
              </a:ext>
            </a:extLst>
          </p:cNvPr>
          <p:cNvGraphicFramePr>
            <a:graphicFrameLocks noChangeAspect="1"/>
          </p:cNvGraphicFramePr>
          <p:nvPr userDrawn="1">
            <p:custDataLst>
              <p:tags r:id="rId2"/>
            </p:custDataLst>
            <p:extLst>
              <p:ext uri="{D42A27DB-BD31-4B8C-83A1-F6EECF244321}">
                <p14:modId xmlns:p14="http://schemas.microsoft.com/office/powerpoint/2010/main" val="4120030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ABFEF4E-BD2D-4CD2-901F-B5BDFA2B0DA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1" name="Title 3"/>
          <p:cNvSpPr>
            <a:spLocks noGrp="1"/>
          </p:cNvSpPr>
          <p:nvPr>
            <p:ph type="title" hasCustomPrompt="1"/>
          </p:nvPr>
        </p:nvSpPr>
        <p:spPr>
          <a:xfrm>
            <a:off x="252413" y="282575"/>
            <a:ext cx="4912687" cy="820738"/>
          </a:xfrm>
          <a:prstGeom prst="rect">
            <a:avLst/>
          </a:prstGeom>
        </p:spPr>
        <p:txBody>
          <a:bodyPr vert="horz" wrap="square" lIns="91440" tIns="45720" rIns="91440" bIns="45720" anchor="t" anchorCtr="0">
            <a:noAutofit/>
          </a:bodyPr>
          <a:lstStyle>
            <a:lvl1pPr marL="18288" indent="0" algn="l">
              <a:lnSpc>
                <a:spcPts val="2700"/>
              </a:lnSpc>
              <a:spcBef>
                <a:spcPts val="400"/>
              </a:spcBef>
              <a:spcAft>
                <a:spcPts val="0"/>
              </a:spcAft>
              <a:defRPr sz="1400" b="1" i="0" u="none" kern="1200" spc="0">
                <a:solidFill>
                  <a:srgbClr val="000000"/>
                </a:solidFill>
                <a:latin typeface="+mj-lt"/>
                <a:ea typeface="+mj-ea"/>
                <a:cs typeface="+mj-cs"/>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23" name="Slide Number Placeholder 2">
            <a:extLst>
              <a:ext uri="{FF2B5EF4-FFF2-40B4-BE49-F238E27FC236}">
                <a16:creationId xmlns:a16="http://schemas.microsoft.com/office/drawing/2014/main" id="{D8A9ABBB-C000-424A-B14E-12C621CD7DC4}"/>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9171106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CC419B5-065F-4D7F-8FF4-0EE37DCA450F}"/>
              </a:ext>
            </a:extLst>
          </p:cNvPr>
          <p:cNvGraphicFramePr>
            <a:graphicFrameLocks noChangeAspect="1"/>
          </p:cNvGraphicFramePr>
          <p:nvPr userDrawn="1">
            <p:custDataLst>
              <p:tags r:id="rId1"/>
            </p:custDataLst>
            <p:extLst>
              <p:ext uri="{D42A27DB-BD31-4B8C-83A1-F6EECF244321}">
                <p14:modId xmlns:p14="http://schemas.microsoft.com/office/powerpoint/2010/main" val="11634298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CC419B5-065F-4D7F-8FF4-0EE37DCA45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4" name="Title 3">
            <a:extLst>
              <a:ext uri="{FF2B5EF4-FFF2-40B4-BE49-F238E27FC236}">
                <a16:creationId xmlns:a16="http://schemas.microsoft.com/office/drawing/2014/main" id="{3980D282-010D-401C-B774-ECDAB5C0C098}"/>
              </a:ext>
            </a:extLst>
          </p:cNvPr>
          <p:cNvSpPr>
            <a:spLocks noGrp="1"/>
          </p:cNvSpPr>
          <p:nvPr>
            <p:ph type="title" hasCustomPrompt="1"/>
          </p:nvPr>
        </p:nvSpPr>
        <p:spPr>
          <a:xfrm>
            <a:off x="252413" y="282575"/>
            <a:ext cx="4912687" cy="820738"/>
          </a:xfrm>
          <a:prstGeom prst="rect">
            <a:avLst/>
          </a:prstGeom>
        </p:spPr>
        <p:txBody>
          <a:bodyPr vert="horz" wrap="square" lIns="91440" tIns="45720" rIns="91440" bIns="45720" anchor="t" anchorCtr="0">
            <a:noAutofit/>
          </a:bodyPr>
          <a:lstStyle>
            <a:lvl1pPr marL="18288" indent="0" algn="l">
              <a:lnSpc>
                <a:spcPts val="2700"/>
              </a:lnSpc>
              <a:spcBef>
                <a:spcPts val="400"/>
              </a:spcBef>
              <a:spcAft>
                <a:spcPts val="0"/>
              </a:spcAft>
              <a:defRPr sz="1400" b="1" i="0" u="none" kern="1200" spc="0">
                <a:solidFill>
                  <a:srgbClr val="FFFFFF"/>
                </a:solidFill>
                <a:latin typeface="+mj-lt"/>
                <a:ea typeface="+mj-ea"/>
                <a:cs typeface="+mj-cs"/>
                <a:sym typeface="Trebuchet MS" panose="020B0603020202020204" pitchFamily="34" charset="0"/>
              </a:defRPr>
            </a:lvl1pPr>
          </a:lstStyle>
          <a:p>
            <a:pPr lvl="0"/>
            <a:r>
              <a:rPr lang="en-US"/>
              <a:t>Click to add title</a:t>
            </a:r>
          </a:p>
        </p:txBody>
      </p:sp>
      <p:sp>
        <p:nvSpPr>
          <p:cNvPr id="21" name="Slide Number Placeholder 2">
            <a:extLst>
              <a:ext uri="{FF2B5EF4-FFF2-40B4-BE49-F238E27FC236}">
                <a16:creationId xmlns:a16="http://schemas.microsoft.com/office/drawing/2014/main" id="{A684E9C9-068E-438D-A5FE-46D86A989CCE}"/>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7186284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solidFill>
          <a:srgbClr val="000000"/>
        </a:soli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5792D30-3105-4653-A9B0-F9E36F66F9BB}"/>
              </a:ext>
            </a:extLst>
          </p:cNvPr>
          <p:cNvGraphicFramePr>
            <a:graphicFrameLocks noChangeAspect="1"/>
          </p:cNvGraphicFramePr>
          <p:nvPr userDrawn="1">
            <p:custDataLst>
              <p:tags r:id="rId2"/>
            </p:custDataLst>
            <p:extLst>
              <p:ext uri="{D42A27DB-BD31-4B8C-83A1-F6EECF244321}">
                <p14:modId xmlns:p14="http://schemas.microsoft.com/office/powerpoint/2010/main" val="35485546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5" name="think-cell data - do not delete" hidden="1">
                        <a:extLst>
                          <a:ext uri="{FF2B5EF4-FFF2-40B4-BE49-F238E27FC236}">
                            <a16:creationId xmlns:a16="http://schemas.microsoft.com/office/drawing/2014/main" id="{B5792D30-3105-4653-A9B0-F9E36F66F9B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252000" y="2869750"/>
            <a:ext cx="85110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9" name="Slide Number Placeholder 2">
            <a:extLst>
              <a:ext uri="{FF2B5EF4-FFF2-40B4-BE49-F238E27FC236}">
                <a16:creationId xmlns:a16="http://schemas.microsoft.com/office/drawing/2014/main" id="{4252ACD9-D479-4D6F-98B7-4102D77B273D}"/>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4214108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2C6041-F5C1-4B28-8804-F78B57A82909}"/>
              </a:ext>
            </a:extLst>
          </p:cNvPr>
          <p:cNvGraphicFramePr>
            <a:graphicFrameLocks noChangeAspect="1"/>
          </p:cNvGraphicFramePr>
          <p:nvPr userDrawn="1">
            <p:custDataLst>
              <p:tags r:id="rId1"/>
            </p:custDataLst>
            <p:extLst>
              <p:ext uri="{D42A27DB-BD31-4B8C-83A1-F6EECF244321}">
                <p14:modId xmlns:p14="http://schemas.microsoft.com/office/powerpoint/2010/main" val="815664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6C2C6041-F5C1-4B28-8804-F78B57A8290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6" name="Rectangle 5"/>
          <p:cNvSpPr/>
          <p:nvPr userDrawn="1"/>
        </p:nvSpPr>
        <p:spPr bwMode="white">
          <a:xfrm>
            <a:off x="381221" y="469106"/>
            <a:ext cx="699516" cy="699516"/>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252000" y="2869750"/>
            <a:ext cx="85110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456189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4623079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68580" tIns="34290" rIns="68580" bIns="34290" numCol="1" anchor="t" anchorCtr="0" compatLnSpc="1">
            <a:prstTxWarp prst="textNoShape">
              <a:avLst/>
            </a:prstTxWarp>
            <a:noAutofit/>
          </a:bodyPr>
          <a:lstStyle/>
          <a:p>
            <a:endParaRPr lang="en-US" sz="1000">
              <a:latin typeface="+mn-lt"/>
              <a:ea typeface="+mn-ea"/>
              <a:cs typeface="+mn-cs"/>
              <a:sym typeface="Trebuchet MS" panose="020B0603020202020204" pitchFamily="34" charset="0"/>
            </a:endParaRPr>
          </a:p>
        </p:txBody>
      </p:sp>
      <p:sp>
        <p:nvSpPr>
          <p:cNvPr id="8" name="Slide Number Placeholder 2">
            <a:extLst>
              <a:ext uri="{FF2B5EF4-FFF2-40B4-BE49-F238E27FC236}">
                <a16:creationId xmlns:a16="http://schemas.microsoft.com/office/drawing/2014/main" id="{169FDD9C-E84D-4FF1-8F79-2A8D9216AC29}"/>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4398490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inkki">
    <p:bg>
      <p:bgPr>
        <a:solidFill>
          <a:srgbClr val="FF00B8"/>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4183CE2-F388-638F-E425-1DF09A739A0F}"/>
              </a:ext>
            </a:extLst>
          </p:cNvPr>
          <p:cNvGraphicFramePr>
            <a:graphicFrameLocks noChangeAspect="1"/>
          </p:cNvGraphicFramePr>
          <p:nvPr userDrawn="1">
            <p:custDataLst>
              <p:tags r:id="rId1"/>
            </p:custDataLst>
            <p:extLst>
              <p:ext uri="{D42A27DB-BD31-4B8C-83A1-F6EECF244321}">
                <p14:modId xmlns:p14="http://schemas.microsoft.com/office/powerpoint/2010/main" val="40515625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04183CE2-F388-638F-E425-1DF09A739A0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BCDAF6C7-377E-4B08-AD5D-A0E3391FAA17}"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7" name="Tekstin paikkamerkki 2"/>
          <p:cNvSpPr>
            <a:spLocks noGrp="1"/>
          </p:cNvSpPr>
          <p:nvPr>
            <p:ph idx="21" hasCustomPrompt="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6"/>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415042171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2A0240F5-13AD-4C75-A6A7-DB1FF8AE6FD2}"/>
              </a:ext>
            </a:extLst>
          </p:cNvPr>
          <p:cNvGraphicFramePr>
            <a:graphicFrameLocks noChangeAspect="1"/>
          </p:cNvGraphicFramePr>
          <p:nvPr userDrawn="1">
            <p:custDataLst>
              <p:tags r:id="rId1"/>
            </p:custDataLst>
            <p:extLst>
              <p:ext uri="{D42A27DB-BD31-4B8C-83A1-F6EECF244321}">
                <p14:modId xmlns:p14="http://schemas.microsoft.com/office/powerpoint/2010/main" val="31444344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2A0240F5-13AD-4C75-A6A7-DB1FF8AE6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252414" y="282575"/>
            <a:ext cx="7991475" cy="820738"/>
          </a:xfrm>
        </p:spPr>
        <p:txBody>
          <a:bodyPr vert="horz"/>
          <a:lstStyle>
            <a:lvl1pPr>
              <a:defRPr sz="1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2" name="Slide Number Placeholder 2">
            <a:extLst>
              <a:ext uri="{FF2B5EF4-FFF2-40B4-BE49-F238E27FC236}">
                <a16:creationId xmlns:a16="http://schemas.microsoft.com/office/drawing/2014/main" id="{CF25CC10-3048-4A57-AFD9-8020A5CE32E9}"/>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6027156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3CC75CE-5C93-488C-B61F-10EBAE4F6FB0}"/>
              </a:ext>
            </a:extLst>
          </p:cNvPr>
          <p:cNvGraphicFramePr>
            <a:graphicFrameLocks noChangeAspect="1"/>
          </p:cNvGraphicFramePr>
          <p:nvPr userDrawn="1">
            <p:custDataLst>
              <p:tags r:id="rId1"/>
            </p:custDataLst>
            <p:extLst>
              <p:ext uri="{D42A27DB-BD31-4B8C-83A1-F6EECF244321}">
                <p14:modId xmlns:p14="http://schemas.microsoft.com/office/powerpoint/2010/main" val="4087884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D3CC75CE-5C93-488C-B61F-10EBAE4F6F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5865286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3A68E13-B8C9-4B44-877A-B30043A1E757}"/>
              </a:ext>
            </a:extLst>
          </p:cNvPr>
          <p:cNvGraphicFramePr>
            <a:graphicFrameLocks noChangeAspect="1"/>
          </p:cNvGraphicFramePr>
          <p:nvPr userDrawn="1">
            <p:custDataLst>
              <p:tags r:id="rId2"/>
            </p:custDataLst>
            <p:extLst>
              <p:ext uri="{D42A27DB-BD31-4B8C-83A1-F6EECF244321}">
                <p14:modId xmlns:p14="http://schemas.microsoft.com/office/powerpoint/2010/main" val="4047589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B3A68E13-B8C9-4B44-877A-B30043A1E75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0" name="Slide Number Placeholder 2">
            <a:extLst>
              <a:ext uri="{FF2B5EF4-FFF2-40B4-BE49-F238E27FC236}">
                <a16:creationId xmlns:a16="http://schemas.microsoft.com/office/drawing/2014/main" id="{297E750B-687E-4EC8-82FA-B68A7E28C685}"/>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71114256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Disclaimer">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B1EA162-8C14-49F1-A2B2-178779172E93}"/>
              </a:ext>
            </a:extLst>
          </p:cNvPr>
          <p:cNvGraphicFramePr>
            <a:graphicFrameLocks noChangeAspect="1"/>
          </p:cNvGraphicFramePr>
          <p:nvPr userDrawn="1">
            <p:custDataLst>
              <p:tags r:id="rId1"/>
            </p:custDataLst>
            <p:extLst>
              <p:ext uri="{D42A27DB-BD31-4B8C-83A1-F6EECF244321}">
                <p14:modId xmlns:p14="http://schemas.microsoft.com/office/powerpoint/2010/main" val="19912741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8B1EA162-8C14-49F1-A2B2-178779172E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 Placeholder 4">
            <a:extLst>
              <a:ext uri="{FF2B5EF4-FFF2-40B4-BE49-F238E27FC236}">
                <a16:creationId xmlns:a16="http://schemas.microsoft.com/office/drawing/2014/main" id="{15DC1186-7266-405B-9A12-D8E8683F9F0B}"/>
              </a:ext>
            </a:extLst>
          </p:cNvPr>
          <p:cNvSpPr>
            <a:spLocks noGrp="1"/>
          </p:cNvSpPr>
          <p:nvPr>
            <p:ph type="body" sz="quarter" idx="11" hasCustomPrompt="1"/>
          </p:nvPr>
        </p:nvSpPr>
        <p:spPr>
          <a:xfrm>
            <a:off x="3766370" y="1144318"/>
            <a:ext cx="4996409" cy="2700739"/>
          </a:xfrm>
        </p:spPr>
        <p:txBody>
          <a:bodyPr anchor="ctr"/>
          <a:lstStyle>
            <a:lvl1pPr>
              <a:defRPr sz="700"/>
            </a:lvl1pPr>
          </a:lstStyle>
          <a:p>
            <a:pPr lvl="0"/>
            <a:r>
              <a:rPr lang="en-US"/>
              <a:t>Text</a:t>
            </a:r>
          </a:p>
        </p:txBody>
      </p:sp>
      <p:sp>
        <p:nvSpPr>
          <p:cNvPr id="7" name="Title 6"/>
          <p:cNvSpPr txBox="1">
            <a:spLocks/>
          </p:cNvSpPr>
          <p:nvPr/>
        </p:nvSpPr>
        <p:spPr>
          <a:xfrm>
            <a:off x="252414" y="1996089"/>
            <a:ext cx="2834640" cy="997196"/>
          </a:xfrm>
          <a:prstGeom prst="rect">
            <a:avLst/>
          </a:prstGeom>
        </p:spPr>
        <p:txBody>
          <a:bodyPr vert="horz" wrap="square" lIns="9144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600"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9" name="Straight Connector 8"/>
          <p:cNvCxnSpPr/>
          <p:nvPr/>
        </p:nvCxnSpPr>
        <p:spPr>
          <a:xfrm>
            <a:off x="3426712"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79222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type="blank" preserve="1">
  <p:cSld name="End">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8338254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Kuva 3">
            <a:extLst>
              <a:ext uri="{FF2B5EF4-FFF2-40B4-BE49-F238E27FC236}">
                <a16:creationId xmlns:a16="http://schemas.microsoft.com/office/drawing/2014/main" id="{24F3F69D-3AE8-47DD-AC51-9DEF8E706D28}"/>
              </a:ext>
            </a:extLst>
          </p:cNvPr>
          <p:cNvPicPr>
            <a:picLocks noChangeAspect="1"/>
          </p:cNvPicPr>
          <p:nvPr userDrawn="1"/>
        </p:nvPicPr>
        <p:blipFill>
          <a:blip r:embed="rId5"/>
          <a:stretch>
            <a:fillRect/>
          </a:stretch>
        </p:blipFill>
        <p:spPr>
          <a:xfrm>
            <a:off x="2079603" y="1975958"/>
            <a:ext cx="4813996" cy="1081796"/>
          </a:xfrm>
          <a:prstGeom prst="rect">
            <a:avLst/>
          </a:prstGeom>
        </p:spPr>
      </p:pic>
    </p:spTree>
    <p:extLst>
      <p:ext uri="{BB962C8B-B14F-4D97-AF65-F5344CB8AC3E}">
        <p14:creationId xmlns:p14="http://schemas.microsoft.com/office/powerpoint/2010/main" val="1859068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E6FD2A4D-AA63-41E3-8FD2-4239C4A984D8}"/>
              </a:ext>
            </a:extLst>
          </p:cNvPr>
          <p:cNvGraphicFramePr>
            <a:graphicFrameLocks noChangeAspect="1"/>
          </p:cNvGraphicFramePr>
          <p:nvPr userDrawn="1">
            <p:custDataLst>
              <p:tags r:id="rId1"/>
            </p:custDataLst>
            <p:extLst>
              <p:ext uri="{D42A27DB-BD31-4B8C-83A1-F6EECF244321}">
                <p14:modId xmlns:p14="http://schemas.microsoft.com/office/powerpoint/2010/main" val="30649634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E6FD2A4D-AA63-41E3-8FD2-4239C4A984D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grpSp>
        <p:nvGrpSpPr>
          <p:cNvPr id="55" name="Group 54">
            <a:extLst>
              <a:ext uri="{FF2B5EF4-FFF2-40B4-BE49-F238E27FC236}">
                <a16:creationId xmlns:a16="http://schemas.microsoft.com/office/drawing/2014/main" id="{19B9A195-0C28-4881-A0EC-31CB85EBB57D}"/>
              </a:ext>
            </a:extLst>
          </p:cNvPr>
          <p:cNvGrpSpPr/>
          <p:nvPr userDrawn="1"/>
        </p:nvGrpSpPr>
        <p:grpSpPr>
          <a:xfrm>
            <a:off x="-450" y="-1"/>
            <a:ext cx="9145350" cy="5143501"/>
            <a:chOff x="-450" y="-1"/>
            <a:chExt cx="9145350" cy="5143501"/>
          </a:xfrm>
        </p:grpSpPr>
        <p:sp>
          <p:nvSpPr>
            <p:cNvPr id="93" name="Freeform: Shape 92">
              <a:extLst>
                <a:ext uri="{FF2B5EF4-FFF2-40B4-BE49-F238E27FC236}">
                  <a16:creationId xmlns:a16="http://schemas.microsoft.com/office/drawing/2014/main" id="{138E33BC-F03E-4B64-B732-2C1F0D9D15A9}"/>
                </a:ext>
              </a:extLst>
            </p:cNvPr>
            <p:cNvSpPr/>
            <p:nvPr/>
          </p:nvSpPr>
          <p:spPr>
            <a:xfrm>
              <a:off x="0" y="-1"/>
              <a:ext cx="9144900" cy="5143500"/>
            </a:xfrm>
            <a:custGeom>
              <a:avLst/>
              <a:gdLst>
                <a:gd name="connsiteX0" fmla="*/ 381221 w 9144900"/>
                <a:gd name="connsiteY0" fmla="*/ 282151 h 5143500"/>
                <a:gd name="connsiteX1" fmla="*/ 381221 w 9144900"/>
                <a:gd name="connsiteY1" fmla="*/ 4721822 h 5143500"/>
                <a:gd name="connsiteX2" fmla="*/ 8763000 w 9144900"/>
                <a:gd name="connsiteY2" fmla="*/ 4721822 h 5143500"/>
                <a:gd name="connsiteX3" fmla="*/ 8763000 w 9144900"/>
                <a:gd name="connsiteY3" fmla="*/ 282151 h 5143500"/>
                <a:gd name="connsiteX4" fmla="*/ 0 w 9144900"/>
                <a:gd name="connsiteY4" fmla="*/ 0 h 5143500"/>
                <a:gd name="connsiteX5" fmla="*/ 9144900 w 9144900"/>
                <a:gd name="connsiteY5" fmla="*/ 0 h 5143500"/>
                <a:gd name="connsiteX6" fmla="*/ 9144900 w 9144900"/>
                <a:gd name="connsiteY6" fmla="*/ 467100 h 5143500"/>
                <a:gd name="connsiteX7" fmla="*/ 9144000 w 9144900"/>
                <a:gd name="connsiteY7" fmla="*/ 467100 h 5143500"/>
                <a:gd name="connsiteX8" fmla="*/ 9144000 w 9144900"/>
                <a:gd name="connsiteY8" fmla="*/ 4620448 h 5143500"/>
                <a:gd name="connsiteX9" fmla="*/ 9144900 w 9144900"/>
                <a:gd name="connsiteY9" fmla="*/ 4620448 h 5143500"/>
                <a:gd name="connsiteX10" fmla="*/ 9144900 w 9144900"/>
                <a:gd name="connsiteY10" fmla="*/ 5143500 h 5143500"/>
                <a:gd name="connsiteX11" fmla="*/ 9144000 w 9144900"/>
                <a:gd name="connsiteY11" fmla="*/ 5143500 h 5143500"/>
                <a:gd name="connsiteX12" fmla="*/ 8671500 w 9144900"/>
                <a:gd name="connsiteY12" fmla="*/ 5143500 h 5143500"/>
                <a:gd name="connsiteX13" fmla="*/ 472501 w 9144900"/>
                <a:gd name="connsiteY13" fmla="*/ 5143500 h 5143500"/>
                <a:gd name="connsiteX14" fmla="*/ 1 w 9144900"/>
                <a:gd name="connsiteY14" fmla="*/ 5143500 h 5143500"/>
                <a:gd name="connsiteX15" fmla="*/ 1 w 9144900"/>
                <a:gd name="connsiteY15" fmla="*/ 4620448 h 5143500"/>
                <a:gd name="connsiteX16" fmla="*/ 1 w 9144900"/>
                <a:gd name="connsiteY16" fmla="*/ 467100 h 5143500"/>
                <a:gd name="connsiteX17" fmla="*/ 0 w 9144900"/>
                <a:gd name="connsiteY17" fmla="*/ 4671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144900" h="5143500">
                  <a:moveTo>
                    <a:pt x="381221" y="282151"/>
                  </a:moveTo>
                  <a:lnTo>
                    <a:pt x="381221" y="4721822"/>
                  </a:lnTo>
                  <a:lnTo>
                    <a:pt x="8763000" y="4721822"/>
                  </a:lnTo>
                  <a:lnTo>
                    <a:pt x="8763000" y="282151"/>
                  </a:lnTo>
                  <a:close/>
                  <a:moveTo>
                    <a:pt x="0" y="0"/>
                  </a:moveTo>
                  <a:lnTo>
                    <a:pt x="9144900" y="0"/>
                  </a:lnTo>
                  <a:lnTo>
                    <a:pt x="9144900" y="467100"/>
                  </a:lnTo>
                  <a:lnTo>
                    <a:pt x="9144000" y="467100"/>
                  </a:lnTo>
                  <a:lnTo>
                    <a:pt x="9144000" y="4620448"/>
                  </a:lnTo>
                  <a:lnTo>
                    <a:pt x="9144900" y="4620448"/>
                  </a:lnTo>
                  <a:lnTo>
                    <a:pt x="9144900" y="5143500"/>
                  </a:lnTo>
                  <a:lnTo>
                    <a:pt x="9144000" y="5143500"/>
                  </a:lnTo>
                  <a:lnTo>
                    <a:pt x="8671500" y="5143500"/>
                  </a:lnTo>
                  <a:lnTo>
                    <a:pt x="472501" y="5143500"/>
                  </a:lnTo>
                  <a:lnTo>
                    <a:pt x="1" y="5143500"/>
                  </a:lnTo>
                  <a:lnTo>
                    <a:pt x="1" y="4620448"/>
                  </a:lnTo>
                  <a:lnTo>
                    <a:pt x="1" y="467100"/>
                  </a:lnTo>
                  <a:lnTo>
                    <a:pt x="0" y="467100"/>
                  </a:lnTo>
                  <a:close/>
                </a:path>
              </a:pathLst>
            </a:custGeom>
            <a:solidFill>
              <a:srgbClr val="E71C57">
                <a:alpha val="5000"/>
              </a:srgbClr>
            </a:solidFill>
            <a:ln>
              <a:noFill/>
            </a:ln>
          </p:spPr>
          <p:txBody>
            <a:bodyPr vert="horz" wrap="square" lIns="68580" tIns="34290" rIns="68580" bIns="34290" numCol="1" anchor="t" anchorCtr="0" compatLnSpc="1">
              <a:prstTxWarp prst="textNoShape">
                <a:avLst/>
              </a:prstTxWarp>
              <a:noAutofit/>
            </a:bodyPr>
            <a:lstStyle/>
            <a:p>
              <a:endParaRPr lang="en-US" sz="1013"/>
            </a:p>
          </p:txBody>
        </p:sp>
        <p:grpSp>
          <p:nvGrpSpPr>
            <p:cNvPr id="94" name="Group 93">
              <a:extLst>
                <a:ext uri="{FF2B5EF4-FFF2-40B4-BE49-F238E27FC236}">
                  <a16:creationId xmlns:a16="http://schemas.microsoft.com/office/drawing/2014/main" id="{48F9A57F-D5E1-4A22-AFD8-3391ED614228}"/>
                </a:ext>
              </a:extLst>
            </p:cNvPr>
            <p:cNvGrpSpPr/>
            <p:nvPr/>
          </p:nvGrpSpPr>
          <p:grpSpPr>
            <a:xfrm>
              <a:off x="-450" y="282150"/>
              <a:ext cx="9144900" cy="4128046"/>
              <a:chOff x="-450" y="282150"/>
              <a:chExt cx="9144900" cy="4128046"/>
            </a:xfrm>
          </p:grpSpPr>
          <p:cxnSp>
            <p:nvCxnSpPr>
              <p:cNvPr id="118" name="Straight Connector 117">
                <a:extLst>
                  <a:ext uri="{FF2B5EF4-FFF2-40B4-BE49-F238E27FC236}">
                    <a16:creationId xmlns:a16="http://schemas.microsoft.com/office/drawing/2014/main" id="{56C94DC9-5828-44CF-81C2-9E163F3E99FB}"/>
                  </a:ext>
                </a:extLst>
              </p:cNvPr>
              <p:cNvCxnSpPr/>
              <p:nvPr/>
            </p:nvCxnSpPr>
            <p:spPr>
              <a:xfrm>
                <a:off x="-450" y="28215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9" name="Straight Connector 118">
                <a:extLst>
                  <a:ext uri="{FF2B5EF4-FFF2-40B4-BE49-F238E27FC236}">
                    <a16:creationId xmlns:a16="http://schemas.microsoft.com/office/drawing/2014/main" id="{BE461651-5CE6-4988-AEDF-5AEFA7BE2352}"/>
                  </a:ext>
                </a:extLst>
              </p:cNvPr>
              <p:cNvCxnSpPr/>
              <p:nvPr/>
            </p:nvCxnSpPr>
            <p:spPr>
              <a:xfrm>
                <a:off x="-450" y="49241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0" name="Straight Connector 119">
                <a:extLst>
                  <a:ext uri="{FF2B5EF4-FFF2-40B4-BE49-F238E27FC236}">
                    <a16:creationId xmlns:a16="http://schemas.microsoft.com/office/drawing/2014/main" id="{0600D5A9-EAB4-482D-8EF0-E56484A37776}"/>
                  </a:ext>
                </a:extLst>
              </p:cNvPr>
              <p:cNvCxnSpPr/>
              <p:nvPr/>
            </p:nvCxnSpPr>
            <p:spPr>
              <a:xfrm>
                <a:off x="-450" y="70267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1" name="Straight Connector 120">
                <a:extLst>
                  <a:ext uri="{FF2B5EF4-FFF2-40B4-BE49-F238E27FC236}">
                    <a16:creationId xmlns:a16="http://schemas.microsoft.com/office/drawing/2014/main" id="{BD236AC8-75B1-469C-B1F8-F471EE88FFB6}"/>
                  </a:ext>
                </a:extLst>
              </p:cNvPr>
              <p:cNvCxnSpPr/>
              <p:nvPr/>
            </p:nvCxnSpPr>
            <p:spPr>
              <a:xfrm>
                <a:off x="-450" y="91293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2" name="Straight Connector 121">
                <a:extLst>
                  <a:ext uri="{FF2B5EF4-FFF2-40B4-BE49-F238E27FC236}">
                    <a16:creationId xmlns:a16="http://schemas.microsoft.com/office/drawing/2014/main" id="{99D89A6D-1FE4-42B5-86D8-ADD37D9E0DDB}"/>
                  </a:ext>
                </a:extLst>
              </p:cNvPr>
              <p:cNvCxnSpPr/>
              <p:nvPr/>
            </p:nvCxnSpPr>
            <p:spPr>
              <a:xfrm>
                <a:off x="-450" y="112320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3" name="Straight Connector 122">
                <a:extLst>
                  <a:ext uri="{FF2B5EF4-FFF2-40B4-BE49-F238E27FC236}">
                    <a16:creationId xmlns:a16="http://schemas.microsoft.com/office/drawing/2014/main" id="{E82B34E7-00BE-4231-A7AD-ED56D9E3EB93}"/>
                  </a:ext>
                </a:extLst>
              </p:cNvPr>
              <p:cNvCxnSpPr/>
              <p:nvPr/>
            </p:nvCxnSpPr>
            <p:spPr>
              <a:xfrm>
                <a:off x="-450" y="137790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4" name="Straight Connector 123">
                <a:extLst>
                  <a:ext uri="{FF2B5EF4-FFF2-40B4-BE49-F238E27FC236}">
                    <a16:creationId xmlns:a16="http://schemas.microsoft.com/office/drawing/2014/main" id="{EDBAE841-3352-435B-B2AB-BC1C5EAF2D8B}"/>
                  </a:ext>
                </a:extLst>
              </p:cNvPr>
              <p:cNvCxnSpPr/>
              <p:nvPr/>
            </p:nvCxnSpPr>
            <p:spPr>
              <a:xfrm>
                <a:off x="-450" y="159449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A4FC8B1A-2691-420C-81AB-B9D84C62C602}"/>
                  </a:ext>
                </a:extLst>
              </p:cNvPr>
              <p:cNvCxnSpPr/>
              <p:nvPr/>
            </p:nvCxnSpPr>
            <p:spPr>
              <a:xfrm>
                <a:off x="-450" y="181109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6" name="Straight Connector 125">
                <a:extLst>
                  <a:ext uri="{FF2B5EF4-FFF2-40B4-BE49-F238E27FC236}">
                    <a16:creationId xmlns:a16="http://schemas.microsoft.com/office/drawing/2014/main" id="{D195F24F-AFEE-4789-9A7A-F07C44EE5A72}"/>
                  </a:ext>
                </a:extLst>
              </p:cNvPr>
              <p:cNvCxnSpPr/>
              <p:nvPr/>
            </p:nvCxnSpPr>
            <p:spPr>
              <a:xfrm>
                <a:off x="-450" y="202768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7" name="Straight Connector 126">
                <a:extLst>
                  <a:ext uri="{FF2B5EF4-FFF2-40B4-BE49-F238E27FC236}">
                    <a16:creationId xmlns:a16="http://schemas.microsoft.com/office/drawing/2014/main" id="{DD3E1224-3BA0-43C0-AFFE-8B37364FF771}"/>
                  </a:ext>
                </a:extLst>
              </p:cNvPr>
              <p:cNvCxnSpPr/>
              <p:nvPr/>
            </p:nvCxnSpPr>
            <p:spPr>
              <a:xfrm>
                <a:off x="-450" y="2244275"/>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8" name="Straight Connector 127">
                <a:extLst>
                  <a:ext uri="{FF2B5EF4-FFF2-40B4-BE49-F238E27FC236}">
                    <a16:creationId xmlns:a16="http://schemas.microsoft.com/office/drawing/2014/main" id="{39F3B2CE-9EA7-49F7-B257-92A05F919CFA}"/>
                  </a:ext>
                </a:extLst>
              </p:cNvPr>
              <p:cNvCxnSpPr/>
              <p:nvPr/>
            </p:nvCxnSpPr>
            <p:spPr>
              <a:xfrm>
                <a:off x="-450" y="246086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29" name="Straight Connector 128">
                <a:extLst>
                  <a:ext uri="{FF2B5EF4-FFF2-40B4-BE49-F238E27FC236}">
                    <a16:creationId xmlns:a16="http://schemas.microsoft.com/office/drawing/2014/main" id="{7FA0F7D0-3920-42F8-A387-2E38291EEECF}"/>
                  </a:ext>
                </a:extLst>
              </p:cNvPr>
              <p:cNvCxnSpPr/>
              <p:nvPr/>
            </p:nvCxnSpPr>
            <p:spPr>
              <a:xfrm>
                <a:off x="-450" y="267745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DA26E0CE-2A68-49A1-AD98-64AF059330FF}"/>
                  </a:ext>
                </a:extLst>
              </p:cNvPr>
              <p:cNvCxnSpPr/>
              <p:nvPr/>
            </p:nvCxnSpPr>
            <p:spPr>
              <a:xfrm>
                <a:off x="-450" y="289405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1" name="Straight Connector 130">
                <a:extLst>
                  <a:ext uri="{FF2B5EF4-FFF2-40B4-BE49-F238E27FC236}">
                    <a16:creationId xmlns:a16="http://schemas.microsoft.com/office/drawing/2014/main" id="{14C8EAAC-2564-4BB0-A0B6-F255717C2218}"/>
                  </a:ext>
                </a:extLst>
              </p:cNvPr>
              <p:cNvCxnSpPr/>
              <p:nvPr/>
            </p:nvCxnSpPr>
            <p:spPr>
              <a:xfrm>
                <a:off x="-450" y="311064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2" name="Straight Connector 131">
                <a:extLst>
                  <a:ext uri="{FF2B5EF4-FFF2-40B4-BE49-F238E27FC236}">
                    <a16:creationId xmlns:a16="http://schemas.microsoft.com/office/drawing/2014/main" id="{AF16190B-2769-45D5-BABA-140B17EB6404}"/>
                  </a:ext>
                </a:extLst>
              </p:cNvPr>
              <p:cNvCxnSpPr/>
              <p:nvPr/>
            </p:nvCxnSpPr>
            <p:spPr>
              <a:xfrm>
                <a:off x="-450" y="3327235"/>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F27749E1-D6B7-492C-B1F3-DECF4CD01181}"/>
                  </a:ext>
                </a:extLst>
              </p:cNvPr>
              <p:cNvCxnSpPr/>
              <p:nvPr/>
            </p:nvCxnSpPr>
            <p:spPr>
              <a:xfrm>
                <a:off x="-450" y="354382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8" name="Straight Connector 137">
                <a:extLst>
                  <a:ext uri="{FF2B5EF4-FFF2-40B4-BE49-F238E27FC236}">
                    <a16:creationId xmlns:a16="http://schemas.microsoft.com/office/drawing/2014/main" id="{BB01DA90-16DF-4929-A1E0-5844C6E5F363}"/>
                  </a:ext>
                </a:extLst>
              </p:cNvPr>
              <p:cNvCxnSpPr/>
              <p:nvPr/>
            </p:nvCxnSpPr>
            <p:spPr>
              <a:xfrm>
                <a:off x="-450" y="376041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9" name="Straight Connector 138">
                <a:extLst>
                  <a:ext uri="{FF2B5EF4-FFF2-40B4-BE49-F238E27FC236}">
                    <a16:creationId xmlns:a16="http://schemas.microsoft.com/office/drawing/2014/main" id="{5217A41E-5187-4C20-A9B8-E5E3DBAD6E58}"/>
                  </a:ext>
                </a:extLst>
              </p:cNvPr>
              <p:cNvCxnSpPr/>
              <p:nvPr/>
            </p:nvCxnSpPr>
            <p:spPr>
              <a:xfrm>
                <a:off x="-450" y="397701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0" name="Straight Connector 139">
                <a:extLst>
                  <a:ext uri="{FF2B5EF4-FFF2-40B4-BE49-F238E27FC236}">
                    <a16:creationId xmlns:a16="http://schemas.microsoft.com/office/drawing/2014/main" id="{7ACA6450-DEAD-44E0-A182-C56D2DC9C9BE}"/>
                  </a:ext>
                </a:extLst>
              </p:cNvPr>
              <p:cNvCxnSpPr/>
              <p:nvPr/>
            </p:nvCxnSpPr>
            <p:spPr>
              <a:xfrm>
                <a:off x="-450" y="419360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41" name="Straight Connector 140">
                <a:extLst>
                  <a:ext uri="{FF2B5EF4-FFF2-40B4-BE49-F238E27FC236}">
                    <a16:creationId xmlns:a16="http://schemas.microsoft.com/office/drawing/2014/main" id="{ED799BC5-1915-4AF5-AEAC-CA271A957838}"/>
                  </a:ext>
                </a:extLst>
              </p:cNvPr>
              <p:cNvCxnSpPr/>
              <p:nvPr/>
            </p:nvCxnSpPr>
            <p:spPr>
              <a:xfrm>
                <a:off x="-450" y="441019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95" name="Gutter space">
              <a:extLst>
                <a:ext uri="{FF2B5EF4-FFF2-40B4-BE49-F238E27FC236}">
                  <a16:creationId xmlns:a16="http://schemas.microsoft.com/office/drawing/2014/main" id="{14FF5280-A450-427D-B34B-6DE52D3EA1C5}"/>
                </a:ext>
              </a:extLst>
            </p:cNvPr>
            <p:cNvGrpSpPr/>
            <p:nvPr/>
          </p:nvGrpSpPr>
          <p:grpSpPr>
            <a:xfrm>
              <a:off x="957750" y="282150"/>
              <a:ext cx="7228500" cy="4128047"/>
              <a:chOff x="1277000" y="623550"/>
              <a:chExt cx="9638000" cy="5537047"/>
            </a:xfrm>
          </p:grpSpPr>
          <p:sp>
            <p:nvSpPr>
              <p:cNvPr id="107" name="Rectangle 34">
                <a:extLst>
                  <a:ext uri="{FF2B5EF4-FFF2-40B4-BE49-F238E27FC236}">
                    <a16:creationId xmlns:a16="http://schemas.microsoft.com/office/drawing/2014/main" id="{342BE907-E46D-4FF8-8046-82AFB312382E}"/>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8" name="Rectangle 35">
                <a:extLst>
                  <a:ext uri="{FF2B5EF4-FFF2-40B4-BE49-F238E27FC236}">
                    <a16:creationId xmlns:a16="http://schemas.microsoft.com/office/drawing/2014/main" id="{860FD822-32D8-4FF6-A2D1-1D99B48EA577}"/>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9" name="Rectangle 36">
                <a:extLst>
                  <a:ext uri="{FF2B5EF4-FFF2-40B4-BE49-F238E27FC236}">
                    <a16:creationId xmlns:a16="http://schemas.microsoft.com/office/drawing/2014/main" id="{B562ED3B-95C7-464E-9AF0-2D7DAC276193}"/>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0" name="Rectangle 37">
                <a:extLst>
                  <a:ext uri="{FF2B5EF4-FFF2-40B4-BE49-F238E27FC236}">
                    <a16:creationId xmlns:a16="http://schemas.microsoft.com/office/drawing/2014/main" id="{AF7A1216-C1DA-4E42-9335-F28163756875}"/>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1" name="Rectangle 38">
                <a:extLst>
                  <a:ext uri="{FF2B5EF4-FFF2-40B4-BE49-F238E27FC236}">
                    <a16:creationId xmlns:a16="http://schemas.microsoft.com/office/drawing/2014/main" id="{CF80D184-0DB9-4270-B9C0-48E54CBE51C3}"/>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2" name="Rectangle 39">
                <a:extLst>
                  <a:ext uri="{FF2B5EF4-FFF2-40B4-BE49-F238E27FC236}">
                    <a16:creationId xmlns:a16="http://schemas.microsoft.com/office/drawing/2014/main" id="{9FFCA0ED-6505-4472-B6F7-7A6DEEFDA827}"/>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3" name="Rectangle 40">
                <a:extLst>
                  <a:ext uri="{FF2B5EF4-FFF2-40B4-BE49-F238E27FC236}">
                    <a16:creationId xmlns:a16="http://schemas.microsoft.com/office/drawing/2014/main" id="{43CF289D-71B6-46CC-878C-4EA22345E94E}"/>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4" name="Rectangle 41">
                <a:extLst>
                  <a:ext uri="{FF2B5EF4-FFF2-40B4-BE49-F238E27FC236}">
                    <a16:creationId xmlns:a16="http://schemas.microsoft.com/office/drawing/2014/main" id="{FE0FAC56-D142-4AA1-B39D-70B46FF1EA1D}"/>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5" name="Rectangle 42">
                <a:extLst>
                  <a:ext uri="{FF2B5EF4-FFF2-40B4-BE49-F238E27FC236}">
                    <a16:creationId xmlns:a16="http://schemas.microsoft.com/office/drawing/2014/main" id="{64D843F3-41EF-42B0-82C9-35B212FC6843}"/>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6" name="Rectangle 43">
                <a:extLst>
                  <a:ext uri="{FF2B5EF4-FFF2-40B4-BE49-F238E27FC236}">
                    <a16:creationId xmlns:a16="http://schemas.microsoft.com/office/drawing/2014/main" id="{61536757-2883-472F-8593-C4538E27993E}"/>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17" name="Rectangle 44">
                <a:extLst>
                  <a:ext uri="{FF2B5EF4-FFF2-40B4-BE49-F238E27FC236}">
                    <a16:creationId xmlns:a16="http://schemas.microsoft.com/office/drawing/2014/main" id="{17CAADF9-29ED-4303-8842-0803998A949E}"/>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96" name="Slide edges">
              <a:extLst>
                <a:ext uri="{FF2B5EF4-FFF2-40B4-BE49-F238E27FC236}">
                  <a16:creationId xmlns:a16="http://schemas.microsoft.com/office/drawing/2014/main" id="{6E313C31-3694-43F4-99D3-15E3DFECBD6F}"/>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97" name="Footnote measure">
              <a:extLst>
                <a:ext uri="{FF2B5EF4-FFF2-40B4-BE49-F238E27FC236}">
                  <a16:creationId xmlns:a16="http://schemas.microsoft.com/office/drawing/2014/main" id="{CD112877-D36E-4EC2-8388-0DEE48C4C28A}"/>
                </a:ext>
              </a:extLst>
            </p:cNvPr>
            <p:cNvSpPr>
              <a:spLocks noChangeArrowheads="1"/>
            </p:cNvSpPr>
            <p:nvPr/>
          </p:nvSpPr>
          <p:spPr bwMode="auto">
            <a:xfrm>
              <a:off x="381221" y="4410197"/>
              <a:ext cx="8381779" cy="31162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98" name="Whitespace measure">
              <a:extLst>
                <a:ext uri="{FF2B5EF4-FFF2-40B4-BE49-F238E27FC236}">
                  <a16:creationId xmlns:a16="http://schemas.microsoft.com/office/drawing/2014/main" id="{D4480CFA-5BB7-49D1-9EA1-9ED67D4E467A}"/>
                </a:ext>
              </a:extLst>
            </p:cNvPr>
            <p:cNvSpPr>
              <a:spLocks noChangeArrowheads="1"/>
            </p:cNvSpPr>
            <p:nvPr/>
          </p:nvSpPr>
          <p:spPr bwMode="auto">
            <a:xfrm>
              <a:off x="381221" y="1123201"/>
              <a:ext cx="8381779" cy="2547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99" name="Five column measure">
              <a:extLst>
                <a:ext uri="{FF2B5EF4-FFF2-40B4-BE49-F238E27FC236}">
                  <a16:creationId xmlns:a16="http://schemas.microsoft.com/office/drawing/2014/main" id="{0024C591-1FCF-4933-961B-994598BBB675}"/>
                </a:ext>
              </a:extLst>
            </p:cNvPr>
            <p:cNvGrpSpPr/>
            <p:nvPr/>
          </p:nvGrpSpPr>
          <p:grpSpPr>
            <a:xfrm>
              <a:off x="472050" y="4272073"/>
              <a:ext cx="8199900" cy="59652"/>
              <a:chOff x="629400" y="5975122"/>
              <a:chExt cx="10933200" cy="79536"/>
            </a:xfrm>
          </p:grpSpPr>
          <p:sp>
            <p:nvSpPr>
              <p:cNvPr id="102" name="Rectangle 5">
                <a:extLst>
                  <a:ext uri="{FF2B5EF4-FFF2-40B4-BE49-F238E27FC236}">
                    <a16:creationId xmlns:a16="http://schemas.microsoft.com/office/drawing/2014/main" id="{682A8923-1CA9-4179-8130-F535A7A105B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3" name="Rectangle 7">
                <a:extLst>
                  <a:ext uri="{FF2B5EF4-FFF2-40B4-BE49-F238E27FC236}">
                    <a16:creationId xmlns:a16="http://schemas.microsoft.com/office/drawing/2014/main" id="{534EA415-AC72-4B32-A4DA-7C5BB0167843}"/>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4" name="Rectangle 9">
                <a:extLst>
                  <a:ext uri="{FF2B5EF4-FFF2-40B4-BE49-F238E27FC236}">
                    <a16:creationId xmlns:a16="http://schemas.microsoft.com/office/drawing/2014/main" id="{A433B6CB-D0C7-405C-B8F2-4D12257CCFA2}"/>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5" name="Rectangle 11">
                <a:extLst>
                  <a:ext uri="{FF2B5EF4-FFF2-40B4-BE49-F238E27FC236}">
                    <a16:creationId xmlns:a16="http://schemas.microsoft.com/office/drawing/2014/main" id="{42260158-1E15-4F33-93E9-4A99FD997199}"/>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106" name="Rectangle 13">
                <a:extLst>
                  <a:ext uri="{FF2B5EF4-FFF2-40B4-BE49-F238E27FC236}">
                    <a16:creationId xmlns:a16="http://schemas.microsoft.com/office/drawing/2014/main" id="{8648FC1E-23A4-4B44-BD6F-1D6EFEEF761A}"/>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100" name="Live area">
              <a:extLst>
                <a:ext uri="{FF2B5EF4-FFF2-40B4-BE49-F238E27FC236}">
                  <a16:creationId xmlns:a16="http://schemas.microsoft.com/office/drawing/2014/main" id="{4B7E1CFE-CD21-4FDF-AFF6-5DC9807100A2}"/>
                </a:ext>
              </a:extLst>
            </p:cNvPr>
            <p:cNvSpPr/>
            <p:nvPr/>
          </p:nvSpPr>
          <p:spPr>
            <a:xfrm>
              <a:off x="381221" y="1377907"/>
              <a:ext cx="8381779" cy="303228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101" name="Footnote example">
              <a:extLst>
                <a:ext uri="{FF2B5EF4-FFF2-40B4-BE49-F238E27FC236}">
                  <a16:creationId xmlns:a16="http://schemas.microsoft.com/office/drawing/2014/main" id="{0C9CB9AC-05DB-43F6-BF20-90431389DCD1}"/>
                </a:ext>
              </a:extLst>
            </p:cNvPr>
            <p:cNvSpPr txBox="1"/>
            <p:nvPr/>
          </p:nvSpPr>
          <p:spPr>
            <a:xfrm>
              <a:off x="381000" y="4430972"/>
              <a:ext cx="7342762" cy="290849"/>
            </a:xfrm>
            <a:prstGeom prst="rect">
              <a:avLst/>
            </a:prstGeom>
            <a:noFill/>
          </p:spPr>
          <p:txBody>
            <a:bodyPr wrap="square" lIns="0" tIns="0" rIns="0" bIns="0" rtlCol="0" anchor="b">
              <a:spAutoFit/>
            </a:bodyPr>
            <a:lstStyle/>
            <a:p>
              <a:pPr lvl="0">
                <a:lnSpc>
                  <a:spcPct val="90000"/>
                </a:lnSpc>
                <a:defRPr/>
              </a:pPr>
              <a:r>
                <a:rPr lang="en-US" sz="700">
                  <a:solidFill>
                    <a:prstClr val="white">
                      <a:lumMod val="65000"/>
                    </a:prstClr>
                  </a:solidFill>
                  <a:sym typeface="Trebuchet MS" panose="020B0603020202020204" pitchFamily="34" charset="0"/>
                </a:rPr>
                <a:t>1. xxxx  2. xxxx  3. xxxx</a:t>
              </a:r>
            </a:p>
            <a:p>
              <a:pPr lvl="0">
                <a:lnSpc>
                  <a:spcPct val="90000"/>
                </a:lnSpc>
                <a:defRPr/>
              </a:pPr>
              <a:r>
                <a:rPr lang="en-US" sz="700">
                  <a:solidFill>
                    <a:prstClr val="white">
                      <a:lumMod val="65000"/>
                    </a:prstClr>
                  </a:solidFill>
                  <a:sym typeface="Trebuchet MS" panose="020B0603020202020204" pitchFamily="34" charset="0"/>
                </a:rPr>
                <a:t>Note: List footnotes in numerical order. Footnote numbers are not bracketed. Use 7pt font. Do not put a period at the end of the note or the source</a:t>
              </a:r>
            </a:p>
            <a:p>
              <a:pPr lvl="0">
                <a:lnSpc>
                  <a:spcPct val="90000"/>
                </a:lnSpc>
                <a:defRPr/>
              </a:pPr>
              <a:r>
                <a:rPr lang="en-US" sz="7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1380091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 Title Slid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65529288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a:solidFill>
                <a:srgbClr val="FFFFFF"/>
              </a:solidFill>
              <a:latin typeface="+mn-lt"/>
              <a:ea typeface="+mn-ea"/>
              <a:cs typeface="+mn-cs"/>
              <a:sym typeface="Trebuchet MS" panose="020B0603020202020204" pitchFamily="34" charset="0"/>
            </a:endParaRPr>
          </a:p>
        </p:txBody>
      </p:sp>
      <p:sp>
        <p:nvSpPr>
          <p:cNvPr id="16" name="Title 1">
            <a:extLst>
              <a:ext uri="{FF2B5EF4-FFF2-40B4-BE49-F238E27FC236}">
                <a16:creationId xmlns:a16="http://schemas.microsoft.com/office/drawing/2014/main" id="{A8009F13-E451-4537-A17F-6950CB20B08E}"/>
              </a:ext>
            </a:extLst>
          </p:cNvPr>
          <p:cNvSpPr>
            <a:spLocks noGrp="1"/>
          </p:cNvSpPr>
          <p:nvPr>
            <p:ph type="ctrTitle" hasCustomPrompt="1"/>
          </p:nvPr>
        </p:nvSpPr>
        <p:spPr bwMode="ltGray">
          <a:xfrm>
            <a:off x="1072800" y="1881898"/>
            <a:ext cx="6977283" cy="1165268"/>
          </a:xfrm>
          <a:prstGeom prst="rect">
            <a:avLst/>
          </a:prstGeom>
        </p:spPr>
        <p:txBody>
          <a:bodyPr vert="horz" anchor="ctr">
            <a:normAutofit/>
          </a:bodyPr>
          <a:lstStyle>
            <a:lvl1pPr marL="9144" algn="l">
              <a:lnSpc>
                <a:spcPct val="100000"/>
              </a:lnSpc>
              <a:spcBef>
                <a:spcPts val="0"/>
              </a:spcBef>
              <a:defRPr sz="2000" baseline="0">
                <a:solidFill>
                  <a:schemeClr val="bg1"/>
                </a:solidFill>
                <a:latin typeface="+mj-lt"/>
                <a:ea typeface="+mj-ea"/>
                <a:cs typeface="+mj-cs"/>
                <a:sym typeface="Trebuchet MS" panose="020B0603020202020204" pitchFamily="34" charset="0"/>
              </a:defRPr>
            </a:lvl1pPr>
          </a:lstStyle>
          <a:p>
            <a:r>
              <a:rPr lang="en-US"/>
              <a:t>Title</a:t>
            </a:r>
          </a:p>
        </p:txBody>
      </p:sp>
      <p:pic>
        <p:nvPicPr>
          <p:cNvPr id="17" name="Kuva 7">
            <a:extLst>
              <a:ext uri="{FF2B5EF4-FFF2-40B4-BE49-F238E27FC236}">
                <a16:creationId xmlns:a16="http://schemas.microsoft.com/office/drawing/2014/main" id="{E3CEE4B8-6E27-43FA-8064-003FE10B12CF}"/>
              </a:ext>
            </a:extLst>
          </p:cNvPr>
          <p:cNvPicPr>
            <a:picLocks noChangeAspect="1"/>
          </p:cNvPicPr>
          <p:nvPr userDrawn="1"/>
        </p:nvPicPr>
        <p:blipFill>
          <a:blip r:embed="rId6"/>
          <a:stretch>
            <a:fillRect/>
          </a:stretch>
        </p:blipFill>
        <p:spPr>
          <a:xfrm>
            <a:off x="8335004" y="370433"/>
            <a:ext cx="437200" cy="437174"/>
          </a:xfrm>
          <a:prstGeom prst="rect">
            <a:avLst/>
          </a:prstGeom>
        </p:spPr>
      </p:pic>
      <p:sp>
        <p:nvSpPr>
          <p:cNvPr id="19" name="Päivämäärän paikkamerkki 3">
            <a:extLst>
              <a:ext uri="{FF2B5EF4-FFF2-40B4-BE49-F238E27FC236}">
                <a16:creationId xmlns:a16="http://schemas.microsoft.com/office/drawing/2014/main" id="{0F8F9AEB-6237-417C-A3E7-7CDC0472C009}"/>
              </a:ext>
            </a:extLst>
          </p:cNvPr>
          <p:cNvSpPr txBox="1">
            <a:spLocks/>
          </p:cNvSpPr>
          <p:nvPr userDrawn="1"/>
        </p:nvSpPr>
        <p:spPr>
          <a:xfrm>
            <a:off x="282027" y="4728047"/>
            <a:ext cx="916709"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fld id="{81E00E6F-8D33-4515-8E96-EC6D63C57588}" type="datetime1">
              <a:rPr kumimoji="0" lang="en-US" sz="7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rPr>
              <a:pPr marL="0" marR="0" lvl="0" indent="0" algn="l" defTabSz="679871" rtl="0" eaLnBrk="1" fontAlgn="auto" latinLnBrk="0" hangingPunct="1">
                <a:lnSpc>
                  <a:spcPct val="100000"/>
                </a:lnSpc>
                <a:spcBef>
                  <a:spcPts val="0"/>
                </a:spcBef>
                <a:spcAft>
                  <a:spcPts val="0"/>
                </a:spcAft>
                <a:buClrTx/>
                <a:buSzTx/>
                <a:buFontTx/>
                <a:buNone/>
                <a:tabLst/>
                <a:defRPr/>
              </a:pPr>
              <a:t>4/9/2024</a:t>
            </a:fld>
            <a:endParaRPr kumimoji="0" lang="fi-FI" sz="7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23" name="Alatunnisteen paikkamerkki 4">
            <a:extLst>
              <a:ext uri="{FF2B5EF4-FFF2-40B4-BE49-F238E27FC236}">
                <a16:creationId xmlns:a16="http://schemas.microsoft.com/office/drawing/2014/main" id="{E9C210DD-D71F-48B8-994C-5E7BC10F5564}"/>
              </a:ext>
            </a:extLst>
          </p:cNvPr>
          <p:cNvSpPr txBox="1">
            <a:spLocks/>
          </p:cNvSpPr>
          <p:nvPr userDrawn="1"/>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rPr>
              <a:t>Technology Industries of Finland</a:t>
            </a:r>
          </a:p>
        </p:txBody>
      </p:sp>
      <p:sp>
        <p:nvSpPr>
          <p:cNvPr id="24" name="Dian numeron paikkamerkki 2">
            <a:extLst>
              <a:ext uri="{FF2B5EF4-FFF2-40B4-BE49-F238E27FC236}">
                <a16:creationId xmlns:a16="http://schemas.microsoft.com/office/drawing/2014/main" id="{DE8E0349-40D9-41B4-8F1E-A079B620E415}"/>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bg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0244666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C3385F4-B106-4847-A2FB-E3938D4975F0}"/>
              </a:ext>
            </a:extLst>
          </p:cNvPr>
          <p:cNvGraphicFramePr>
            <a:graphicFrameLocks noChangeAspect="1"/>
          </p:cNvGraphicFramePr>
          <p:nvPr userDrawn="1">
            <p:custDataLst>
              <p:tags r:id="rId1"/>
            </p:custDataLst>
            <p:extLst>
              <p:ext uri="{D42A27DB-BD31-4B8C-83A1-F6EECF244321}">
                <p14:modId xmlns:p14="http://schemas.microsoft.com/office/powerpoint/2010/main" val="18019626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6C3385F4-B106-4847-A2FB-E3938D4975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Kuva 9">
            <a:extLst>
              <a:ext uri="{FF2B5EF4-FFF2-40B4-BE49-F238E27FC236}">
                <a16:creationId xmlns:a16="http://schemas.microsoft.com/office/drawing/2014/main" id="{93ECD2BD-6DF5-4E36-B809-5A9CBD7F723F}"/>
              </a:ext>
            </a:extLst>
          </p:cNvPr>
          <p:cNvPicPr>
            <a:picLocks noChangeAspect="1"/>
          </p:cNvPicPr>
          <p:nvPr userDrawn="1"/>
        </p:nvPicPr>
        <p:blipFill>
          <a:blip r:embed="rId5"/>
          <a:stretch>
            <a:fillRect/>
          </a:stretch>
        </p:blipFill>
        <p:spPr>
          <a:xfrm>
            <a:off x="8335624" y="368923"/>
            <a:ext cx="437056" cy="437032"/>
          </a:xfrm>
          <a:prstGeom prst="rect">
            <a:avLst/>
          </a:prstGeom>
        </p:spPr>
      </p:pic>
      <p:sp>
        <p:nvSpPr>
          <p:cNvPr id="11" name="Date Placeholder 3">
            <a:extLst>
              <a:ext uri="{FF2B5EF4-FFF2-40B4-BE49-F238E27FC236}">
                <a16:creationId xmlns:a16="http://schemas.microsoft.com/office/drawing/2014/main" id="{81A98246-193A-42A6-B1CD-5069319E7346}"/>
              </a:ext>
            </a:extLst>
          </p:cNvPr>
          <p:cNvSpPr txBox="1">
            <a:spLocks/>
          </p:cNvSpPr>
          <p:nvPr userDrawn="1"/>
        </p:nvSpPr>
        <p:spPr>
          <a:xfrm>
            <a:off x="282027" y="4728047"/>
            <a:ext cx="916709"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fld id="{CBE7DC44-C376-4F45-AAD9-CF0021B2BA36}" type="datetime1">
              <a:rPr kumimoji="0" lang="en-US" sz="700" b="0" i="0" u="none" strike="noStrike" kern="1200" cap="none" spc="0" normalizeH="0" baseline="0" noProof="0" smtClean="0">
                <a:ln>
                  <a:noFill/>
                </a:ln>
                <a:solidFill>
                  <a:srgbClr val="29282E"/>
                </a:solidFill>
                <a:effectLst/>
                <a:uLnTx/>
                <a:uFillTx/>
                <a:latin typeface="Verdana" panose="020B0604030504040204" pitchFamily="34" charset="0"/>
                <a:ea typeface="Verdana" panose="020B0604030504040204" pitchFamily="34" charset="0"/>
              </a:rPr>
              <a:pPr marL="0" marR="0" lvl="0" indent="0" algn="l" defTabSz="679871" rtl="0" eaLnBrk="1" fontAlgn="auto" latinLnBrk="0" hangingPunct="1">
                <a:lnSpc>
                  <a:spcPct val="100000"/>
                </a:lnSpc>
                <a:spcBef>
                  <a:spcPts val="0"/>
                </a:spcBef>
                <a:spcAft>
                  <a:spcPts val="0"/>
                </a:spcAft>
                <a:buClrTx/>
                <a:buSzTx/>
                <a:buFontTx/>
                <a:buNone/>
                <a:tabLst/>
                <a:defRPr/>
              </a:pPr>
              <a:t>4/9/2024</a:t>
            </a:fld>
            <a:endPar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endParaRPr>
          </a:p>
        </p:txBody>
      </p:sp>
      <p:sp>
        <p:nvSpPr>
          <p:cNvPr id="12" name="Footer Placeholder 4">
            <a:extLst>
              <a:ext uri="{FF2B5EF4-FFF2-40B4-BE49-F238E27FC236}">
                <a16:creationId xmlns:a16="http://schemas.microsoft.com/office/drawing/2014/main" id="{D2B74180-2FDB-4F12-A77F-58FF7A518669}"/>
              </a:ext>
            </a:extLst>
          </p:cNvPr>
          <p:cNvSpPr txBox="1">
            <a:spLocks/>
          </p:cNvSpPr>
          <p:nvPr userDrawn="1"/>
        </p:nvSpPr>
        <p:spPr>
          <a:xfrm>
            <a:off x="1111510" y="4728047"/>
            <a:ext cx="1775664"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Technology Industries of Finland</a:t>
            </a:r>
          </a:p>
        </p:txBody>
      </p:sp>
      <p:sp>
        <p:nvSpPr>
          <p:cNvPr id="13" name="Title Placeholder 1">
            <a:extLst>
              <a:ext uri="{FF2B5EF4-FFF2-40B4-BE49-F238E27FC236}">
                <a16:creationId xmlns:a16="http://schemas.microsoft.com/office/drawing/2014/main" id="{FE45C8F2-536F-4CF8-B080-03B2C989266C}"/>
              </a:ext>
            </a:extLst>
          </p:cNvPr>
          <p:cNvSpPr>
            <a:spLocks noGrp="1"/>
          </p:cNvSpPr>
          <p:nvPr>
            <p:ph type="title" hasCustomPrompt="1"/>
          </p:nvPr>
        </p:nvSpPr>
        <p:spPr>
          <a:xfrm>
            <a:off x="252414" y="282575"/>
            <a:ext cx="7991475" cy="820738"/>
          </a:xfrm>
          <a:prstGeom prst="rect">
            <a:avLst/>
          </a:prstGeom>
        </p:spPr>
        <p:txBody>
          <a:bodyPr vert="horz" wrap="square" lIns="91440" tIns="45720" rIns="91440" bIns="45720" rtlCol="0" anchor="t">
            <a:noAutofit/>
          </a:bodyPr>
          <a:lstStyle/>
          <a:p>
            <a:r>
              <a:rPr lang="en-US"/>
              <a:t>Click to add title</a:t>
            </a:r>
          </a:p>
        </p:txBody>
      </p:sp>
    </p:spTree>
    <p:extLst>
      <p:ext uri="{BB962C8B-B14F-4D97-AF65-F5344CB8AC3E}">
        <p14:creationId xmlns:p14="http://schemas.microsoft.com/office/powerpoint/2010/main" val="2669984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3240">
          <p15:clr>
            <a:srgbClr val="FBAE40"/>
          </p15:clr>
        </p15:guide>
      </p15:sldGuideLst>
    </p:ext>
  </p:extLs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6D4D525F-DAC0-4240-A985-DF0376DC1A6F}"/>
              </a:ext>
            </a:extLst>
          </p:cNvPr>
          <p:cNvGraphicFramePr>
            <a:graphicFrameLocks noChangeAspect="1"/>
          </p:cNvGraphicFramePr>
          <p:nvPr userDrawn="1">
            <p:custDataLst>
              <p:tags r:id="rId1"/>
            </p:custDataLst>
            <p:extLst>
              <p:ext uri="{D42A27DB-BD31-4B8C-83A1-F6EECF244321}">
                <p14:modId xmlns:p14="http://schemas.microsoft.com/office/powerpoint/2010/main" val="358456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think-cell data - do not delete" hidden="1">
                        <a:extLst>
                          <a:ext uri="{FF2B5EF4-FFF2-40B4-BE49-F238E27FC236}">
                            <a16:creationId xmlns:a16="http://schemas.microsoft.com/office/drawing/2014/main" id="{6D4D525F-DAC0-4240-A985-DF0376DC1A6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381221" y="1377908"/>
            <a:ext cx="8381779" cy="3032289"/>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8" name="Kuva 9">
            <a:extLst>
              <a:ext uri="{FF2B5EF4-FFF2-40B4-BE49-F238E27FC236}">
                <a16:creationId xmlns:a16="http://schemas.microsoft.com/office/drawing/2014/main" id="{059A9EAB-6C10-4A3B-97B6-E77B8FDEB9AD}"/>
              </a:ext>
            </a:extLst>
          </p:cNvPr>
          <p:cNvPicPr>
            <a:picLocks noChangeAspect="1"/>
          </p:cNvPicPr>
          <p:nvPr userDrawn="1"/>
        </p:nvPicPr>
        <p:blipFill>
          <a:blip r:embed="rId5"/>
          <a:stretch>
            <a:fillRect/>
          </a:stretch>
        </p:blipFill>
        <p:spPr>
          <a:xfrm>
            <a:off x="8335624" y="368923"/>
            <a:ext cx="437056" cy="437032"/>
          </a:xfrm>
          <a:prstGeom prst="rect">
            <a:avLst/>
          </a:prstGeom>
        </p:spPr>
      </p:pic>
      <p:sp>
        <p:nvSpPr>
          <p:cNvPr id="9" name="Date Placeholder 3">
            <a:extLst>
              <a:ext uri="{FF2B5EF4-FFF2-40B4-BE49-F238E27FC236}">
                <a16:creationId xmlns:a16="http://schemas.microsoft.com/office/drawing/2014/main" id="{7D6BB3B6-A618-476E-903E-A013857781D1}"/>
              </a:ext>
            </a:extLst>
          </p:cNvPr>
          <p:cNvSpPr txBox="1">
            <a:spLocks/>
          </p:cNvSpPr>
          <p:nvPr userDrawn="1"/>
        </p:nvSpPr>
        <p:spPr>
          <a:xfrm>
            <a:off x="282027" y="4728047"/>
            <a:ext cx="916709"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fld id="{CBE7DC44-C376-4F45-AAD9-CF0021B2BA36}" type="datetime1">
              <a:rPr kumimoji="0" lang="en-US" sz="700" b="0" i="0" u="none" strike="noStrike" kern="1200" cap="none" spc="0" normalizeH="0" baseline="0" noProof="0" smtClean="0">
                <a:ln>
                  <a:noFill/>
                </a:ln>
                <a:solidFill>
                  <a:srgbClr val="29282E"/>
                </a:solidFill>
                <a:effectLst/>
                <a:uLnTx/>
                <a:uFillTx/>
                <a:latin typeface="Verdana" panose="020B0604030504040204" pitchFamily="34" charset="0"/>
                <a:ea typeface="Verdana" panose="020B0604030504040204" pitchFamily="34" charset="0"/>
              </a:rPr>
              <a:pPr marL="0" marR="0" lvl="0" indent="0" algn="l" defTabSz="679871" rtl="0" eaLnBrk="1" fontAlgn="auto" latinLnBrk="0" hangingPunct="1">
                <a:lnSpc>
                  <a:spcPct val="100000"/>
                </a:lnSpc>
                <a:spcBef>
                  <a:spcPts val="0"/>
                </a:spcBef>
                <a:spcAft>
                  <a:spcPts val="0"/>
                </a:spcAft>
                <a:buClrTx/>
                <a:buSzTx/>
                <a:buFontTx/>
                <a:buNone/>
                <a:tabLst/>
                <a:defRPr/>
              </a:pPr>
              <a:t>4/9/2024</a:t>
            </a:fld>
            <a:endPar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endParaRPr>
          </a:p>
        </p:txBody>
      </p:sp>
      <p:sp>
        <p:nvSpPr>
          <p:cNvPr id="10" name="Footer Placeholder 4">
            <a:extLst>
              <a:ext uri="{FF2B5EF4-FFF2-40B4-BE49-F238E27FC236}">
                <a16:creationId xmlns:a16="http://schemas.microsoft.com/office/drawing/2014/main" id="{F4DA0EF5-A72D-4502-AFC7-22884AD49D8B}"/>
              </a:ext>
            </a:extLst>
          </p:cNvPr>
          <p:cNvSpPr txBox="1">
            <a:spLocks/>
          </p:cNvSpPr>
          <p:nvPr userDrawn="1"/>
        </p:nvSpPr>
        <p:spPr>
          <a:xfrm>
            <a:off x="1111510" y="4728047"/>
            <a:ext cx="1775664"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Technology Industries of Finland</a:t>
            </a:r>
          </a:p>
        </p:txBody>
      </p:sp>
      <p:sp>
        <p:nvSpPr>
          <p:cNvPr id="11" name="Title Placeholder 1">
            <a:extLst>
              <a:ext uri="{FF2B5EF4-FFF2-40B4-BE49-F238E27FC236}">
                <a16:creationId xmlns:a16="http://schemas.microsoft.com/office/drawing/2014/main" id="{E49C5BF5-631B-48A0-8D91-384D9389FB07}"/>
              </a:ext>
            </a:extLst>
          </p:cNvPr>
          <p:cNvSpPr>
            <a:spLocks noGrp="1"/>
          </p:cNvSpPr>
          <p:nvPr>
            <p:ph type="title" hasCustomPrompt="1"/>
          </p:nvPr>
        </p:nvSpPr>
        <p:spPr>
          <a:xfrm>
            <a:off x="252414" y="282575"/>
            <a:ext cx="7991475" cy="820738"/>
          </a:xfrm>
          <a:prstGeom prst="rect">
            <a:avLst/>
          </a:prstGeom>
        </p:spPr>
        <p:txBody>
          <a:bodyPr vert="horz" wrap="square" lIns="91440" tIns="45720" rIns="91440" bIns="45720" rtlCol="0" anchor="t">
            <a:noAutofit/>
          </a:bodyPr>
          <a:lstStyle/>
          <a:p>
            <a:r>
              <a:rPr lang="en-US"/>
              <a:t>Click to add title</a:t>
            </a:r>
          </a:p>
        </p:txBody>
      </p:sp>
    </p:spTree>
    <p:extLst>
      <p:ext uri="{BB962C8B-B14F-4D97-AF65-F5344CB8AC3E}">
        <p14:creationId xmlns:p14="http://schemas.microsoft.com/office/powerpoint/2010/main" val="26526282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26070A2-8EF5-474F-A3FD-A2EBF85821C5}"/>
              </a:ext>
            </a:extLst>
          </p:cNvPr>
          <p:cNvGraphicFramePr>
            <a:graphicFrameLocks noChangeAspect="1"/>
          </p:cNvGraphicFramePr>
          <p:nvPr userDrawn="1">
            <p:custDataLst>
              <p:tags r:id="rId1"/>
            </p:custDataLst>
            <p:extLst>
              <p:ext uri="{D42A27DB-BD31-4B8C-83A1-F6EECF244321}">
                <p14:modId xmlns:p14="http://schemas.microsoft.com/office/powerpoint/2010/main" val="31313471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26070A2-8EF5-474F-A3FD-A2EBF85821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252413" y="1619241"/>
            <a:ext cx="3028087" cy="406265"/>
          </a:xfrm>
          <a:prstGeom prst="rect">
            <a:avLst/>
          </a:prstGeom>
        </p:spPr>
        <p:txBody>
          <a:bodyPr lIns="91440" tIns="45720" rIns="91440" bIns="45720">
            <a:noAutofit/>
          </a:bodyPr>
          <a:lstStyle>
            <a:lvl1pPr marL="18288" indent="0" algn="l">
              <a:lnSpc>
                <a:spcPts val="2700"/>
              </a:lnSpc>
              <a:spcBef>
                <a:spcPts val="400"/>
              </a:spcBef>
              <a:spcAft>
                <a:spcPts val="0"/>
              </a:spcAft>
              <a:buNone/>
              <a:defRPr sz="1200" b="1">
                <a:solidFill>
                  <a:srgbClr val="000000"/>
                </a:solidFill>
                <a:latin typeface="+mn-lt"/>
                <a:ea typeface="+mn-ea"/>
                <a:cs typeface="+mn-cs"/>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252413" y="920286"/>
            <a:ext cx="3028087" cy="498598"/>
          </a:xfrm>
        </p:spPr>
        <p:txBody>
          <a:bodyPr vert="horz" anchor="t">
            <a:noAutofit/>
          </a:bodyPr>
          <a:lstStyle>
            <a:lvl1pPr>
              <a:defRPr sz="1400">
                <a:solidFill>
                  <a:srgbClr val="000000"/>
                </a:solidFill>
                <a:latin typeface="+mj-lt"/>
                <a:ea typeface="+mj-ea"/>
                <a:cs typeface="+mj-cs"/>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02342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162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Väliotsikkodia - mandariini">
    <p:bg>
      <p:bgPr>
        <a:solidFill>
          <a:srgbClr val="FF805C"/>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7A0E26C-7ACF-F201-BB03-1BFCA9D90172}"/>
              </a:ext>
            </a:extLst>
          </p:cNvPr>
          <p:cNvGraphicFramePr>
            <a:graphicFrameLocks noChangeAspect="1"/>
          </p:cNvGraphicFramePr>
          <p:nvPr userDrawn="1">
            <p:custDataLst>
              <p:tags r:id="rId1"/>
            </p:custDataLst>
            <p:extLst>
              <p:ext uri="{D42A27DB-BD31-4B8C-83A1-F6EECF244321}">
                <p14:modId xmlns:p14="http://schemas.microsoft.com/office/powerpoint/2010/main" val="2611318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17A0E26C-7ACF-F201-BB03-1BFCA9D9017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4"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587EC0B6-2E25-4D18-9E30-E0B3C0C6522E}" type="datetime1">
              <a:rPr lang="en-US" smtClean="0"/>
              <a:pPr/>
              <a:t>4/9/2024</a:t>
            </a:fld>
            <a:endParaRPr lang="en-US"/>
          </a:p>
        </p:txBody>
      </p:sp>
      <p:sp>
        <p:nvSpPr>
          <p:cNvPr id="15"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64181846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6699548-B8C7-4C1F-9E44-C02D8230FD27}"/>
              </a:ext>
            </a:extLst>
          </p:cNvPr>
          <p:cNvGraphicFramePr>
            <a:graphicFrameLocks noChangeAspect="1"/>
          </p:cNvGraphicFramePr>
          <p:nvPr userDrawn="1">
            <p:custDataLst>
              <p:tags r:id="rId1"/>
            </p:custDataLst>
            <p:extLst>
              <p:ext uri="{D42A27DB-BD31-4B8C-83A1-F6EECF244321}">
                <p14:modId xmlns:p14="http://schemas.microsoft.com/office/powerpoint/2010/main" val="161089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D6699548-B8C7-4C1F-9E44-C02D8230FD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381221" y="2001031"/>
            <a:ext cx="8381779"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00000"/>
                </a:solidFill>
                <a:latin typeface="+mj-lt"/>
                <a:ea typeface="+mj-ea"/>
                <a:cs typeface="+mj-cs"/>
                <a:sym typeface="Trebuchet MS" panose="020B0603020202020204" pitchFamily="34" charset="0"/>
              </a:defRPr>
            </a:lvl1pPr>
          </a:lstStyle>
          <a:p>
            <a:r>
              <a:rPr lang="en-US"/>
              <a:t>Click to add section title</a:t>
            </a:r>
          </a:p>
        </p:txBody>
      </p:sp>
      <p:sp>
        <p:nvSpPr>
          <p:cNvPr id="11" name="Rectangle 10"/>
          <p:cNvSpPr/>
          <p:nvPr userDrawn="1"/>
        </p:nvSpPr>
        <p:spPr bwMode="white">
          <a:xfrm>
            <a:off x="381221" y="1068061"/>
            <a:ext cx="713791" cy="713791"/>
          </a:xfrm>
          <a:prstGeom prst="rect">
            <a:avLst/>
          </a:prstGeom>
          <a:noFill/>
          <a:ln w="952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789421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9EF9B7C-6ED8-42FE-8A28-424518BCFC51}"/>
              </a:ext>
            </a:extLst>
          </p:cNvPr>
          <p:cNvGraphicFramePr>
            <a:graphicFrameLocks noChangeAspect="1"/>
          </p:cNvGraphicFramePr>
          <p:nvPr userDrawn="1">
            <p:custDataLst>
              <p:tags r:id="rId1"/>
            </p:custDataLst>
            <p:extLst>
              <p:ext uri="{D42A27DB-BD31-4B8C-83A1-F6EECF244321}">
                <p14:modId xmlns:p14="http://schemas.microsoft.com/office/powerpoint/2010/main" val="2621112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99EF9B7C-6ED8-42FE-8A28-424518BCFC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itle 1"/>
          <p:cNvSpPr>
            <a:spLocks noGrp="1"/>
          </p:cNvSpPr>
          <p:nvPr>
            <p:ph type="title" hasCustomPrompt="1"/>
          </p:nvPr>
        </p:nvSpPr>
        <p:spPr bwMode="blackWhite">
          <a:xfrm>
            <a:off x="252000" y="2870100"/>
            <a:ext cx="8511000" cy="1530900"/>
          </a:xfrm>
        </p:spPr>
        <p:txBody>
          <a:bodyPr vert="horz" anchor="t">
            <a:noAutofit/>
          </a:bodyPr>
          <a:lstStyle>
            <a:lvl1pPr>
              <a:lnSpc>
                <a:spcPts val="4500"/>
              </a:lnSpc>
              <a:defRPr sz="4000">
                <a:solidFill>
                  <a:srgbClr val="000000"/>
                </a:solidFill>
                <a:latin typeface="+mj-lt"/>
                <a:ea typeface="+mj-ea"/>
                <a:cs typeface="+mj-cs"/>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381221" y="2760012"/>
            <a:ext cx="8760219" cy="0"/>
          </a:xfrm>
          <a:prstGeom prst="line">
            <a:avLst/>
          </a:prstGeom>
          <a:ln w="19050" cmpd="sng">
            <a:solidFill>
              <a:srgbClr val="00000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4290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03F50C0-9508-44E1-AD70-F338E3E8980C}"/>
              </a:ext>
            </a:extLst>
          </p:cNvPr>
          <p:cNvGraphicFramePr>
            <a:graphicFrameLocks noChangeAspect="1"/>
          </p:cNvGraphicFramePr>
          <p:nvPr userDrawn="1">
            <p:custDataLst>
              <p:tags r:id="rId2"/>
            </p:custDataLst>
            <p:extLst>
              <p:ext uri="{D42A27DB-BD31-4B8C-83A1-F6EECF244321}">
                <p14:modId xmlns:p14="http://schemas.microsoft.com/office/powerpoint/2010/main" val="40903358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03F50C0-9508-44E1-AD70-F338E3E8980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3059631"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252412" y="2010827"/>
            <a:ext cx="2565998" cy="1121846"/>
          </a:xfrm>
          <a:prstGeom prst="rect">
            <a:avLst/>
          </a:prstGeom>
        </p:spPr>
        <p:txBody>
          <a:bodyPr vert="horz" anchor="ctr">
            <a:noAutofit/>
          </a:bodyPr>
          <a:lstStyle>
            <a:lvl1pPr>
              <a:defRPr sz="1400">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4" name="Slide Number Placeholder 2">
            <a:extLst>
              <a:ext uri="{FF2B5EF4-FFF2-40B4-BE49-F238E27FC236}">
                <a16:creationId xmlns:a16="http://schemas.microsoft.com/office/drawing/2014/main" id="{8D5E84D4-E0AF-4A2D-BE23-E5D0ED041481}"/>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25734412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solidFill>
          <a:srgbClr val="000000"/>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2FAD4F1-D24D-4287-83A9-1EFAA200CABC}"/>
              </a:ext>
            </a:extLst>
          </p:cNvPr>
          <p:cNvGraphicFramePr>
            <a:graphicFrameLocks noChangeAspect="1"/>
          </p:cNvGraphicFramePr>
          <p:nvPr userDrawn="1">
            <p:custDataLst>
              <p:tags r:id="rId2"/>
            </p:custDataLst>
            <p:extLst>
              <p:ext uri="{D42A27DB-BD31-4B8C-83A1-F6EECF244321}">
                <p14:modId xmlns:p14="http://schemas.microsoft.com/office/powerpoint/2010/main" val="1819992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2FAD4F1-D24D-4287-83A9-1EFAA200CAB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252412" y="282574"/>
            <a:ext cx="4927484" cy="820738"/>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5" name="Slide Number Placeholder 2">
            <a:extLst>
              <a:ext uri="{FF2B5EF4-FFF2-40B4-BE49-F238E27FC236}">
                <a16:creationId xmlns:a16="http://schemas.microsoft.com/office/drawing/2014/main" id="{F9B5A826-04A1-492C-85C6-D18C4BD0474E}"/>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401685800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solidFill>
          <a:srgbClr val="000000"/>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59E8BF4-91E6-4B73-8640-FBDCAB74FDAD}"/>
              </a:ext>
            </a:extLst>
          </p:cNvPr>
          <p:cNvGraphicFramePr>
            <a:graphicFrameLocks noChangeAspect="1"/>
          </p:cNvGraphicFramePr>
          <p:nvPr userDrawn="1">
            <p:custDataLst>
              <p:tags r:id="rId2"/>
            </p:custDataLst>
            <p:extLst>
              <p:ext uri="{D42A27DB-BD31-4B8C-83A1-F6EECF244321}">
                <p14:modId xmlns:p14="http://schemas.microsoft.com/office/powerpoint/2010/main" val="32966354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059E8BF4-91E6-4B73-8640-FBDCAB74FDA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252413" y="282574"/>
            <a:ext cx="6296275" cy="820738"/>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4" name="Slide Number Placeholder 2">
            <a:extLst>
              <a:ext uri="{FF2B5EF4-FFF2-40B4-BE49-F238E27FC236}">
                <a16:creationId xmlns:a16="http://schemas.microsoft.com/office/drawing/2014/main" id="{374A5C6F-3614-49F8-89BA-045229F8FC60}"/>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01835538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3A47D2F-3079-435C-84D7-7EC9D1715D25}"/>
              </a:ext>
            </a:extLst>
          </p:cNvPr>
          <p:cNvGraphicFramePr>
            <a:graphicFrameLocks noChangeAspect="1"/>
          </p:cNvGraphicFramePr>
          <p:nvPr userDrawn="1">
            <p:custDataLst>
              <p:tags r:id="rId2"/>
            </p:custDataLst>
            <p:extLst>
              <p:ext uri="{D42A27DB-BD31-4B8C-83A1-F6EECF244321}">
                <p14:modId xmlns:p14="http://schemas.microsoft.com/office/powerpoint/2010/main" val="39515694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83A47D2F-3079-435C-84D7-7EC9D1715D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252412" y="2010827"/>
            <a:ext cx="2565998" cy="1121846"/>
          </a:xfrm>
          <a:prstGeom prst="rect">
            <a:avLst/>
          </a:prstGeom>
        </p:spPr>
        <p:txBody>
          <a:bodyPr vert="horz" anchor="ctr">
            <a:noAutofit/>
          </a:bodyPr>
          <a:lstStyle>
            <a:lvl1pPr>
              <a:defRPr sz="14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3" name="Slide Number Placeholder 2">
            <a:extLst>
              <a:ext uri="{FF2B5EF4-FFF2-40B4-BE49-F238E27FC236}">
                <a16:creationId xmlns:a16="http://schemas.microsoft.com/office/drawing/2014/main" id="{09ED5D5C-6727-48CB-9BCE-D28B9D01E217}"/>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93350562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4321149-F021-4334-A027-08B7264E64F0}"/>
              </a:ext>
            </a:extLst>
          </p:cNvPr>
          <p:cNvGraphicFramePr>
            <a:graphicFrameLocks noChangeAspect="1"/>
          </p:cNvGraphicFramePr>
          <p:nvPr userDrawn="1">
            <p:custDataLst>
              <p:tags r:id="rId2"/>
            </p:custDataLst>
            <p:extLst>
              <p:ext uri="{D42A27DB-BD31-4B8C-83A1-F6EECF244321}">
                <p14:modId xmlns:p14="http://schemas.microsoft.com/office/powerpoint/2010/main" val="2990701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D4321149-F021-4334-A027-08B7264E64F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a:defRPr sz="1400" baseline="0">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252413" y="1339200"/>
            <a:ext cx="3511387" cy="2465100"/>
          </a:xfrm>
          <a:prstGeom prst="rect">
            <a:avLst/>
          </a:prstGeom>
          <a:noFill/>
        </p:spPr>
        <p:txBody>
          <a:bodyPr vert="horz" wrap="square" lIns="91440" tIns="45720" rIns="91440" bIns="45720"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9" name="Slide Number Placeholder 2">
            <a:extLst>
              <a:ext uri="{FF2B5EF4-FFF2-40B4-BE49-F238E27FC236}">
                <a16:creationId xmlns:a16="http://schemas.microsoft.com/office/drawing/2014/main" id="{66E72887-C8AD-4607-B329-5DA8CD853C23}"/>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46736235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D8C1599-A355-4D2A-8797-059F4F0BEF3C}"/>
              </a:ext>
            </a:extLst>
          </p:cNvPr>
          <p:cNvGraphicFramePr>
            <a:graphicFrameLocks noChangeAspect="1"/>
          </p:cNvGraphicFramePr>
          <p:nvPr userDrawn="1">
            <p:custDataLst>
              <p:tags r:id="rId2"/>
            </p:custDataLst>
            <p:extLst>
              <p:ext uri="{D42A27DB-BD31-4B8C-83A1-F6EECF244321}">
                <p14:modId xmlns:p14="http://schemas.microsoft.com/office/powerpoint/2010/main" val="3513769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5D8C1599-A355-4D2A-8797-059F4F0BEF3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a:defRPr sz="1200">
                <a:solidFill>
                  <a:schemeClr val="tx1"/>
                </a:solidFill>
                <a:latin typeface="+mn-lt"/>
                <a:ea typeface="+mn-ea"/>
                <a:cs typeface="+mn-cs"/>
                <a:sym typeface="Trebuchet MS" panose="020B0603020202020204" pitchFamily="34" charset="0"/>
              </a:defRPr>
            </a:lvl1pPr>
          </a:lstStyle>
          <a:p>
            <a:r>
              <a:rPr lang="en-US"/>
              <a:t>Click icon below to insert an image or remove this placeholder to use the whitespace in another way</a:t>
            </a: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252413" y="1339200"/>
            <a:ext cx="4906453" cy="2465100"/>
          </a:xfrm>
          <a:prstGeom prst="rect">
            <a:avLst/>
          </a:prstGeom>
        </p:spPr>
        <p:txBody>
          <a:bodyPr vert="horz" anchor="ctr">
            <a:noAutofit/>
          </a:bodyPr>
          <a:lstStyle>
            <a:lvl1pPr>
              <a:defRPr sz="3300">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7" name="Slide Number Placeholder 2">
            <a:extLst>
              <a:ext uri="{FF2B5EF4-FFF2-40B4-BE49-F238E27FC236}">
                <a16:creationId xmlns:a16="http://schemas.microsoft.com/office/drawing/2014/main" id="{6503F33D-5DD5-43DA-B441-7C1A1D276755}"/>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043066731"/>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2569719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324" imgH="324" progId="TCLayout.ActiveDocument.1">
                  <p:embed/>
                </p:oleObj>
              </mc:Choice>
              <mc:Fallback>
                <p:oleObj name="think-cell Slide" r:id="rId4" imgW="324" imgH="324"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0" name="Title 2"/>
          <p:cNvSpPr>
            <a:spLocks noGrp="1"/>
          </p:cNvSpPr>
          <p:nvPr>
            <p:ph type="title" hasCustomPrompt="1"/>
          </p:nvPr>
        </p:nvSpPr>
        <p:spPr>
          <a:xfrm>
            <a:off x="252412" y="2073153"/>
            <a:ext cx="2079066" cy="985733"/>
          </a:xfrm>
          <a:prstGeom prst="rect">
            <a:avLst/>
          </a:prstGeom>
        </p:spPr>
        <p:txBody>
          <a:bodyPr vert="horz" anchor="ctr">
            <a:noAutofit/>
          </a:bodyPr>
          <a:lstStyle>
            <a:lvl1pPr>
              <a:defRPr sz="1400">
                <a:solidFill>
                  <a:srgbClr val="000000"/>
                </a:solidFill>
                <a:latin typeface="+mj-lt"/>
                <a:ea typeface="+mj-ea"/>
                <a:cs typeface="+mj-cs"/>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
        <p:nvSpPr>
          <p:cNvPr id="15" name="Slide Number Placeholder 2">
            <a:extLst>
              <a:ext uri="{FF2B5EF4-FFF2-40B4-BE49-F238E27FC236}">
                <a16:creationId xmlns:a16="http://schemas.microsoft.com/office/drawing/2014/main" id="{C1E830A2-FD1A-4854-B221-350EC06BFD9C}"/>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839794212"/>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E8886E-EFD0-4E61-B76F-E59EAAABBD24}"/>
              </a:ext>
            </a:extLst>
          </p:cNvPr>
          <p:cNvGraphicFramePr>
            <a:graphicFrameLocks noChangeAspect="1"/>
          </p:cNvGraphicFramePr>
          <p:nvPr userDrawn="1">
            <p:custDataLst>
              <p:tags r:id="rId1"/>
            </p:custDataLst>
            <p:extLst>
              <p:ext uri="{D42A27DB-BD31-4B8C-83A1-F6EECF244321}">
                <p14:modId xmlns:p14="http://schemas.microsoft.com/office/powerpoint/2010/main" val="3019906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24E8886E-EFD0-4E61-B76F-E59EAAABBD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252412" y="2073153"/>
            <a:ext cx="2079066" cy="985733"/>
          </a:xfrm>
        </p:spPr>
        <p:txBody>
          <a:bodyPr vert="horz" anchor="ctr" anchorCtr="0">
            <a:noAutofit/>
          </a:bodyPr>
          <a:lstStyle>
            <a:lvl1pPr>
              <a:defRPr>
                <a:solidFill>
                  <a:srgbClr val="FFFFFF"/>
                </a:solidFill>
                <a:latin typeface="+mj-lt"/>
                <a:ea typeface="+mj-ea"/>
                <a:cs typeface="+mj-cs"/>
              </a:defRPr>
            </a:lvl1pPr>
          </a:lstStyle>
          <a:p>
            <a:r>
              <a:rPr lang="en-US"/>
              <a:t>Click to add title</a:t>
            </a:r>
          </a:p>
        </p:txBody>
      </p:sp>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
        <p:nvSpPr>
          <p:cNvPr id="12" name="Slide Number Placeholder 2">
            <a:extLst>
              <a:ext uri="{FF2B5EF4-FFF2-40B4-BE49-F238E27FC236}">
                <a16:creationId xmlns:a16="http://schemas.microsoft.com/office/drawing/2014/main" id="{7273C59A-5D78-4B98-8FC5-669A902B3874}"/>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193635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mandariini">
    <p:bg>
      <p:bgPr>
        <a:solidFill>
          <a:srgbClr val="FF805C"/>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89F15BC-3C79-3F0A-BA79-F4BF686376C1}"/>
              </a:ext>
            </a:extLst>
          </p:cNvPr>
          <p:cNvGraphicFramePr>
            <a:graphicFrameLocks noChangeAspect="1"/>
          </p:cNvGraphicFramePr>
          <p:nvPr userDrawn="1">
            <p:custDataLst>
              <p:tags r:id="rId1"/>
            </p:custDataLst>
            <p:extLst>
              <p:ext uri="{D42A27DB-BD31-4B8C-83A1-F6EECF244321}">
                <p14:modId xmlns:p14="http://schemas.microsoft.com/office/powerpoint/2010/main" val="3899862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089F15BC-3C79-3F0A-BA79-F4BF686376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4CC09E36-3F44-42B7-8655-A8C000CE7DD4}"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7" name="Tekstin paikkamerkki 2"/>
          <p:cNvSpPr>
            <a:spLocks noGrp="1"/>
          </p:cNvSpPr>
          <p:nvPr>
            <p:ph idx="21" hasCustomPrompt="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6"/>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41745300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D3621D3-5C78-4939-A7BF-E8C8992F2759}"/>
              </a:ext>
            </a:extLst>
          </p:cNvPr>
          <p:cNvGraphicFramePr>
            <a:graphicFrameLocks noChangeAspect="1"/>
          </p:cNvGraphicFramePr>
          <p:nvPr userDrawn="1">
            <p:custDataLst>
              <p:tags r:id="rId2"/>
            </p:custDataLst>
            <p:extLst>
              <p:ext uri="{D42A27DB-BD31-4B8C-83A1-F6EECF244321}">
                <p14:modId xmlns:p14="http://schemas.microsoft.com/office/powerpoint/2010/main" val="603262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1D3621D3-5C78-4939-A7BF-E8C8992F27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252413" y="1339200"/>
            <a:ext cx="3266764" cy="2465100"/>
          </a:xfrm>
          <a:prstGeom prst="rect">
            <a:avLst/>
          </a:prstGeom>
        </p:spPr>
        <p:txBody>
          <a:bodyPr vert="horz" anchor="ctr">
            <a:noAutofit/>
          </a:bodyPr>
          <a:lstStyle>
            <a:lvl1pPr>
              <a:defRPr sz="3300" b="1">
                <a:solidFill>
                  <a:srgbClr val="00000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Placeholder 2">
            <a:extLst>
              <a:ext uri="{FF2B5EF4-FFF2-40B4-BE49-F238E27FC236}">
                <a16:creationId xmlns:a16="http://schemas.microsoft.com/office/drawing/2014/main" id="{5BFDCFE7-B902-4FDB-BE9D-98C92724421F}"/>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085543216"/>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2E2B598-D438-4BF1-B6A6-014C5DB3C534}"/>
              </a:ext>
            </a:extLst>
          </p:cNvPr>
          <p:cNvGraphicFramePr>
            <a:graphicFrameLocks noChangeAspect="1"/>
          </p:cNvGraphicFramePr>
          <p:nvPr userDrawn="1">
            <p:custDataLst>
              <p:tags r:id="rId1"/>
            </p:custDataLst>
            <p:extLst>
              <p:ext uri="{D42A27DB-BD31-4B8C-83A1-F6EECF244321}">
                <p14:modId xmlns:p14="http://schemas.microsoft.com/office/powerpoint/2010/main" val="2565599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02E2B598-D438-4BF1-B6A6-014C5DB3C5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252413" y="1339200"/>
            <a:ext cx="3266764" cy="2465100"/>
          </a:xfrm>
          <a:prstGeom prst="rect">
            <a:avLst/>
          </a:prstGeom>
        </p:spPr>
        <p:txBody>
          <a:bodyPr vert="horz" anchor="ctr">
            <a:noAutofit/>
          </a:bodyPr>
          <a:lstStyle>
            <a:lvl1pPr>
              <a:defRPr sz="3300" b="1">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
        <p:nvSpPr>
          <p:cNvPr id="17" name="Slide Number Placeholder 2">
            <a:extLst>
              <a:ext uri="{FF2B5EF4-FFF2-40B4-BE49-F238E27FC236}">
                <a16:creationId xmlns:a16="http://schemas.microsoft.com/office/drawing/2014/main" id="{0A572797-235F-4971-A620-DFDEFF4FE8E5}"/>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120036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solidFill>
          <a:srgbClr val="000000"/>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CC6BCDFD-6E11-4A2F-8906-D0B07C1A411D}"/>
              </a:ext>
            </a:extLst>
          </p:cNvPr>
          <p:cNvGraphicFramePr>
            <a:graphicFrameLocks noChangeAspect="1"/>
          </p:cNvGraphicFramePr>
          <p:nvPr userDrawn="1">
            <p:custDataLst>
              <p:tags r:id="rId2"/>
            </p:custDataLst>
            <p:extLst>
              <p:ext uri="{D42A27DB-BD31-4B8C-83A1-F6EECF244321}">
                <p14:modId xmlns:p14="http://schemas.microsoft.com/office/powerpoint/2010/main" val="1067472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CC6BCDFD-6E11-4A2F-8906-D0B07C1A411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252412" y="282574"/>
            <a:ext cx="3780954" cy="820738"/>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sp>
        <p:nvSpPr>
          <p:cNvPr id="18"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
        <p:nvSpPr>
          <p:cNvPr id="14" name="Slide Number Placeholder 2">
            <a:extLst>
              <a:ext uri="{FF2B5EF4-FFF2-40B4-BE49-F238E27FC236}">
                <a16:creationId xmlns:a16="http://schemas.microsoft.com/office/drawing/2014/main" id="{3C68C58A-05BB-48A2-8E74-386F0B3F7BE6}"/>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54627731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02F1FF5-50F7-45BD-9E9E-487D6DFDADED}"/>
              </a:ext>
            </a:extLst>
          </p:cNvPr>
          <p:cNvGraphicFramePr>
            <a:graphicFrameLocks noChangeAspect="1"/>
          </p:cNvGraphicFramePr>
          <p:nvPr userDrawn="1">
            <p:custDataLst>
              <p:tags r:id="rId1"/>
            </p:custDataLst>
            <p:extLst>
              <p:ext uri="{D42A27DB-BD31-4B8C-83A1-F6EECF244321}">
                <p14:modId xmlns:p14="http://schemas.microsoft.com/office/powerpoint/2010/main" val="11377152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602F1FF5-50F7-45BD-9E9E-487D6DFDAD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252412" y="282574"/>
            <a:ext cx="3780954" cy="820738"/>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
        <p:nvSpPr>
          <p:cNvPr id="12" name="Slide Number Placeholder 2">
            <a:extLst>
              <a:ext uri="{FF2B5EF4-FFF2-40B4-BE49-F238E27FC236}">
                <a16:creationId xmlns:a16="http://schemas.microsoft.com/office/drawing/2014/main" id="{B95CF953-0F99-4D8B-A1CA-83CFBE4DA85D}"/>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3623925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solidFill>
          <a:srgbClr val="000000"/>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BD84D67-DE60-4097-9337-780744EB0B26}"/>
              </a:ext>
            </a:extLst>
          </p:cNvPr>
          <p:cNvGraphicFramePr>
            <a:graphicFrameLocks noChangeAspect="1"/>
          </p:cNvGraphicFramePr>
          <p:nvPr userDrawn="1">
            <p:custDataLst>
              <p:tags r:id="rId2"/>
            </p:custDataLst>
            <p:extLst>
              <p:ext uri="{D42A27DB-BD31-4B8C-83A1-F6EECF244321}">
                <p14:modId xmlns:p14="http://schemas.microsoft.com/office/powerpoint/2010/main" val="12191906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think-cell data - do not delete" hidden="1">
                        <a:extLst>
                          <a:ext uri="{FF2B5EF4-FFF2-40B4-BE49-F238E27FC236}">
                            <a16:creationId xmlns:a16="http://schemas.microsoft.com/office/drawing/2014/main" id="{2BD84D67-DE60-4097-9337-780744EB0B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750"/>
              </a:spcAft>
            </a:pPr>
            <a:endParaRPr lang="en-US" sz="90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252413" y="282574"/>
            <a:ext cx="4910959" cy="820738"/>
          </a:xfrm>
          <a:prstGeom prst="rect">
            <a:avLst/>
          </a:prstGeom>
        </p:spPr>
        <p:txBody>
          <a:bodyPr vert="horz"/>
          <a:lstStyle>
            <a:lvl1pPr>
              <a:defRPr>
                <a:solidFill>
                  <a:srgbClr val="000000"/>
                </a:solidFill>
                <a:latin typeface="+mj-lt"/>
                <a:ea typeface="+mj-ea"/>
                <a:cs typeface="+mj-cs"/>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
        <p:nvSpPr>
          <p:cNvPr id="16" name="Slide Number Placeholder 2">
            <a:extLst>
              <a:ext uri="{FF2B5EF4-FFF2-40B4-BE49-F238E27FC236}">
                <a16:creationId xmlns:a16="http://schemas.microsoft.com/office/drawing/2014/main" id="{096ABA3C-8786-4BF1-8062-2DA9BA2DDB8A}"/>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20267635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5F1560F-FC83-4AFC-8154-CB0C09E18DAE}"/>
              </a:ext>
            </a:extLst>
          </p:cNvPr>
          <p:cNvGraphicFramePr>
            <a:graphicFrameLocks noChangeAspect="1"/>
          </p:cNvGraphicFramePr>
          <p:nvPr userDrawn="1">
            <p:custDataLst>
              <p:tags r:id="rId1"/>
            </p:custDataLst>
            <p:extLst>
              <p:ext uri="{D42A27DB-BD31-4B8C-83A1-F6EECF244321}">
                <p14:modId xmlns:p14="http://schemas.microsoft.com/office/powerpoint/2010/main" val="36875976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35F1560F-FC83-4AFC-8154-CB0C09E18DA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000000"/>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750"/>
              </a:spcAft>
            </a:pPr>
            <a:endParaRPr lang="en-US" sz="900">
              <a:solidFill>
                <a:prstClr val="white"/>
              </a:solidFill>
              <a:sym typeface="Trebuchet MS" panose="020B0603020202020204" pitchFamily="34" charset="0"/>
            </a:endParaRPr>
          </a:p>
        </p:txBody>
      </p:sp>
      <p:sp>
        <p:nvSpPr>
          <p:cNvPr id="2" name="Title 1"/>
          <p:cNvSpPr>
            <a:spLocks noGrp="1"/>
          </p:cNvSpPr>
          <p:nvPr>
            <p:ph type="title" hasCustomPrompt="1"/>
          </p:nvPr>
        </p:nvSpPr>
        <p:spPr>
          <a:xfrm>
            <a:off x="252413" y="282574"/>
            <a:ext cx="4910959" cy="820738"/>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a:t>Click to add title</a:t>
            </a:r>
          </a:p>
        </p:txBody>
      </p:sp>
      <p:sp>
        <p:nvSpPr>
          <p:cNvPr id="1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
        <p:nvSpPr>
          <p:cNvPr id="13" name="Slide Number Placeholder 2">
            <a:extLst>
              <a:ext uri="{FF2B5EF4-FFF2-40B4-BE49-F238E27FC236}">
                <a16:creationId xmlns:a16="http://schemas.microsoft.com/office/drawing/2014/main" id="{6CAB6FE8-5F7C-4F25-B659-994C7A25E55A}"/>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6681024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solidFill>
          <a:srgbClr val="000000"/>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53A0EFC-EEF0-41DB-9A63-EE2811969BE1}"/>
              </a:ext>
            </a:extLst>
          </p:cNvPr>
          <p:cNvGraphicFramePr>
            <a:graphicFrameLocks noChangeAspect="1"/>
          </p:cNvGraphicFramePr>
          <p:nvPr userDrawn="1">
            <p:custDataLst>
              <p:tags r:id="rId2"/>
            </p:custDataLst>
            <p:extLst>
              <p:ext uri="{D42A27DB-BD31-4B8C-83A1-F6EECF244321}">
                <p14:modId xmlns:p14="http://schemas.microsoft.com/office/powerpoint/2010/main" val="24434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3" name="think-cell data - do not delete" hidden="1">
                        <a:extLst>
                          <a:ext uri="{FF2B5EF4-FFF2-40B4-BE49-F238E27FC236}">
                            <a16:creationId xmlns:a16="http://schemas.microsoft.com/office/drawing/2014/main" id="{753A0EFC-EEF0-41DB-9A63-EE2811969BE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1" name="Title 1"/>
          <p:cNvSpPr>
            <a:spLocks noGrp="1"/>
          </p:cNvSpPr>
          <p:nvPr>
            <p:ph type="title" hasCustomPrompt="1"/>
          </p:nvPr>
        </p:nvSpPr>
        <p:spPr>
          <a:xfrm>
            <a:off x="252000" y="2869750"/>
            <a:ext cx="85110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chemeClr val="bg1"/>
                </a:solidFill>
                <a:latin typeface="+mj-lt"/>
                <a:ea typeface="+mj-ea"/>
                <a:cs typeface="+mj-cs"/>
                <a:sym typeface="Trebuchet MS" panose="020B0603020202020204" pitchFamily="34" charset="0"/>
              </a:defRPr>
            </a:lvl1pPr>
          </a:lstStyle>
          <a:p>
            <a:r>
              <a:rPr lang="en-US"/>
              <a:t>Click to add big statement text</a:t>
            </a:r>
          </a:p>
        </p:txBody>
      </p:sp>
      <p:sp>
        <p:nvSpPr>
          <p:cNvPr id="14" name="Slide Number Placeholder 2">
            <a:extLst>
              <a:ext uri="{FF2B5EF4-FFF2-40B4-BE49-F238E27FC236}">
                <a16:creationId xmlns:a16="http://schemas.microsoft.com/office/drawing/2014/main" id="{C7413907-574F-4ABF-9A41-0C4D4E3030DC}"/>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95204410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9007904-98DC-4F06-8FC1-A13A7136BB36}"/>
              </a:ext>
            </a:extLst>
          </p:cNvPr>
          <p:cNvGraphicFramePr>
            <a:graphicFrameLocks noChangeAspect="1"/>
          </p:cNvGraphicFramePr>
          <p:nvPr userDrawn="1">
            <p:custDataLst>
              <p:tags r:id="rId1"/>
            </p:custDataLst>
            <p:extLst>
              <p:ext uri="{D42A27DB-BD31-4B8C-83A1-F6EECF244321}">
                <p14:modId xmlns:p14="http://schemas.microsoft.com/office/powerpoint/2010/main" val="22800411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59007904-98DC-4F06-8FC1-A13A7136BB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6" name="Rectangle 5"/>
          <p:cNvSpPr/>
          <p:nvPr userDrawn="1"/>
        </p:nvSpPr>
        <p:spPr bwMode="white">
          <a:xfrm>
            <a:off x="381221" y="469106"/>
            <a:ext cx="699516" cy="699516"/>
          </a:xfrm>
          <a:prstGeom prst="rect">
            <a:avLst/>
          </a:prstGeom>
          <a:noFill/>
          <a:ln w="9525">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252000" y="2869750"/>
            <a:ext cx="85110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00" kern="1200" baseline="0" dirty="0">
                <a:solidFill>
                  <a:srgbClr val="000000"/>
                </a:solidFill>
                <a:latin typeface="+mj-lt"/>
                <a:ea typeface="+mj-ea"/>
                <a:cs typeface="+mj-cs"/>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35163145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2341211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accent2"/>
          </a:solidFill>
          <a:ln>
            <a:noFill/>
          </a:ln>
          <a:effectLst/>
        </p:spPr>
        <p:txBody>
          <a:bodyPr vert="horz" wrap="square" lIns="68580" tIns="34290" rIns="68580" bIns="34290" numCol="1" anchor="t" anchorCtr="0" compatLnSpc="1">
            <a:prstTxWarp prst="textNoShape">
              <a:avLst/>
            </a:prstTxWarp>
            <a:noAutofit/>
          </a:bodyPr>
          <a:lstStyle/>
          <a:p>
            <a:endParaRPr lang="en-US" sz="1000">
              <a:latin typeface="+mn-lt"/>
              <a:ea typeface="+mn-ea"/>
              <a:cs typeface="+mn-cs"/>
              <a:sym typeface="Trebuchet MS" panose="020B0603020202020204" pitchFamily="34" charset="0"/>
            </a:endParaRPr>
          </a:p>
        </p:txBody>
      </p:sp>
      <p:sp>
        <p:nvSpPr>
          <p:cNvPr id="8" name="Slide Number Placeholder 2">
            <a:extLst>
              <a:ext uri="{FF2B5EF4-FFF2-40B4-BE49-F238E27FC236}">
                <a16:creationId xmlns:a16="http://schemas.microsoft.com/office/drawing/2014/main" id="{5AA14168-26E5-4F89-8D56-98EA508FCA43}"/>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3798714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85000"/>
            <a:lumOff val="15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82E7043-D17D-4B59-A68F-12D2C05F472E}"/>
              </a:ext>
            </a:extLst>
          </p:cNvPr>
          <p:cNvGraphicFramePr>
            <a:graphicFrameLocks noChangeAspect="1"/>
          </p:cNvGraphicFramePr>
          <p:nvPr userDrawn="1">
            <p:custDataLst>
              <p:tags r:id="rId1"/>
            </p:custDataLst>
            <p:extLst>
              <p:ext uri="{D42A27DB-BD31-4B8C-83A1-F6EECF244321}">
                <p14:modId xmlns:p14="http://schemas.microsoft.com/office/powerpoint/2010/main" val="1106178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think-cell data - do not delete" hidden="1">
                        <a:extLst>
                          <a:ext uri="{FF2B5EF4-FFF2-40B4-BE49-F238E27FC236}">
                            <a16:creationId xmlns:a16="http://schemas.microsoft.com/office/drawing/2014/main" id="{D82E7043-D17D-4B59-A68F-12D2C05F472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252414" y="282574"/>
            <a:ext cx="7991475" cy="820738"/>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a:t>Click to add title</a:t>
            </a:r>
          </a:p>
        </p:txBody>
      </p:sp>
      <p:sp>
        <p:nvSpPr>
          <p:cNvPr id="10" name="Slide Number Placeholder 2">
            <a:extLst>
              <a:ext uri="{FF2B5EF4-FFF2-40B4-BE49-F238E27FC236}">
                <a16:creationId xmlns:a16="http://schemas.microsoft.com/office/drawing/2014/main" id="{8719B6F8-205C-4438-9D2C-E4EC2B8EE1E0}"/>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262214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äliotsikkodia - omena">
    <p:bg>
      <p:bgPr>
        <a:solidFill>
          <a:srgbClr val="85E869"/>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4F593BC-EAE5-4F51-E5A5-FC4AD14D6215}"/>
              </a:ext>
            </a:extLst>
          </p:cNvPr>
          <p:cNvGraphicFramePr>
            <a:graphicFrameLocks noChangeAspect="1"/>
          </p:cNvGraphicFramePr>
          <p:nvPr userDrawn="1">
            <p:custDataLst>
              <p:tags r:id="rId1"/>
            </p:custDataLst>
            <p:extLst>
              <p:ext uri="{D42A27DB-BD31-4B8C-83A1-F6EECF244321}">
                <p14:modId xmlns:p14="http://schemas.microsoft.com/office/powerpoint/2010/main" val="3187936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B4F593BC-EAE5-4F51-E5A5-FC4AD14D62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4"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D3BCD378-01EB-4810-9C8E-3D1469448D83}" type="datetime1">
              <a:rPr lang="en-US" smtClean="0"/>
              <a:pPr/>
              <a:t>4/9/2024</a:t>
            </a:fld>
            <a:endParaRPr lang="en-US"/>
          </a:p>
        </p:txBody>
      </p:sp>
      <p:sp>
        <p:nvSpPr>
          <p:cNvPr id="15"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166785004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solidFill>
          <a:srgbClr val="00000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959BCEB-8805-4B01-9F5A-8140D1DF6526}"/>
              </a:ext>
            </a:extLst>
          </p:cNvPr>
          <p:cNvGraphicFramePr>
            <a:graphicFrameLocks noChangeAspect="1"/>
          </p:cNvGraphicFramePr>
          <p:nvPr userDrawn="1">
            <p:custDataLst>
              <p:tags r:id="rId2"/>
            </p:custDataLst>
            <p:extLst>
              <p:ext uri="{D42A27DB-BD31-4B8C-83A1-F6EECF244321}">
                <p14:modId xmlns:p14="http://schemas.microsoft.com/office/powerpoint/2010/main" val="35397977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F959BCEB-8805-4B01-9F5A-8140D1DF652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52414" y="2010058"/>
            <a:ext cx="2334636" cy="1123384"/>
          </a:xfrm>
          <a:prstGeom prst="rect">
            <a:avLst/>
          </a:prstGeom>
          <a:noFill/>
        </p:spPr>
        <p:txBody>
          <a:bodyPr wrap="square" lIns="91440" tIns="0" rIns="0" bIns="0" rtlCol="0" anchor="ctr">
            <a:spAutoFit/>
          </a:bodyPr>
          <a:lstStyle/>
          <a:p>
            <a:pPr marL="0" indent="0">
              <a:lnSpc>
                <a:spcPct val="106000"/>
              </a:lnSpc>
              <a:spcAft>
                <a:spcPts val="525"/>
              </a:spcAft>
              <a:buFontTx/>
              <a:buNone/>
            </a:pPr>
            <a:r>
              <a:rPr lang="en-US" sz="3600" b="1">
                <a:solidFill>
                  <a:srgbClr val="00000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10" name="Picture 9"/>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Placeholder 2">
            <a:extLst>
              <a:ext uri="{FF2B5EF4-FFF2-40B4-BE49-F238E27FC236}">
                <a16:creationId xmlns:a16="http://schemas.microsoft.com/office/drawing/2014/main" id="{0B1FE343-78F1-4C1B-AA57-BD5D67945EE2}"/>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46338927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p:cSld name="D. Blank green">
    <p:bg>
      <p:bgPr>
        <a:solidFill>
          <a:srgbClr val="00000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530CA2D0-897C-4B55-9582-9F3B677B38B2}"/>
              </a:ext>
            </a:extLst>
          </p:cNvPr>
          <p:cNvGraphicFramePr>
            <a:graphicFrameLocks noChangeAspect="1"/>
          </p:cNvGraphicFramePr>
          <p:nvPr userDrawn="1">
            <p:custDataLst>
              <p:tags r:id="rId2"/>
            </p:custDataLst>
            <p:extLst>
              <p:ext uri="{D42A27DB-BD31-4B8C-83A1-F6EECF244321}">
                <p14:modId xmlns:p14="http://schemas.microsoft.com/office/powerpoint/2010/main" val="422078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2" name="think-cell data - do not delete" hidden="1">
                        <a:extLst>
                          <a:ext uri="{FF2B5EF4-FFF2-40B4-BE49-F238E27FC236}">
                            <a16:creationId xmlns:a16="http://schemas.microsoft.com/office/drawing/2014/main" id="{530CA2D0-897C-4B55-9582-9F3B677B38B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7" name="Slide Number Placeholder 2">
            <a:extLst>
              <a:ext uri="{FF2B5EF4-FFF2-40B4-BE49-F238E27FC236}">
                <a16:creationId xmlns:a16="http://schemas.microsoft.com/office/drawing/2014/main" id="{EC24C10C-D758-4D77-88A4-8C40A3E20B71}"/>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477959298"/>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27925B5-794C-42D1-B1A1-A03AAD6C0F86}"/>
              </a:ext>
            </a:extLst>
          </p:cNvPr>
          <p:cNvGraphicFramePr>
            <a:graphicFrameLocks noChangeAspect="1"/>
          </p:cNvGraphicFramePr>
          <p:nvPr userDrawn="1">
            <p:custDataLst>
              <p:tags r:id="rId1"/>
            </p:custDataLst>
            <p:extLst>
              <p:ext uri="{D42A27DB-BD31-4B8C-83A1-F6EECF244321}">
                <p14:modId xmlns:p14="http://schemas.microsoft.com/office/powerpoint/2010/main" val="15236049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F27925B5-794C-42D1-B1A1-A03AAD6C0F8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42600372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E1F107-D823-4810-9ECF-082DC8BA65CD}"/>
              </a:ext>
            </a:extLst>
          </p:cNvPr>
          <p:cNvGraphicFramePr>
            <a:graphicFrameLocks noChangeAspect="1"/>
          </p:cNvGraphicFramePr>
          <p:nvPr userDrawn="1">
            <p:custDataLst>
              <p:tags r:id="rId1"/>
            </p:custDataLst>
            <p:extLst>
              <p:ext uri="{D42A27DB-BD31-4B8C-83A1-F6EECF244321}">
                <p14:modId xmlns:p14="http://schemas.microsoft.com/office/powerpoint/2010/main" val="2957288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think-cell data - do not delete" hidden="1">
                        <a:extLst>
                          <a:ext uri="{FF2B5EF4-FFF2-40B4-BE49-F238E27FC236}">
                            <a16:creationId xmlns:a16="http://schemas.microsoft.com/office/drawing/2014/main" id="{2EE1F107-D823-4810-9ECF-082DC8BA65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2" name="Text Placeholder 4">
            <a:extLst>
              <a:ext uri="{FF2B5EF4-FFF2-40B4-BE49-F238E27FC236}">
                <a16:creationId xmlns:a16="http://schemas.microsoft.com/office/drawing/2014/main" id="{6563427D-9A0C-43C1-8C30-88C4C5466F5A}"/>
              </a:ext>
            </a:extLst>
          </p:cNvPr>
          <p:cNvSpPr>
            <a:spLocks noGrp="1"/>
          </p:cNvSpPr>
          <p:nvPr>
            <p:ph type="body" sz="quarter" idx="11" hasCustomPrompt="1"/>
          </p:nvPr>
        </p:nvSpPr>
        <p:spPr>
          <a:xfrm>
            <a:off x="3766370" y="1144318"/>
            <a:ext cx="4996409" cy="2700739"/>
          </a:xfrm>
        </p:spPr>
        <p:txBody>
          <a:bodyPr anchor="ctr"/>
          <a:lstStyle>
            <a:lvl1pPr>
              <a:defRPr sz="700"/>
            </a:lvl1pPr>
          </a:lstStyle>
          <a:p>
            <a:pPr lvl="0"/>
            <a:r>
              <a:rPr lang="en-US"/>
              <a:t>Text</a:t>
            </a:r>
          </a:p>
        </p:txBody>
      </p:sp>
      <p:sp>
        <p:nvSpPr>
          <p:cNvPr id="13" name="Title 6">
            <a:extLst>
              <a:ext uri="{FF2B5EF4-FFF2-40B4-BE49-F238E27FC236}">
                <a16:creationId xmlns:a16="http://schemas.microsoft.com/office/drawing/2014/main" id="{D0D5A7A3-F51D-4C65-AA3C-2A30B3BFE9FD}"/>
              </a:ext>
            </a:extLst>
          </p:cNvPr>
          <p:cNvSpPr txBox="1">
            <a:spLocks/>
          </p:cNvSpPr>
          <p:nvPr userDrawn="1"/>
        </p:nvSpPr>
        <p:spPr>
          <a:xfrm>
            <a:off x="252414" y="1996089"/>
            <a:ext cx="2834640" cy="997196"/>
          </a:xfrm>
          <a:prstGeom prst="rect">
            <a:avLst/>
          </a:prstGeom>
        </p:spPr>
        <p:txBody>
          <a:bodyPr vert="horz" wrap="square" lIns="9144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3600" b="1">
                <a:gradFill>
                  <a:gsLst>
                    <a:gs pos="100000">
                      <a:schemeClr val="tx2"/>
                    </a:gs>
                    <a:gs pos="2000">
                      <a:schemeClr val="accent2"/>
                    </a:gs>
                  </a:gsLst>
                  <a:lin ang="2700000" scaled="0"/>
                </a:gradFill>
                <a:latin typeface="+mn-lt"/>
                <a:ea typeface="+mn-ea"/>
                <a:cs typeface="+mn-cs"/>
                <a:sym typeface="Trebuchet MS" panose="020B0603020202020204" pitchFamily="34" charset="0"/>
              </a:rPr>
              <a:t>Disclaimer</a:t>
            </a:r>
          </a:p>
        </p:txBody>
      </p:sp>
      <p:cxnSp>
        <p:nvCxnSpPr>
          <p:cNvPr id="14" name="Straight Connector 13">
            <a:extLst>
              <a:ext uri="{FF2B5EF4-FFF2-40B4-BE49-F238E27FC236}">
                <a16:creationId xmlns:a16="http://schemas.microsoft.com/office/drawing/2014/main" id="{00FD383B-25FB-469F-9FD3-6F8AD80E680C}"/>
              </a:ext>
            </a:extLst>
          </p:cNvPr>
          <p:cNvCxnSpPr/>
          <p:nvPr userDrawn="1"/>
        </p:nvCxnSpPr>
        <p:spPr>
          <a:xfrm>
            <a:off x="3426712"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43849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type="blank" preserve="1">
  <p:cSld name="D. End">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1997256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7" name="Kuva 3">
            <a:extLst>
              <a:ext uri="{FF2B5EF4-FFF2-40B4-BE49-F238E27FC236}">
                <a16:creationId xmlns:a16="http://schemas.microsoft.com/office/drawing/2014/main" id="{D370D955-625E-4A89-859C-BDC885CD2D92}"/>
              </a:ext>
            </a:extLst>
          </p:cNvPr>
          <p:cNvPicPr>
            <a:picLocks noChangeAspect="1"/>
          </p:cNvPicPr>
          <p:nvPr userDrawn="1"/>
        </p:nvPicPr>
        <p:blipFill>
          <a:blip r:embed="rId5"/>
          <a:stretch>
            <a:fillRect/>
          </a:stretch>
        </p:blipFill>
        <p:spPr>
          <a:xfrm>
            <a:off x="2079603" y="1975958"/>
            <a:ext cx="4813996" cy="1081796"/>
          </a:xfrm>
          <a:prstGeom prst="rect">
            <a:avLst/>
          </a:prstGeom>
        </p:spPr>
      </p:pic>
    </p:spTree>
    <p:extLst>
      <p:ext uri="{BB962C8B-B14F-4D97-AF65-F5344CB8AC3E}">
        <p14:creationId xmlns:p14="http://schemas.microsoft.com/office/powerpoint/2010/main" val="29956255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8CC82F5-B7D1-457B-BE87-C1C9A2A1D1EC}"/>
              </a:ext>
            </a:extLst>
          </p:cNvPr>
          <p:cNvGraphicFramePr>
            <a:graphicFrameLocks noChangeAspect="1"/>
          </p:cNvGraphicFramePr>
          <p:nvPr userDrawn="1">
            <p:custDataLst>
              <p:tags r:id="rId1"/>
            </p:custDataLst>
            <p:extLst>
              <p:ext uri="{D42A27DB-BD31-4B8C-83A1-F6EECF244321}">
                <p14:modId xmlns:p14="http://schemas.microsoft.com/office/powerpoint/2010/main" val="26407344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think-cell data - do not delete" hidden="1">
                        <a:extLst>
                          <a:ext uri="{FF2B5EF4-FFF2-40B4-BE49-F238E27FC236}">
                            <a16:creationId xmlns:a16="http://schemas.microsoft.com/office/drawing/2014/main" id="{38CC82F5-B7D1-457B-BE87-C1C9A2A1D1E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grpSp>
        <p:nvGrpSpPr>
          <p:cNvPr id="50" name="Group 49">
            <a:extLst>
              <a:ext uri="{FF2B5EF4-FFF2-40B4-BE49-F238E27FC236}">
                <a16:creationId xmlns:a16="http://schemas.microsoft.com/office/drawing/2014/main" id="{28849195-D563-4920-ADD0-9E39BC64C717}"/>
              </a:ext>
            </a:extLst>
          </p:cNvPr>
          <p:cNvGrpSpPr/>
          <p:nvPr userDrawn="1"/>
        </p:nvGrpSpPr>
        <p:grpSpPr>
          <a:xfrm>
            <a:off x="-450" y="-1"/>
            <a:ext cx="9145350" cy="5143501"/>
            <a:chOff x="-450" y="-1"/>
            <a:chExt cx="9145350" cy="5143501"/>
          </a:xfrm>
        </p:grpSpPr>
        <p:sp>
          <p:nvSpPr>
            <p:cNvPr id="51" name="Freeform: Shape 50">
              <a:extLst>
                <a:ext uri="{FF2B5EF4-FFF2-40B4-BE49-F238E27FC236}">
                  <a16:creationId xmlns:a16="http://schemas.microsoft.com/office/drawing/2014/main" id="{F6146263-AFE4-45EC-A098-77B7B3446015}"/>
                </a:ext>
              </a:extLst>
            </p:cNvPr>
            <p:cNvSpPr/>
            <p:nvPr/>
          </p:nvSpPr>
          <p:spPr>
            <a:xfrm>
              <a:off x="0" y="-1"/>
              <a:ext cx="9144900" cy="5143500"/>
            </a:xfrm>
            <a:custGeom>
              <a:avLst/>
              <a:gdLst>
                <a:gd name="connsiteX0" fmla="*/ 381221 w 9144900"/>
                <a:gd name="connsiteY0" fmla="*/ 282151 h 5143500"/>
                <a:gd name="connsiteX1" fmla="*/ 381221 w 9144900"/>
                <a:gd name="connsiteY1" fmla="*/ 4721822 h 5143500"/>
                <a:gd name="connsiteX2" fmla="*/ 8763000 w 9144900"/>
                <a:gd name="connsiteY2" fmla="*/ 4721822 h 5143500"/>
                <a:gd name="connsiteX3" fmla="*/ 8763000 w 9144900"/>
                <a:gd name="connsiteY3" fmla="*/ 282151 h 5143500"/>
                <a:gd name="connsiteX4" fmla="*/ 0 w 9144900"/>
                <a:gd name="connsiteY4" fmla="*/ 0 h 5143500"/>
                <a:gd name="connsiteX5" fmla="*/ 9144900 w 9144900"/>
                <a:gd name="connsiteY5" fmla="*/ 0 h 5143500"/>
                <a:gd name="connsiteX6" fmla="*/ 9144900 w 9144900"/>
                <a:gd name="connsiteY6" fmla="*/ 467100 h 5143500"/>
                <a:gd name="connsiteX7" fmla="*/ 9144000 w 9144900"/>
                <a:gd name="connsiteY7" fmla="*/ 467100 h 5143500"/>
                <a:gd name="connsiteX8" fmla="*/ 9144000 w 9144900"/>
                <a:gd name="connsiteY8" fmla="*/ 4620448 h 5143500"/>
                <a:gd name="connsiteX9" fmla="*/ 9144900 w 9144900"/>
                <a:gd name="connsiteY9" fmla="*/ 4620448 h 5143500"/>
                <a:gd name="connsiteX10" fmla="*/ 9144900 w 9144900"/>
                <a:gd name="connsiteY10" fmla="*/ 5143500 h 5143500"/>
                <a:gd name="connsiteX11" fmla="*/ 9144000 w 9144900"/>
                <a:gd name="connsiteY11" fmla="*/ 5143500 h 5143500"/>
                <a:gd name="connsiteX12" fmla="*/ 8671500 w 9144900"/>
                <a:gd name="connsiteY12" fmla="*/ 5143500 h 5143500"/>
                <a:gd name="connsiteX13" fmla="*/ 472501 w 9144900"/>
                <a:gd name="connsiteY13" fmla="*/ 5143500 h 5143500"/>
                <a:gd name="connsiteX14" fmla="*/ 1 w 9144900"/>
                <a:gd name="connsiteY14" fmla="*/ 5143500 h 5143500"/>
                <a:gd name="connsiteX15" fmla="*/ 1 w 9144900"/>
                <a:gd name="connsiteY15" fmla="*/ 4620448 h 5143500"/>
                <a:gd name="connsiteX16" fmla="*/ 1 w 9144900"/>
                <a:gd name="connsiteY16" fmla="*/ 467100 h 5143500"/>
                <a:gd name="connsiteX17" fmla="*/ 0 w 9144900"/>
                <a:gd name="connsiteY17" fmla="*/ 4671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144900" h="5143500">
                  <a:moveTo>
                    <a:pt x="381221" y="282151"/>
                  </a:moveTo>
                  <a:lnTo>
                    <a:pt x="381221" y="4721822"/>
                  </a:lnTo>
                  <a:lnTo>
                    <a:pt x="8763000" y="4721822"/>
                  </a:lnTo>
                  <a:lnTo>
                    <a:pt x="8763000" y="282151"/>
                  </a:lnTo>
                  <a:close/>
                  <a:moveTo>
                    <a:pt x="0" y="0"/>
                  </a:moveTo>
                  <a:lnTo>
                    <a:pt x="9144900" y="0"/>
                  </a:lnTo>
                  <a:lnTo>
                    <a:pt x="9144900" y="467100"/>
                  </a:lnTo>
                  <a:lnTo>
                    <a:pt x="9144000" y="467100"/>
                  </a:lnTo>
                  <a:lnTo>
                    <a:pt x="9144000" y="4620448"/>
                  </a:lnTo>
                  <a:lnTo>
                    <a:pt x="9144900" y="4620448"/>
                  </a:lnTo>
                  <a:lnTo>
                    <a:pt x="9144900" y="5143500"/>
                  </a:lnTo>
                  <a:lnTo>
                    <a:pt x="9144000" y="5143500"/>
                  </a:lnTo>
                  <a:lnTo>
                    <a:pt x="8671500" y="5143500"/>
                  </a:lnTo>
                  <a:lnTo>
                    <a:pt x="472501" y="5143500"/>
                  </a:lnTo>
                  <a:lnTo>
                    <a:pt x="1" y="5143500"/>
                  </a:lnTo>
                  <a:lnTo>
                    <a:pt x="1" y="4620448"/>
                  </a:lnTo>
                  <a:lnTo>
                    <a:pt x="1" y="467100"/>
                  </a:lnTo>
                  <a:lnTo>
                    <a:pt x="0" y="467100"/>
                  </a:lnTo>
                  <a:close/>
                </a:path>
              </a:pathLst>
            </a:custGeom>
            <a:solidFill>
              <a:srgbClr val="E71C57">
                <a:alpha val="5000"/>
              </a:srgbClr>
            </a:solidFill>
            <a:ln>
              <a:noFill/>
            </a:ln>
          </p:spPr>
          <p:txBody>
            <a:bodyPr vert="horz" wrap="square" lIns="68580" tIns="34290" rIns="68580" bIns="34290" numCol="1" anchor="t" anchorCtr="0" compatLnSpc="1">
              <a:prstTxWarp prst="textNoShape">
                <a:avLst/>
              </a:prstTxWarp>
              <a:noAutofit/>
            </a:bodyPr>
            <a:lstStyle/>
            <a:p>
              <a:endParaRPr lang="en-US" sz="1013"/>
            </a:p>
          </p:txBody>
        </p:sp>
        <p:grpSp>
          <p:nvGrpSpPr>
            <p:cNvPr id="52" name="Group 51">
              <a:extLst>
                <a:ext uri="{FF2B5EF4-FFF2-40B4-BE49-F238E27FC236}">
                  <a16:creationId xmlns:a16="http://schemas.microsoft.com/office/drawing/2014/main" id="{A1CBECCB-7484-45CE-B938-A32497560CAD}"/>
                </a:ext>
              </a:extLst>
            </p:cNvPr>
            <p:cNvGrpSpPr/>
            <p:nvPr/>
          </p:nvGrpSpPr>
          <p:grpSpPr>
            <a:xfrm>
              <a:off x="-450" y="282150"/>
              <a:ext cx="9144900" cy="4128046"/>
              <a:chOff x="-450" y="282150"/>
              <a:chExt cx="9144900" cy="4128046"/>
            </a:xfrm>
          </p:grpSpPr>
          <p:cxnSp>
            <p:nvCxnSpPr>
              <p:cNvPr id="77" name="Straight Connector 76">
                <a:extLst>
                  <a:ext uri="{FF2B5EF4-FFF2-40B4-BE49-F238E27FC236}">
                    <a16:creationId xmlns:a16="http://schemas.microsoft.com/office/drawing/2014/main" id="{4A5EE937-07DC-4B70-A2BC-ACC04B16B2E4}"/>
                  </a:ext>
                </a:extLst>
              </p:cNvPr>
              <p:cNvCxnSpPr/>
              <p:nvPr/>
            </p:nvCxnSpPr>
            <p:spPr>
              <a:xfrm>
                <a:off x="-450" y="282150"/>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85191B78-506F-4D91-9467-0F25470E563F}"/>
                  </a:ext>
                </a:extLst>
              </p:cNvPr>
              <p:cNvCxnSpPr/>
              <p:nvPr/>
            </p:nvCxnSpPr>
            <p:spPr>
              <a:xfrm>
                <a:off x="-450" y="49241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A17AF451-6ED4-40C0-A4C4-CBE43D6FD0C7}"/>
                  </a:ext>
                </a:extLst>
              </p:cNvPr>
              <p:cNvCxnSpPr/>
              <p:nvPr/>
            </p:nvCxnSpPr>
            <p:spPr>
              <a:xfrm>
                <a:off x="-450" y="70267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358338D0-4882-4E21-846D-6E5F53331C8A}"/>
                  </a:ext>
                </a:extLst>
              </p:cNvPr>
              <p:cNvCxnSpPr/>
              <p:nvPr/>
            </p:nvCxnSpPr>
            <p:spPr>
              <a:xfrm>
                <a:off x="-450" y="91293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51DA6B98-7F5F-4558-B72D-303F8C4B1C59}"/>
                  </a:ext>
                </a:extLst>
              </p:cNvPr>
              <p:cNvCxnSpPr/>
              <p:nvPr/>
            </p:nvCxnSpPr>
            <p:spPr>
              <a:xfrm>
                <a:off x="-450" y="112320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FCFA8C11-E793-46CA-A6E2-F6BEC72CD94B}"/>
                  </a:ext>
                </a:extLst>
              </p:cNvPr>
              <p:cNvCxnSpPr/>
              <p:nvPr/>
            </p:nvCxnSpPr>
            <p:spPr>
              <a:xfrm>
                <a:off x="-450" y="137790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816AD9E3-C258-4A36-8B90-50D92A62CBD6}"/>
                  </a:ext>
                </a:extLst>
              </p:cNvPr>
              <p:cNvCxnSpPr/>
              <p:nvPr/>
            </p:nvCxnSpPr>
            <p:spPr>
              <a:xfrm>
                <a:off x="-450" y="159449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10E7B69E-1A5E-4D3B-9234-2277EF2C3AD0}"/>
                  </a:ext>
                </a:extLst>
              </p:cNvPr>
              <p:cNvCxnSpPr/>
              <p:nvPr/>
            </p:nvCxnSpPr>
            <p:spPr>
              <a:xfrm>
                <a:off x="-450" y="181109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D80F526D-71F0-4AA5-A4AB-4437D9BD78AB}"/>
                  </a:ext>
                </a:extLst>
              </p:cNvPr>
              <p:cNvCxnSpPr/>
              <p:nvPr/>
            </p:nvCxnSpPr>
            <p:spPr>
              <a:xfrm>
                <a:off x="-450" y="202768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721FD389-BDCC-4878-9934-3FC16BE0A92F}"/>
                  </a:ext>
                </a:extLst>
              </p:cNvPr>
              <p:cNvCxnSpPr/>
              <p:nvPr/>
            </p:nvCxnSpPr>
            <p:spPr>
              <a:xfrm>
                <a:off x="-450" y="2244275"/>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325F545F-5194-40E2-AA7D-0AC2C6AD9A6B}"/>
                  </a:ext>
                </a:extLst>
              </p:cNvPr>
              <p:cNvCxnSpPr/>
              <p:nvPr/>
            </p:nvCxnSpPr>
            <p:spPr>
              <a:xfrm>
                <a:off x="-450" y="246086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4FC4A0F7-FDA6-462E-A93E-5B2D76B66C1B}"/>
                  </a:ext>
                </a:extLst>
              </p:cNvPr>
              <p:cNvCxnSpPr/>
              <p:nvPr/>
            </p:nvCxnSpPr>
            <p:spPr>
              <a:xfrm>
                <a:off x="-450" y="267745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a:extLst>
                  <a:ext uri="{FF2B5EF4-FFF2-40B4-BE49-F238E27FC236}">
                    <a16:creationId xmlns:a16="http://schemas.microsoft.com/office/drawing/2014/main" id="{1DF4D368-F4A8-4FFB-85BE-B0DA2488F1DD}"/>
                  </a:ext>
                </a:extLst>
              </p:cNvPr>
              <p:cNvCxnSpPr/>
              <p:nvPr/>
            </p:nvCxnSpPr>
            <p:spPr>
              <a:xfrm>
                <a:off x="-450" y="289405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32AC5D9-99DC-4A1B-99E7-C7B6583D1089}"/>
                  </a:ext>
                </a:extLst>
              </p:cNvPr>
              <p:cNvCxnSpPr/>
              <p:nvPr/>
            </p:nvCxnSpPr>
            <p:spPr>
              <a:xfrm>
                <a:off x="-450" y="311064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4699D13-3EEC-430A-B778-6E5D6B420A47}"/>
                  </a:ext>
                </a:extLst>
              </p:cNvPr>
              <p:cNvCxnSpPr/>
              <p:nvPr/>
            </p:nvCxnSpPr>
            <p:spPr>
              <a:xfrm>
                <a:off x="-450" y="3327235"/>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a:extLst>
                  <a:ext uri="{FF2B5EF4-FFF2-40B4-BE49-F238E27FC236}">
                    <a16:creationId xmlns:a16="http://schemas.microsoft.com/office/drawing/2014/main" id="{D4C30753-3D72-4FCC-AE57-B33B72D1201F}"/>
                  </a:ext>
                </a:extLst>
              </p:cNvPr>
              <p:cNvCxnSpPr/>
              <p:nvPr/>
            </p:nvCxnSpPr>
            <p:spPr>
              <a:xfrm>
                <a:off x="-450" y="3543827"/>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3" name="Straight Connector 92">
                <a:extLst>
                  <a:ext uri="{FF2B5EF4-FFF2-40B4-BE49-F238E27FC236}">
                    <a16:creationId xmlns:a16="http://schemas.microsoft.com/office/drawing/2014/main" id="{9EBDD14F-D878-4AB9-96BC-EA861260D55E}"/>
                  </a:ext>
                </a:extLst>
              </p:cNvPr>
              <p:cNvCxnSpPr/>
              <p:nvPr/>
            </p:nvCxnSpPr>
            <p:spPr>
              <a:xfrm>
                <a:off x="-450" y="3760419"/>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D30D7FF6-CC3F-446A-82D7-9B812411B0E9}"/>
                  </a:ext>
                </a:extLst>
              </p:cNvPr>
              <p:cNvCxnSpPr/>
              <p:nvPr/>
            </p:nvCxnSpPr>
            <p:spPr>
              <a:xfrm>
                <a:off x="-450" y="3977011"/>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5" name="Straight Connector 94">
                <a:extLst>
                  <a:ext uri="{FF2B5EF4-FFF2-40B4-BE49-F238E27FC236}">
                    <a16:creationId xmlns:a16="http://schemas.microsoft.com/office/drawing/2014/main" id="{7B877547-19DA-4EA4-8098-AF2980BBC7CE}"/>
                  </a:ext>
                </a:extLst>
              </p:cNvPr>
              <p:cNvCxnSpPr/>
              <p:nvPr/>
            </p:nvCxnSpPr>
            <p:spPr>
              <a:xfrm>
                <a:off x="-450" y="4193603"/>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6" name="Straight Connector 95">
                <a:extLst>
                  <a:ext uri="{FF2B5EF4-FFF2-40B4-BE49-F238E27FC236}">
                    <a16:creationId xmlns:a16="http://schemas.microsoft.com/office/drawing/2014/main" id="{44A4887F-2A9F-4B82-BB98-840EB03DC79C}"/>
                  </a:ext>
                </a:extLst>
              </p:cNvPr>
              <p:cNvCxnSpPr/>
              <p:nvPr/>
            </p:nvCxnSpPr>
            <p:spPr>
              <a:xfrm>
                <a:off x="-450" y="4410196"/>
                <a:ext cx="91449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3" name="Gutter space">
              <a:extLst>
                <a:ext uri="{FF2B5EF4-FFF2-40B4-BE49-F238E27FC236}">
                  <a16:creationId xmlns:a16="http://schemas.microsoft.com/office/drawing/2014/main" id="{4D56A7F5-0639-4A8B-A497-857F0A57EEB6}"/>
                </a:ext>
              </a:extLst>
            </p:cNvPr>
            <p:cNvGrpSpPr/>
            <p:nvPr/>
          </p:nvGrpSpPr>
          <p:grpSpPr>
            <a:xfrm>
              <a:off x="957750" y="282150"/>
              <a:ext cx="7228500" cy="4128047"/>
              <a:chOff x="1277000" y="623550"/>
              <a:chExt cx="9638000" cy="5537047"/>
            </a:xfrm>
          </p:grpSpPr>
          <p:sp>
            <p:nvSpPr>
              <p:cNvPr id="66" name="Rectangle 34">
                <a:extLst>
                  <a:ext uri="{FF2B5EF4-FFF2-40B4-BE49-F238E27FC236}">
                    <a16:creationId xmlns:a16="http://schemas.microsoft.com/office/drawing/2014/main" id="{EC5FD3B1-4251-49D9-9EB4-37289492EB8C}"/>
                  </a:ext>
                </a:extLst>
              </p:cNvPr>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7" name="Rectangle 35">
                <a:extLst>
                  <a:ext uri="{FF2B5EF4-FFF2-40B4-BE49-F238E27FC236}">
                    <a16:creationId xmlns:a16="http://schemas.microsoft.com/office/drawing/2014/main" id="{31651D10-AF7E-4377-B5D7-7AEFE4EC7238}"/>
                  </a:ext>
                </a:extLst>
              </p:cNvPr>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8" name="Rectangle 36">
                <a:extLst>
                  <a:ext uri="{FF2B5EF4-FFF2-40B4-BE49-F238E27FC236}">
                    <a16:creationId xmlns:a16="http://schemas.microsoft.com/office/drawing/2014/main" id="{6C912B0D-9EAA-4A8B-98AB-B8CE55689FCA}"/>
                  </a:ext>
                </a:extLst>
              </p:cNvPr>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9" name="Rectangle 37">
                <a:extLst>
                  <a:ext uri="{FF2B5EF4-FFF2-40B4-BE49-F238E27FC236}">
                    <a16:creationId xmlns:a16="http://schemas.microsoft.com/office/drawing/2014/main" id="{19F4D07D-1C55-4B06-8993-B844B0102C6C}"/>
                  </a:ext>
                </a:extLst>
              </p:cNvPr>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0" name="Rectangle 38">
                <a:extLst>
                  <a:ext uri="{FF2B5EF4-FFF2-40B4-BE49-F238E27FC236}">
                    <a16:creationId xmlns:a16="http://schemas.microsoft.com/office/drawing/2014/main" id="{EA2C20CD-3049-449F-BCC4-0BABE85CF892}"/>
                  </a:ext>
                </a:extLst>
              </p:cNvPr>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1" name="Rectangle 39">
                <a:extLst>
                  <a:ext uri="{FF2B5EF4-FFF2-40B4-BE49-F238E27FC236}">
                    <a16:creationId xmlns:a16="http://schemas.microsoft.com/office/drawing/2014/main" id="{708176B5-3D8F-44DA-BFCF-192843DD5994}"/>
                  </a:ext>
                </a:extLst>
              </p:cNvPr>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2" name="Rectangle 40">
                <a:extLst>
                  <a:ext uri="{FF2B5EF4-FFF2-40B4-BE49-F238E27FC236}">
                    <a16:creationId xmlns:a16="http://schemas.microsoft.com/office/drawing/2014/main" id="{7FB04629-02EF-48DC-A8CB-536CBCBD259D}"/>
                  </a:ext>
                </a:extLst>
              </p:cNvPr>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3" name="Rectangle 41">
                <a:extLst>
                  <a:ext uri="{FF2B5EF4-FFF2-40B4-BE49-F238E27FC236}">
                    <a16:creationId xmlns:a16="http://schemas.microsoft.com/office/drawing/2014/main" id="{D0EB0FC6-FADA-43F1-94B3-430F68AFDD68}"/>
                  </a:ext>
                </a:extLst>
              </p:cNvPr>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4" name="Rectangle 42">
                <a:extLst>
                  <a:ext uri="{FF2B5EF4-FFF2-40B4-BE49-F238E27FC236}">
                    <a16:creationId xmlns:a16="http://schemas.microsoft.com/office/drawing/2014/main" id="{B1153598-6306-435E-9799-55C413AD7F49}"/>
                  </a:ext>
                </a:extLst>
              </p:cNvPr>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5" name="Rectangle 43">
                <a:extLst>
                  <a:ext uri="{FF2B5EF4-FFF2-40B4-BE49-F238E27FC236}">
                    <a16:creationId xmlns:a16="http://schemas.microsoft.com/office/drawing/2014/main" id="{F944741A-6119-424B-B2FE-2A38B046B37C}"/>
                  </a:ext>
                </a:extLst>
              </p:cNvPr>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76" name="Rectangle 44">
                <a:extLst>
                  <a:ext uri="{FF2B5EF4-FFF2-40B4-BE49-F238E27FC236}">
                    <a16:creationId xmlns:a16="http://schemas.microsoft.com/office/drawing/2014/main" id="{D0C80D54-9CD3-4638-B10E-174120C32D04}"/>
                  </a:ext>
                </a:extLst>
              </p:cNvPr>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54" name="Slide edges">
              <a:extLst>
                <a:ext uri="{FF2B5EF4-FFF2-40B4-BE49-F238E27FC236}">
                  <a16:creationId xmlns:a16="http://schemas.microsoft.com/office/drawing/2014/main" id="{C6F9A6F2-C3EC-4E52-89DB-EB43CFC77637}"/>
                </a:ext>
              </a:extLst>
            </p:cNvPr>
            <p:cNvSpPr>
              <a:spLocks/>
            </p:cNvSpPr>
            <p:nvPr/>
          </p:nvSpPr>
          <p:spPr bwMode="auto">
            <a:xfrm>
              <a:off x="-450" y="0"/>
              <a:ext cx="9144900" cy="51435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68580" tIns="34290" rIns="68580" bIns="34290" numCol="1" anchor="t" anchorCtr="0" compatLnSpc="1">
              <a:prstTxWarp prst="textNoShape">
                <a:avLst/>
              </a:prstTxWarp>
            </a:bodyPr>
            <a:lstStyle/>
            <a:p>
              <a:pPr>
                <a:defRPr/>
              </a:pPr>
              <a:endParaRPr lang="en-US">
                <a:solidFill>
                  <a:srgbClr val="575757"/>
                </a:solidFill>
              </a:endParaRPr>
            </a:p>
          </p:txBody>
        </p:sp>
        <p:sp>
          <p:nvSpPr>
            <p:cNvPr id="55" name="Footnote measure">
              <a:extLst>
                <a:ext uri="{FF2B5EF4-FFF2-40B4-BE49-F238E27FC236}">
                  <a16:creationId xmlns:a16="http://schemas.microsoft.com/office/drawing/2014/main" id="{4928998A-29DB-4CCE-B8FB-7EEEC75F79ED}"/>
                </a:ext>
              </a:extLst>
            </p:cNvPr>
            <p:cNvSpPr>
              <a:spLocks noChangeArrowheads="1"/>
            </p:cNvSpPr>
            <p:nvPr/>
          </p:nvSpPr>
          <p:spPr bwMode="auto">
            <a:xfrm>
              <a:off x="381221" y="4410197"/>
              <a:ext cx="8381779" cy="31162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57" name="Whitespace measure">
              <a:extLst>
                <a:ext uri="{FF2B5EF4-FFF2-40B4-BE49-F238E27FC236}">
                  <a16:creationId xmlns:a16="http://schemas.microsoft.com/office/drawing/2014/main" id="{86E0DC25-0F8D-41A6-8950-5731083624D6}"/>
                </a:ext>
              </a:extLst>
            </p:cNvPr>
            <p:cNvSpPr>
              <a:spLocks noChangeArrowheads="1"/>
            </p:cNvSpPr>
            <p:nvPr/>
          </p:nvSpPr>
          <p:spPr bwMode="auto">
            <a:xfrm>
              <a:off x="381221" y="1123201"/>
              <a:ext cx="8381779" cy="254707"/>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nvGrpSpPr>
            <p:cNvPr id="58" name="Five column measure">
              <a:extLst>
                <a:ext uri="{FF2B5EF4-FFF2-40B4-BE49-F238E27FC236}">
                  <a16:creationId xmlns:a16="http://schemas.microsoft.com/office/drawing/2014/main" id="{FCA22033-F11E-40AC-8249-954916A13F98}"/>
                </a:ext>
              </a:extLst>
            </p:cNvPr>
            <p:cNvGrpSpPr/>
            <p:nvPr/>
          </p:nvGrpSpPr>
          <p:grpSpPr>
            <a:xfrm>
              <a:off x="472050" y="4272073"/>
              <a:ext cx="8199900" cy="59652"/>
              <a:chOff x="629400" y="5975122"/>
              <a:chExt cx="10933200" cy="79536"/>
            </a:xfrm>
          </p:grpSpPr>
          <p:sp>
            <p:nvSpPr>
              <p:cNvPr id="61" name="Rectangle 5">
                <a:extLst>
                  <a:ext uri="{FF2B5EF4-FFF2-40B4-BE49-F238E27FC236}">
                    <a16:creationId xmlns:a16="http://schemas.microsoft.com/office/drawing/2014/main" id="{345A931E-CA97-46A4-99B8-8637E25E3631}"/>
                  </a:ext>
                </a:extLst>
              </p:cNvPr>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2" name="Rectangle 7">
                <a:extLst>
                  <a:ext uri="{FF2B5EF4-FFF2-40B4-BE49-F238E27FC236}">
                    <a16:creationId xmlns:a16="http://schemas.microsoft.com/office/drawing/2014/main" id="{8F317014-9719-4957-B42E-760C052138C1}"/>
                  </a:ext>
                </a:extLst>
              </p:cNvPr>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3" name="Rectangle 9">
                <a:extLst>
                  <a:ext uri="{FF2B5EF4-FFF2-40B4-BE49-F238E27FC236}">
                    <a16:creationId xmlns:a16="http://schemas.microsoft.com/office/drawing/2014/main" id="{BF4DFC03-0D73-4A56-A363-1B01EC183ACB}"/>
                  </a:ext>
                </a:extLst>
              </p:cNvPr>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4" name="Rectangle 11">
                <a:extLst>
                  <a:ext uri="{FF2B5EF4-FFF2-40B4-BE49-F238E27FC236}">
                    <a16:creationId xmlns:a16="http://schemas.microsoft.com/office/drawing/2014/main" id="{BA10F198-35B4-48F5-91D1-4F31DE7F3470}"/>
                  </a:ext>
                </a:extLst>
              </p:cNvPr>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sp>
            <p:nvSpPr>
              <p:cNvPr id="65" name="Rectangle 13">
                <a:extLst>
                  <a:ext uri="{FF2B5EF4-FFF2-40B4-BE49-F238E27FC236}">
                    <a16:creationId xmlns:a16="http://schemas.microsoft.com/office/drawing/2014/main" id="{A5B3ED9F-F9B2-435A-A4CB-E6B08F74B348}"/>
                  </a:ext>
                </a:extLst>
              </p:cNvPr>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13"/>
              </a:p>
            </p:txBody>
          </p:sp>
        </p:grpSp>
        <p:sp>
          <p:nvSpPr>
            <p:cNvPr id="59" name="Live area">
              <a:extLst>
                <a:ext uri="{FF2B5EF4-FFF2-40B4-BE49-F238E27FC236}">
                  <a16:creationId xmlns:a16="http://schemas.microsoft.com/office/drawing/2014/main" id="{7FDE3E6E-8E92-4247-A21D-34E29B859599}"/>
                </a:ext>
              </a:extLst>
            </p:cNvPr>
            <p:cNvSpPr/>
            <p:nvPr/>
          </p:nvSpPr>
          <p:spPr>
            <a:xfrm>
              <a:off x="381221" y="1377907"/>
              <a:ext cx="8381779" cy="3032289"/>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750"/>
                </a:spcAft>
              </a:pPr>
              <a:endParaRPr lang="en-US" sz="900">
                <a:solidFill>
                  <a:schemeClr val="bg1"/>
                </a:solidFill>
              </a:endParaRPr>
            </a:p>
          </p:txBody>
        </p:sp>
        <p:sp>
          <p:nvSpPr>
            <p:cNvPr id="60" name="Footnote example">
              <a:extLst>
                <a:ext uri="{FF2B5EF4-FFF2-40B4-BE49-F238E27FC236}">
                  <a16:creationId xmlns:a16="http://schemas.microsoft.com/office/drawing/2014/main" id="{D48B91EF-8306-4DA5-A385-49FCBEBB8426}"/>
                </a:ext>
              </a:extLst>
            </p:cNvPr>
            <p:cNvSpPr txBox="1"/>
            <p:nvPr/>
          </p:nvSpPr>
          <p:spPr>
            <a:xfrm>
              <a:off x="381000" y="4430972"/>
              <a:ext cx="7342762" cy="290849"/>
            </a:xfrm>
            <a:prstGeom prst="rect">
              <a:avLst/>
            </a:prstGeom>
            <a:noFill/>
          </p:spPr>
          <p:txBody>
            <a:bodyPr wrap="square" lIns="0" tIns="0" rIns="0" bIns="0" rtlCol="0" anchor="b">
              <a:spAutoFit/>
            </a:bodyPr>
            <a:lstStyle/>
            <a:p>
              <a:pPr lvl="0">
                <a:lnSpc>
                  <a:spcPct val="90000"/>
                </a:lnSpc>
                <a:defRPr/>
              </a:pPr>
              <a:r>
                <a:rPr lang="en-US" sz="700">
                  <a:solidFill>
                    <a:prstClr val="white">
                      <a:lumMod val="65000"/>
                    </a:prstClr>
                  </a:solidFill>
                  <a:sym typeface="Trebuchet MS" panose="020B0603020202020204" pitchFamily="34" charset="0"/>
                </a:rPr>
                <a:t>1. xxxx  2. xxxx  3. xxxx</a:t>
              </a:r>
            </a:p>
            <a:p>
              <a:pPr lvl="0">
                <a:lnSpc>
                  <a:spcPct val="90000"/>
                </a:lnSpc>
                <a:defRPr/>
              </a:pPr>
              <a:r>
                <a:rPr lang="en-US" sz="700">
                  <a:solidFill>
                    <a:prstClr val="white">
                      <a:lumMod val="65000"/>
                    </a:prstClr>
                  </a:solidFill>
                  <a:sym typeface="Trebuchet MS" panose="020B0603020202020204" pitchFamily="34" charset="0"/>
                </a:rPr>
                <a:t>Note: List footnotes in numerical order. Footnote numbers are not bracketed. Use 7pt font. Do not put a period at the end of the note or the source</a:t>
              </a:r>
            </a:p>
            <a:p>
              <a:pPr lvl="0">
                <a:lnSpc>
                  <a:spcPct val="90000"/>
                </a:lnSpc>
                <a:defRPr/>
              </a:pPr>
              <a:r>
                <a:rPr lang="en-US" sz="700">
                  <a:solidFill>
                    <a:prstClr val="white">
                      <a:lumMod val="65000"/>
                    </a:prstClr>
                  </a:solidFill>
                  <a:sym typeface="Trebuchet MS" panose="020B0603020202020204" pitchFamily="34" charset="0"/>
                </a:rPr>
                <a:t>Source: Include a source for every chart that you use. Separate sources with a semicolon; BCG-related sources go at the end</a:t>
              </a:r>
            </a:p>
          </p:txBody>
        </p:sp>
      </p:grpSp>
    </p:spTree>
    <p:extLst>
      <p:ext uri="{BB962C8B-B14F-4D97-AF65-F5344CB8AC3E}">
        <p14:creationId xmlns:p14="http://schemas.microsoft.com/office/powerpoint/2010/main" val="5756200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1571525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192" y="1192"/>
                        <a:ext cx="1190" cy="1190"/>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endParaRPr>
          </a:p>
        </p:txBody>
      </p:sp>
      <p:sp>
        <p:nvSpPr>
          <p:cNvPr id="12" name="Rectangle 11"/>
          <p:cNvSpPr/>
          <p:nvPr userDrawn="1">
            <p:custDataLst>
              <p:tags r:id="rId3"/>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endParaRPr>
          </a:p>
        </p:txBody>
      </p:sp>
      <p:sp>
        <p:nvSpPr>
          <p:cNvPr id="2" name="TextBox 1"/>
          <p:cNvSpPr txBox="1"/>
          <p:nvPr userDrawn="1"/>
        </p:nvSpPr>
        <p:spPr>
          <a:xfrm>
            <a:off x="472500" y="680399"/>
            <a:ext cx="2586600" cy="2587752"/>
          </a:xfrm>
          <a:prstGeom prst="rect">
            <a:avLst/>
          </a:prstGeom>
          <a:noFill/>
          <a:ln>
            <a:solidFill>
              <a:schemeClr val="bg1"/>
            </a:solidFill>
          </a:ln>
        </p:spPr>
        <p:txBody>
          <a:bodyPr wrap="square" lIns="459000" tIns="351000" rIns="0" bIns="0" rtlCol="0" anchor="t">
            <a:noAutofit/>
          </a:bodyPr>
          <a:lstStyle/>
          <a:p>
            <a:pPr>
              <a:lnSpc>
                <a:spcPct val="90000"/>
              </a:lnSpc>
              <a:spcAft>
                <a:spcPts val="450"/>
              </a:spcAft>
            </a:pPr>
            <a:endParaRPr lang="en-US" sz="4050">
              <a:solidFill>
                <a:schemeClr val="bg1"/>
              </a:solidFill>
              <a:latin typeface="+mn-lt"/>
              <a:ea typeface="+mn-ea"/>
              <a:cs typeface="+mn-cs"/>
            </a:endParaRPr>
          </a:p>
        </p:txBody>
      </p:sp>
      <p:sp>
        <p:nvSpPr>
          <p:cNvPr id="10" name="TextBox 1"/>
          <p:cNvSpPr txBox="1"/>
          <p:nvPr userDrawn="1"/>
        </p:nvSpPr>
        <p:spPr>
          <a:xfrm>
            <a:off x="576744" y="836562"/>
            <a:ext cx="2377574" cy="684418"/>
          </a:xfrm>
          <a:prstGeom prst="rect">
            <a:avLst/>
          </a:prstGeom>
          <a:noFill/>
        </p:spPr>
        <p:txBody>
          <a:bodyPr wrap="none" rtlCol="0">
            <a:spAutoFit/>
          </a:bodyPr>
          <a:lstStyle/>
          <a:p>
            <a:pPr algn="ctr" fontAlgn="auto">
              <a:lnSpc>
                <a:spcPct val="95000"/>
              </a:lnSpc>
              <a:spcBef>
                <a:spcPts val="0"/>
              </a:spcBef>
              <a:spcAft>
                <a:spcPts val="0"/>
              </a:spcAft>
            </a:pPr>
            <a:r>
              <a:rPr lang="en-US" sz="4000" b="1">
                <a:solidFill>
                  <a:schemeClr val="bg1"/>
                </a:solidFill>
                <a:latin typeface="+mn-lt"/>
                <a:ea typeface="+mn-ea"/>
                <a:cs typeface="+mn-cs"/>
              </a:rPr>
              <a:t>Agenda</a:t>
            </a:r>
          </a:p>
        </p:txBody>
      </p:sp>
      <p:sp>
        <p:nvSpPr>
          <p:cNvPr id="13" name="Slide Number Placeholder 2">
            <a:extLst>
              <a:ext uri="{FF2B5EF4-FFF2-40B4-BE49-F238E27FC236}">
                <a16:creationId xmlns:a16="http://schemas.microsoft.com/office/drawing/2014/main" id="{849BF525-5FE2-4765-B2F9-85C01323A0FA}"/>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363985255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84977594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endParaRPr>
          </a:p>
        </p:txBody>
      </p:sp>
      <p:sp>
        <p:nvSpPr>
          <p:cNvPr id="8" name="Slide Number Placeholder 2">
            <a:extLst>
              <a:ext uri="{FF2B5EF4-FFF2-40B4-BE49-F238E27FC236}">
                <a16:creationId xmlns:a16="http://schemas.microsoft.com/office/drawing/2014/main" id="{B275EA75-8413-4C83-AED7-ADFB70636516}"/>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36609902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solidFill>
          <a:srgbClr val="000000"/>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48238017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472500" y="467100"/>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chemeClr val="bg1"/>
                </a:solidFill>
                <a:latin typeface="+mn-lt"/>
                <a:ea typeface="+mn-ea"/>
                <a:cs typeface="+mn-cs"/>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Slide Number Placeholder 2">
            <a:extLst>
              <a:ext uri="{FF2B5EF4-FFF2-40B4-BE49-F238E27FC236}">
                <a16:creationId xmlns:a16="http://schemas.microsoft.com/office/drawing/2014/main" id="{4CCC63C1-A89D-4BC0-A4F9-213ACAB96333}"/>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2350966215"/>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5882953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7" name="TextBox 16"/>
          <p:cNvSpPr txBox="1"/>
          <p:nvPr userDrawn="1"/>
        </p:nvSpPr>
        <p:spPr>
          <a:xfrm>
            <a:off x="252414" y="2475037"/>
            <a:ext cx="1380444" cy="193899"/>
          </a:xfrm>
          <a:prstGeom prst="rect">
            <a:avLst/>
          </a:prstGeom>
          <a:noFill/>
        </p:spPr>
        <p:txBody>
          <a:bodyPr wrap="square" lIns="91440" tIns="0" rIns="0" bIns="0" rtlCol="0" anchor="t">
            <a:spAutoFit/>
          </a:bodyPr>
          <a:lstStyle/>
          <a:p>
            <a:pPr>
              <a:lnSpc>
                <a:spcPct val="90000"/>
              </a:lnSpc>
              <a:spcAft>
                <a:spcPts val="450"/>
              </a:spcAft>
            </a:pPr>
            <a:r>
              <a:rPr lang="en-US" sz="1400" b="1">
                <a:solidFill>
                  <a:schemeClr val="bg1"/>
                </a:solidFill>
                <a:latin typeface="+mn-lt"/>
                <a:ea typeface="+mn-ea"/>
                <a:cs typeface="+mn-cs"/>
              </a:rPr>
              <a:t>Agenda</a:t>
            </a:r>
          </a:p>
        </p:txBody>
      </p:sp>
      <p:sp>
        <p:nvSpPr>
          <p:cNvPr id="12" name="Slide Number Placeholder 2">
            <a:extLst>
              <a:ext uri="{FF2B5EF4-FFF2-40B4-BE49-F238E27FC236}">
                <a16:creationId xmlns:a16="http://schemas.microsoft.com/office/drawing/2014/main" id="{90CEFE08-E95C-4C15-9FDC-71FB2B130DC9}"/>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1790976614"/>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omena">
    <p:bg>
      <p:bgPr>
        <a:solidFill>
          <a:srgbClr val="85E869"/>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880C527-4D1F-CC88-67CA-E4C88EA21D34}"/>
              </a:ext>
            </a:extLst>
          </p:cNvPr>
          <p:cNvGraphicFramePr>
            <a:graphicFrameLocks noChangeAspect="1"/>
          </p:cNvGraphicFramePr>
          <p:nvPr userDrawn="1">
            <p:custDataLst>
              <p:tags r:id="rId1"/>
            </p:custDataLst>
            <p:extLst>
              <p:ext uri="{D42A27DB-BD31-4B8C-83A1-F6EECF244321}">
                <p14:modId xmlns:p14="http://schemas.microsoft.com/office/powerpoint/2010/main" val="1080276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F880C527-4D1F-CC88-67CA-E4C88EA21D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3015ADCA-8E35-4E8D-BC4B-9F473597696F}"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7" name="Tekstin paikkamerkki 2"/>
          <p:cNvSpPr>
            <a:spLocks noGrp="1"/>
          </p:cNvSpPr>
          <p:nvPr>
            <p:ph idx="21" hasCustomPrompt="1"/>
          </p:nvPr>
        </p:nvSpPr>
        <p:spPr>
          <a:xfrm>
            <a:off x="1072800" y="1585225"/>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5"/>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63982625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2233234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1500">
              <a:solidFill>
                <a:prstClr val="white"/>
              </a:solidFill>
              <a:latin typeface="+mn-lt"/>
              <a:ea typeface="+mn-ea"/>
              <a:cs typeface="+mn-cs"/>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rgbClr val="00000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a:lnSpc>
                <a:spcPct val="95000"/>
              </a:lnSpc>
            </a:pPr>
            <a:endParaRPr lang="en-US" sz="900">
              <a:solidFill>
                <a:srgbClr val="FFFFFF"/>
              </a:solidFill>
              <a:latin typeface="+mn-lt"/>
              <a:ea typeface="+mn-ea"/>
              <a:cs typeface="+mn-cs"/>
            </a:endParaRPr>
          </a:p>
        </p:txBody>
      </p:sp>
      <p:sp>
        <p:nvSpPr>
          <p:cNvPr id="11" name="TextBox 10"/>
          <p:cNvSpPr txBox="1"/>
          <p:nvPr userDrawn="1"/>
        </p:nvSpPr>
        <p:spPr>
          <a:xfrm>
            <a:off x="472500" y="680398"/>
            <a:ext cx="2586600" cy="2587752"/>
          </a:xfrm>
          <a:prstGeom prst="rect">
            <a:avLst/>
          </a:prstGeom>
          <a:noFill/>
          <a:ln>
            <a:solidFill>
              <a:srgbClr val="000000"/>
            </a:solidFill>
          </a:ln>
        </p:spPr>
        <p:txBody>
          <a:bodyPr wrap="square" lIns="459000" tIns="351000" rIns="0" bIns="0" rtlCol="0" anchor="t">
            <a:noAutofit/>
          </a:bodyPr>
          <a:lstStyle/>
          <a:p>
            <a:pPr>
              <a:lnSpc>
                <a:spcPct val="90000"/>
              </a:lnSpc>
              <a:spcAft>
                <a:spcPts val="450"/>
              </a:spcAft>
            </a:pPr>
            <a:endParaRPr lang="en-US" sz="4050">
              <a:solidFill>
                <a:schemeClr val="accent4"/>
              </a:solidFill>
              <a:latin typeface="+mn-lt"/>
              <a:ea typeface="+mn-ea"/>
              <a:cs typeface="+mn-cs"/>
            </a:endParaRPr>
          </a:p>
        </p:txBody>
      </p:sp>
      <p:sp>
        <p:nvSpPr>
          <p:cNvPr id="9" name="TextBox 1"/>
          <p:cNvSpPr txBox="1"/>
          <p:nvPr userDrawn="1"/>
        </p:nvSpPr>
        <p:spPr>
          <a:xfrm>
            <a:off x="576744" y="836562"/>
            <a:ext cx="2377574"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sz="4000" b="1">
                <a:solidFill>
                  <a:srgbClr val="000000"/>
                </a:solidFill>
                <a:latin typeface="+mn-lt"/>
                <a:ea typeface="+mn-ea"/>
                <a:cs typeface="+mn-cs"/>
              </a:rPr>
              <a:t>Agenda</a:t>
            </a:r>
          </a:p>
        </p:txBody>
      </p:sp>
    </p:spTree>
    <p:extLst>
      <p:ext uri="{BB962C8B-B14F-4D97-AF65-F5344CB8AC3E}">
        <p14:creationId xmlns:p14="http://schemas.microsoft.com/office/powerpoint/2010/main" val="24419587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33522281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90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rgbClr val="00000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1500">
              <a:solidFill>
                <a:prstClr val="white"/>
              </a:solidFill>
              <a:latin typeface="+mn-lt"/>
              <a:ea typeface="+mn-ea"/>
              <a:cs typeface="+mn-cs"/>
            </a:endParaRPr>
          </a:p>
        </p:txBody>
      </p:sp>
    </p:spTree>
    <p:extLst>
      <p:ext uri="{BB962C8B-B14F-4D97-AF65-F5344CB8AC3E}">
        <p14:creationId xmlns:p14="http://schemas.microsoft.com/office/powerpoint/2010/main" val="13610682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58032062"/>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7" name="Title 1"/>
          <p:cNvSpPr txBox="1">
            <a:spLocks/>
          </p:cNvSpPr>
          <p:nvPr userDrawn="1"/>
        </p:nvSpPr>
        <p:spPr>
          <a:xfrm>
            <a:off x="472500" y="467100"/>
            <a:ext cx="5392499" cy="332399"/>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sz="2400" b="1">
                <a:solidFill>
                  <a:srgbClr val="000000"/>
                </a:solidFill>
                <a:latin typeface="+mn-lt"/>
                <a:ea typeface="+mn-ea"/>
                <a:cs typeface="+mn-cs"/>
              </a:rPr>
              <a:t>Agenda</a:t>
            </a:r>
          </a:p>
        </p:txBody>
      </p:sp>
      <p:cxnSp>
        <p:nvCxnSpPr>
          <p:cNvPr id="9" name="Straight Connector 8"/>
          <p:cNvCxnSpPr/>
          <p:nvPr userDrawn="1"/>
        </p:nvCxnSpPr>
        <p:spPr bwMode="white">
          <a:xfrm>
            <a:off x="464174" y="904500"/>
            <a:ext cx="8682228" cy="0"/>
          </a:xfrm>
          <a:prstGeom prst="line">
            <a:avLst/>
          </a:prstGeom>
          <a:ln w="9525" cmpd="sng">
            <a:solidFill>
              <a:srgbClr val="00000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0691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4620977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90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sp>
        <p:nvSpPr>
          <p:cNvPr id="10" name="TextBox 9"/>
          <p:cNvSpPr txBox="1"/>
          <p:nvPr userDrawn="1"/>
        </p:nvSpPr>
        <p:spPr>
          <a:xfrm>
            <a:off x="252414" y="2475036"/>
            <a:ext cx="1090872" cy="193899"/>
          </a:xfrm>
          <a:prstGeom prst="rect">
            <a:avLst/>
          </a:prstGeom>
          <a:noFill/>
        </p:spPr>
        <p:txBody>
          <a:bodyPr wrap="square" lIns="91440" tIns="0" rIns="0" bIns="0" rtlCol="0" anchor="t">
            <a:spAutoFit/>
          </a:bodyPr>
          <a:lstStyle/>
          <a:p>
            <a:pPr>
              <a:lnSpc>
                <a:spcPct val="90000"/>
              </a:lnSpc>
              <a:spcAft>
                <a:spcPts val="450"/>
              </a:spcAft>
            </a:pPr>
            <a:r>
              <a:rPr lang="en-US" sz="1400" b="1">
                <a:solidFill>
                  <a:schemeClr val="bg1"/>
                </a:solidFill>
                <a:latin typeface="+mn-lt"/>
                <a:ea typeface="+mn-ea"/>
                <a:cs typeface="+mn-cs"/>
              </a:rPr>
              <a:t>Agenda</a:t>
            </a:r>
          </a:p>
        </p:txBody>
      </p:sp>
      <p:sp>
        <p:nvSpPr>
          <p:cNvPr id="13" name="Slide Number Placeholder 2">
            <a:extLst>
              <a:ext uri="{FF2B5EF4-FFF2-40B4-BE49-F238E27FC236}">
                <a16:creationId xmlns:a16="http://schemas.microsoft.com/office/drawing/2014/main" id="{4924C41B-D57A-481E-8B74-423E6C589ADE}"/>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17435723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solidFill>
          <a:srgbClr val="000000"/>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74907413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750"/>
              </a:spcAft>
            </a:pPr>
            <a:endParaRPr lang="en-US" sz="90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252414" y="2010058"/>
            <a:ext cx="2334636" cy="1123384"/>
          </a:xfrm>
          <a:prstGeom prst="rect">
            <a:avLst/>
          </a:prstGeom>
          <a:noFill/>
        </p:spPr>
        <p:txBody>
          <a:bodyPr wrap="square" lIns="91440" tIns="0" rIns="0" bIns="0" rtlCol="0" anchor="ctr">
            <a:spAutoFit/>
          </a:bodyPr>
          <a:lstStyle/>
          <a:p>
            <a:pPr marL="0" indent="0">
              <a:lnSpc>
                <a:spcPct val="106000"/>
              </a:lnSpc>
              <a:spcAft>
                <a:spcPts val="525"/>
              </a:spcAft>
              <a:buFontTx/>
              <a:buNone/>
            </a:pPr>
            <a:r>
              <a:rPr lang="en-US" sz="3600" b="1">
                <a:solidFill>
                  <a:srgbClr val="00000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solidFill>
                <a:latin typeface="+mn-lt"/>
                <a:ea typeface="+mn-ea"/>
                <a:cs typeface="+mn-cs"/>
                <a:sym typeface="Trebuchet MS" panose="020B0603020202020204" pitchFamily="34" charset="0"/>
              </a:rPr>
              <a:t>Copyright © 2024 by Boston Consulting Group. All rights reserved.</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
        <p:nvSpPr>
          <p:cNvPr id="12" name="Slide Number Placeholder 2">
            <a:extLst>
              <a:ext uri="{FF2B5EF4-FFF2-40B4-BE49-F238E27FC236}">
                <a16:creationId xmlns:a16="http://schemas.microsoft.com/office/drawing/2014/main" id="{1F0CC528-16C0-49BC-8269-E6B89933E11C}"/>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84176226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5.xml><?xml version="1.0" encoding="utf-8"?>
<p:sldLayout xmlns:a="http://schemas.openxmlformats.org/drawingml/2006/main" xmlns:r="http://schemas.openxmlformats.org/officeDocument/2006/relationships" xmlns:p="http://schemas.openxmlformats.org/presentationml/2006/main" userDrawn="1">
  <p:cSld name="Sisältödia tekstil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12976723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userDrawn="1">
  <p:cSld name="Väliotsikkodia - turkoosi">
    <p:bg>
      <p:bgPr>
        <a:solidFill>
          <a:srgbClr val="0ACFCF"/>
        </a:solidFill>
        <a:effectLst/>
      </p:bgPr>
    </p:bg>
    <p:spTree>
      <p:nvGrpSpPr>
        <p:cNvPr id="1" name=""/>
        <p:cNvGrpSpPr/>
        <p:nvPr/>
      </p:nvGrpSpPr>
      <p:grpSpPr>
        <a:xfrm>
          <a:off x="0" y="0"/>
          <a:ext cx="0" cy="0"/>
          <a:chOff x="0" y="0"/>
          <a:chExt cx="0" cy="0"/>
        </a:xfrm>
      </p:grpSpPr>
      <p:pic>
        <p:nvPicPr>
          <p:cNvPr id="8" name="Kuva 7"/>
          <p:cNvPicPr>
            <a:picLocks noChangeAspect="1"/>
          </p:cNvPicPr>
          <p:nvPr userDrawn="1"/>
        </p:nvPicPr>
        <p:blipFill>
          <a:blip r:embed="rId2"/>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fi-FI"/>
              <a:t>Muokkaa väliotsikkoa </a:t>
            </a:r>
            <a:r>
              <a:rPr lang="fi-FI" err="1"/>
              <a:t>napsautt</a:t>
            </a:r>
            <a:r>
              <a:rPr lang="fi-FI"/>
              <a: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a:defRPr sz="700">
                <a:solidFill>
                  <a:schemeClr val="bg1"/>
                </a:solidFill>
              </a:defRPr>
            </a:lvl1pPr>
          </a:lstStyle>
          <a:p>
            <a:fld id="{6FCB6B90-8271-4E8F-82C1-E646FBB48A2E}" type="slidenum">
              <a:rPr lang="fi-FI" smtClean="0"/>
              <a:pPr/>
              <a:t>‹#›</a:t>
            </a:fld>
            <a:endParaRPr lang="fi-FI"/>
          </a:p>
        </p:txBody>
      </p:sp>
      <p:sp>
        <p:nvSpPr>
          <p:cNvPr id="12" name="Päivämäärän paikkamerkki 1"/>
          <p:cNvSpPr>
            <a:spLocks noGrp="1"/>
          </p:cNvSpPr>
          <p:nvPr>
            <p:ph type="dt" sz="half" idx="10"/>
          </p:nvPr>
        </p:nvSpPr>
        <p:spPr>
          <a:xfrm>
            <a:off x="282027" y="4728047"/>
            <a:ext cx="916709" cy="164690"/>
          </a:xfrm>
        </p:spPr>
        <p:txBody>
          <a:bodyPr/>
          <a:lstStyle>
            <a:lvl1pPr>
              <a:defRPr>
                <a:solidFill>
                  <a:schemeClr val="bg1"/>
                </a:solidFill>
              </a:defRPr>
            </a:lvl1pPr>
          </a:lstStyle>
          <a:p>
            <a:endParaRPr lang="fi-FI"/>
          </a:p>
        </p:txBody>
      </p:sp>
      <p:sp>
        <p:nvSpPr>
          <p:cNvPr id="14" name="Alatunnisteen paikkamerkki 2"/>
          <p:cNvSpPr>
            <a:spLocks noGrp="1"/>
          </p:cNvSpPr>
          <p:nvPr>
            <p:ph type="ftr" sz="quarter" idx="11"/>
          </p:nvPr>
        </p:nvSpPr>
        <p:spPr>
          <a:xfrm>
            <a:off x="1111510" y="4728047"/>
            <a:ext cx="1295891" cy="164690"/>
          </a:xfrm>
        </p:spPr>
        <p:txBody>
          <a:bodyPr/>
          <a:lstStyle>
            <a:lvl1pPr>
              <a:defRPr>
                <a:solidFill>
                  <a:schemeClr val="bg1"/>
                </a:solidFill>
              </a:defRPr>
            </a:lvl1pPr>
          </a:lstStyle>
          <a:p>
            <a:endParaRPr lang="fi-FI"/>
          </a:p>
        </p:txBody>
      </p:sp>
    </p:spTree>
    <p:extLst>
      <p:ext uri="{BB962C8B-B14F-4D97-AF65-F5344CB8AC3E}">
        <p14:creationId xmlns:p14="http://schemas.microsoft.com/office/powerpoint/2010/main" val="167222534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Väliotsikkodia - sitruuna">
    <p:bg>
      <p:bgPr>
        <a:solidFill>
          <a:srgbClr val="FFFF0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2CE00AC-1E43-7956-E753-CEAE3FAA56E8}"/>
              </a:ext>
            </a:extLst>
          </p:cNvPr>
          <p:cNvGraphicFramePr>
            <a:graphicFrameLocks noChangeAspect="1"/>
          </p:cNvGraphicFramePr>
          <p:nvPr userDrawn="1">
            <p:custDataLst>
              <p:tags r:id="rId1"/>
            </p:custDataLst>
            <p:extLst>
              <p:ext uri="{D42A27DB-BD31-4B8C-83A1-F6EECF244321}">
                <p14:modId xmlns:p14="http://schemas.microsoft.com/office/powerpoint/2010/main" val="36181239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82CE00AC-1E43-7956-E753-CEAE3FAA56E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Kuva 8"/>
          <p:cNvPicPr>
            <a:picLocks noChangeAspect="1"/>
          </p:cNvPicPr>
          <p:nvPr userDrawn="1"/>
        </p:nvPicPr>
        <p:blipFill>
          <a:blip r:embed="rId5"/>
          <a:stretch>
            <a:fillRect/>
          </a:stretch>
        </p:blipFill>
        <p:spPr>
          <a:xfrm>
            <a:off x="8335624" y="368923"/>
            <a:ext cx="437056" cy="437032"/>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rgbClr val="000000"/>
                </a:solidFill>
              </a:defRPr>
            </a:lvl1pPr>
          </a:lstStyle>
          <a:p>
            <a:fld id="{6FCB6B90-8271-4E8F-82C1-E646FBB48A2E}" type="slidenum">
              <a:rPr lang="en-US" smtClean="0"/>
              <a:pPr/>
              <a:t>‹#›</a:t>
            </a:fld>
            <a:endParaRPr lang="en-US"/>
          </a:p>
        </p:txBody>
      </p:sp>
      <p:sp>
        <p:nvSpPr>
          <p:cNvPr id="14" name="Päivämäärän paikkamerkki 1"/>
          <p:cNvSpPr>
            <a:spLocks noGrp="1"/>
          </p:cNvSpPr>
          <p:nvPr>
            <p:ph type="dt" sz="half" idx="10"/>
          </p:nvPr>
        </p:nvSpPr>
        <p:spPr>
          <a:xfrm>
            <a:off x="282027" y="4728047"/>
            <a:ext cx="916709" cy="164690"/>
          </a:xfrm>
        </p:spPr>
        <p:txBody>
          <a:bodyPr/>
          <a:lstStyle>
            <a:lvl1pPr rtl="0">
              <a:defRPr>
                <a:solidFill>
                  <a:srgbClr val="000000"/>
                </a:solidFill>
              </a:defRPr>
            </a:lvl1pPr>
          </a:lstStyle>
          <a:p>
            <a:fld id="{3823E4C3-436B-4D27-8703-03F6D6D87FC4}" type="datetime1">
              <a:rPr lang="en-US" smtClean="0"/>
              <a:pPr/>
              <a:t>4/9/2024</a:t>
            </a:fld>
            <a:endParaRPr lang="en-US"/>
          </a:p>
        </p:txBody>
      </p:sp>
      <p:sp>
        <p:nvSpPr>
          <p:cNvPr id="15" name="Alatunnisteen paikkamerkki 2"/>
          <p:cNvSpPr>
            <a:spLocks noGrp="1"/>
          </p:cNvSpPr>
          <p:nvPr>
            <p:ph type="ftr" sz="quarter" idx="11"/>
          </p:nvPr>
        </p:nvSpPr>
        <p:spPr>
          <a:xfrm>
            <a:off x="1111510" y="4728047"/>
            <a:ext cx="2034868" cy="164690"/>
          </a:xfrm>
        </p:spPr>
        <p:txBody>
          <a:bodyPr/>
          <a:lstStyle>
            <a:lvl1pPr rtl="0">
              <a:defRPr>
                <a:solidFill>
                  <a:srgbClr val="000000"/>
                </a:solidFill>
              </a:defRPr>
            </a:lvl1pPr>
          </a:lstStyle>
          <a:p>
            <a:r>
              <a:rPr lang="en-US"/>
              <a:t>Technology Industries of Finland</a:t>
            </a:r>
          </a:p>
        </p:txBody>
      </p:sp>
    </p:spTree>
    <p:extLst>
      <p:ext uri="{BB962C8B-B14F-4D97-AF65-F5344CB8AC3E}">
        <p14:creationId xmlns:p14="http://schemas.microsoft.com/office/powerpoint/2010/main" val="549499557"/>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truuna">
    <p:bg>
      <p:bgPr>
        <a:solidFill>
          <a:srgbClr val="FFFF0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51F8BB6-7968-E98F-BD0C-5E214B4FAB30}"/>
              </a:ext>
            </a:extLst>
          </p:cNvPr>
          <p:cNvGraphicFramePr>
            <a:graphicFrameLocks noChangeAspect="1"/>
          </p:cNvGraphicFramePr>
          <p:nvPr userDrawn="1">
            <p:custDataLst>
              <p:tags r:id="rId1"/>
            </p:custDataLst>
            <p:extLst>
              <p:ext uri="{D42A27DB-BD31-4B8C-83A1-F6EECF244321}">
                <p14:modId xmlns:p14="http://schemas.microsoft.com/office/powerpoint/2010/main" val="3493020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151F8BB6-7968-E98F-BD0C-5E214B4FAB3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rgbClr val="000000"/>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rgbClr val="000000"/>
                </a:solidFill>
              </a:defRPr>
            </a:lvl1pPr>
          </a:lstStyle>
          <a:p>
            <a:fld id="{A2F7AA48-13C6-4B92-BA02-8193D7A1134B}"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rgbClr val="000000"/>
                </a:solidFill>
              </a:defRPr>
            </a:lvl1pPr>
          </a:lstStyle>
          <a:p>
            <a:r>
              <a:rPr lang="en-US"/>
              <a:t>Technology Industries of Finland</a:t>
            </a:r>
          </a:p>
        </p:txBody>
      </p:sp>
      <p:sp>
        <p:nvSpPr>
          <p:cNvPr id="7" name="Tekstin paikkamerkki 2"/>
          <p:cNvSpPr>
            <a:spLocks noGrp="1"/>
          </p:cNvSpPr>
          <p:nvPr>
            <p:ph idx="21" hasCustomPrompt="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buSzPct val="125000"/>
              <a:defRPr sz="1300" baseline="0">
                <a:solidFill>
                  <a:srgbClr val="000000"/>
                </a:solidFill>
              </a:defRPr>
            </a:lvl2pPr>
            <a:lvl3pPr indent="-158400" rtl="0">
              <a:buSzPct val="125000"/>
              <a:defRPr sz="1100">
                <a:solidFill>
                  <a:srgbClr val="000000"/>
                </a:solidFill>
              </a:defRPr>
            </a:lvl3pPr>
            <a:lvl4pPr indent="-158400" rtl="0">
              <a:buSzPct val="125000"/>
              <a:defRPr sz="100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6"/>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189775427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isältödia tekstil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1EAB0D7-2325-8D6D-F528-BB4993806116}"/>
              </a:ext>
            </a:extLst>
          </p:cNvPr>
          <p:cNvGraphicFramePr>
            <a:graphicFrameLocks noChangeAspect="1"/>
          </p:cNvGraphicFramePr>
          <p:nvPr userDrawn="1">
            <p:custDataLst>
              <p:tags r:id="rId1"/>
            </p:custDataLst>
            <p:extLst>
              <p:ext uri="{D42A27DB-BD31-4B8C-83A1-F6EECF244321}">
                <p14:modId xmlns:p14="http://schemas.microsoft.com/office/powerpoint/2010/main" val="3823829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21EAB0D7-2325-8D6D-F528-BB499380611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p:cNvPicPr>
            <a:picLocks noChangeAspect="1"/>
          </p:cNvPicPr>
          <p:nvPr userDrawn="1"/>
        </p:nvPicPr>
        <p:blipFill>
          <a:blip r:embed="rId5"/>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15" name="Päivämäärän paikkamerkki 1"/>
          <p:cNvSpPr>
            <a:spLocks noGrp="1"/>
          </p:cNvSpPr>
          <p:nvPr>
            <p:ph type="dt" sz="half" idx="10"/>
          </p:nvPr>
        </p:nvSpPr>
        <p:spPr>
          <a:xfrm>
            <a:off x="282027" y="4728047"/>
            <a:ext cx="916709" cy="164690"/>
          </a:xfrm>
        </p:spPr>
        <p:txBody>
          <a:bodyPr/>
          <a:lstStyle>
            <a:lvl1pPr rtl="0">
              <a:defRPr/>
            </a:lvl1pPr>
          </a:lstStyle>
          <a:p>
            <a:fld id="{BFBA45B5-99AE-4DC6-AE90-F0CC4C496FAF}" type="datetime1">
              <a:rPr lang="en-US" smtClean="0"/>
              <a:pPr/>
              <a:t>4/9/2024</a:t>
            </a:fld>
            <a:endParaRPr lang="en-US"/>
          </a:p>
        </p:txBody>
      </p:sp>
      <p:sp>
        <p:nvSpPr>
          <p:cNvPr id="17" name="Alatunnisteen paikkamerkki 2"/>
          <p:cNvSpPr>
            <a:spLocks noGrp="1"/>
          </p:cNvSpPr>
          <p:nvPr>
            <p:ph type="ftr" sz="quarter" idx="11"/>
          </p:nvPr>
        </p:nvSpPr>
        <p:spPr>
          <a:xfrm>
            <a:off x="1111510" y="4728047"/>
            <a:ext cx="2034868" cy="164690"/>
          </a:xfrm>
        </p:spPr>
        <p:txBody>
          <a:bodyPr/>
          <a:lstStyle>
            <a:lvl1pPr rtl="0">
              <a:defRPr/>
            </a:lvl1pPr>
          </a:lstStyle>
          <a:p>
            <a:r>
              <a:rPr lang="en-US"/>
              <a:t>Technology Industries of Finland</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rtl="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yläviitteenä</a:t>
            </a:r>
          </a:p>
        </p:txBody>
      </p:sp>
      <p:sp>
        <p:nvSpPr>
          <p:cNvPr id="21" name="Tekstin paikkamerkki 2"/>
          <p:cNvSpPr>
            <a:spLocks noGrp="1"/>
          </p:cNvSpPr>
          <p:nvPr>
            <p:ph idx="19" hasCustomPrompt="1"/>
          </p:nvPr>
        </p:nvSpPr>
        <p:spPr>
          <a:xfrm>
            <a:off x="1072800" y="1582404"/>
            <a:ext cx="7171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lnSpc>
                <a:spcPts val="1800"/>
              </a:lnSpc>
              <a:spcBef>
                <a:spcPts val="200"/>
              </a:spcBef>
              <a:spcAft>
                <a:spcPts val="200"/>
              </a:spcAft>
              <a:buSzPct val="125000"/>
              <a:defRPr sz="1300" baseline="0">
                <a:solidFill>
                  <a:srgbClr val="000000"/>
                </a:solidFill>
              </a:defRPr>
            </a:lvl2pPr>
            <a:lvl3pPr indent="-158400" rtl="0">
              <a:lnSpc>
                <a:spcPts val="1800"/>
              </a:lnSpc>
              <a:spcBef>
                <a:spcPts val="200"/>
              </a:spcBef>
              <a:spcAft>
                <a:spcPts val="200"/>
              </a:spcAft>
              <a:buSzPct val="125000"/>
              <a:defRPr sz="1050">
                <a:solidFill>
                  <a:srgbClr val="000000"/>
                </a:solidFill>
              </a:defRPr>
            </a:lvl3pPr>
            <a:lvl4pPr indent="-158400" rtl="0">
              <a:lnSpc>
                <a:spcPts val="1800"/>
              </a:lnSpc>
              <a:spcBef>
                <a:spcPts val="200"/>
              </a:spcBef>
              <a:spcAft>
                <a:spcPts val="200"/>
              </a:spcAft>
              <a:buSzPct val="125000"/>
              <a:defRPr sz="105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22" name="Tekstin paikkamerkki 28"/>
          <p:cNvSpPr>
            <a:spLocks noGrp="1"/>
          </p:cNvSpPr>
          <p:nvPr>
            <p:ph type="body" sz="quarter" idx="20" hasCustomPrompt="1"/>
          </p:nvPr>
        </p:nvSpPr>
        <p:spPr>
          <a:xfrm>
            <a:off x="1072800" y="1102949"/>
            <a:ext cx="7171200" cy="465655"/>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Tree>
    <p:extLst>
      <p:ext uri="{BB962C8B-B14F-4D97-AF65-F5344CB8AC3E}">
        <p14:creationId xmlns:p14="http://schemas.microsoft.com/office/powerpoint/2010/main" val="6329016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Otsikkodia">
    <p:bg>
      <p:bgPr>
        <a:solidFill>
          <a:srgbClr val="000000"/>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FDE9F2E5-6269-9BCF-02A9-02A137A3DB9B}"/>
              </a:ext>
            </a:extLst>
          </p:cNvPr>
          <p:cNvGraphicFramePr>
            <a:graphicFrameLocks noChangeAspect="1"/>
          </p:cNvGraphicFramePr>
          <p:nvPr userDrawn="1">
            <p:custDataLst>
              <p:tags r:id="rId1"/>
            </p:custDataLst>
            <p:extLst>
              <p:ext uri="{D42A27DB-BD31-4B8C-83A1-F6EECF244321}">
                <p14:modId xmlns:p14="http://schemas.microsoft.com/office/powerpoint/2010/main" val="10879805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FDE9F2E5-6269-9BCF-02A9-02A137A3DB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881898"/>
            <a:ext cx="6977283" cy="1165268"/>
          </a:xfrm>
          <a:prstGeom prst="rect">
            <a:avLst/>
          </a:prstGeom>
        </p:spPr>
        <p:txBody>
          <a:bodyPr>
            <a:normAutofit/>
          </a:bodyPr>
          <a:lstStyle>
            <a:lvl1pPr marL="10800" indent="0" rtl="0">
              <a:lnSpc>
                <a:spcPct val="100000"/>
              </a:lnSpc>
              <a:spcBef>
                <a:spcPts val="0"/>
              </a:spcBef>
              <a:spcAft>
                <a:spcPts val="0"/>
              </a:spcAft>
              <a:buFontTx/>
              <a:buNone/>
              <a:defRPr sz="26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pääotsikkoa napsaut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2"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9010DB5D-D05F-42FA-A6C6-AB6B33FAEAF0}" type="datetime1">
              <a:rPr lang="en-US" smtClean="0"/>
              <a:pPr/>
              <a:t>4/9/2024</a:t>
            </a:fld>
            <a:endParaRPr lang="en-US"/>
          </a:p>
        </p:txBody>
      </p:sp>
      <p:sp>
        <p:nvSpPr>
          <p:cNvPr id="14"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154039037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isältödia tekstille 2-palstaa">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F6F90F5-1509-D09E-0702-BD9611172438}"/>
              </a:ext>
            </a:extLst>
          </p:cNvPr>
          <p:cNvGraphicFramePr>
            <a:graphicFrameLocks noChangeAspect="1"/>
          </p:cNvGraphicFramePr>
          <p:nvPr userDrawn="1">
            <p:custDataLst>
              <p:tags r:id="rId1"/>
            </p:custDataLst>
            <p:extLst>
              <p:ext uri="{D42A27DB-BD31-4B8C-83A1-F6EECF244321}">
                <p14:modId xmlns:p14="http://schemas.microsoft.com/office/powerpoint/2010/main" val="1571272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6F6F90F5-1509-D09E-0702-BD96111724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p:cNvPicPr>
            <a:picLocks noChangeAspect="1"/>
          </p:cNvPicPr>
          <p:nvPr userDrawn="1"/>
        </p:nvPicPr>
        <p:blipFill>
          <a:blip r:embed="rId5"/>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15" name="Päivämäärän paikkamerkki 1"/>
          <p:cNvSpPr>
            <a:spLocks noGrp="1"/>
          </p:cNvSpPr>
          <p:nvPr>
            <p:ph type="dt" sz="half" idx="10"/>
          </p:nvPr>
        </p:nvSpPr>
        <p:spPr>
          <a:xfrm>
            <a:off x="282027" y="4728047"/>
            <a:ext cx="916709" cy="164690"/>
          </a:xfrm>
        </p:spPr>
        <p:txBody>
          <a:bodyPr/>
          <a:lstStyle>
            <a:lvl1pPr rtl="0">
              <a:defRPr/>
            </a:lvl1pPr>
          </a:lstStyle>
          <a:p>
            <a:fld id="{B6805023-F229-4028-A7EF-BB668AB9EE9F}" type="datetime1">
              <a:rPr lang="en-US" smtClean="0"/>
              <a:pPr/>
              <a:t>4/9/2024</a:t>
            </a:fld>
            <a:endParaRPr lang="en-US"/>
          </a:p>
        </p:txBody>
      </p:sp>
      <p:sp>
        <p:nvSpPr>
          <p:cNvPr id="17" name="Alatunnisteen paikkamerkki 2"/>
          <p:cNvSpPr>
            <a:spLocks noGrp="1"/>
          </p:cNvSpPr>
          <p:nvPr>
            <p:ph type="ftr" sz="quarter" idx="11"/>
          </p:nvPr>
        </p:nvSpPr>
        <p:spPr>
          <a:xfrm>
            <a:off x="1111510" y="4728047"/>
            <a:ext cx="2034868" cy="164690"/>
          </a:xfrm>
        </p:spPr>
        <p:txBody>
          <a:bodyPr/>
          <a:lstStyle>
            <a:lvl1pPr rtl="0">
              <a:defRPr/>
            </a:lvl1pPr>
          </a:lstStyle>
          <a:p>
            <a:r>
              <a:rPr lang="en-US"/>
              <a:t>Technology Industries of Finland</a:t>
            </a:r>
          </a:p>
        </p:txBody>
      </p:sp>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rtl="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yläviitteenä</a:t>
            </a:r>
          </a:p>
        </p:txBody>
      </p:sp>
      <p:sp>
        <p:nvSpPr>
          <p:cNvPr id="12" name="Tekstin paikkamerkki 28"/>
          <p:cNvSpPr>
            <a:spLocks noGrp="1"/>
          </p:cNvSpPr>
          <p:nvPr>
            <p:ph type="body" sz="quarter" idx="17" hasCustomPrompt="1"/>
          </p:nvPr>
        </p:nvSpPr>
        <p:spPr>
          <a:xfrm>
            <a:off x="1072800" y="1102950"/>
            <a:ext cx="7171200" cy="462785"/>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28" name="Tekstin paikkamerkki 2"/>
          <p:cNvSpPr>
            <a:spLocks noGrp="1"/>
          </p:cNvSpPr>
          <p:nvPr>
            <p:ph idx="19" hasCustomPrompt="1"/>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lnSpc>
                <a:spcPts val="1800"/>
              </a:lnSpc>
              <a:spcBef>
                <a:spcPts val="200"/>
              </a:spcBef>
              <a:spcAft>
                <a:spcPts val="200"/>
              </a:spcAft>
              <a:buSzPct val="125000"/>
              <a:defRPr sz="1300" baseline="0">
                <a:solidFill>
                  <a:srgbClr val="000000"/>
                </a:solidFill>
              </a:defRPr>
            </a:lvl2pPr>
            <a:lvl3pPr indent="-158400" rtl="0">
              <a:lnSpc>
                <a:spcPts val="1800"/>
              </a:lnSpc>
              <a:spcBef>
                <a:spcPts val="200"/>
              </a:spcBef>
              <a:spcAft>
                <a:spcPts val="200"/>
              </a:spcAft>
              <a:buSzPct val="125000"/>
              <a:defRPr sz="1050">
                <a:solidFill>
                  <a:srgbClr val="000000"/>
                </a:solidFill>
              </a:defRPr>
            </a:lvl3pPr>
            <a:lvl4pPr indent="-158400" rtl="0">
              <a:lnSpc>
                <a:spcPts val="1800"/>
              </a:lnSpc>
              <a:spcBef>
                <a:spcPts val="200"/>
              </a:spcBef>
              <a:spcAft>
                <a:spcPts val="200"/>
              </a:spcAft>
              <a:buSzPct val="125000"/>
              <a:defRPr sz="105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19" name="Tekstin paikkamerkki 2">
            <a:extLst>
              <a:ext uri="{FF2B5EF4-FFF2-40B4-BE49-F238E27FC236}">
                <a16:creationId xmlns:a16="http://schemas.microsoft.com/office/drawing/2014/main" id="{78D94F0C-35FF-3B43-88BA-1DD2020DBB57}"/>
              </a:ext>
            </a:extLst>
          </p:cNvPr>
          <p:cNvSpPr>
            <a:spLocks noGrp="1"/>
          </p:cNvSpPr>
          <p:nvPr>
            <p:ph idx="20" hasCustomPrompt="1"/>
          </p:nvPr>
        </p:nvSpPr>
        <p:spPr>
          <a:xfrm>
            <a:off x="4457176"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lnSpc>
                <a:spcPts val="1800"/>
              </a:lnSpc>
              <a:spcBef>
                <a:spcPts val="200"/>
              </a:spcBef>
              <a:spcAft>
                <a:spcPts val="200"/>
              </a:spcAft>
              <a:buSzPct val="125000"/>
              <a:defRPr sz="1300" baseline="0">
                <a:solidFill>
                  <a:srgbClr val="000000"/>
                </a:solidFill>
              </a:defRPr>
            </a:lvl2pPr>
            <a:lvl3pPr indent="-158400" rtl="0">
              <a:lnSpc>
                <a:spcPts val="1800"/>
              </a:lnSpc>
              <a:spcBef>
                <a:spcPts val="200"/>
              </a:spcBef>
              <a:spcAft>
                <a:spcPts val="200"/>
              </a:spcAft>
              <a:buSzPct val="125000"/>
              <a:defRPr sz="1050">
                <a:solidFill>
                  <a:srgbClr val="000000"/>
                </a:solidFill>
              </a:defRPr>
            </a:lvl3pPr>
            <a:lvl4pPr indent="-158400" rtl="0">
              <a:lnSpc>
                <a:spcPts val="1800"/>
              </a:lnSpc>
              <a:spcBef>
                <a:spcPts val="200"/>
              </a:spcBef>
              <a:spcAft>
                <a:spcPts val="200"/>
              </a:spcAft>
              <a:buSzPct val="125000"/>
              <a:defRPr sz="105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Tree>
    <p:extLst>
      <p:ext uri="{BB962C8B-B14F-4D97-AF65-F5344CB8AC3E}">
        <p14:creationId xmlns:p14="http://schemas.microsoft.com/office/powerpoint/2010/main" val="253580326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A">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51CC539-96E6-6CE5-7085-29DE2122A147}"/>
              </a:ext>
            </a:extLst>
          </p:cNvPr>
          <p:cNvGraphicFramePr>
            <a:graphicFrameLocks noChangeAspect="1"/>
          </p:cNvGraphicFramePr>
          <p:nvPr userDrawn="1">
            <p:custDataLst>
              <p:tags r:id="rId1"/>
            </p:custDataLst>
            <p:extLst>
              <p:ext uri="{D42A27DB-BD31-4B8C-83A1-F6EECF244321}">
                <p14:modId xmlns:p14="http://schemas.microsoft.com/office/powerpoint/2010/main" val="1024686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051CC539-96E6-6CE5-7085-29DE2122A1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äivämäärän paikkamerkki 1"/>
          <p:cNvSpPr>
            <a:spLocks noGrp="1"/>
          </p:cNvSpPr>
          <p:nvPr>
            <p:ph type="dt" sz="half" idx="10"/>
          </p:nvPr>
        </p:nvSpPr>
        <p:spPr>
          <a:xfrm>
            <a:off x="282027" y="4728047"/>
            <a:ext cx="916709" cy="164690"/>
          </a:xfrm>
        </p:spPr>
        <p:txBody>
          <a:bodyPr/>
          <a:lstStyle>
            <a:lvl1pPr rtl="0">
              <a:defRPr/>
            </a:lvl1pPr>
          </a:lstStyle>
          <a:p>
            <a:fld id="{60DE9654-8D3A-4D0F-9C7A-6BE18DC017F8}" type="datetime1">
              <a:rPr lang="en-US" smtClean="0"/>
              <a:pPr/>
              <a:t>4/9/2024</a:t>
            </a:fld>
            <a:endParaRPr lang="en-US"/>
          </a:p>
        </p:txBody>
      </p:sp>
      <p:sp>
        <p:nvSpPr>
          <p:cNvPr id="17" name="Alatunnisteen paikkamerkki 2"/>
          <p:cNvSpPr>
            <a:spLocks noGrp="1"/>
          </p:cNvSpPr>
          <p:nvPr>
            <p:ph type="ftr" sz="quarter" idx="11"/>
          </p:nvPr>
        </p:nvSpPr>
        <p:spPr>
          <a:xfrm>
            <a:off x="1111510" y="4728047"/>
            <a:ext cx="2034868" cy="164690"/>
          </a:xfrm>
        </p:spPr>
        <p:txBody>
          <a:bodyPr/>
          <a:lstStyle>
            <a:lvl1pPr rtl="0">
              <a:defRPr/>
            </a:lvl1pPr>
          </a:lstStyle>
          <a:p>
            <a:r>
              <a:rPr lang="en-US"/>
              <a:t>Technology Industries of Finland</a:t>
            </a:r>
          </a:p>
        </p:txBody>
      </p:sp>
      <p:sp>
        <p:nvSpPr>
          <p:cNvPr id="8" name="Tekstin paikkamerkki 2"/>
          <p:cNvSpPr>
            <a:spLocks noGrp="1"/>
          </p:cNvSpPr>
          <p:nvPr>
            <p:ph idx="19" hasCustomPrompt="1"/>
          </p:nvPr>
        </p:nvSpPr>
        <p:spPr>
          <a:xfrm>
            <a:off x="1072800" y="1584553"/>
            <a:ext cx="55296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lnSpc>
                <a:spcPts val="1800"/>
              </a:lnSpc>
              <a:spcBef>
                <a:spcPts val="200"/>
              </a:spcBef>
              <a:spcAft>
                <a:spcPts val="200"/>
              </a:spcAft>
              <a:buSzPct val="125000"/>
              <a:defRPr sz="1300" baseline="0">
                <a:solidFill>
                  <a:srgbClr val="000000"/>
                </a:solidFill>
              </a:defRPr>
            </a:lvl2pPr>
            <a:lvl3pPr indent="-158400" rtl="0">
              <a:lnSpc>
                <a:spcPts val="1800"/>
              </a:lnSpc>
              <a:spcBef>
                <a:spcPts val="200"/>
              </a:spcBef>
              <a:spcAft>
                <a:spcPts val="200"/>
              </a:spcAft>
              <a:buSzPct val="125000"/>
              <a:defRPr sz="1100">
                <a:solidFill>
                  <a:srgbClr val="000000"/>
                </a:solidFill>
              </a:defRPr>
            </a:lvl3pPr>
            <a:lvl4pPr indent="-158400" rtl="0">
              <a:lnSpc>
                <a:spcPts val="1800"/>
              </a:lnSpc>
              <a:spcBef>
                <a:spcPts val="200"/>
              </a:spcBef>
              <a:spcAft>
                <a:spcPts val="200"/>
              </a:spcAft>
              <a:buSzPct val="125000"/>
              <a:defRPr sz="100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9" name="Tekstin paikkamerkki 28"/>
          <p:cNvSpPr>
            <a:spLocks noGrp="1"/>
          </p:cNvSpPr>
          <p:nvPr>
            <p:ph type="body" sz="quarter" idx="21" hasCustomPrompt="1"/>
          </p:nvPr>
        </p:nvSpPr>
        <p:spPr>
          <a:xfrm>
            <a:off x="1072800" y="1104451"/>
            <a:ext cx="5529600" cy="480101"/>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0" name="Kuvan paikkamerkki 6"/>
          <p:cNvSpPr>
            <a:spLocks noGrp="1"/>
          </p:cNvSpPr>
          <p:nvPr>
            <p:ph type="pic" sz="quarter" idx="20" hasCustomPrompt="1"/>
          </p:nvPr>
        </p:nvSpPr>
        <p:spPr>
          <a:xfrm>
            <a:off x="6775200" y="0"/>
            <a:ext cx="2368805" cy="5143500"/>
          </a:xfrm>
          <a:prstGeom prst="rect">
            <a:avLst/>
          </a:prstGeom>
        </p:spPr>
        <p:txBody>
          <a:bodyPr anchor="ctr"/>
          <a:lstStyle>
            <a:lvl1pPr marL="0" indent="0" algn="ctr" rtl="0">
              <a:buFontTx/>
              <a:buNone/>
              <a:defRPr sz="1500">
                <a:solidFill>
                  <a:srgbClr val="000000"/>
                </a:solidFill>
              </a:defRPr>
            </a:lvl1pPr>
          </a:lstStyle>
          <a:p>
            <a:r>
              <a:rPr lang="en-US"/>
              <a:t>Lisää kuva napsauttamalla kuvaketta</a:t>
            </a:r>
          </a:p>
        </p:txBody>
      </p:sp>
      <p:sp>
        <p:nvSpPr>
          <p:cNvPr id="12"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rtl="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yläviitteenä</a:t>
            </a:r>
          </a:p>
        </p:txBody>
      </p:sp>
    </p:spTree>
    <p:extLst>
      <p:ext uri="{BB962C8B-B14F-4D97-AF65-F5344CB8AC3E}">
        <p14:creationId xmlns:p14="http://schemas.microsoft.com/office/powerpoint/2010/main" val="78566840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isältödia tekstille ja kuvalle B">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C60839A-1C0B-7635-1AB7-5AB80BAA54AF}"/>
              </a:ext>
            </a:extLst>
          </p:cNvPr>
          <p:cNvGraphicFramePr>
            <a:graphicFrameLocks noChangeAspect="1"/>
          </p:cNvGraphicFramePr>
          <p:nvPr userDrawn="1">
            <p:custDataLst>
              <p:tags r:id="rId1"/>
            </p:custDataLst>
            <p:extLst>
              <p:ext uri="{D42A27DB-BD31-4B8C-83A1-F6EECF244321}">
                <p14:modId xmlns:p14="http://schemas.microsoft.com/office/powerpoint/2010/main" val="1490173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7C60839A-1C0B-7635-1AB7-5AB80BAA54A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5" name="Päivämäärän paikkamerkki 1"/>
          <p:cNvSpPr>
            <a:spLocks noGrp="1"/>
          </p:cNvSpPr>
          <p:nvPr>
            <p:ph type="dt" sz="half" idx="10"/>
          </p:nvPr>
        </p:nvSpPr>
        <p:spPr>
          <a:xfrm>
            <a:off x="282027" y="4728047"/>
            <a:ext cx="916709" cy="164690"/>
          </a:xfrm>
        </p:spPr>
        <p:txBody>
          <a:bodyPr/>
          <a:lstStyle>
            <a:lvl1pPr rtl="0">
              <a:defRPr/>
            </a:lvl1pPr>
          </a:lstStyle>
          <a:p>
            <a:fld id="{6688634B-769C-4DA7-B947-A5E1A37A12CA}" type="datetime1">
              <a:rPr lang="en-US" smtClean="0"/>
              <a:pPr/>
              <a:t>4/9/2024</a:t>
            </a:fld>
            <a:endParaRPr lang="en-US"/>
          </a:p>
        </p:txBody>
      </p:sp>
      <p:sp>
        <p:nvSpPr>
          <p:cNvPr id="17" name="Alatunnisteen paikkamerkki 2"/>
          <p:cNvSpPr>
            <a:spLocks noGrp="1"/>
          </p:cNvSpPr>
          <p:nvPr>
            <p:ph type="ftr" sz="quarter" idx="11"/>
          </p:nvPr>
        </p:nvSpPr>
        <p:spPr>
          <a:xfrm>
            <a:off x="1111510" y="4728047"/>
            <a:ext cx="2034868" cy="164690"/>
          </a:xfrm>
        </p:spPr>
        <p:txBody>
          <a:bodyPr/>
          <a:lstStyle>
            <a:lvl1pPr rtl="0">
              <a:defRPr/>
            </a:lvl1pPr>
          </a:lstStyle>
          <a:p>
            <a:r>
              <a:rPr lang="en-US"/>
              <a:t>Technology Industries of Finland</a:t>
            </a:r>
          </a:p>
        </p:txBody>
      </p:sp>
      <p:sp>
        <p:nvSpPr>
          <p:cNvPr id="19" name="Kuvan paikkamerkki 6"/>
          <p:cNvSpPr>
            <a:spLocks noGrp="1"/>
          </p:cNvSpPr>
          <p:nvPr>
            <p:ph type="pic" sz="quarter" idx="20" hasCustomPrompt="1"/>
          </p:nvPr>
        </p:nvSpPr>
        <p:spPr>
          <a:xfrm>
            <a:off x="5090400" y="0"/>
            <a:ext cx="4053606" cy="5143500"/>
          </a:xfrm>
          <a:prstGeom prst="rect">
            <a:avLst/>
          </a:prstGeom>
        </p:spPr>
        <p:txBody>
          <a:bodyPr anchor="ctr"/>
          <a:lstStyle>
            <a:lvl1pPr marL="0" indent="0" algn="ctr" rtl="0">
              <a:buFontTx/>
              <a:buNone/>
              <a:defRPr sz="1500">
                <a:solidFill>
                  <a:srgbClr val="000000"/>
                </a:solidFill>
              </a:defRPr>
            </a:lvl1pPr>
          </a:lstStyle>
          <a:p>
            <a:r>
              <a:rPr lang="en-US"/>
              <a:t>Lisää kuva napsauttamalla kuvaketta</a:t>
            </a:r>
          </a:p>
        </p:txBody>
      </p:sp>
      <p:sp>
        <p:nvSpPr>
          <p:cNvPr id="8" name="Tekstin paikkamerkki 2"/>
          <p:cNvSpPr>
            <a:spLocks noGrp="1"/>
          </p:cNvSpPr>
          <p:nvPr>
            <p:ph idx="19" hasCustomPrompt="1"/>
          </p:nvPr>
        </p:nvSpPr>
        <p:spPr>
          <a:xfrm>
            <a:off x="1072800" y="158455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0"/>
              </a:spcBef>
              <a:spcAft>
                <a:spcPts val="700"/>
              </a:spcAft>
              <a:buClrTx/>
              <a:buSzPct val="125000"/>
              <a:buFont typeface="Arial" panose="020B0604020202020204" pitchFamily="34" charset="0"/>
              <a:buChar char="•"/>
              <a:tabLst/>
              <a:defRPr sz="1600">
                <a:solidFill>
                  <a:srgbClr val="000000"/>
                </a:solidFill>
              </a:defRPr>
            </a:lvl1pPr>
            <a:lvl2pPr indent="-158400" rtl="0">
              <a:lnSpc>
                <a:spcPts val="1800"/>
              </a:lnSpc>
              <a:spcBef>
                <a:spcPts val="200"/>
              </a:spcBef>
              <a:spcAft>
                <a:spcPts val="200"/>
              </a:spcAft>
              <a:buSzPct val="125000"/>
              <a:defRPr sz="1300" baseline="0">
                <a:solidFill>
                  <a:srgbClr val="000000"/>
                </a:solidFill>
              </a:defRPr>
            </a:lvl2pPr>
            <a:lvl3pPr indent="-158400" rtl="0">
              <a:lnSpc>
                <a:spcPts val="1800"/>
              </a:lnSpc>
              <a:spcBef>
                <a:spcPts val="200"/>
              </a:spcBef>
              <a:spcAft>
                <a:spcPts val="200"/>
              </a:spcAft>
              <a:buSzPct val="125000"/>
              <a:defRPr sz="1100">
                <a:solidFill>
                  <a:srgbClr val="000000"/>
                </a:solidFill>
              </a:defRPr>
            </a:lvl3pPr>
            <a:lvl4pPr indent="-158400" rtl="0">
              <a:lnSpc>
                <a:spcPts val="1800"/>
              </a:lnSpc>
              <a:spcBef>
                <a:spcPts val="200"/>
              </a:spcBef>
              <a:spcAft>
                <a:spcPts val="200"/>
              </a:spcAft>
              <a:buSzPct val="125000"/>
              <a:defRPr sz="100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9" name="Tekstin paikkamerkki 28"/>
          <p:cNvSpPr>
            <a:spLocks noGrp="1"/>
          </p:cNvSpPr>
          <p:nvPr>
            <p:ph type="body" sz="quarter" idx="21" hasCustomPrompt="1"/>
          </p:nvPr>
        </p:nvSpPr>
        <p:spPr>
          <a:xfrm>
            <a:off x="1072800" y="1104452"/>
            <a:ext cx="3844800" cy="480102"/>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
        <p:nvSpPr>
          <p:cNvPr id="10"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rtl="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yläviitteenä</a:t>
            </a:r>
          </a:p>
        </p:txBody>
      </p:sp>
    </p:spTree>
    <p:extLst>
      <p:ext uri="{BB962C8B-B14F-4D97-AF65-F5344CB8AC3E}">
        <p14:creationId xmlns:p14="http://schemas.microsoft.com/office/powerpoint/2010/main" val="303216163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isältödia pelkälle kuval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F60E319-7CE9-601C-6AC6-D3FCB6D536E5}"/>
              </a:ext>
            </a:extLst>
          </p:cNvPr>
          <p:cNvGraphicFramePr>
            <a:graphicFrameLocks noChangeAspect="1"/>
          </p:cNvGraphicFramePr>
          <p:nvPr userDrawn="1">
            <p:custDataLst>
              <p:tags r:id="rId1"/>
            </p:custDataLst>
            <p:extLst>
              <p:ext uri="{D42A27DB-BD31-4B8C-83A1-F6EECF244321}">
                <p14:modId xmlns:p14="http://schemas.microsoft.com/office/powerpoint/2010/main" val="3076226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2F60E319-7CE9-601C-6AC6-D3FCB6D536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Kuvan paikkamerkki 6"/>
          <p:cNvSpPr>
            <a:spLocks noGrp="1"/>
          </p:cNvSpPr>
          <p:nvPr>
            <p:ph type="pic" sz="quarter" idx="20" hasCustomPrompt="1"/>
          </p:nvPr>
        </p:nvSpPr>
        <p:spPr>
          <a:xfrm>
            <a:off x="0" y="0"/>
            <a:ext cx="9144005" cy="5143500"/>
          </a:xfrm>
          <a:prstGeom prst="rect">
            <a:avLst/>
          </a:prstGeom>
        </p:spPr>
        <p:txBody>
          <a:bodyPr anchor="ctr"/>
          <a:lstStyle>
            <a:lvl1pPr marL="0" indent="0" algn="ctr" rtl="0">
              <a:buFontTx/>
              <a:buNone/>
              <a:defRPr sz="1500">
                <a:solidFill>
                  <a:srgbClr val="000000"/>
                </a:solidFill>
              </a:defRPr>
            </a:lvl1pPr>
          </a:lstStyle>
          <a:p>
            <a:r>
              <a:rPr lang="en-US"/>
              <a:t>Lisää kuva napsauttamalla kuvaketta</a:t>
            </a:r>
          </a:p>
        </p:txBody>
      </p:sp>
    </p:spTree>
    <p:extLst>
      <p:ext uri="{BB962C8B-B14F-4D97-AF65-F5344CB8AC3E}">
        <p14:creationId xmlns:p14="http://schemas.microsoft.com/office/powerpoint/2010/main" val="96411705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isältödia taulukoil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4AEA5F7-6B7C-201B-F8F1-2139ED8D339E}"/>
              </a:ext>
            </a:extLst>
          </p:cNvPr>
          <p:cNvGraphicFramePr>
            <a:graphicFrameLocks noChangeAspect="1"/>
          </p:cNvGraphicFramePr>
          <p:nvPr userDrawn="1">
            <p:custDataLst>
              <p:tags r:id="rId1"/>
            </p:custDataLst>
            <p:extLst>
              <p:ext uri="{D42A27DB-BD31-4B8C-83A1-F6EECF244321}">
                <p14:modId xmlns:p14="http://schemas.microsoft.com/office/powerpoint/2010/main" val="35938383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84AEA5F7-6B7C-201B-F8F1-2139ED8D339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p:cNvPicPr>
            <a:picLocks noChangeAspect="1"/>
          </p:cNvPicPr>
          <p:nvPr userDrawn="1"/>
        </p:nvPicPr>
        <p:blipFill>
          <a:blip r:embed="rId5"/>
          <a:stretch>
            <a:fillRect/>
          </a:stretch>
        </p:blipFill>
        <p:spPr>
          <a:xfrm>
            <a:off x="8335624" y="368923"/>
            <a:ext cx="437056" cy="437032"/>
          </a:xfrm>
          <a:prstGeom prst="rect">
            <a:avLst/>
          </a:prstGeom>
        </p:spPr>
      </p:pic>
      <p:sp>
        <p:nvSpPr>
          <p:cNvPr id="9" name="Tekstin paikkamerkki 3"/>
          <p:cNvSpPr>
            <a:spLocks noGrp="1"/>
          </p:cNvSpPr>
          <p:nvPr>
            <p:ph type="body" sz="quarter" idx="18" hasCustomPrompt="1"/>
          </p:nvPr>
        </p:nvSpPr>
        <p:spPr>
          <a:xfrm>
            <a:off x="252000" y="290513"/>
            <a:ext cx="4320000" cy="250837"/>
          </a:xfrm>
          <a:prstGeom prst="rect">
            <a:avLst/>
          </a:prstGeom>
        </p:spPr>
        <p:txBody>
          <a:bodyPr anchor="t"/>
          <a:lstStyle>
            <a:lvl1pPr marL="25200" indent="0" rtl="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yläviitteenä</a:t>
            </a:r>
          </a:p>
        </p:txBody>
      </p:sp>
      <p:sp>
        <p:nvSpPr>
          <p:cNvPr id="11" name="Tekstin paikkamerkki 2"/>
          <p:cNvSpPr>
            <a:spLocks noGrp="1"/>
          </p:cNvSpPr>
          <p:nvPr>
            <p:ph type="body" sz="quarter" idx="23" hasCustomPrompt="1"/>
          </p:nvPr>
        </p:nvSpPr>
        <p:spPr>
          <a:xfrm>
            <a:off x="3047978" y="4727574"/>
            <a:ext cx="2971717" cy="165163"/>
          </a:xfrm>
        </p:spPr>
        <p:txBody>
          <a:bodyPr>
            <a:noAutofit/>
          </a:bodyPr>
          <a:lstStyle>
            <a:lvl1pPr marL="0" indent="0" rtl="0">
              <a:lnSpc>
                <a:spcPct val="100000"/>
              </a:lnSpc>
              <a:spcBef>
                <a:spcPts val="0"/>
              </a:spcBef>
              <a:spcAft>
                <a:spcPts val="0"/>
              </a:spcAft>
              <a:buFontTx/>
              <a:buNone/>
              <a:defRPr sz="700" spc="0" baseline="0"/>
            </a:lvl1pPr>
          </a:lstStyle>
          <a:p>
            <a:pPr lvl="0"/>
            <a:r>
              <a:rPr lang="en-US"/>
              <a:t>Lähde tähän</a:t>
            </a:r>
          </a:p>
        </p:txBody>
      </p:sp>
      <p:sp>
        <p:nvSpPr>
          <p:cNvPr id="19" name="Tekstin paikkamerkki 28"/>
          <p:cNvSpPr>
            <a:spLocks noGrp="1"/>
          </p:cNvSpPr>
          <p:nvPr>
            <p:ph type="body" sz="quarter" idx="21" hasCustomPrompt="1"/>
          </p:nvPr>
        </p:nvSpPr>
        <p:spPr>
          <a:xfrm>
            <a:off x="1072799" y="1102950"/>
            <a:ext cx="6868801" cy="481250"/>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20" name="Sisällön paikkamerkki 4"/>
          <p:cNvSpPr>
            <a:spLocks noGrp="1"/>
          </p:cNvSpPr>
          <p:nvPr>
            <p:ph sz="quarter" idx="17" hasCustomPrompt="1"/>
          </p:nvPr>
        </p:nvSpPr>
        <p:spPr>
          <a:xfrm>
            <a:off x="1201739" y="1584200"/>
            <a:ext cx="6739862" cy="3010469"/>
          </a:xfrm>
        </p:spPr>
        <p:txBody>
          <a:bodyPr/>
          <a:lstStyle>
            <a:lvl1pPr marL="241200" indent="-212400" rtl="0">
              <a:buFont typeface="Arial" panose="020B0604020202020204" pitchFamily="34" charset="0"/>
              <a:buChar char="•"/>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en-US"/>
              <a:t>Muokkaa tekstin perustyylejä napsauttamalla</a:t>
            </a:r>
          </a:p>
        </p:txBody>
      </p:sp>
      <p:sp>
        <p:nvSpPr>
          <p:cNvPr id="24"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25" name="Päivämäärän paikkamerkki 1"/>
          <p:cNvSpPr>
            <a:spLocks noGrp="1"/>
          </p:cNvSpPr>
          <p:nvPr>
            <p:ph type="dt" sz="half" idx="10"/>
          </p:nvPr>
        </p:nvSpPr>
        <p:spPr>
          <a:xfrm>
            <a:off x="282027" y="4728047"/>
            <a:ext cx="916709" cy="164690"/>
          </a:xfrm>
        </p:spPr>
        <p:txBody>
          <a:bodyPr/>
          <a:lstStyle>
            <a:lvl1pPr rtl="0">
              <a:defRPr/>
            </a:lvl1pPr>
          </a:lstStyle>
          <a:p>
            <a:fld id="{3629FD3F-FAE6-4882-B622-8AEC5F7555EC}" type="datetime1">
              <a:rPr lang="en-US" smtClean="0"/>
              <a:pPr/>
              <a:t>4/9/2024</a:t>
            </a:fld>
            <a:endParaRPr lang="en-US"/>
          </a:p>
        </p:txBody>
      </p:sp>
      <p:sp>
        <p:nvSpPr>
          <p:cNvPr id="26" name="Alatunnisteen paikkamerkki 2"/>
          <p:cNvSpPr>
            <a:spLocks noGrp="1"/>
          </p:cNvSpPr>
          <p:nvPr>
            <p:ph type="ftr" sz="quarter" idx="11"/>
          </p:nvPr>
        </p:nvSpPr>
        <p:spPr>
          <a:xfrm>
            <a:off x="1111510" y="4728047"/>
            <a:ext cx="1775664" cy="164690"/>
          </a:xfrm>
        </p:spPr>
        <p:txBody>
          <a:bodyPr/>
          <a:lstStyle>
            <a:lvl1pPr rtl="0">
              <a:defRPr/>
            </a:lvl1pPr>
          </a:lstStyle>
          <a:p>
            <a:r>
              <a:rPr lang="en-US"/>
              <a:t>Technology Industries of Finland</a:t>
            </a:r>
          </a:p>
        </p:txBody>
      </p:sp>
    </p:spTree>
    <p:extLst>
      <p:ext uri="{BB962C8B-B14F-4D97-AF65-F5344CB8AC3E}">
        <p14:creationId xmlns:p14="http://schemas.microsoft.com/office/powerpoint/2010/main" val="87594283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isältödia tekstille ja taulukol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037EFD0-1F1F-60A4-08C8-2485B5BB551A}"/>
              </a:ext>
            </a:extLst>
          </p:cNvPr>
          <p:cNvGraphicFramePr>
            <a:graphicFrameLocks noChangeAspect="1"/>
          </p:cNvGraphicFramePr>
          <p:nvPr userDrawn="1">
            <p:custDataLst>
              <p:tags r:id="rId1"/>
            </p:custDataLst>
            <p:extLst>
              <p:ext uri="{D42A27DB-BD31-4B8C-83A1-F6EECF244321}">
                <p14:modId xmlns:p14="http://schemas.microsoft.com/office/powerpoint/2010/main" val="14503885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6037EFD0-1F1F-60A4-08C8-2485B5BB55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p:cNvPicPr>
            <a:picLocks noChangeAspect="1"/>
          </p:cNvPicPr>
          <p:nvPr userDrawn="1"/>
        </p:nvPicPr>
        <p:blipFill>
          <a:blip r:embed="rId5"/>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18" name="Päivämäärän paikkamerkki 1"/>
          <p:cNvSpPr>
            <a:spLocks noGrp="1"/>
          </p:cNvSpPr>
          <p:nvPr>
            <p:ph type="dt" sz="half" idx="10"/>
          </p:nvPr>
        </p:nvSpPr>
        <p:spPr>
          <a:xfrm>
            <a:off x="282027" y="4728047"/>
            <a:ext cx="916709" cy="164690"/>
          </a:xfrm>
        </p:spPr>
        <p:txBody>
          <a:bodyPr/>
          <a:lstStyle>
            <a:lvl1pPr rtl="0">
              <a:defRPr/>
            </a:lvl1pPr>
          </a:lstStyle>
          <a:p>
            <a:fld id="{069623BB-AB23-4AFE-B23E-43D0AC6BAC09}" type="datetime1">
              <a:rPr lang="en-US" smtClean="0"/>
              <a:pPr/>
              <a:t>4/9/2024</a:t>
            </a:fld>
            <a:endParaRPr lang="en-US"/>
          </a:p>
        </p:txBody>
      </p:sp>
      <p:sp>
        <p:nvSpPr>
          <p:cNvPr id="19" name="Alatunnisteen paikkamerkki 2"/>
          <p:cNvSpPr>
            <a:spLocks noGrp="1"/>
          </p:cNvSpPr>
          <p:nvPr>
            <p:ph type="ftr" sz="quarter" idx="11"/>
          </p:nvPr>
        </p:nvSpPr>
        <p:spPr>
          <a:xfrm>
            <a:off x="1111510" y="4728047"/>
            <a:ext cx="1775664" cy="164690"/>
          </a:xfrm>
        </p:spPr>
        <p:txBody>
          <a:bodyPr/>
          <a:lstStyle>
            <a:lvl1pPr rtl="0">
              <a:defRPr/>
            </a:lvl1pPr>
          </a:lstStyle>
          <a:p>
            <a:r>
              <a:rPr lang="en-US"/>
              <a:t>Technology Industries of Finland</a:t>
            </a:r>
          </a:p>
        </p:txBody>
      </p:sp>
      <p:sp>
        <p:nvSpPr>
          <p:cNvPr id="16" name="Tekstin paikkamerkki 2"/>
          <p:cNvSpPr>
            <a:spLocks noGrp="1"/>
          </p:cNvSpPr>
          <p:nvPr>
            <p:ph type="body" sz="quarter" idx="18" hasCustomPrompt="1"/>
          </p:nvPr>
        </p:nvSpPr>
        <p:spPr>
          <a:xfrm>
            <a:off x="3047977" y="4727574"/>
            <a:ext cx="2971717" cy="165163"/>
          </a:xfrm>
        </p:spPr>
        <p:txBody>
          <a:bodyPr>
            <a:noAutofit/>
          </a:bodyPr>
          <a:lstStyle>
            <a:lvl1pPr marL="0" indent="0" rtl="0">
              <a:lnSpc>
                <a:spcPct val="100000"/>
              </a:lnSpc>
              <a:spcBef>
                <a:spcPts val="0"/>
              </a:spcBef>
              <a:spcAft>
                <a:spcPts val="0"/>
              </a:spcAft>
              <a:buFontTx/>
              <a:buNone/>
              <a:defRPr sz="700" spc="0" baseline="0"/>
            </a:lvl1pPr>
          </a:lstStyle>
          <a:p>
            <a:pPr lvl="0"/>
            <a:r>
              <a:rPr lang="en-US"/>
              <a:t>Lähde tähän</a:t>
            </a:r>
          </a:p>
        </p:txBody>
      </p:sp>
      <p:sp>
        <p:nvSpPr>
          <p:cNvPr id="9" name="Tekstin paikkamerkki 28"/>
          <p:cNvSpPr>
            <a:spLocks noGrp="1"/>
          </p:cNvSpPr>
          <p:nvPr>
            <p:ph type="body" sz="quarter" idx="21" hasCustomPrompt="1"/>
          </p:nvPr>
        </p:nvSpPr>
        <p:spPr>
          <a:xfrm>
            <a:off x="1072799" y="1102950"/>
            <a:ext cx="6868801" cy="479453"/>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1"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rtl="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yläviitteenä</a:t>
            </a:r>
          </a:p>
        </p:txBody>
      </p:sp>
      <p:sp>
        <p:nvSpPr>
          <p:cNvPr id="13" name="Sisällön paikkamerkki 4"/>
          <p:cNvSpPr>
            <a:spLocks noGrp="1"/>
          </p:cNvSpPr>
          <p:nvPr>
            <p:ph sz="quarter" idx="23" hasCustomPrompt="1"/>
          </p:nvPr>
        </p:nvSpPr>
        <p:spPr>
          <a:xfrm>
            <a:off x="4572001" y="1584200"/>
            <a:ext cx="3369600" cy="2892550"/>
          </a:xfrm>
        </p:spPr>
        <p:txBody>
          <a:bodyPr/>
          <a:lstStyle>
            <a:lvl1pPr marL="0" indent="0" rtl="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en-US"/>
              <a:t>Lisää objekti</a:t>
            </a:r>
          </a:p>
        </p:txBody>
      </p:sp>
      <p:sp>
        <p:nvSpPr>
          <p:cNvPr id="12" name="Tekstin paikkamerkki 2"/>
          <p:cNvSpPr>
            <a:spLocks noGrp="1"/>
          </p:cNvSpPr>
          <p:nvPr>
            <p:ph idx="19" hasCustomPrompt="1"/>
          </p:nvPr>
        </p:nvSpPr>
        <p:spPr>
          <a:xfrm>
            <a:off x="1072800" y="1582404"/>
            <a:ext cx="3499200" cy="2894345"/>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lnSpc>
                <a:spcPts val="1800"/>
              </a:lnSpc>
              <a:spcBef>
                <a:spcPts val="200"/>
              </a:spcBef>
              <a:spcAft>
                <a:spcPts val="200"/>
              </a:spcAft>
              <a:buSzPct val="125000"/>
              <a:defRPr sz="1300" baseline="0">
                <a:solidFill>
                  <a:srgbClr val="000000"/>
                </a:solidFill>
              </a:defRPr>
            </a:lvl2pPr>
            <a:lvl3pPr indent="-158400" rtl="0">
              <a:lnSpc>
                <a:spcPts val="1800"/>
              </a:lnSpc>
              <a:spcBef>
                <a:spcPts val="200"/>
              </a:spcBef>
              <a:spcAft>
                <a:spcPts val="200"/>
              </a:spcAft>
              <a:buSzPct val="125000"/>
              <a:defRPr sz="1050">
                <a:solidFill>
                  <a:srgbClr val="000000"/>
                </a:solidFill>
              </a:defRPr>
            </a:lvl3pPr>
            <a:lvl4pPr indent="-158400" rtl="0">
              <a:lnSpc>
                <a:spcPts val="1800"/>
              </a:lnSpc>
              <a:spcBef>
                <a:spcPts val="200"/>
              </a:spcBef>
              <a:spcAft>
                <a:spcPts val="200"/>
              </a:spcAft>
              <a:buSzPct val="125000"/>
              <a:defRPr sz="105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Tree>
    <p:extLst>
      <p:ext uri="{BB962C8B-B14F-4D97-AF65-F5344CB8AC3E}">
        <p14:creationId xmlns:p14="http://schemas.microsoft.com/office/powerpoint/2010/main" val="2687386369"/>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isältödia isoille taulukoille">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BA5ECB8C-4919-C13D-3D31-E4C73062DDCF}"/>
              </a:ext>
            </a:extLst>
          </p:cNvPr>
          <p:cNvGraphicFramePr>
            <a:graphicFrameLocks noChangeAspect="1"/>
          </p:cNvGraphicFramePr>
          <p:nvPr userDrawn="1">
            <p:custDataLst>
              <p:tags r:id="rId1"/>
            </p:custDataLst>
            <p:extLst>
              <p:ext uri="{D42A27DB-BD31-4B8C-83A1-F6EECF244321}">
                <p14:modId xmlns:p14="http://schemas.microsoft.com/office/powerpoint/2010/main" val="3543146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BA5ECB8C-4919-C13D-3D31-E4C73062DD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0" name="Tekstin paikkamerkki 28"/>
          <p:cNvSpPr>
            <a:spLocks noGrp="1"/>
          </p:cNvSpPr>
          <p:nvPr>
            <p:ph type="body" sz="quarter" idx="15" hasCustomPrompt="1"/>
          </p:nvPr>
        </p:nvSpPr>
        <p:spPr>
          <a:xfrm>
            <a:off x="252000" y="282149"/>
            <a:ext cx="7992000" cy="821163"/>
          </a:xfrm>
          <a:prstGeom prst="rect">
            <a:avLst/>
          </a:prstGeom>
        </p:spPr>
        <p:txBody>
          <a:bodyPr/>
          <a:lstStyle>
            <a:lvl1pPr marL="14400" indent="0" rtl="0">
              <a:lnSpc>
                <a:spcPts val="2700"/>
              </a:lnSpc>
              <a:spcAft>
                <a:spcPts val="0"/>
              </a:spcAft>
              <a:buFontTx/>
              <a:buNone/>
              <a:defRPr sz="2200" b="1">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pic>
        <p:nvPicPr>
          <p:cNvPr id="10" name="Kuva 9"/>
          <p:cNvPicPr>
            <a:picLocks noChangeAspect="1"/>
          </p:cNvPicPr>
          <p:nvPr userDrawn="1"/>
        </p:nvPicPr>
        <p:blipFill>
          <a:blip r:embed="rId5"/>
          <a:stretch>
            <a:fillRect/>
          </a:stretch>
        </p:blipFill>
        <p:spPr>
          <a:xfrm>
            <a:off x="8335624" y="368923"/>
            <a:ext cx="437056" cy="437032"/>
          </a:xfrm>
          <a:prstGeom prst="rect">
            <a:avLst/>
          </a:prstGeom>
        </p:spPr>
      </p:pic>
      <p:sp>
        <p:nvSpPr>
          <p:cNvPr id="17"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18" name="Päivämäärän paikkamerkki 1"/>
          <p:cNvSpPr>
            <a:spLocks noGrp="1"/>
          </p:cNvSpPr>
          <p:nvPr>
            <p:ph type="dt" sz="half" idx="10"/>
          </p:nvPr>
        </p:nvSpPr>
        <p:spPr>
          <a:xfrm>
            <a:off x="282027" y="4728047"/>
            <a:ext cx="916709" cy="164690"/>
          </a:xfrm>
        </p:spPr>
        <p:txBody>
          <a:bodyPr/>
          <a:lstStyle>
            <a:lvl1pPr rtl="0">
              <a:defRPr/>
            </a:lvl1pPr>
          </a:lstStyle>
          <a:p>
            <a:fld id="{CBE7DC44-C376-4F45-AAD9-CF0021B2BA36}" type="datetime1">
              <a:rPr lang="en-US" smtClean="0"/>
              <a:pPr/>
              <a:t>4/9/2024</a:t>
            </a:fld>
            <a:endParaRPr lang="en-US"/>
          </a:p>
        </p:txBody>
      </p:sp>
      <p:sp>
        <p:nvSpPr>
          <p:cNvPr id="19" name="Alatunnisteen paikkamerkki 2"/>
          <p:cNvSpPr>
            <a:spLocks noGrp="1"/>
          </p:cNvSpPr>
          <p:nvPr>
            <p:ph type="ftr" sz="quarter" idx="11"/>
          </p:nvPr>
        </p:nvSpPr>
        <p:spPr>
          <a:xfrm>
            <a:off x="1111510" y="4728047"/>
            <a:ext cx="1775664" cy="164690"/>
          </a:xfrm>
        </p:spPr>
        <p:txBody>
          <a:bodyPr/>
          <a:lstStyle>
            <a:lvl1pPr rtl="0">
              <a:defRPr/>
            </a:lvl1pPr>
          </a:lstStyle>
          <a:p>
            <a:r>
              <a:rPr lang="en-US"/>
              <a:t>Technology Industries of Finland</a:t>
            </a:r>
          </a:p>
        </p:txBody>
      </p:sp>
      <p:sp>
        <p:nvSpPr>
          <p:cNvPr id="5" name="Sisällön paikkamerkki 4"/>
          <p:cNvSpPr>
            <a:spLocks noGrp="1"/>
          </p:cNvSpPr>
          <p:nvPr>
            <p:ph sz="quarter" idx="17" hasCustomPrompt="1"/>
          </p:nvPr>
        </p:nvSpPr>
        <p:spPr>
          <a:xfrm>
            <a:off x="381000" y="1103313"/>
            <a:ext cx="8391525" cy="3541712"/>
          </a:xfrm>
        </p:spPr>
        <p:txBody>
          <a:bodyPr/>
          <a:lstStyle>
            <a:lvl1pPr marL="0" indent="0" rtl="0">
              <a:buFontTx/>
              <a:buNone/>
              <a:defRPr/>
            </a:lvl1pPr>
            <a:lvl2pPr marL="471332" indent="0">
              <a:lnSpc>
                <a:spcPts val="1800"/>
              </a:lnSpc>
              <a:spcBef>
                <a:spcPts val="200"/>
              </a:spcBef>
              <a:spcAft>
                <a:spcPts val="200"/>
              </a:spcAft>
              <a:buFontTx/>
              <a:buNone/>
              <a:defRPr/>
            </a:lvl2pPr>
            <a:lvl3pPr marL="786191" indent="0">
              <a:lnSpc>
                <a:spcPts val="1800"/>
              </a:lnSpc>
              <a:spcBef>
                <a:spcPts val="200"/>
              </a:spcBef>
              <a:spcAft>
                <a:spcPts val="200"/>
              </a:spcAft>
              <a:buFontTx/>
              <a:buNone/>
              <a:defRPr/>
            </a:lvl3pPr>
            <a:lvl4pPr marL="1109451" indent="0">
              <a:lnSpc>
                <a:spcPts val="1800"/>
              </a:lnSpc>
              <a:spcBef>
                <a:spcPts val="200"/>
              </a:spcBef>
              <a:spcAft>
                <a:spcPts val="200"/>
              </a:spcAft>
              <a:buFontTx/>
              <a:buNone/>
              <a:defRPr/>
            </a:lvl4pPr>
          </a:lstStyle>
          <a:p>
            <a:pPr lvl="0"/>
            <a:r>
              <a:rPr lang="en-US"/>
              <a:t>Muokkaa tekstin perustyylejä napsauttamalla</a:t>
            </a:r>
          </a:p>
        </p:txBody>
      </p:sp>
      <p:sp>
        <p:nvSpPr>
          <p:cNvPr id="16" name="Tekstin paikkamerkki 2"/>
          <p:cNvSpPr>
            <a:spLocks noGrp="1"/>
          </p:cNvSpPr>
          <p:nvPr>
            <p:ph type="body" sz="quarter" idx="18" hasCustomPrompt="1"/>
          </p:nvPr>
        </p:nvSpPr>
        <p:spPr>
          <a:xfrm>
            <a:off x="3047977" y="4727574"/>
            <a:ext cx="2971717" cy="165163"/>
          </a:xfrm>
        </p:spPr>
        <p:txBody>
          <a:bodyPr>
            <a:noAutofit/>
          </a:bodyPr>
          <a:lstStyle>
            <a:lvl1pPr marL="0" indent="0" rtl="0">
              <a:lnSpc>
                <a:spcPct val="100000"/>
              </a:lnSpc>
              <a:spcBef>
                <a:spcPts val="0"/>
              </a:spcBef>
              <a:spcAft>
                <a:spcPts val="0"/>
              </a:spcAft>
              <a:buFontTx/>
              <a:buNone/>
              <a:defRPr sz="700" spc="0" baseline="0"/>
            </a:lvl1pPr>
          </a:lstStyle>
          <a:p>
            <a:pPr lvl="0"/>
            <a:r>
              <a:rPr lang="en-US"/>
              <a:t>Lähde tähän</a:t>
            </a:r>
          </a:p>
        </p:txBody>
      </p:sp>
    </p:spTree>
    <p:extLst>
      <p:ext uri="{BB962C8B-B14F-4D97-AF65-F5344CB8AC3E}">
        <p14:creationId xmlns:p14="http://schemas.microsoft.com/office/powerpoint/2010/main" val="1067460176"/>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yhjä dia">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496CC16-0E53-30A2-FC58-7E18A17F482A}"/>
              </a:ext>
            </a:extLst>
          </p:cNvPr>
          <p:cNvGraphicFramePr>
            <a:graphicFrameLocks noChangeAspect="1"/>
          </p:cNvGraphicFramePr>
          <p:nvPr userDrawn="1">
            <p:custDataLst>
              <p:tags r:id="rId1"/>
            </p:custDataLst>
            <p:extLst>
              <p:ext uri="{D42A27DB-BD31-4B8C-83A1-F6EECF244321}">
                <p14:modId xmlns:p14="http://schemas.microsoft.com/office/powerpoint/2010/main" val="1449687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6" name="think-cell data - do not delete" hidden="1">
                        <a:extLst>
                          <a:ext uri="{FF2B5EF4-FFF2-40B4-BE49-F238E27FC236}">
                            <a16:creationId xmlns:a16="http://schemas.microsoft.com/office/drawing/2014/main" id="{6496CC16-0E53-30A2-FC58-7E18A17F48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 name="Kuva 1"/>
          <p:cNvPicPr>
            <a:picLocks noChangeAspect="1"/>
          </p:cNvPicPr>
          <p:nvPr userDrawn="1"/>
        </p:nvPicPr>
        <p:blipFill>
          <a:blip r:embed="rId5"/>
          <a:stretch>
            <a:fillRect/>
          </a:stretch>
        </p:blipFill>
        <p:spPr>
          <a:xfrm>
            <a:off x="8335624" y="368923"/>
            <a:ext cx="437056" cy="437032"/>
          </a:xfrm>
          <a:prstGeom prst="rect">
            <a:avLst/>
          </a:prstGeom>
        </p:spPr>
      </p:pic>
      <p:sp>
        <p:nvSpPr>
          <p:cNvPr id="3"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4" name="Päivämäärän paikkamerkki 1"/>
          <p:cNvSpPr>
            <a:spLocks noGrp="1"/>
          </p:cNvSpPr>
          <p:nvPr>
            <p:ph type="dt" sz="half" idx="10"/>
          </p:nvPr>
        </p:nvSpPr>
        <p:spPr>
          <a:xfrm>
            <a:off x="282027" y="4728047"/>
            <a:ext cx="916709" cy="164690"/>
          </a:xfrm>
        </p:spPr>
        <p:txBody>
          <a:bodyPr/>
          <a:lstStyle>
            <a:lvl1pPr rtl="0">
              <a:defRPr/>
            </a:lvl1pPr>
          </a:lstStyle>
          <a:p>
            <a:fld id="{5ADDE7DF-11E5-41DD-A98E-E4FDFA50E2CA}" type="datetime1">
              <a:rPr lang="en-US" smtClean="0"/>
              <a:pPr/>
              <a:t>4/9/2024</a:t>
            </a:fld>
            <a:endParaRPr lang="en-US"/>
          </a:p>
        </p:txBody>
      </p:sp>
      <p:sp>
        <p:nvSpPr>
          <p:cNvPr id="5" name="Alatunnisteen paikkamerkki 2"/>
          <p:cNvSpPr>
            <a:spLocks noGrp="1"/>
          </p:cNvSpPr>
          <p:nvPr>
            <p:ph type="ftr" sz="quarter" idx="11"/>
          </p:nvPr>
        </p:nvSpPr>
        <p:spPr>
          <a:xfrm>
            <a:off x="1111510" y="4728047"/>
            <a:ext cx="2034868" cy="164690"/>
          </a:xfrm>
        </p:spPr>
        <p:txBody>
          <a:bodyPr/>
          <a:lstStyle>
            <a:lvl1pPr rtl="0">
              <a:defRPr/>
            </a:lvl1pPr>
          </a:lstStyle>
          <a:p>
            <a:r>
              <a:rPr lang="en-US"/>
              <a:t>Technology Industries of Finland</a:t>
            </a:r>
          </a:p>
        </p:txBody>
      </p:sp>
    </p:spTree>
    <p:extLst>
      <p:ext uri="{BB962C8B-B14F-4D97-AF65-F5344CB8AC3E}">
        <p14:creationId xmlns:p14="http://schemas.microsoft.com/office/powerpoint/2010/main" val="3583285883"/>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Väliotsikkodia - valkoinen">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EC3026F-8D8B-0622-606C-FA3B1E6B9FAB}"/>
              </a:ext>
            </a:extLst>
          </p:cNvPr>
          <p:cNvGraphicFramePr>
            <a:graphicFrameLocks noChangeAspect="1"/>
          </p:cNvGraphicFramePr>
          <p:nvPr userDrawn="1">
            <p:custDataLst>
              <p:tags r:id="rId1"/>
            </p:custDataLst>
            <p:extLst>
              <p:ext uri="{D42A27DB-BD31-4B8C-83A1-F6EECF244321}">
                <p14:modId xmlns:p14="http://schemas.microsoft.com/office/powerpoint/2010/main" val="2842954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2EC3026F-8D8B-0622-606C-FA3B1E6B9FA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Kuva 9"/>
          <p:cNvPicPr>
            <a:picLocks noChangeAspect="1"/>
          </p:cNvPicPr>
          <p:nvPr userDrawn="1"/>
        </p:nvPicPr>
        <p:blipFill>
          <a:blip r:embed="rId5"/>
          <a:stretch>
            <a:fillRect/>
          </a:stretch>
        </p:blipFill>
        <p:spPr>
          <a:xfrm>
            <a:off x="8335624" y="368923"/>
            <a:ext cx="437056" cy="437032"/>
          </a:xfrm>
          <a:prstGeom prst="rect">
            <a:avLst/>
          </a:prstGeom>
        </p:spPr>
      </p:pic>
      <p:sp>
        <p:nvSpPr>
          <p:cNvPr id="14" name="Dian numeron paikkamerkki 3"/>
          <p:cNvSpPr>
            <a:spLocks noGrp="1"/>
          </p:cNvSpPr>
          <p:nvPr>
            <p:ph type="sldNum" sz="quarter" idx="12"/>
          </p:nvPr>
        </p:nvSpPr>
        <p:spPr>
          <a:xfrm>
            <a:off x="8005977" y="4729407"/>
            <a:ext cx="863990" cy="165406"/>
          </a:xfrm>
          <a:prstGeom prst="rect">
            <a:avLst/>
          </a:prstGeom>
        </p:spPr>
        <p:txBody>
          <a:bodyPr/>
          <a:lstStyle>
            <a:lvl1pPr rtl="0">
              <a:defRPr sz="700"/>
            </a:lvl1pPr>
          </a:lstStyle>
          <a:p>
            <a:fld id="{6FCB6B90-8271-4E8F-82C1-E646FBB48A2E}" type="slidenum">
              <a:rPr lang="en-US" smtClean="0"/>
              <a:pPr/>
              <a:t>‹#›</a:t>
            </a:fld>
            <a:endParaRPr lang="en-US"/>
          </a:p>
        </p:txBody>
      </p:sp>
      <p:sp>
        <p:nvSpPr>
          <p:cNvPr id="15" name="Päivämäärän paikkamerkki 1"/>
          <p:cNvSpPr>
            <a:spLocks noGrp="1"/>
          </p:cNvSpPr>
          <p:nvPr>
            <p:ph type="dt" sz="half" idx="10"/>
          </p:nvPr>
        </p:nvSpPr>
        <p:spPr>
          <a:xfrm>
            <a:off x="282027" y="4728047"/>
            <a:ext cx="916709" cy="164690"/>
          </a:xfrm>
        </p:spPr>
        <p:txBody>
          <a:bodyPr/>
          <a:lstStyle>
            <a:lvl1pPr rtl="0">
              <a:defRPr/>
            </a:lvl1pPr>
          </a:lstStyle>
          <a:p>
            <a:fld id="{EE15E6F7-FA86-41FD-A9AD-AFA2377AF82F}" type="datetime1">
              <a:rPr lang="en-US" smtClean="0"/>
              <a:pPr/>
              <a:t>4/9/2024</a:t>
            </a:fld>
            <a:endParaRPr lang="en-US"/>
          </a:p>
        </p:txBody>
      </p:sp>
      <p:sp>
        <p:nvSpPr>
          <p:cNvPr id="17" name="Alatunnisteen paikkamerkki 2"/>
          <p:cNvSpPr>
            <a:spLocks noGrp="1"/>
          </p:cNvSpPr>
          <p:nvPr>
            <p:ph type="ftr" sz="quarter" idx="11"/>
          </p:nvPr>
        </p:nvSpPr>
        <p:spPr>
          <a:xfrm>
            <a:off x="1111510" y="4728047"/>
            <a:ext cx="2034868" cy="164690"/>
          </a:xfrm>
        </p:spPr>
        <p:txBody>
          <a:bodyPr/>
          <a:lstStyle>
            <a:lvl1pPr rtl="0">
              <a:defRPr/>
            </a:lvl1pPr>
          </a:lstStyle>
          <a:p>
            <a:r>
              <a:rPr lang="en-US"/>
              <a:t>Technology Industries of Finland</a:t>
            </a:r>
          </a:p>
        </p:txBody>
      </p:sp>
      <p:sp>
        <p:nvSpPr>
          <p:cNvPr id="11" name="Tekstin paikkamerkki 28"/>
          <p:cNvSpPr>
            <a:spLocks noGrp="1"/>
          </p:cNvSpPr>
          <p:nvPr>
            <p:ph type="body" sz="quarter" idx="22" hasCustomPrompt="1"/>
          </p:nvPr>
        </p:nvSpPr>
        <p:spPr>
          <a:xfrm>
            <a:off x="1072800" y="1913747"/>
            <a:ext cx="7171200" cy="1176411"/>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Tree>
    <p:extLst>
      <p:ext uri="{BB962C8B-B14F-4D97-AF65-F5344CB8AC3E}">
        <p14:creationId xmlns:p14="http://schemas.microsoft.com/office/powerpoint/2010/main" val="2207341520"/>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valkoinen">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7A52914D-D207-595C-B324-A95498F4E53A}"/>
              </a:ext>
            </a:extLst>
          </p:cNvPr>
          <p:cNvGraphicFramePr>
            <a:graphicFrameLocks noChangeAspect="1"/>
          </p:cNvGraphicFramePr>
          <p:nvPr userDrawn="1">
            <p:custDataLst>
              <p:tags r:id="rId1"/>
            </p:custDataLst>
            <p:extLst>
              <p:ext uri="{D42A27DB-BD31-4B8C-83A1-F6EECF244321}">
                <p14:modId xmlns:p14="http://schemas.microsoft.com/office/powerpoint/2010/main" val="22717093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7A52914D-D207-595C-B324-A95498F4E53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rgbClr val="000000"/>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rgbClr val="000000"/>
                </a:solidFill>
              </a:defRPr>
            </a:lvl1pPr>
          </a:lstStyle>
          <a:p>
            <a:fld id="{D5984966-0882-4C80-8501-F671FCC519FE}"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rgbClr val="000000"/>
                </a:solidFill>
              </a:defRPr>
            </a:lvl1pPr>
          </a:lstStyle>
          <a:p>
            <a:r>
              <a:rPr lang="en-US"/>
              <a:t>Technology Industries of Finland</a:t>
            </a:r>
          </a:p>
        </p:txBody>
      </p:sp>
      <p:sp>
        <p:nvSpPr>
          <p:cNvPr id="7" name="Tekstin paikkamerkki 2"/>
          <p:cNvSpPr>
            <a:spLocks noGrp="1"/>
          </p:cNvSpPr>
          <p:nvPr>
            <p:ph idx="21" hasCustomPrompt="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rgbClr val="000000"/>
                </a:solidFill>
              </a:defRPr>
            </a:lvl1pPr>
            <a:lvl2pPr indent="-158400" rtl="0">
              <a:buSzPct val="125000"/>
              <a:defRPr sz="1300" baseline="0">
                <a:solidFill>
                  <a:srgbClr val="000000"/>
                </a:solidFill>
              </a:defRPr>
            </a:lvl2pPr>
            <a:lvl3pPr indent="-158400" rtl="0">
              <a:buSzPct val="125000"/>
              <a:defRPr sz="1100">
                <a:solidFill>
                  <a:srgbClr val="000000"/>
                </a:solidFill>
              </a:defRPr>
            </a:lvl3pPr>
            <a:lvl4pPr indent="-158400" rtl="0">
              <a:buSzPct val="125000"/>
              <a:defRPr sz="1000">
                <a:solidFill>
                  <a:srgbClr val="000000"/>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6"/>
          </a:xfrm>
          <a:prstGeom prst="rect">
            <a:avLst/>
          </a:prstGeom>
        </p:spPr>
        <p:txBody>
          <a:bodyPr/>
          <a:lstStyle>
            <a:lvl1pPr marL="14400" indent="0" rtl="0">
              <a:lnSpc>
                <a:spcPts val="2700"/>
              </a:lnSpc>
              <a:spcAft>
                <a:spcPts val="0"/>
              </a:spcAft>
              <a:buFontTx/>
              <a:buNone/>
              <a:defRPr sz="2200" b="1" baseline="0">
                <a:solidFill>
                  <a:srgbClr val="000000"/>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102188674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Väliotsikkodia - turkoosi">
    <p:bg>
      <p:bgPr>
        <a:solidFill>
          <a:srgbClr val="0ACFC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2C1A753B-C458-DF53-F012-D2C499DB27ED}"/>
              </a:ext>
            </a:extLst>
          </p:cNvPr>
          <p:cNvGraphicFramePr>
            <a:graphicFrameLocks noChangeAspect="1"/>
          </p:cNvGraphicFramePr>
          <p:nvPr userDrawn="1">
            <p:custDataLst>
              <p:tags r:id="rId1"/>
            </p:custDataLst>
            <p:extLst>
              <p:ext uri="{D42A27DB-BD31-4B8C-83A1-F6EECF244321}">
                <p14:modId xmlns:p14="http://schemas.microsoft.com/office/powerpoint/2010/main" val="3754822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2C1A753B-C458-DF53-F012-D2C499DB27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9"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0"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2"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81E00E6F-8D33-4515-8E96-EC6D63C57588}" type="datetime1">
              <a:rPr lang="en-US" smtClean="0"/>
              <a:pPr/>
              <a:t>4/9/2024</a:t>
            </a:fld>
            <a:endParaRPr lang="en-US"/>
          </a:p>
        </p:txBody>
      </p:sp>
      <p:sp>
        <p:nvSpPr>
          <p:cNvPr id="14"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456958868"/>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_Tyhjä dia">
    <p:spTree>
      <p:nvGrpSpPr>
        <p:cNvPr id="1" name=""/>
        <p:cNvGrpSpPr/>
        <p:nvPr/>
      </p:nvGrpSpPr>
      <p:grpSpPr>
        <a:xfrm>
          <a:off x="0" y="0"/>
          <a:ext cx="0" cy="0"/>
          <a:chOff x="0" y="0"/>
          <a:chExt cx="0" cy="0"/>
        </a:xfrm>
      </p:grpSpPr>
      <p:pic>
        <p:nvPicPr>
          <p:cNvPr id="2" name="Kuva 1"/>
          <p:cNvPicPr>
            <a:picLocks noChangeAspect="1"/>
          </p:cNvPicPr>
          <p:nvPr userDrawn="1"/>
        </p:nvPicPr>
        <p:blipFill>
          <a:blip r:embed="rId2"/>
          <a:stretch>
            <a:fillRect/>
          </a:stretch>
        </p:blipFill>
        <p:spPr>
          <a:xfrm>
            <a:off x="8335624" y="368923"/>
            <a:ext cx="437056" cy="437032"/>
          </a:xfrm>
          <a:prstGeom prst="rect">
            <a:avLst/>
          </a:prstGeom>
        </p:spPr>
      </p:pic>
      <p:sp>
        <p:nvSpPr>
          <p:cNvPr id="3" name="Dian numeron paikkamerkki 3"/>
          <p:cNvSpPr>
            <a:spLocks noGrp="1"/>
          </p:cNvSpPr>
          <p:nvPr>
            <p:ph type="sldNum" sz="quarter" idx="12"/>
          </p:nvPr>
        </p:nvSpPr>
        <p:spPr>
          <a:xfrm>
            <a:off x="8005977" y="4729407"/>
            <a:ext cx="863990" cy="165406"/>
          </a:xfrm>
          <a:prstGeom prst="rect">
            <a:avLst/>
          </a:prstGeom>
        </p:spPr>
        <p:txBody>
          <a:bodyPr/>
          <a:lstStyle>
            <a:lvl1pPr>
              <a:defRPr sz="700"/>
            </a:lvl1pPr>
          </a:lstStyle>
          <a:p>
            <a:fld id="{6FCB6B90-8271-4E8F-82C1-E646FBB48A2E}" type="slidenum">
              <a:rPr lang="fi-FI" smtClean="0"/>
              <a:pPr/>
              <a:t>‹#›</a:t>
            </a:fld>
            <a:endParaRPr lang="fi-FI"/>
          </a:p>
        </p:txBody>
      </p:sp>
      <p:sp>
        <p:nvSpPr>
          <p:cNvPr id="4" name="Päivämäärän paikkamerkki 1"/>
          <p:cNvSpPr>
            <a:spLocks noGrp="1"/>
          </p:cNvSpPr>
          <p:nvPr>
            <p:ph type="dt" sz="half" idx="10"/>
          </p:nvPr>
        </p:nvSpPr>
        <p:spPr>
          <a:xfrm>
            <a:off x="282027" y="4728047"/>
            <a:ext cx="916709" cy="164690"/>
          </a:xfrm>
        </p:spPr>
        <p:txBody>
          <a:bodyPr/>
          <a:lstStyle/>
          <a:p>
            <a:fld id="{E70C97DB-DA9C-4CFA-B970-B8599B25F3E4}" type="datetime1">
              <a:rPr lang="fi-FI" smtClean="0"/>
              <a:t>9.4.2024</a:t>
            </a:fld>
            <a:endParaRPr lang="fi-FI"/>
          </a:p>
        </p:txBody>
      </p:sp>
      <p:sp>
        <p:nvSpPr>
          <p:cNvPr id="5" name="Alatunnisteen paikkamerkki 2"/>
          <p:cNvSpPr>
            <a:spLocks noGrp="1"/>
          </p:cNvSpPr>
          <p:nvPr>
            <p:ph type="ftr" sz="quarter" idx="11"/>
          </p:nvPr>
        </p:nvSpPr>
        <p:spPr>
          <a:xfrm>
            <a:off x="1111510" y="4728047"/>
            <a:ext cx="1295891" cy="164690"/>
          </a:xfrm>
        </p:spPr>
        <p:txBody>
          <a:bodyPr/>
          <a:lstStyle/>
          <a:p>
            <a:r>
              <a:rPr lang="fi-FI"/>
              <a:t>Teknologiateollisuus</a:t>
            </a:r>
          </a:p>
        </p:txBody>
      </p:sp>
      <p:sp>
        <p:nvSpPr>
          <p:cNvPr id="7" name="Tekstin paikkamerkki 3"/>
          <p:cNvSpPr>
            <a:spLocks noGrp="1"/>
          </p:cNvSpPr>
          <p:nvPr>
            <p:ph type="body" sz="quarter" idx="22" hasCustomPrompt="1"/>
          </p:nvPr>
        </p:nvSpPr>
        <p:spPr>
          <a:xfrm>
            <a:off x="252000" y="290513"/>
            <a:ext cx="4320000" cy="250837"/>
          </a:xfrm>
          <a:prstGeom prst="rect">
            <a:avLst/>
          </a:prstGeom>
        </p:spPr>
        <p:txBody>
          <a:bodyPr anchor="t"/>
          <a:lstStyle>
            <a:lvl1pPr marL="25200" indent="0">
              <a:lnSpc>
                <a:spcPct val="100000"/>
              </a:lnSpc>
              <a:spcBef>
                <a:spcPts val="0"/>
              </a:spcBef>
              <a:spcAft>
                <a:spcPts val="0"/>
              </a:spcAft>
              <a:buFontTx/>
              <a:buNone/>
              <a:defRPr sz="1000" b="0" kern="1200" spc="0" baseline="0">
                <a:solidFill>
                  <a:schemeClr val="tx1"/>
                </a:solidFill>
              </a:defRPr>
            </a:lvl1pPr>
            <a:lvl2pPr marL="314865" indent="0">
              <a:buFontTx/>
              <a:buNone/>
              <a:defRPr/>
            </a:lvl2pPr>
            <a:lvl3pPr marL="629724" indent="0">
              <a:buFontTx/>
              <a:buNone/>
              <a:defRPr/>
            </a:lvl3pPr>
            <a:lvl4pPr marL="944589" indent="0">
              <a:buFontTx/>
              <a:buNone/>
              <a:defRPr/>
            </a:lvl4pPr>
            <a:lvl5pPr marL="1267851" indent="0">
              <a:buFontTx/>
              <a:buNone/>
              <a:defRPr/>
            </a:lvl5pPr>
          </a:lstStyle>
          <a:p>
            <a:pPr lvl="0"/>
            <a:r>
              <a:rPr lang="en-US" err="1"/>
              <a:t>Väliotsikko</a:t>
            </a:r>
            <a:r>
              <a:rPr lang="en-US"/>
              <a:t> </a:t>
            </a:r>
            <a:r>
              <a:rPr lang="en-US" err="1"/>
              <a:t>yläviitteenä</a:t>
            </a:r>
            <a:endParaRPr lang="fi-FI"/>
          </a:p>
        </p:txBody>
      </p:sp>
    </p:spTree>
    <p:extLst>
      <p:ext uri="{BB962C8B-B14F-4D97-AF65-F5344CB8AC3E}">
        <p14:creationId xmlns:p14="http://schemas.microsoft.com/office/powerpoint/2010/main" val="41816683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921754982"/>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4" name="Object 3"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405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3959388"/>
            <a:ext cx="9144000" cy="11841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6353941" y="1479954"/>
            <a:ext cx="435430" cy="51435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9144000" cy="3957638"/>
          </a:xfrm>
          <a:prstGeom prst="rect">
            <a:avLst/>
          </a:prstGeom>
        </p:spPr>
      </p:pic>
      <p:sp>
        <p:nvSpPr>
          <p:cNvPr id="20" name="Picture Placeholder 8"/>
          <p:cNvSpPr>
            <a:spLocks noGrp="1"/>
          </p:cNvSpPr>
          <p:nvPr>
            <p:ph type="pic" sz="quarter" idx="13" hasCustomPrompt="1"/>
          </p:nvPr>
        </p:nvSpPr>
        <p:spPr>
          <a:xfrm>
            <a:off x="7024921" y="4177982"/>
            <a:ext cx="1400951" cy="672625"/>
          </a:xfrm>
          <a:prstGeom prst="rect">
            <a:avLst/>
          </a:prstGeom>
        </p:spPr>
        <p:txBody>
          <a:bodyPr anchor="b"/>
          <a:lstStyle>
            <a:lvl1pPr algn="ctr" rtl="0">
              <a:defRPr sz="12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473202" y="469650"/>
            <a:ext cx="6093900" cy="4147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15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38061" y="4655882"/>
            <a:ext cx="5151600" cy="245361"/>
          </a:xfrm>
          <a:prstGeom prst="rect">
            <a:avLst/>
          </a:prstGeom>
          <a:noFill/>
        </p:spPr>
        <p:txBody>
          <a:bodyPr anchor="ctr"/>
          <a:lstStyle>
            <a:lvl1pPr algn="l" rtl="0">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838061" y="4121780"/>
            <a:ext cx="5151600" cy="327146"/>
          </a:xfrm>
          <a:prstGeom prst="rect">
            <a:avLst/>
          </a:prstGeom>
        </p:spPr>
        <p:txBody>
          <a:bodyPr anchor="ctr"/>
          <a:lstStyle>
            <a:lvl1pPr marL="0" indent="0" algn="l" rtl="0">
              <a:lnSpc>
                <a:spcPct val="110000"/>
              </a:lnSpc>
              <a:buNone/>
              <a:defRPr sz="1200" baseline="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in sentence case</a:t>
            </a:r>
          </a:p>
        </p:txBody>
      </p:sp>
      <p:sp>
        <p:nvSpPr>
          <p:cNvPr id="27" name="Title 1"/>
          <p:cNvSpPr>
            <a:spLocks noGrp="1"/>
          </p:cNvSpPr>
          <p:nvPr>
            <p:ph type="ctrTitle" hasCustomPrompt="1"/>
          </p:nvPr>
        </p:nvSpPr>
        <p:spPr bwMode="ltGray">
          <a:xfrm>
            <a:off x="838061" y="1414682"/>
            <a:ext cx="5151600" cy="2353817"/>
          </a:xfrm>
          <a:prstGeom prst="rect">
            <a:avLst/>
          </a:prstGeom>
        </p:spPr>
        <p:txBody>
          <a:bodyPr vert="horz" anchor="b">
            <a:normAutofit/>
          </a:bodyPr>
          <a:lstStyle>
            <a:lvl1pPr algn="l" rtl="0">
              <a:lnSpc>
                <a:spcPct val="93000"/>
              </a:lnSpc>
              <a:defRPr sz="4050" baseline="0">
                <a:solidFill>
                  <a:schemeClr val="bg1"/>
                </a:solidFill>
                <a:latin typeface="+mj-lt"/>
                <a:sym typeface="Trebuchet MS" panose="020B0603020202020204" pitchFamily="34" charset="0"/>
              </a:defRPr>
            </a:lvl1pPr>
          </a:lstStyle>
          <a:p>
            <a:r>
              <a:rPr lang="en-US"/>
              <a:t>Title in Title Case</a:t>
            </a:r>
          </a:p>
        </p:txBody>
      </p:sp>
      <p:sp>
        <p:nvSpPr>
          <p:cNvPr id="33" name="Freeform 32"/>
          <p:cNvSpPr>
            <a:spLocks noChangeAspect="1"/>
          </p:cNvSpPr>
          <p:nvPr userDrawn="1">
            <p:custDataLst>
              <p:tags r:id="rId4"/>
            </p:custDataLst>
          </p:nvPr>
        </p:nvSpPr>
        <p:spPr bwMode="auto">
          <a:xfrm>
            <a:off x="838061" y="834510"/>
            <a:ext cx="1745733" cy="36485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pPr rtl="0"/>
            <a:endParaRPr lang="en-US" sz="1005"/>
          </a:p>
        </p:txBody>
      </p:sp>
    </p:spTree>
    <p:extLst>
      <p:ext uri="{BB962C8B-B14F-4D97-AF65-F5344CB8AC3E}">
        <p14:creationId xmlns:p14="http://schemas.microsoft.com/office/powerpoint/2010/main" val="4101619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990F055-3713-A291-FB57-97D45121E446}"/>
              </a:ext>
            </a:extLst>
          </p:cNvPr>
          <p:cNvGraphicFramePr>
            <a:graphicFrameLocks noChangeAspect="1"/>
          </p:cNvGraphicFramePr>
          <p:nvPr userDrawn="1">
            <p:custDataLst>
              <p:tags r:id="rId1"/>
            </p:custDataLst>
            <p:extLst>
              <p:ext uri="{D42A27DB-BD31-4B8C-83A1-F6EECF244321}">
                <p14:modId xmlns:p14="http://schemas.microsoft.com/office/powerpoint/2010/main" val="3365934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B990F055-3713-A291-FB57-97D45121E4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7258051" y="4803777"/>
            <a:ext cx="1111538" cy="115416"/>
          </a:xfrm>
          <a:prstGeom prst="rect">
            <a:avLst/>
          </a:prstGeom>
        </p:spPr>
        <p:txBody>
          <a:bodyPr/>
          <a:lstStyle>
            <a:lvl1pPr rtl="0">
              <a:defRPr>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5" name="Title 4"/>
          <p:cNvSpPr>
            <a:spLocks noGrp="1"/>
          </p:cNvSpPr>
          <p:nvPr>
            <p:ph type="title" hasCustomPrompt="1"/>
          </p:nvPr>
        </p:nvSpPr>
        <p:spPr>
          <a:xfrm>
            <a:off x="472500" y="467100"/>
            <a:ext cx="8199900" cy="353174"/>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892444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13D013B-60D5-1E23-0B60-F595884F3C5D}"/>
              </a:ext>
            </a:extLst>
          </p:cNvPr>
          <p:cNvGraphicFramePr>
            <a:graphicFrameLocks noChangeAspect="1"/>
          </p:cNvGraphicFramePr>
          <p:nvPr userDrawn="1">
            <p:custDataLst>
              <p:tags r:id="rId1"/>
            </p:custDataLst>
            <p:extLst>
              <p:ext uri="{D42A27DB-BD31-4B8C-83A1-F6EECF244321}">
                <p14:modId xmlns:p14="http://schemas.microsoft.com/office/powerpoint/2010/main" val="30248001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A13D013B-60D5-1E23-0B60-F595884F3C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472500" y="467100"/>
            <a:ext cx="8200013" cy="353174"/>
          </a:xfrm>
        </p:spPr>
        <p:txBody>
          <a:bodyPr vert="horz"/>
          <a:lstStyle>
            <a:lvl1pPr rtl="0">
              <a:defRPr sz="2550"/>
            </a:lvl1pPr>
          </a:lstStyle>
          <a:p>
            <a:r>
              <a:rPr lang="en-US"/>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hasCustomPrompt="1"/>
          </p:nvPr>
        </p:nvSpPr>
        <p:spPr>
          <a:xfrm>
            <a:off x="472050" y="1564222"/>
            <a:ext cx="8200351" cy="3066848"/>
          </a:xfrm>
        </p:spPr>
        <p:txBody>
          <a:bodyPr/>
          <a:lstStyle>
            <a:lvl1pPr rtl="0">
              <a:lnSpc>
                <a:spcPct val="100000"/>
              </a:lnSpc>
              <a:spcBef>
                <a:spcPts val="0"/>
              </a:spcBef>
              <a:spcAft>
                <a:spcPts val="0"/>
              </a:spcAft>
              <a:defRPr sz="1500"/>
            </a:lvl1pPr>
            <a:lvl2pPr rtl="0">
              <a:lnSpc>
                <a:spcPct val="100000"/>
              </a:lnSpc>
              <a:spcBef>
                <a:spcPts val="0"/>
              </a:spcBef>
              <a:spcAft>
                <a:spcPts val="0"/>
              </a:spcAft>
              <a:defRPr sz="1500"/>
            </a:lvl2pPr>
            <a:lvl3pPr rtl="0">
              <a:lnSpc>
                <a:spcPct val="100000"/>
              </a:lnSpc>
              <a:spcBef>
                <a:spcPts val="0"/>
              </a:spcBef>
              <a:spcAft>
                <a:spcPts val="0"/>
              </a:spcAft>
              <a:defRPr sz="1500"/>
            </a:lvl3pPr>
            <a:lvl4pPr rtl="0">
              <a:lnSpc>
                <a:spcPct val="100000"/>
              </a:lnSpc>
              <a:spcBef>
                <a:spcPts val="0"/>
              </a:spcBef>
              <a:spcAft>
                <a:spcPts val="0"/>
              </a:spcAft>
              <a:defRPr sz="2100"/>
            </a:lvl4pPr>
            <a:lvl5pPr rtl="0">
              <a:lnSpc>
                <a:spcPct val="100000"/>
              </a:lnSpc>
              <a:spcBef>
                <a:spcPts val="0"/>
              </a:spcBef>
              <a:spcAft>
                <a:spcPts val="0"/>
              </a:spcAft>
              <a:defRPr sz="21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336032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B05E4BB-7DD4-1BE6-3663-B3144D180D83}"/>
              </a:ext>
            </a:extLst>
          </p:cNvPr>
          <p:cNvGraphicFramePr>
            <a:graphicFrameLocks noChangeAspect="1"/>
          </p:cNvGraphicFramePr>
          <p:nvPr userDrawn="1">
            <p:custDataLst>
              <p:tags r:id="rId1"/>
            </p:custDataLst>
            <p:extLst>
              <p:ext uri="{D42A27DB-BD31-4B8C-83A1-F6EECF244321}">
                <p14:modId xmlns:p14="http://schemas.microsoft.com/office/powerpoint/2010/main" val="295786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FB05E4BB-7DD4-1BE6-3663-B3144D180D8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rtl="0">
              <a:lnSpc>
                <a:spcPct val="90000"/>
              </a:lnSpc>
              <a:spcAft>
                <a:spcPts val="750"/>
              </a:spcAft>
            </a:pPr>
            <a:endParaRPr lang="en-US" sz="900">
              <a:solidFill>
                <a:schemeClr val="bg1"/>
              </a:solidFill>
              <a:latin typeface="+mn-lt"/>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rtl="0">
              <a:defRPr>
                <a:latin typeface="+mn-lt"/>
                <a:sym typeface="Trebuchet MS" panose="020B0603020202020204" pitchFamily="34" charset="0"/>
              </a:defRPr>
            </a:lvl1pPr>
          </a:lstStyle>
          <a:p>
            <a:endParaRPr lang="en-US"/>
          </a:p>
        </p:txBody>
      </p:sp>
      <p:sp>
        <p:nvSpPr>
          <p:cNvPr id="9" name="Title 1"/>
          <p:cNvSpPr>
            <a:spLocks noGrp="1"/>
          </p:cNvSpPr>
          <p:nvPr>
            <p:ph type="title" hasCustomPrompt="1"/>
          </p:nvPr>
        </p:nvSpPr>
        <p:spPr bwMode="ltGray">
          <a:xfrm>
            <a:off x="472500" y="1158205"/>
            <a:ext cx="2589300" cy="1121846"/>
          </a:xfrm>
          <a:noFill/>
        </p:spPr>
        <p:txBody>
          <a:bodyPr vert="horz" wrap="square" lIns="0" tIns="0" rIns="320040" bIns="0" anchor="b">
            <a:noAutofit/>
          </a:bodyPr>
          <a:lstStyle>
            <a:lvl1pPr rtl="0">
              <a:defRPr sz="2400">
                <a:solidFill>
                  <a:schemeClr val="tx2"/>
                </a:solidFill>
                <a:latin typeface="+mj-lt"/>
              </a:defRPr>
            </a:lvl1pPr>
          </a:lstStyle>
          <a:p>
            <a:r>
              <a:rPr lang="en-US"/>
              <a:t>Click to add title</a:t>
            </a:r>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7528817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721B1584-9D73-C852-0562-DBFE3DC11747}"/>
              </a:ext>
            </a:extLst>
          </p:cNvPr>
          <p:cNvGraphicFramePr>
            <a:graphicFrameLocks noChangeAspect="1"/>
          </p:cNvGraphicFramePr>
          <p:nvPr userDrawn="1">
            <p:custDataLst>
              <p:tags r:id="rId1"/>
            </p:custDataLst>
            <p:extLst>
              <p:ext uri="{D42A27DB-BD31-4B8C-83A1-F6EECF244321}">
                <p14:modId xmlns:p14="http://schemas.microsoft.com/office/powerpoint/2010/main" val="3800536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6" name="think-cell data - do not delete" hidden="1">
                        <a:extLst>
                          <a:ext uri="{FF2B5EF4-FFF2-40B4-BE49-F238E27FC236}">
                            <a16:creationId xmlns:a16="http://schemas.microsoft.com/office/drawing/2014/main" id="{721B1584-9D73-C852-0562-DBFE3DC117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963557" y="2001031"/>
            <a:ext cx="7215368" cy="2400770"/>
          </a:xfrm>
          <a:prstGeom prst="rect">
            <a:avLst/>
          </a:prstGeom>
          <a:ln w="9525">
            <a:solidFill>
              <a:schemeClr val="bg1"/>
            </a:solidFill>
          </a:ln>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
        <p:nvSpPr>
          <p:cNvPr id="4" name="TextBox 3"/>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59" name="Rectangle 58"/>
          <p:cNvSpPr/>
          <p:nvPr userDrawn="1"/>
        </p:nvSpPr>
        <p:spPr bwMode="white">
          <a:xfrm>
            <a:off x="963557" y="1071098"/>
            <a:ext cx="710754" cy="710754"/>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9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41957604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F794A8-45E4-9D2F-9C6F-5BAF6566F77E}"/>
              </a:ext>
            </a:extLst>
          </p:cNvPr>
          <p:cNvGraphicFramePr>
            <a:graphicFrameLocks noChangeAspect="1"/>
          </p:cNvGraphicFramePr>
          <p:nvPr userDrawn="1">
            <p:custDataLst>
              <p:tags r:id="rId1"/>
            </p:custDataLst>
            <p:extLst>
              <p:ext uri="{D42A27DB-BD31-4B8C-83A1-F6EECF244321}">
                <p14:modId xmlns:p14="http://schemas.microsoft.com/office/powerpoint/2010/main" val="2163288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1FF794A8-45E4-9D2F-9C6F-5BAF6566F77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47" name="Title 1"/>
          <p:cNvSpPr>
            <a:spLocks noGrp="1"/>
          </p:cNvSpPr>
          <p:nvPr>
            <p:ph type="title" hasCustomPrompt="1"/>
          </p:nvPr>
        </p:nvSpPr>
        <p:spPr bwMode="blackWhite">
          <a:xfrm>
            <a:off x="472500" y="2870100"/>
            <a:ext cx="8202600" cy="1530900"/>
          </a:xfrm>
        </p:spPr>
        <p:txBody>
          <a:bodyPr vert="horz" anchor="t">
            <a:noAutofit/>
          </a:bodyPr>
          <a:lstStyle>
            <a:lvl1pPr rtl="0">
              <a:defRPr sz="4050">
                <a:solidFill>
                  <a:schemeClr val="bg1"/>
                </a:solidFill>
                <a:latin typeface="+mj-lt"/>
                <a:sym typeface="Trebuchet MS" panose="020B0603020202020204" pitchFamily="34" charset="0"/>
              </a:defRPr>
            </a:lvl1pPr>
          </a:lstStyle>
          <a:p>
            <a:r>
              <a:rPr lang="en-US"/>
              <a:t>Click to add big statement text</a:t>
            </a:r>
          </a:p>
        </p:txBody>
      </p:sp>
      <p:cxnSp>
        <p:nvCxnSpPr>
          <p:cNvPr id="148" name="Straight Connector 147"/>
          <p:cNvCxnSpPr/>
          <p:nvPr userDrawn="1"/>
        </p:nvCxnSpPr>
        <p:spPr bwMode="white">
          <a:xfrm>
            <a:off x="464174" y="2760012"/>
            <a:ext cx="8682228"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614464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64592BE-5D24-C6E3-22F2-963FE4F8CB6D}"/>
              </a:ext>
            </a:extLst>
          </p:cNvPr>
          <p:cNvGraphicFramePr>
            <a:graphicFrameLocks noChangeAspect="1"/>
          </p:cNvGraphicFramePr>
          <p:nvPr userDrawn="1">
            <p:custDataLst>
              <p:tags r:id="rId1"/>
            </p:custDataLst>
            <p:extLst>
              <p:ext uri="{D42A27DB-BD31-4B8C-83A1-F6EECF244321}">
                <p14:modId xmlns:p14="http://schemas.microsoft.com/office/powerpoint/2010/main" val="15551917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A64592BE-5D24-C6E3-22F2-963FE4F8CB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7" name="Date Placeholder 1"/>
          <p:cNvSpPr>
            <a:spLocks noGrp="1"/>
          </p:cNvSpPr>
          <p:nvPr>
            <p:ph type="dt" sz="half" idx="31"/>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2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3059631"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24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0105343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6A1C22A-E1F8-7D50-C642-09DB3F713A5D}"/>
              </a:ext>
            </a:extLst>
          </p:cNvPr>
          <p:cNvGraphicFramePr>
            <a:graphicFrameLocks noChangeAspect="1"/>
          </p:cNvGraphicFramePr>
          <p:nvPr userDrawn="1">
            <p:custDataLst>
              <p:tags r:id="rId1"/>
            </p:custDataLst>
            <p:extLst>
              <p:ext uri="{D42A27DB-BD31-4B8C-83A1-F6EECF244321}">
                <p14:modId xmlns:p14="http://schemas.microsoft.com/office/powerpoint/2010/main" val="41089650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66A1C22A-E1F8-7D50-C642-09DB3F713A5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3" name="Rectangle 12"/>
          <p:cNvSpPr/>
          <p:nvPr userDrawn="1"/>
        </p:nvSpPr>
        <p:spPr bwMode="white">
          <a:xfrm>
            <a:off x="0" y="0"/>
            <a:ext cx="5378967"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2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7" name="TextBox 16"/>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spTree>
    <p:extLst>
      <p:ext uri="{BB962C8B-B14F-4D97-AF65-F5344CB8AC3E}">
        <p14:creationId xmlns:p14="http://schemas.microsoft.com/office/powerpoint/2010/main" val="15475842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E6D64AE-D1C1-08B4-8736-B527EDB22B0E}"/>
              </a:ext>
            </a:extLst>
          </p:cNvPr>
          <p:cNvGraphicFramePr>
            <a:graphicFrameLocks noChangeAspect="1"/>
          </p:cNvGraphicFramePr>
          <p:nvPr userDrawn="1">
            <p:custDataLst>
              <p:tags r:id="rId1"/>
            </p:custDataLst>
            <p:extLst>
              <p:ext uri="{D42A27DB-BD31-4B8C-83A1-F6EECF244321}">
                <p14:modId xmlns:p14="http://schemas.microsoft.com/office/powerpoint/2010/main" val="31843707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0E6D64AE-D1C1-08B4-8736-B527EDB22B0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1"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2400">
                <a:solidFill>
                  <a:schemeClr val="bg1"/>
                </a:solidFill>
                <a:latin typeface="+mj-lt"/>
                <a:sym typeface="Trebuchet MS" panose="020B0603020202020204" pitchFamily="34" charset="0"/>
              </a:defRPr>
            </a:lvl1pPr>
          </a:lstStyle>
          <a:p>
            <a:r>
              <a:rPr lang="en-US"/>
              <a:t>Click to add title</a:t>
            </a:r>
          </a:p>
        </p:txBody>
      </p:sp>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12" name="Date Placeholder 1"/>
          <p:cNvSpPr>
            <a:spLocks noGrp="1"/>
          </p:cNvSpPr>
          <p:nvPr>
            <p:ph type="dt" sz="half" idx="29"/>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829309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turkoosi">
    <p:bg>
      <p:bgPr>
        <a:solidFill>
          <a:srgbClr val="0ACFCF"/>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ED8632DD-5B2A-8723-F4EB-AC689A9D77EB}"/>
              </a:ext>
            </a:extLst>
          </p:cNvPr>
          <p:cNvGraphicFramePr>
            <a:graphicFrameLocks noChangeAspect="1"/>
          </p:cNvGraphicFramePr>
          <p:nvPr userDrawn="1">
            <p:custDataLst>
              <p:tags r:id="rId1"/>
            </p:custDataLst>
            <p:extLst>
              <p:ext uri="{D42A27DB-BD31-4B8C-83A1-F6EECF244321}">
                <p14:modId xmlns:p14="http://schemas.microsoft.com/office/powerpoint/2010/main" val="2513127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ED8632DD-5B2A-8723-F4EB-AC689A9D77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7A056C22-45A8-47B5-A6D7-BB7CD2C4EB10}"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7" name="Tekstin paikkamerkki 2"/>
          <p:cNvSpPr>
            <a:spLocks noGrp="1"/>
          </p:cNvSpPr>
          <p:nvPr>
            <p:ph idx="21" hasCustomPrompt="1"/>
          </p:nvPr>
        </p:nvSpPr>
        <p:spPr>
          <a:xfrm>
            <a:off x="1072800" y="1583052"/>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0102"/>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200552848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EA54409-9CAF-C6FC-E2BE-131167307960}"/>
              </a:ext>
            </a:extLst>
          </p:cNvPr>
          <p:cNvGraphicFramePr>
            <a:graphicFrameLocks noChangeAspect="1"/>
          </p:cNvGraphicFramePr>
          <p:nvPr userDrawn="1">
            <p:custDataLst>
              <p:tags r:id="rId1"/>
            </p:custDataLst>
            <p:extLst>
              <p:ext uri="{D42A27DB-BD31-4B8C-83A1-F6EECF244321}">
                <p14:modId xmlns:p14="http://schemas.microsoft.com/office/powerpoint/2010/main" val="10967942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3EA54409-9CAF-C6FC-E2BE-13116730796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2" name="Rectangle 11"/>
          <p:cNvSpPr/>
          <p:nvPr userDrawn="1"/>
        </p:nvSpPr>
        <p:spPr>
          <a:xfrm>
            <a:off x="4572000" y="0"/>
            <a:ext cx="4572000" cy="51435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rtl="0">
              <a:defRPr sz="135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4" name="Title 1"/>
          <p:cNvSpPr>
            <a:spLocks noGrp="1"/>
          </p:cNvSpPr>
          <p:nvPr>
            <p:ph type="title" hasCustomPrompt="1"/>
          </p:nvPr>
        </p:nvSpPr>
        <p:spPr bwMode="black">
          <a:xfrm>
            <a:off x="472500" y="1339200"/>
            <a:ext cx="3291300" cy="2465100"/>
          </a:xfrm>
          <a:prstGeom prst="rect">
            <a:avLst/>
          </a:prstGeom>
          <a:noFill/>
        </p:spPr>
        <p:txBody>
          <a:bodyPr vert="horz" wrap="square" lIns="0" tIns="0" rIns="320040" bIns="0" anchor="ctr">
            <a:noAutofit/>
          </a:bodyPr>
          <a:lstStyle>
            <a:lvl1pPr rtl="0">
              <a:defRPr sz="3300">
                <a:solidFill>
                  <a:schemeClr val="bg1"/>
                </a:solidFill>
                <a:latin typeface="+mj-lt"/>
                <a:sym typeface="Trebuchet MS" panose="020B0603020202020204" pitchFamily="34" charset="0"/>
              </a:defRPr>
            </a:lvl1pPr>
          </a:lstStyle>
          <a:p>
            <a:r>
              <a:rPr lang="en-US"/>
              <a:t>Click to add title</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2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3897946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A07C1B-F4E4-B49A-E189-ED86B92A725B}"/>
              </a:ext>
            </a:extLst>
          </p:cNvPr>
          <p:cNvGraphicFramePr>
            <a:graphicFrameLocks noChangeAspect="1"/>
          </p:cNvGraphicFramePr>
          <p:nvPr userDrawn="1">
            <p:custDataLst>
              <p:tags r:id="rId1"/>
            </p:custDataLst>
            <p:extLst>
              <p:ext uri="{D42A27DB-BD31-4B8C-83A1-F6EECF244321}">
                <p14:modId xmlns:p14="http://schemas.microsoft.com/office/powerpoint/2010/main" val="42921709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24A07C1B-F4E4-B49A-E189-ED86B92A72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0" name="Rectangle 9"/>
          <p:cNvSpPr/>
          <p:nvPr userDrawn="1"/>
        </p:nvSpPr>
        <p:spPr bwMode="gray">
          <a:xfrm>
            <a:off x="5864658" y="0"/>
            <a:ext cx="3279343"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rtl="0">
              <a:defRPr sz="12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2" name="Date Placeholder 2"/>
          <p:cNvSpPr>
            <a:spLocks noGrp="1"/>
          </p:cNvSpPr>
          <p:nvPr>
            <p:ph type="dt" sz="half" idx="12"/>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15" name="Copyright"/>
          <p:cNvSpPr txBox="1"/>
          <p:nvPr userDrawn="1"/>
        </p:nvSpPr>
        <p:spPr>
          <a:xfrm rot="16200000">
            <a:off x="7115176" y="2937969"/>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14" name="Title 1"/>
          <p:cNvSpPr>
            <a:spLocks noGrp="1"/>
          </p:cNvSpPr>
          <p:nvPr>
            <p:ph type="title" hasCustomPrompt="1"/>
          </p:nvPr>
        </p:nvSpPr>
        <p:spPr bwMode="blackWhite">
          <a:xfrm>
            <a:off x="472500" y="1353488"/>
            <a:ext cx="4685664" cy="2465100"/>
          </a:xfrm>
          <a:prstGeom prst="rect">
            <a:avLst/>
          </a:prstGeom>
        </p:spPr>
        <p:txBody>
          <a:bodyPr vert="horz" anchor="ctr">
            <a:noAutofit/>
          </a:bodyPr>
          <a:lstStyle>
            <a:lvl1pPr rtl="0">
              <a:defRPr sz="3300">
                <a:solidFill>
                  <a:schemeClr val="bg1"/>
                </a:solidFill>
                <a:latin typeface="+mj-lt"/>
                <a:sym typeface="Trebuchet MS" panose="020B0603020202020204" pitchFamily="34" charset="0"/>
              </a:defRPr>
            </a:lvl1pPr>
          </a:lstStyle>
          <a:p>
            <a:r>
              <a:rPr lang="en-US"/>
              <a:t>Click to edit title</a:t>
            </a:r>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340197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A47152F-EC45-12CF-2113-E735AE8DB5CF}"/>
              </a:ext>
            </a:extLst>
          </p:cNvPr>
          <p:cNvGraphicFramePr>
            <a:graphicFrameLocks noChangeAspect="1"/>
          </p:cNvGraphicFramePr>
          <p:nvPr userDrawn="1">
            <p:custDataLst>
              <p:tags r:id="rId1"/>
            </p:custDataLst>
            <p:extLst>
              <p:ext uri="{D42A27DB-BD31-4B8C-83A1-F6EECF244321}">
                <p14:modId xmlns:p14="http://schemas.microsoft.com/office/powerpoint/2010/main" val="33652258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2A47152F-EC45-12CF-2113-E735AE8DB5C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472500" y="2073153"/>
            <a:ext cx="1858979" cy="985733"/>
          </a:xfrm>
          <a:prstGeom prst="rect">
            <a:avLst/>
          </a:prstGeom>
        </p:spPr>
        <p:txBody>
          <a:bodyPr vert="horz" anchor="ctr">
            <a:noAutofit/>
          </a:bodyPr>
          <a:lstStyle>
            <a:lvl1pPr rtl="0">
              <a:defRPr sz="2400" baseline="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082325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A26726BC-13E2-6812-122B-A9873B324BED}"/>
              </a:ext>
            </a:extLst>
          </p:cNvPr>
          <p:cNvGraphicFramePr>
            <a:graphicFrameLocks noChangeAspect="1"/>
          </p:cNvGraphicFramePr>
          <p:nvPr userDrawn="1">
            <p:custDataLst>
              <p:tags r:id="rId1"/>
            </p:custDataLst>
            <p:extLst>
              <p:ext uri="{D42A27DB-BD31-4B8C-83A1-F6EECF244321}">
                <p14:modId xmlns:p14="http://schemas.microsoft.com/office/powerpoint/2010/main" val="954455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A26726BC-13E2-6812-122B-A9873B324BE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2073153"/>
            <a:ext cx="1858979" cy="985733"/>
          </a:xfrm>
        </p:spPr>
        <p:txBody>
          <a:bodyPr vert="horz" anchor="ctr" anchorCtr="0">
            <a:noAutofit/>
          </a:bodyPr>
          <a:lstStyle>
            <a:lvl1pPr rtl="0">
              <a:defRPr sz="2400" baseline="0">
                <a:solidFill>
                  <a:srgbClr val="FFFFFF"/>
                </a:solidFill>
                <a:latin typeface="+mj-lt"/>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25647492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44099130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TextBox 4"/>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3" name="Pentagon 3"/>
          <p:cNvSpPr/>
          <p:nvPr userDrawn="1"/>
        </p:nvSpPr>
        <p:spPr bwMode="white">
          <a:xfrm>
            <a:off x="1" y="0"/>
            <a:ext cx="4070190" cy="51435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300" b="0">
                <a:solidFill>
                  <a:schemeClr val="tx2"/>
                </a:solidFill>
                <a:latin typeface="+mj-lt"/>
                <a:sym typeface="Trebuchet MS" panose="020B0603020202020204" pitchFamily="34" charset="0"/>
              </a:defRPr>
            </a:lvl1pPr>
          </a:lstStyle>
          <a:p>
            <a:r>
              <a:rPr lang="en-US"/>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975540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2E59ECF-6ED7-0130-34C4-A199877F8C1E}"/>
              </a:ext>
            </a:extLst>
          </p:cNvPr>
          <p:cNvGraphicFramePr>
            <a:graphicFrameLocks noChangeAspect="1"/>
          </p:cNvGraphicFramePr>
          <p:nvPr userDrawn="1">
            <p:custDataLst>
              <p:tags r:id="rId1"/>
            </p:custDataLst>
            <p:extLst>
              <p:ext uri="{D42A27DB-BD31-4B8C-83A1-F6EECF244321}">
                <p14:modId xmlns:p14="http://schemas.microsoft.com/office/powerpoint/2010/main" val="1520656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72E59ECF-6ED7-0130-34C4-A199877F8C1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300" b="0">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9363538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1AA657D-C342-760B-7686-07CE8FD1A5C1}"/>
              </a:ext>
            </a:extLst>
          </p:cNvPr>
          <p:cNvGraphicFramePr>
            <a:graphicFrameLocks noChangeAspect="1"/>
          </p:cNvGraphicFramePr>
          <p:nvPr userDrawn="1">
            <p:custDataLst>
              <p:tags r:id="rId1"/>
            </p:custDataLst>
            <p:extLst>
              <p:ext uri="{D42A27DB-BD31-4B8C-83A1-F6EECF244321}">
                <p14:modId xmlns:p14="http://schemas.microsoft.com/office/powerpoint/2010/main" val="669504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91AA657D-C342-760B-7686-07CE8FD1A5C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6"/>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4772660" cy="51435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78453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78C41FE9-07BC-1570-C55D-5B5B5BF47384}"/>
              </a:ext>
            </a:extLst>
          </p:cNvPr>
          <p:cNvGraphicFramePr>
            <a:graphicFrameLocks noChangeAspect="1"/>
          </p:cNvGraphicFramePr>
          <p:nvPr userDrawn="1">
            <p:custDataLst>
              <p:tags r:id="rId1"/>
            </p:custDataLst>
            <p:extLst>
              <p:ext uri="{D42A27DB-BD31-4B8C-83A1-F6EECF244321}">
                <p14:modId xmlns:p14="http://schemas.microsoft.com/office/powerpoint/2010/main" val="39280794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78C41FE9-07BC-1570-C55D-5B5B5BF4738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472500" y="467100"/>
            <a:ext cx="3505235" cy="353174"/>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2"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3" name="TextBox 12"/>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131471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509C5B2-5893-A24C-6139-A016CF291433}"/>
              </a:ext>
            </a:extLst>
          </p:cNvPr>
          <p:cNvGraphicFramePr>
            <a:graphicFrameLocks noChangeAspect="1"/>
          </p:cNvGraphicFramePr>
          <p:nvPr userDrawn="1">
            <p:custDataLst>
              <p:tags r:id="rId1"/>
            </p:custDataLst>
            <p:extLst>
              <p:ext uri="{D42A27DB-BD31-4B8C-83A1-F6EECF244321}">
                <p14:modId xmlns:p14="http://schemas.microsoft.com/office/powerpoint/2010/main" val="32528963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8509C5B2-5893-A24C-6139-A016CF29143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550" b="0" i="0" u="none" kern="1200" spc="0">
                <a:solidFill>
                  <a:schemeClr val="tx2">
                    <a:lumMod val="100000"/>
                  </a:schemeClr>
                </a:solidFill>
                <a:latin typeface="+mj-lt"/>
                <a:sym typeface="Trebuchet MS" panose="020B0603020202020204" pitchFamily="34" charset="0"/>
              </a:defRPr>
            </a:lvl1pPr>
          </a:lstStyle>
          <a:p>
            <a:pPr lvl="0"/>
            <a:r>
              <a:rPr lang="en-US"/>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37867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48737546-A3A1-1FAF-67F9-316551B857A2}"/>
              </a:ext>
            </a:extLst>
          </p:cNvPr>
          <p:cNvGraphicFramePr>
            <a:graphicFrameLocks noChangeAspect="1"/>
          </p:cNvGraphicFramePr>
          <p:nvPr userDrawn="1">
            <p:custDataLst>
              <p:tags r:id="rId1"/>
            </p:custDataLst>
            <p:extLst>
              <p:ext uri="{D42A27DB-BD31-4B8C-83A1-F6EECF244321}">
                <p14:modId xmlns:p14="http://schemas.microsoft.com/office/powerpoint/2010/main" val="148242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48737546-A3A1-1FAF-67F9-316551B857A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472500" y="467100"/>
            <a:ext cx="4692600" cy="353174"/>
          </a:xfrm>
          <a:prstGeom prst="rect">
            <a:avLst/>
          </a:prstGeom>
        </p:spPr>
        <p:txBody>
          <a:bodyPr vert="horz" wrap="square" lIns="0" tIns="0" rIns="0" bIns="0" anchor="t" anchorCtr="0">
            <a:spAutoFit/>
          </a:bodyPr>
          <a:lstStyle>
            <a:lvl1pPr marL="0" indent="0" algn="l" rtl="0">
              <a:lnSpc>
                <a:spcPct val="90000"/>
              </a:lnSpc>
              <a:spcBef>
                <a:spcPct val="0"/>
              </a:spcBef>
              <a:spcAft>
                <a:spcPts val="0"/>
              </a:spcAft>
              <a:defRPr sz="2550" b="0" i="0" u="none" kern="1200" spc="0">
                <a:solidFill>
                  <a:srgbClr val="FFFFFF"/>
                </a:solidFill>
                <a:latin typeface="+mj-lt"/>
                <a:sym typeface="Trebuchet MS" panose="020B0603020202020204" pitchFamily="34" charset="0"/>
              </a:defRPr>
            </a:lvl1pPr>
          </a:lstStyle>
          <a:p>
            <a:pPr lvl="0"/>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449839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Väliotsikkodia - petroli">
    <p:bg>
      <p:bgPr>
        <a:solidFill>
          <a:srgbClr val="0F78B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8D5B8126-8D85-378E-5A34-30F7BAF80434}"/>
              </a:ext>
            </a:extLst>
          </p:cNvPr>
          <p:cNvGraphicFramePr>
            <a:graphicFrameLocks noChangeAspect="1"/>
          </p:cNvGraphicFramePr>
          <p:nvPr userDrawn="1">
            <p:custDataLst>
              <p:tags r:id="rId1"/>
            </p:custDataLst>
            <p:extLst>
              <p:ext uri="{D42A27DB-BD31-4B8C-83A1-F6EECF244321}">
                <p14:modId xmlns:p14="http://schemas.microsoft.com/office/powerpoint/2010/main" val="39781534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8D5B8126-8D85-378E-5A34-30F7BAF804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4"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01A12F6D-C4D5-4F69-B1C8-58486C607391}" type="datetime1">
              <a:rPr lang="en-US" smtClean="0"/>
              <a:pPr/>
              <a:t>4/9/2024</a:t>
            </a:fld>
            <a:endParaRPr lang="en-US"/>
          </a:p>
        </p:txBody>
      </p:sp>
      <p:sp>
        <p:nvSpPr>
          <p:cNvPr id="15"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174770107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214B468A-94B5-16E4-3C11-A5DFA5B57548}"/>
              </a:ext>
            </a:extLst>
          </p:cNvPr>
          <p:cNvGraphicFramePr>
            <a:graphicFrameLocks noChangeAspect="1"/>
          </p:cNvGraphicFramePr>
          <p:nvPr userDrawn="1">
            <p:custDataLst>
              <p:tags r:id="rId1"/>
            </p:custDataLst>
            <p:extLst>
              <p:ext uri="{D42A27DB-BD31-4B8C-83A1-F6EECF244321}">
                <p14:modId xmlns:p14="http://schemas.microsoft.com/office/powerpoint/2010/main" val="2772802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5" name="think-cell data - do not delete" hidden="1">
                        <a:extLst>
                          <a:ext uri="{FF2B5EF4-FFF2-40B4-BE49-F238E27FC236}">
                            <a16:creationId xmlns:a16="http://schemas.microsoft.com/office/drawing/2014/main" id="{214B468A-94B5-16E4-3C11-A5DFA5B575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TextBox 2"/>
          <p:cNvSpPr txBox="1"/>
          <p:nvPr/>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49056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383BF857-4D92-5473-764D-46317FCC3217}"/>
              </a:ext>
            </a:extLst>
          </p:cNvPr>
          <p:cNvGraphicFramePr>
            <a:graphicFrameLocks noChangeAspect="1"/>
          </p:cNvGraphicFramePr>
          <p:nvPr userDrawn="1">
            <p:custDataLst>
              <p:tags r:id="rId1"/>
            </p:custDataLst>
            <p:extLst>
              <p:ext uri="{D42A27DB-BD31-4B8C-83A1-F6EECF244321}">
                <p14:modId xmlns:p14="http://schemas.microsoft.com/office/powerpoint/2010/main" val="16620403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383BF857-4D92-5473-764D-46317FCC321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Date Placeholder 2"/>
          <p:cNvSpPr>
            <a:spLocks noGrp="1"/>
          </p:cNvSpPr>
          <p:nvPr>
            <p:ph type="dt" sz="half" idx="10"/>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472500" y="469106"/>
            <a:ext cx="699516" cy="69951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0241673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048698929"/>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rtl="0"/>
            <a:endParaRPr lang="en-US" sz="1005">
              <a:latin typeface="+mn-lt"/>
              <a:sym typeface="Trebuchet MS" panose="020B0603020202020204" pitchFamily="34" charset="0"/>
            </a:endParaRPr>
          </a:p>
        </p:txBody>
      </p:sp>
    </p:spTree>
    <p:extLst>
      <p:ext uri="{BB962C8B-B14F-4D97-AF65-F5344CB8AC3E}">
        <p14:creationId xmlns:p14="http://schemas.microsoft.com/office/powerpoint/2010/main" val="19895993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BE9E52CA-5024-E23C-629C-33EFAE1A0F23}"/>
              </a:ext>
            </a:extLst>
          </p:cNvPr>
          <p:cNvGraphicFramePr>
            <a:graphicFrameLocks noChangeAspect="1"/>
          </p:cNvGraphicFramePr>
          <p:nvPr userDrawn="1">
            <p:custDataLst>
              <p:tags r:id="rId1"/>
            </p:custDataLst>
            <p:extLst>
              <p:ext uri="{D42A27DB-BD31-4B8C-83A1-F6EECF244321}">
                <p14:modId xmlns:p14="http://schemas.microsoft.com/office/powerpoint/2010/main" val="4694632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6" name="think-cell data - do not delete" hidden="1">
                        <a:extLst>
                          <a:ext uri="{FF2B5EF4-FFF2-40B4-BE49-F238E27FC236}">
                            <a16:creationId xmlns:a16="http://schemas.microsoft.com/office/drawing/2014/main" id="{BE9E52CA-5024-E23C-629C-33EFAE1A0F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4" name="Title 3"/>
          <p:cNvSpPr>
            <a:spLocks noGrp="1"/>
          </p:cNvSpPr>
          <p:nvPr>
            <p:ph type="title" hasCustomPrompt="1"/>
          </p:nvPr>
        </p:nvSpPr>
        <p:spPr>
          <a:xfrm>
            <a:off x="472500" y="467100"/>
            <a:ext cx="8199900" cy="353174"/>
          </a:xfrm>
        </p:spPr>
        <p:txBody>
          <a:bodyPr vert="horz"/>
          <a:lstStyle>
            <a:lvl1pPr rtl="0">
              <a:defRPr sz="2550">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2547287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1F71722-B373-D900-0E12-6F214589C262}"/>
              </a:ext>
            </a:extLst>
          </p:cNvPr>
          <p:cNvGraphicFramePr>
            <a:graphicFrameLocks noChangeAspect="1"/>
          </p:cNvGraphicFramePr>
          <p:nvPr userDrawn="1">
            <p:custDataLst>
              <p:tags r:id="rId1"/>
            </p:custDataLst>
            <p:extLst>
              <p:ext uri="{D42A27DB-BD31-4B8C-83A1-F6EECF244321}">
                <p14:modId xmlns:p14="http://schemas.microsoft.com/office/powerpoint/2010/main" val="39730279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41F71722-B373-D900-0E12-6F214589C26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Date Placeholder 4"/>
          <p:cNvSpPr>
            <a:spLocks noGrp="1"/>
          </p:cNvSpPr>
          <p:nvPr>
            <p:ph type="dt" sz="half" idx="12"/>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73982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E869B56-65DE-BA23-38F1-5C7BFCA5A447}"/>
              </a:ext>
            </a:extLst>
          </p:cNvPr>
          <p:cNvGraphicFramePr>
            <a:graphicFrameLocks noChangeAspect="1"/>
          </p:cNvGraphicFramePr>
          <p:nvPr userDrawn="1">
            <p:custDataLst>
              <p:tags r:id="rId1"/>
            </p:custDataLst>
            <p:extLst>
              <p:ext uri="{D42A27DB-BD31-4B8C-83A1-F6EECF244321}">
                <p14:modId xmlns:p14="http://schemas.microsoft.com/office/powerpoint/2010/main" val="330649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2E869B56-65DE-BA23-38F1-5C7BFCA5A44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7928597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39AC79DE-34E3-5AC8-1DD6-7C0BCD5F9BB0}"/>
              </a:ext>
            </a:extLst>
          </p:cNvPr>
          <p:cNvGraphicFramePr>
            <a:graphicFrameLocks noChangeAspect="1"/>
          </p:cNvGraphicFramePr>
          <p:nvPr userDrawn="1">
            <p:custDataLst>
              <p:tags r:id="rId1"/>
            </p:custDataLst>
            <p:extLst>
              <p:ext uri="{D42A27DB-BD31-4B8C-83A1-F6EECF244321}">
                <p14:modId xmlns:p14="http://schemas.microsoft.com/office/powerpoint/2010/main" val="2500301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39AC79DE-34E3-5AC8-1DD6-7C0BCD5F9B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rtl="0">
              <a:lnSpc>
                <a:spcPct val="100000"/>
              </a:lnSpc>
            </a:pPr>
            <a:r>
              <a:rPr lang="en-US" sz="675" b="0">
                <a:latin typeface="+mn-lt"/>
                <a:sym typeface="Trebuchet MS" panose="020B0603020202020204" pitchFamily="34" charset="0"/>
              </a:rPr>
              <a:t>The services and materials provided by Boston Consulting Group (BCG) are subject to BCG's Standard Terms </a:t>
            </a:r>
            <a:br>
              <a:rPr lang="en-US" sz="675" b="0">
                <a:latin typeface="+mn-lt"/>
                <a:sym typeface="Trebuchet MS" panose="020B0603020202020204" pitchFamily="34" charset="0"/>
              </a:rPr>
            </a:br>
            <a:r>
              <a:rPr lang="en-US" sz="675"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sym typeface="Trebuchet MS" panose="020B0603020202020204" pitchFamily="34" charset="0"/>
              </a:rPr>
            </a:br>
            <a:r>
              <a:rPr lang="en-US" sz="675" b="0">
                <a:latin typeface="+mn-lt"/>
                <a:sym typeface="Trebuchet MS" panose="020B0603020202020204" pitchFamily="34" charset="0"/>
              </a:rPr>
              <a:t>to update these materials after the date hereof, notwithstanding that such information may become outdated </a:t>
            </a:r>
            <a:br>
              <a:rPr lang="en-US" sz="675" b="0">
                <a:latin typeface="+mn-lt"/>
                <a:sym typeface="Trebuchet MS" panose="020B0603020202020204" pitchFamily="34" charset="0"/>
              </a:rPr>
            </a:br>
            <a:r>
              <a:rPr lang="en-US" sz="675" b="0">
                <a:latin typeface="+mn-lt"/>
                <a:sym typeface="Trebuchet MS" panose="020B0603020202020204" pitchFamily="34" charset="0"/>
              </a:rPr>
              <a:t>or inaccurate.</a:t>
            </a:r>
          </a:p>
          <a:p>
            <a:pPr indent="0" rtl="0">
              <a:lnSpc>
                <a:spcPct val="100000"/>
              </a:lnSpc>
            </a:pPr>
            <a:r>
              <a:rPr lang="en-US" sz="675" b="0">
                <a:latin typeface="+mn-lt"/>
                <a:sym typeface="Trebuchet MS" panose="020B0603020202020204" pitchFamily="34" charset="0"/>
              </a:rPr>
              <a:t> </a:t>
            </a:r>
          </a:p>
          <a:p>
            <a:pPr indent="0" rtl="0">
              <a:lnSpc>
                <a:spcPct val="100000"/>
              </a:lnSpc>
            </a:pPr>
            <a:r>
              <a:rPr lang="en-US" sz="675"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rtl="0">
              <a:lnSpc>
                <a:spcPct val="100000"/>
              </a:lnSpc>
            </a:pPr>
            <a:endParaRPr lang="en-US" sz="675" b="0">
              <a:latin typeface="+mn-lt"/>
              <a:sym typeface="Trebuchet MS" panose="020B0603020202020204" pitchFamily="34" charset="0"/>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479283" y="2229807"/>
            <a:ext cx="2399647"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3825">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1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1417036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649869751"/>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Rectangle 7"/>
          <p:cNvSpPr/>
          <p:nvPr userDrawn="1"/>
        </p:nvSpPr>
        <p:spPr bwMode="black">
          <a:xfrm>
            <a:off x="473202" y="469650"/>
            <a:ext cx="6093900" cy="4147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1500">
              <a:solidFill>
                <a:prstClr val="white"/>
              </a:solidFill>
              <a:latin typeface="+mn-lt"/>
              <a:sym typeface="Trebuchet MS" panose="020B0603020202020204" pitchFamily="34" charset="0"/>
            </a:endParaRPr>
          </a:p>
        </p:txBody>
      </p:sp>
      <p:sp>
        <p:nvSpPr>
          <p:cNvPr id="15" name="TextBox 14"/>
          <p:cNvSpPr txBox="1"/>
          <p:nvPr/>
        </p:nvSpPr>
        <p:spPr bwMode="white">
          <a:xfrm>
            <a:off x="693735" y="4286383"/>
            <a:ext cx="630601" cy="127583"/>
          </a:xfrm>
          <a:prstGeom prst="rect">
            <a:avLst/>
          </a:prstGeom>
          <a:noFill/>
        </p:spPr>
        <p:txBody>
          <a:bodyPr wrap="none" lIns="0" tIns="0" rIns="0" bIns="0" rtlCol="0" anchor="b">
            <a:noAutofit/>
          </a:bodyPr>
          <a:lstStyle/>
          <a:p>
            <a:pPr rtl="0">
              <a:lnSpc>
                <a:spcPct val="90000"/>
              </a:lnSpc>
              <a:spcAft>
                <a:spcPts val="450"/>
              </a:spcAft>
            </a:pPr>
            <a:r>
              <a:rPr lang="en-US" sz="90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007644" y="2227135"/>
            <a:ext cx="3025018" cy="63223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pPr rtl="0"/>
            <a:endParaRPr lang="en-US" sz="1005"/>
          </a:p>
        </p:txBody>
      </p:sp>
    </p:spTree>
    <p:extLst>
      <p:ext uri="{BB962C8B-B14F-4D97-AF65-F5344CB8AC3E}">
        <p14:creationId xmlns:p14="http://schemas.microsoft.com/office/powerpoint/2010/main" val="3578195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512B989-3418-8472-8D06-9C1273160FBD}"/>
              </a:ext>
            </a:extLst>
          </p:cNvPr>
          <p:cNvGraphicFramePr>
            <a:graphicFrameLocks noChangeAspect="1"/>
          </p:cNvGraphicFramePr>
          <p:nvPr userDrawn="1">
            <p:custDataLst>
              <p:tags r:id="rId1"/>
            </p:custDataLst>
            <p:extLst>
              <p:ext uri="{D42A27DB-BD31-4B8C-83A1-F6EECF244321}">
                <p14:modId xmlns:p14="http://schemas.microsoft.com/office/powerpoint/2010/main" val="290516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1512B989-3418-8472-8D06-9C1273160FB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49" name="Group 48"/>
          <p:cNvGrpSpPr/>
          <p:nvPr userDrawn="1"/>
        </p:nvGrpSpPr>
        <p:grpSpPr>
          <a:xfrm>
            <a:off x="-450" y="-1"/>
            <a:ext cx="9145350" cy="51435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schemeClr val="bg1"/>
                </a:solidFill>
                <a:latin typeface="+mn-lt"/>
              </a:endParaRPr>
            </a:p>
          </p:txBody>
        </p:sp>
        <p:sp>
          <p:nvSpPr>
            <p:cNvPr id="60"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781009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704119420"/>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eaLnBrk="1">
              <a:lnSpc>
                <a:spcPct val="93000"/>
              </a:lnSpc>
              <a:spcBef>
                <a:spcPct val="0"/>
              </a:spcBef>
              <a:spcAft>
                <a:spcPct val="0"/>
              </a:spcAft>
            </a:pPr>
            <a:endParaRPr lang="en-US" sz="4050" b="0" i="0" baseline="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3959388"/>
            <a:ext cx="9144000" cy="118411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6353941" y="1479954"/>
            <a:ext cx="435430" cy="51435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9144000" cy="3957638"/>
          </a:xfrm>
          <a:prstGeom prst="rect">
            <a:avLst/>
          </a:prstGeom>
        </p:spPr>
      </p:pic>
      <p:sp>
        <p:nvSpPr>
          <p:cNvPr id="20" name="Picture Placeholder 8"/>
          <p:cNvSpPr>
            <a:spLocks noGrp="1"/>
          </p:cNvSpPr>
          <p:nvPr>
            <p:ph type="pic" sz="quarter" idx="13" hasCustomPrompt="1"/>
          </p:nvPr>
        </p:nvSpPr>
        <p:spPr>
          <a:xfrm>
            <a:off x="7024921" y="4177982"/>
            <a:ext cx="1400951" cy="672625"/>
          </a:xfrm>
          <a:prstGeom prst="rect">
            <a:avLst/>
          </a:prstGeom>
        </p:spPr>
        <p:txBody>
          <a:bodyPr anchor="b"/>
          <a:lstStyle>
            <a:lvl1pPr algn="ctr" rtl="0">
              <a:defRPr sz="1200">
                <a:solidFill>
                  <a:schemeClr val="tx1"/>
                </a:solidFill>
                <a:latin typeface="Trebuchet MS" panose="020B0603020202020204" pitchFamily="34" charset="0"/>
                <a:sym typeface="Trebuchet MS" panose="020B0603020202020204" pitchFamily="34" charset="0"/>
              </a:defRPr>
            </a:lvl1pPr>
          </a:lstStyle>
          <a:p>
            <a:r>
              <a:rPr lang="en-US"/>
              <a:t>Logo</a:t>
            </a:r>
          </a:p>
        </p:txBody>
      </p:sp>
      <p:sp>
        <p:nvSpPr>
          <p:cNvPr id="21" name="Rectangle 20"/>
          <p:cNvSpPr/>
          <p:nvPr userDrawn="1"/>
        </p:nvSpPr>
        <p:spPr bwMode="black">
          <a:xfrm>
            <a:off x="473202" y="469650"/>
            <a:ext cx="6093900" cy="4147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150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838061" y="4655882"/>
            <a:ext cx="5151600" cy="245361"/>
          </a:xfrm>
          <a:prstGeom prst="rect">
            <a:avLst/>
          </a:prstGeom>
          <a:noFill/>
        </p:spPr>
        <p:txBody>
          <a:bodyPr anchor="ctr"/>
          <a:lstStyle>
            <a:lvl1pPr algn="l" rtl="0">
              <a:lnSpc>
                <a:spcPct val="110000"/>
              </a:lnSpc>
              <a:buNone/>
              <a:defRPr sz="9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171450" indent="0" algn="ctr">
              <a:buNone/>
              <a:defRPr/>
            </a:lvl4pPr>
            <a:lvl5pPr marL="3429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838061" y="4121780"/>
            <a:ext cx="5151600" cy="327146"/>
          </a:xfrm>
          <a:prstGeom prst="rect">
            <a:avLst/>
          </a:prstGeom>
        </p:spPr>
        <p:txBody>
          <a:bodyPr anchor="ctr"/>
          <a:lstStyle>
            <a:lvl1pPr marL="0" indent="0" algn="l" rtl="0">
              <a:lnSpc>
                <a:spcPct val="110000"/>
              </a:lnSpc>
              <a:buNone/>
              <a:defRPr sz="1200">
                <a:solidFill>
                  <a:schemeClr val="bg1"/>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Subtitle in sentence case</a:t>
            </a:r>
          </a:p>
        </p:txBody>
      </p:sp>
      <p:sp>
        <p:nvSpPr>
          <p:cNvPr id="27" name="Title 1"/>
          <p:cNvSpPr>
            <a:spLocks noGrp="1"/>
          </p:cNvSpPr>
          <p:nvPr>
            <p:ph type="ctrTitle" hasCustomPrompt="1"/>
          </p:nvPr>
        </p:nvSpPr>
        <p:spPr bwMode="ltGray">
          <a:xfrm>
            <a:off x="838061" y="1414682"/>
            <a:ext cx="5151600" cy="2353817"/>
          </a:xfrm>
        </p:spPr>
        <p:txBody>
          <a:bodyPr vert="horz" anchor="b">
            <a:normAutofit/>
          </a:bodyPr>
          <a:lstStyle>
            <a:lvl1pPr algn="l" rtl="0">
              <a:lnSpc>
                <a:spcPct val="93000"/>
              </a:lnSpc>
              <a:defRPr sz="4050">
                <a:solidFill>
                  <a:schemeClr val="bg1"/>
                </a:solidFill>
                <a:latin typeface="+mj-lt"/>
                <a:sym typeface="Trebuchet MS" panose="020B0603020202020204" pitchFamily="34" charset="0"/>
              </a:defRPr>
            </a:lvl1pPr>
          </a:lstStyle>
          <a:p>
            <a:r>
              <a:rPr lang="en-US"/>
              <a:t>Title in Title Case</a:t>
            </a:r>
          </a:p>
        </p:txBody>
      </p:sp>
      <p:sp>
        <p:nvSpPr>
          <p:cNvPr id="13" name="Freeform 12"/>
          <p:cNvSpPr>
            <a:spLocks noChangeAspect="1"/>
          </p:cNvSpPr>
          <p:nvPr userDrawn="1">
            <p:custDataLst>
              <p:tags r:id="rId4"/>
            </p:custDataLst>
          </p:nvPr>
        </p:nvSpPr>
        <p:spPr bwMode="auto">
          <a:xfrm>
            <a:off x="838061" y="834510"/>
            <a:ext cx="1745733" cy="36485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pPr rtl="0"/>
            <a:endParaRPr lang="en-US" sz="1005"/>
          </a:p>
        </p:txBody>
      </p:sp>
    </p:spTree>
    <p:extLst>
      <p:ext uri="{BB962C8B-B14F-4D97-AF65-F5344CB8AC3E}">
        <p14:creationId xmlns:p14="http://schemas.microsoft.com/office/powerpoint/2010/main" val="19678418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petroli">
    <p:bg>
      <p:bgPr>
        <a:solidFill>
          <a:srgbClr val="0F78B2"/>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3C2D8C7-1278-EF52-F0B1-9F3EEF4DAB4E}"/>
              </a:ext>
            </a:extLst>
          </p:cNvPr>
          <p:cNvGraphicFramePr>
            <a:graphicFrameLocks noChangeAspect="1"/>
          </p:cNvGraphicFramePr>
          <p:nvPr userDrawn="1">
            <p:custDataLst>
              <p:tags r:id="rId1"/>
            </p:custDataLst>
            <p:extLst>
              <p:ext uri="{D42A27DB-BD31-4B8C-83A1-F6EECF244321}">
                <p14:modId xmlns:p14="http://schemas.microsoft.com/office/powerpoint/2010/main" val="16679159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43C2D8C7-1278-EF52-F0B1-9F3EEF4DAB4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28524F31-7927-4FF7-AF2F-588759863600}"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11" name="Tekstin paikkamerkki 2"/>
          <p:cNvSpPr>
            <a:spLocks noGrp="1"/>
          </p:cNvSpPr>
          <p:nvPr>
            <p:ph idx="21" hasCustomPrompt="1"/>
          </p:nvPr>
        </p:nvSpPr>
        <p:spPr>
          <a:xfrm>
            <a:off x="1072800" y="1584884"/>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12" name="Tekstin paikkamerkki 28"/>
          <p:cNvSpPr>
            <a:spLocks noGrp="1"/>
          </p:cNvSpPr>
          <p:nvPr>
            <p:ph type="body" sz="quarter" idx="22" hasCustomPrompt="1"/>
          </p:nvPr>
        </p:nvSpPr>
        <p:spPr>
          <a:xfrm>
            <a:off x="1072800" y="1102950"/>
            <a:ext cx="3844800" cy="481934"/>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2647428192"/>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D178114-77F6-23C2-6585-467E73ACBEC2}"/>
              </a:ext>
            </a:extLst>
          </p:cNvPr>
          <p:cNvGraphicFramePr>
            <a:graphicFrameLocks noChangeAspect="1"/>
          </p:cNvGraphicFramePr>
          <p:nvPr userDrawn="1">
            <p:custDataLst>
              <p:tags r:id="rId1"/>
            </p:custDataLst>
            <p:extLst>
              <p:ext uri="{D42A27DB-BD31-4B8C-83A1-F6EECF244321}">
                <p14:modId xmlns:p14="http://schemas.microsoft.com/office/powerpoint/2010/main" val="15282340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6D178114-77F6-23C2-6585-467E73ACBEC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7"/>
          <p:cNvSpPr>
            <a:spLocks noGrp="1"/>
          </p:cNvSpPr>
          <p:nvPr>
            <p:ph type="title" hasCustomPrompt="1"/>
          </p:nvPr>
        </p:nvSpPr>
        <p:spPr>
          <a:xfrm>
            <a:off x="472500" y="467101"/>
            <a:ext cx="8200013" cy="249299"/>
          </a:xfrm>
        </p:spPr>
        <p:txBody>
          <a:bodyPr vert="horz"/>
          <a:lstStyle>
            <a:lvl1pPr rtl="0">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5866408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4FE78C55-6DA3-7D31-C6D1-735A650E2480}"/>
              </a:ext>
            </a:extLst>
          </p:cNvPr>
          <p:cNvGraphicFramePr>
            <a:graphicFrameLocks noChangeAspect="1"/>
          </p:cNvGraphicFramePr>
          <p:nvPr userDrawn="1">
            <p:custDataLst>
              <p:tags r:id="rId1"/>
            </p:custDataLst>
            <p:extLst>
              <p:ext uri="{D42A27DB-BD31-4B8C-83A1-F6EECF244321}">
                <p14:modId xmlns:p14="http://schemas.microsoft.com/office/powerpoint/2010/main" val="15215050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5" name="think-cell data - do not delete" hidden="1">
                        <a:extLst>
                          <a:ext uri="{FF2B5EF4-FFF2-40B4-BE49-F238E27FC236}">
                            <a16:creationId xmlns:a16="http://schemas.microsoft.com/office/drawing/2014/main" id="{4FE78C55-6DA3-7D31-C6D1-735A650E248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rtl="0">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472050" y="1564221"/>
            <a:ext cx="8200463" cy="3054732"/>
          </a:xfrm>
        </p:spPr>
        <p:txBody>
          <a:bodyPr/>
          <a:lstStyle>
            <a:lvl1pPr rtl="0">
              <a:lnSpc>
                <a:spcPct val="100000"/>
              </a:lnSpc>
              <a:spcBef>
                <a:spcPts val="0"/>
              </a:spcBef>
              <a:spcAft>
                <a:spcPts val="0"/>
              </a:spcAft>
              <a:defRPr/>
            </a:lvl1pPr>
            <a:lvl2pPr rtl="0">
              <a:lnSpc>
                <a:spcPct val="100000"/>
              </a:lnSpc>
              <a:spcBef>
                <a:spcPts val="0"/>
              </a:spcBef>
              <a:spcAft>
                <a:spcPts val="0"/>
              </a:spcAft>
              <a:defRPr/>
            </a:lvl2pPr>
            <a:lvl3pPr rtl="0">
              <a:lnSpc>
                <a:spcPct val="100000"/>
              </a:lnSpc>
              <a:spcBef>
                <a:spcPts val="0"/>
              </a:spcBef>
              <a:spcAft>
                <a:spcPts val="0"/>
              </a:spcAft>
              <a:defRPr/>
            </a:lvl3pPr>
            <a:lvl4pPr rtl="0">
              <a:lnSpc>
                <a:spcPct val="100000"/>
              </a:lnSpc>
              <a:spcBef>
                <a:spcPts val="0"/>
              </a:spcBef>
              <a:spcAft>
                <a:spcPts val="0"/>
              </a:spcAft>
              <a:defRPr/>
            </a:lvl4pPr>
            <a:lvl5pPr rtl="0">
              <a:lnSpc>
                <a:spcPct val="100000"/>
              </a:lnSpc>
              <a:spcBef>
                <a:spcPts val="0"/>
              </a:spcBef>
              <a:spcAft>
                <a:spcPts val="0"/>
              </a:spcAf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24607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6D23B6-9CF5-CC4E-F733-941E8F6569E5}"/>
              </a:ext>
            </a:extLst>
          </p:cNvPr>
          <p:cNvGraphicFramePr>
            <a:graphicFrameLocks noChangeAspect="1"/>
          </p:cNvGraphicFramePr>
          <p:nvPr userDrawn="1">
            <p:custDataLst>
              <p:tags r:id="rId1"/>
            </p:custDataLst>
            <p:extLst>
              <p:ext uri="{D42A27DB-BD31-4B8C-83A1-F6EECF244321}">
                <p14:modId xmlns:p14="http://schemas.microsoft.com/office/powerpoint/2010/main" val="31728781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246D23B6-9CF5-CC4E-F733-941E8F6569E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7" name="Rectangle 6"/>
          <p:cNvSpPr/>
          <p:nvPr userDrawn="1"/>
        </p:nvSpPr>
        <p:spPr bwMode="white">
          <a:xfrm>
            <a:off x="1" y="-982"/>
            <a:ext cx="3520800" cy="5144482"/>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472500" y="1619241"/>
            <a:ext cx="2808000" cy="406265"/>
          </a:xfrm>
          <a:prstGeom prst="rect">
            <a:avLst/>
          </a:prstGeom>
        </p:spPr>
        <p:txBody>
          <a:bodyPr>
            <a:noAutofit/>
          </a:bodyPr>
          <a:lstStyle>
            <a:lvl1pPr marL="0" indent="0" algn="l" rtl="0">
              <a:buNone/>
              <a:defRPr sz="1200">
                <a:solidFill>
                  <a:schemeClr val="tx2"/>
                </a:solidFill>
                <a:latin typeface="+mn-lt"/>
                <a:sym typeface="Trebuchet MS" panose="020B0603020202020204" pitchFamily="34"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title</a:t>
            </a:r>
          </a:p>
        </p:txBody>
      </p:sp>
      <p:sp>
        <p:nvSpPr>
          <p:cNvPr id="9" name="Title 4"/>
          <p:cNvSpPr>
            <a:spLocks noGrp="1"/>
          </p:cNvSpPr>
          <p:nvPr>
            <p:ph type="title" hasCustomPrompt="1"/>
          </p:nvPr>
        </p:nvSpPr>
        <p:spPr>
          <a:xfrm>
            <a:off x="472500" y="920286"/>
            <a:ext cx="2808000" cy="498598"/>
          </a:xfrm>
        </p:spPr>
        <p:txBody>
          <a:bodyPr vert="horz" anchor="t">
            <a:noAutofit/>
          </a:bodyPr>
          <a:lstStyle>
            <a:lvl1pPr rtl="0">
              <a:defRPr sz="18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42197304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1FB0DDC-E96F-43A8-8915-DA2FECEAB8FA}"/>
              </a:ext>
            </a:extLst>
          </p:cNvPr>
          <p:cNvGraphicFramePr>
            <a:graphicFrameLocks noChangeAspect="1"/>
          </p:cNvGraphicFramePr>
          <p:nvPr userDrawn="1">
            <p:custDataLst>
              <p:tags r:id="rId1"/>
            </p:custDataLst>
            <p:extLst>
              <p:ext uri="{D42A27DB-BD31-4B8C-83A1-F6EECF244321}">
                <p14:modId xmlns:p14="http://schemas.microsoft.com/office/powerpoint/2010/main" val="7611255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D1FB0DDC-E96F-43A8-8915-DA2FECEAB8F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1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8" name="Title 1"/>
          <p:cNvSpPr>
            <a:spLocks noGrp="1"/>
          </p:cNvSpPr>
          <p:nvPr>
            <p:ph type="title" hasCustomPrompt="1"/>
          </p:nvPr>
        </p:nvSpPr>
        <p:spPr bwMode="blackWhite">
          <a:xfrm>
            <a:off x="963557" y="2001031"/>
            <a:ext cx="7215368" cy="2400770"/>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a:t>Click to add section title</a:t>
            </a:r>
          </a:p>
        </p:txBody>
      </p:sp>
      <p:sp>
        <p:nvSpPr>
          <p:cNvPr id="11" name="Rectangle 10"/>
          <p:cNvSpPr/>
          <p:nvPr userDrawn="1"/>
        </p:nvSpPr>
        <p:spPr bwMode="white">
          <a:xfrm>
            <a:off x="960520" y="1068061"/>
            <a:ext cx="713791" cy="71379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90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7545018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579A8499-32A8-B1D9-AE27-462208505BE7}"/>
              </a:ext>
            </a:extLst>
          </p:cNvPr>
          <p:cNvGraphicFramePr>
            <a:graphicFrameLocks noChangeAspect="1"/>
          </p:cNvGraphicFramePr>
          <p:nvPr userDrawn="1">
            <p:custDataLst>
              <p:tags r:id="rId1"/>
            </p:custDataLst>
            <p:extLst>
              <p:ext uri="{D42A27DB-BD31-4B8C-83A1-F6EECF244321}">
                <p14:modId xmlns:p14="http://schemas.microsoft.com/office/powerpoint/2010/main" val="3410775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579A8499-32A8-B1D9-AE27-462208505B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7" name="Title 1"/>
          <p:cNvSpPr>
            <a:spLocks noGrp="1"/>
          </p:cNvSpPr>
          <p:nvPr>
            <p:ph type="title" hasCustomPrompt="1"/>
          </p:nvPr>
        </p:nvSpPr>
        <p:spPr bwMode="blackWhite">
          <a:xfrm>
            <a:off x="472500" y="2870100"/>
            <a:ext cx="8202600" cy="1530900"/>
          </a:xfrm>
        </p:spPr>
        <p:txBody>
          <a:bodyPr vert="horz" anchor="t">
            <a:noAutofit/>
          </a:bodyPr>
          <a:lstStyle>
            <a:lvl1pPr rtl="0">
              <a:defRPr sz="4050">
                <a:solidFill>
                  <a:schemeClr val="tx2"/>
                </a:solidFill>
                <a:latin typeface="+mj-lt"/>
                <a:sym typeface="Trebuchet MS" panose="020B0603020202020204" pitchFamily="34" charset="0"/>
              </a:defRPr>
            </a:lvl1pPr>
          </a:lstStyle>
          <a:p>
            <a:r>
              <a:rPr lang="en-US"/>
              <a:t>Click to add section title</a:t>
            </a:r>
          </a:p>
        </p:txBody>
      </p:sp>
      <p:cxnSp>
        <p:nvCxnSpPr>
          <p:cNvPr id="10" name="Straight Connector 9"/>
          <p:cNvCxnSpPr/>
          <p:nvPr userDrawn="1"/>
        </p:nvCxnSpPr>
        <p:spPr bwMode="white">
          <a:xfrm>
            <a:off x="472501" y="2760012"/>
            <a:ext cx="8668940"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2004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DE7F47-8201-A0D2-3B07-8A7715435A02}"/>
              </a:ext>
            </a:extLst>
          </p:cNvPr>
          <p:cNvGraphicFramePr>
            <a:graphicFrameLocks noChangeAspect="1"/>
          </p:cNvGraphicFramePr>
          <p:nvPr userDrawn="1">
            <p:custDataLst>
              <p:tags r:id="rId1"/>
            </p:custDataLst>
            <p:extLst>
              <p:ext uri="{D42A27DB-BD31-4B8C-83A1-F6EECF244321}">
                <p14:modId xmlns:p14="http://schemas.microsoft.com/office/powerpoint/2010/main" val="4017121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B6DE7F47-8201-A0D2-3B07-8A7715435A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3048746" y="0"/>
            <a:ext cx="312713" cy="5143500"/>
          </a:xfrm>
          <a:prstGeom prst="rect">
            <a:avLst/>
          </a:prstGeom>
        </p:spPr>
      </p:pic>
      <p:sp>
        <p:nvSpPr>
          <p:cNvPr id="18" name="Date Placeholder 1"/>
          <p:cNvSpPr>
            <a:spLocks noGrp="1"/>
          </p:cNvSpPr>
          <p:nvPr>
            <p:ph type="dt" sz="half" idx="31"/>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20" name="TextBox 1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24" name="Rectangle 23"/>
          <p:cNvSpPr/>
          <p:nvPr userDrawn="1"/>
        </p:nvSpPr>
        <p:spPr bwMode="white">
          <a:xfrm>
            <a:off x="0" y="0"/>
            <a:ext cx="3059631"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1800">
                <a:solidFill>
                  <a:schemeClr val="tx2"/>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913671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83697F1-2022-F773-9972-9292666C1C4D}"/>
              </a:ext>
            </a:extLst>
          </p:cNvPr>
          <p:cNvGraphicFramePr>
            <a:graphicFrameLocks noChangeAspect="1"/>
          </p:cNvGraphicFramePr>
          <p:nvPr userDrawn="1">
            <p:custDataLst>
              <p:tags r:id="rId1"/>
            </p:custDataLst>
            <p:extLst>
              <p:ext uri="{D42A27DB-BD31-4B8C-83A1-F6EECF244321}">
                <p14:modId xmlns:p14="http://schemas.microsoft.com/office/powerpoint/2010/main" val="16907100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683697F1-2022-F773-9972-9292666C1C4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5374205" y="0"/>
            <a:ext cx="312713" cy="5143500"/>
          </a:xfrm>
          <a:prstGeom prst="rect">
            <a:avLst/>
          </a:prstGeom>
        </p:spPr>
      </p:pic>
      <p:sp>
        <p:nvSpPr>
          <p:cNvPr id="14" name="Rectangle 13"/>
          <p:cNvSpPr/>
          <p:nvPr userDrawn="1"/>
        </p:nvSpPr>
        <p:spPr bwMode="white">
          <a:xfrm>
            <a:off x="0" y="0"/>
            <a:ext cx="5378967"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472500" y="467101"/>
            <a:ext cx="4707397" cy="249299"/>
          </a:xfrm>
          <a:prstGeom prst="rect">
            <a:avLst/>
          </a:prstGeom>
        </p:spPr>
        <p:txBody>
          <a:bodyPr vert="horz"/>
          <a:lstStyle>
            <a:lvl1pPr rtl="0">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6998589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0E2264A3-841C-3E1C-5793-A50838CE36D1}"/>
              </a:ext>
            </a:extLst>
          </p:cNvPr>
          <p:cNvGraphicFramePr>
            <a:graphicFrameLocks noChangeAspect="1"/>
          </p:cNvGraphicFramePr>
          <p:nvPr userDrawn="1">
            <p:custDataLst>
              <p:tags r:id="rId1"/>
            </p:custDataLst>
            <p:extLst>
              <p:ext uri="{D42A27DB-BD31-4B8C-83A1-F6EECF244321}">
                <p14:modId xmlns:p14="http://schemas.microsoft.com/office/powerpoint/2010/main" val="24936807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0E2264A3-841C-3E1C-5793-A50838CE3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6771935" y="0"/>
            <a:ext cx="312713" cy="5143500"/>
          </a:xfrm>
          <a:prstGeom prst="rect">
            <a:avLst/>
          </a:prstGeom>
        </p:spPr>
      </p:pic>
      <p:sp>
        <p:nvSpPr>
          <p:cNvPr id="10" name="Rectangle 9"/>
          <p:cNvSpPr/>
          <p:nvPr userDrawn="1"/>
        </p:nvSpPr>
        <p:spPr bwMode="white">
          <a:xfrm>
            <a:off x="0" y="0"/>
            <a:ext cx="6775704"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p:spPr>
        <p:txBody>
          <a:bodyPr/>
          <a:lstStyle>
            <a:lvl1pPr rtl="0">
              <a:defRPr>
                <a:solidFill>
                  <a:schemeClr val="bg1"/>
                </a:solidFill>
                <a:latin typeface="+mn-lt"/>
                <a:sym typeface="Trebuchet MS" panose="020B0603020202020204" pitchFamily="34" charset="0"/>
              </a:defRPr>
            </a:lvl1pPr>
          </a:lstStyle>
          <a:p>
            <a:endParaRPr lang="en-US"/>
          </a:p>
        </p:txBody>
      </p:sp>
      <p:sp>
        <p:nvSpPr>
          <p:cNvPr id="22"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6076188" cy="249299"/>
          </a:xfrm>
          <a:prstGeom prst="rect">
            <a:avLst/>
          </a:prstGeom>
        </p:spPr>
        <p:txBody>
          <a:bodyPr vert="horz"/>
          <a:lstStyle>
            <a:lvl1pPr rtl="0">
              <a:defRPr>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1645836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6000F738-DBC0-BB11-64E4-733EB159CE1A}"/>
              </a:ext>
            </a:extLst>
          </p:cNvPr>
          <p:cNvGraphicFramePr>
            <a:graphicFrameLocks noChangeAspect="1"/>
          </p:cNvGraphicFramePr>
          <p:nvPr userDrawn="1">
            <p:custDataLst>
              <p:tags r:id="rId1"/>
            </p:custDataLst>
            <p:extLst>
              <p:ext uri="{D42A27DB-BD31-4B8C-83A1-F6EECF244321}">
                <p14:modId xmlns:p14="http://schemas.microsoft.com/office/powerpoint/2010/main" val="2053572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6000F738-DBC0-BB11-64E4-733EB159CE1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4" name="Title 4"/>
          <p:cNvSpPr>
            <a:spLocks noGrp="1"/>
          </p:cNvSpPr>
          <p:nvPr>
            <p:ph type="title" hasCustomPrompt="1"/>
          </p:nvPr>
        </p:nvSpPr>
        <p:spPr>
          <a:xfrm>
            <a:off x="472500" y="2010827"/>
            <a:ext cx="2345911" cy="1121846"/>
          </a:xfrm>
          <a:prstGeom prst="rect">
            <a:avLst/>
          </a:prstGeom>
        </p:spPr>
        <p:txBody>
          <a:bodyPr vert="horz" anchor="ctr">
            <a:noAutofit/>
          </a:bodyPr>
          <a:lstStyle>
            <a:lvl1pPr rtl="0">
              <a:defRPr sz="1800">
                <a:solidFill>
                  <a:schemeClr val="bg1"/>
                </a:solidFill>
                <a:latin typeface="+mj-lt"/>
                <a:sym typeface="Trebuchet MS" panose="020B0603020202020204" pitchFamily="34" charset="0"/>
              </a:defRPr>
            </a:lvl1pPr>
          </a:lstStyle>
          <a:p>
            <a:r>
              <a:rPr lang="en-US"/>
              <a:t>Click to add title</a:t>
            </a:r>
          </a:p>
        </p:txBody>
      </p:sp>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2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119940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D3CC2CC-1AC7-C221-495F-8BBA0E3E9258}"/>
              </a:ext>
            </a:extLst>
          </p:cNvPr>
          <p:cNvGraphicFramePr>
            <a:graphicFrameLocks noChangeAspect="1"/>
          </p:cNvGraphicFramePr>
          <p:nvPr userDrawn="1">
            <p:custDataLst>
              <p:tags r:id="rId1"/>
            </p:custDataLst>
            <p:extLst>
              <p:ext uri="{D42A27DB-BD31-4B8C-83A1-F6EECF244321}">
                <p14:modId xmlns:p14="http://schemas.microsoft.com/office/powerpoint/2010/main" val="3754731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9D3CC2CC-1AC7-C221-495F-8BBA0E3E925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4267187" y="0"/>
            <a:ext cx="312713" cy="5143500"/>
          </a:xfrm>
          <a:prstGeom prst="rect">
            <a:avLst/>
          </a:prstGeom>
        </p:spPr>
      </p:pic>
      <p:sp>
        <p:nvSpPr>
          <p:cNvPr id="11" name="Rectangle 10"/>
          <p:cNvSpPr/>
          <p:nvPr userDrawn="1"/>
        </p:nvSpPr>
        <p:spPr>
          <a:xfrm>
            <a:off x="4572000" y="0"/>
            <a:ext cx="4572000" cy="51435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4569016" y="0"/>
            <a:ext cx="4574983" cy="5143500"/>
          </a:xfrm>
          <a:prstGeom prst="rect">
            <a:avLst/>
          </a:prstGeom>
          <a:noFill/>
        </p:spPr>
        <p:txBody>
          <a:bodyPr lIns="914400" tIns="914400" rIns="914400" bIns="914400"/>
          <a:lstStyle>
            <a:lvl1pPr algn="ctr" rtl="0">
              <a:defRPr sz="1350" baseline="0">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Title 1"/>
          <p:cNvSpPr>
            <a:spLocks noGrp="1"/>
          </p:cNvSpPr>
          <p:nvPr>
            <p:ph type="title" hasCustomPrompt="1"/>
          </p:nvPr>
        </p:nvSpPr>
        <p:spPr bwMode="blackWhite">
          <a:xfrm>
            <a:off x="472500" y="1339200"/>
            <a:ext cx="3291300" cy="2465100"/>
          </a:xfrm>
          <a:prstGeom prst="rect">
            <a:avLst/>
          </a:prstGeom>
          <a:noFill/>
        </p:spPr>
        <p:txBody>
          <a:bodyPr vert="horz" wrap="square" lIns="0" tIns="0" rIns="320040" bIns="0" anchor="ctr">
            <a:noAutofit/>
          </a:bodyPr>
          <a:lstStyle>
            <a:lvl1pPr rtl="0">
              <a:defRPr sz="33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15143153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äliotsikkodia - sininen">
    <p:bg>
      <p:bgPr>
        <a:solidFill>
          <a:srgbClr val="141F94"/>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88925EC-9F46-508F-F0AA-A64AA382DC44}"/>
              </a:ext>
            </a:extLst>
          </p:cNvPr>
          <p:cNvGraphicFramePr>
            <a:graphicFrameLocks noChangeAspect="1"/>
          </p:cNvGraphicFramePr>
          <p:nvPr userDrawn="1">
            <p:custDataLst>
              <p:tags r:id="rId1"/>
            </p:custDataLst>
            <p:extLst>
              <p:ext uri="{D42A27DB-BD31-4B8C-83A1-F6EECF244321}">
                <p14:modId xmlns:p14="http://schemas.microsoft.com/office/powerpoint/2010/main" val="9452408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488925EC-9F46-508F-F0AA-A64AA382DC4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4"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CB722BBE-49BA-464E-9D21-CF342899C60D}" type="datetime1">
              <a:rPr lang="en-US" smtClean="0"/>
              <a:pPr/>
              <a:t>4/9/2024</a:t>
            </a:fld>
            <a:endParaRPr lang="en-US"/>
          </a:p>
        </p:txBody>
      </p:sp>
      <p:sp>
        <p:nvSpPr>
          <p:cNvPr id="15"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4062311651"/>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D5B9B1D4-F26D-6308-0527-F90ADDE2E5C7}"/>
              </a:ext>
            </a:extLst>
          </p:cNvPr>
          <p:cNvGraphicFramePr>
            <a:graphicFrameLocks noChangeAspect="1"/>
          </p:cNvGraphicFramePr>
          <p:nvPr userDrawn="1">
            <p:custDataLst>
              <p:tags r:id="rId1"/>
            </p:custDataLst>
            <p:extLst>
              <p:ext uri="{D42A27DB-BD31-4B8C-83A1-F6EECF244321}">
                <p14:modId xmlns:p14="http://schemas.microsoft.com/office/powerpoint/2010/main" val="25799430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D5B9B1D4-F26D-6308-0527-F90ADDE2E5C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557387" y="0"/>
            <a:ext cx="312713" cy="5143500"/>
          </a:xfrm>
          <a:prstGeom prst="rect">
            <a:avLst/>
          </a:prstGeom>
        </p:spPr>
      </p:pic>
      <p:sp>
        <p:nvSpPr>
          <p:cNvPr id="11" name="Rectangle 10"/>
          <p:cNvSpPr/>
          <p:nvPr userDrawn="1"/>
        </p:nvSpPr>
        <p:spPr bwMode="gray">
          <a:xfrm>
            <a:off x="5864658" y="0"/>
            <a:ext cx="3279343" cy="51435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5865019" y="0"/>
            <a:ext cx="3278981" cy="5143500"/>
          </a:xfrm>
          <a:prstGeom prst="rect">
            <a:avLst/>
          </a:prstGeom>
          <a:noFill/>
        </p:spPr>
        <p:txBody>
          <a:bodyPr lIns="182880" tIns="914400" rIns="182880" bIns="914400"/>
          <a:lstStyle>
            <a:lvl1pPr algn="ctr" rtl="0">
              <a:defRPr sz="1200">
                <a:solidFill>
                  <a:schemeClr val="tx1"/>
                </a:solidFill>
                <a:latin typeface="Trebuchet MS" panose="020B0603020202020204" pitchFamily="34" charset="0"/>
                <a:sym typeface="Trebuchet MS" panose="020B0603020202020204" pitchFamily="34" charset="0"/>
              </a:defRPr>
            </a:lvl1pPr>
          </a:lstStyle>
          <a:p>
            <a:r>
              <a:rPr lang="en-US"/>
              <a:t>Click icon below to insert an image or remove this placeholder to use the whitespace in another way</a:t>
            </a:r>
          </a:p>
        </p:txBody>
      </p:sp>
      <p:sp>
        <p:nvSpPr>
          <p:cNvPr id="13" name="Date Placeholder 2"/>
          <p:cNvSpPr>
            <a:spLocks noGrp="1"/>
          </p:cNvSpPr>
          <p:nvPr>
            <p:ph type="dt" sz="half" idx="12"/>
          </p:nvPr>
        </p:nvSpPr>
        <p:spPr>
          <a:xfrm>
            <a:off x="7258051" y="4803777"/>
            <a:ext cx="1111538" cy="115416"/>
          </a:xfrm>
          <a:prstGeom prst="rect">
            <a:avLst/>
          </a:prstGeom>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itle 1"/>
          <p:cNvSpPr>
            <a:spLocks noGrp="1"/>
          </p:cNvSpPr>
          <p:nvPr>
            <p:ph type="title" hasCustomPrompt="1"/>
          </p:nvPr>
        </p:nvSpPr>
        <p:spPr bwMode="black">
          <a:xfrm>
            <a:off x="473202" y="1339200"/>
            <a:ext cx="4685664" cy="2465100"/>
          </a:xfrm>
          <a:prstGeom prst="rect">
            <a:avLst/>
          </a:prstGeom>
        </p:spPr>
        <p:txBody>
          <a:bodyPr vert="horz" anchor="ctr">
            <a:noAutofit/>
          </a:bodyPr>
          <a:lstStyle>
            <a:lvl1pPr rtl="0">
              <a:defRPr sz="3300">
                <a:solidFill>
                  <a:schemeClr val="bg1"/>
                </a:solidFill>
                <a:latin typeface="+mj-lt"/>
                <a:sym typeface="Trebuchet MS" panose="020B0603020202020204" pitchFamily="34" charset="0"/>
              </a:defRPr>
            </a:lvl1pPr>
          </a:lstStyle>
          <a:p>
            <a:r>
              <a:rPr lang="en-US"/>
              <a:t>Click to add title</a:t>
            </a:r>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974202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96395446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472500" y="2073153"/>
            <a:ext cx="1858979" cy="985733"/>
          </a:xfrm>
          <a:prstGeom prst="rect">
            <a:avLst/>
          </a:prstGeom>
        </p:spPr>
        <p:txBody>
          <a:bodyPr vert="horz" anchor="ctr">
            <a:noAutofit/>
          </a:bodyPr>
          <a:lstStyle>
            <a:lvl1pPr rtl="0">
              <a:defRPr sz="1800">
                <a:solidFill>
                  <a:schemeClr val="tx2"/>
                </a:solidFill>
                <a:latin typeface="+mj-lt"/>
                <a:sym typeface="Trebuchet MS" panose="020B0603020202020204" pitchFamily="34" charset="0"/>
              </a:defRPr>
            </a:lvl1pPr>
          </a:lstStyle>
          <a:p>
            <a:r>
              <a:rPr lang="en-US">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49331" y="2692799"/>
            <a:ext cx="1023938" cy="253722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40743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0E6D589E-CABA-D936-CF27-80A64141053F}"/>
              </a:ext>
            </a:extLst>
          </p:cNvPr>
          <p:cNvGraphicFramePr>
            <a:graphicFrameLocks noChangeAspect="1"/>
          </p:cNvGraphicFramePr>
          <p:nvPr userDrawn="1">
            <p:custDataLst>
              <p:tags r:id="rId1"/>
            </p:custDataLst>
            <p:extLst>
              <p:ext uri="{D42A27DB-BD31-4B8C-83A1-F6EECF244321}">
                <p14:modId xmlns:p14="http://schemas.microsoft.com/office/powerpoint/2010/main" val="6905775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0E6D589E-CABA-D936-CF27-80A64141053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143" y="983"/>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472500" y="2073153"/>
            <a:ext cx="1858979" cy="985733"/>
          </a:xfrm>
        </p:spPr>
        <p:txBody>
          <a:bodyPr vert="horz" anchor="ctr" anchorCtr="0">
            <a:noAutofit/>
          </a:bodyPr>
          <a:lstStyle>
            <a:lvl1pPr rtl="0">
              <a:defRPr>
                <a:solidFill>
                  <a:srgbClr val="FFFFFF"/>
                </a:solidFill>
                <a:latin typeface="+mj-lt"/>
              </a:defRPr>
            </a:lvl1pPr>
          </a:lstStyle>
          <a:p>
            <a:r>
              <a:rPr lang="en-US"/>
              <a:t>Click to add title</a:t>
            </a:r>
          </a:p>
        </p:txBody>
      </p:sp>
      <p:sp>
        <p:nvSpPr>
          <p:cNvPr id="15"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1630981" y="2552121"/>
            <a:ext cx="2021000" cy="2596309"/>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591393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C20096C-B599-589F-986C-5F9E8B5DDFD4}"/>
              </a:ext>
            </a:extLst>
          </p:cNvPr>
          <p:cNvGraphicFramePr>
            <a:graphicFrameLocks noChangeAspect="1"/>
          </p:cNvGraphicFramePr>
          <p:nvPr userDrawn="1">
            <p:custDataLst>
              <p:tags r:id="rId1"/>
            </p:custDataLst>
            <p:extLst>
              <p:ext uri="{D42A27DB-BD31-4B8C-83A1-F6EECF244321}">
                <p14:modId xmlns:p14="http://schemas.microsoft.com/office/powerpoint/2010/main" val="3243389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AC20096C-B599-589F-986C-5F9E8B5DDFD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TextBox 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600" kern="120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7258051" y="4803777"/>
            <a:ext cx="1111538" cy="115416"/>
          </a:xfrm>
          <a:prstGeom prst="rect">
            <a:avLst/>
          </a:prstGeo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7"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9" name="Pentagon 3"/>
          <p:cNvSpPr/>
          <p:nvPr userDrawn="1"/>
        </p:nvSpPr>
        <p:spPr bwMode="white">
          <a:xfrm>
            <a:off x="1" y="0"/>
            <a:ext cx="407019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300" b="0">
                <a:solidFill>
                  <a:schemeClr val="tx2"/>
                </a:solidFill>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436144" y="2545795"/>
            <a:ext cx="973931" cy="2678906"/>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0456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24B5ACF8-FA9D-F8FE-D4A5-6275D83E9F3E}"/>
              </a:ext>
            </a:extLst>
          </p:cNvPr>
          <p:cNvGraphicFramePr>
            <a:graphicFrameLocks noChangeAspect="1"/>
          </p:cNvGraphicFramePr>
          <p:nvPr userDrawn="1">
            <p:custDataLst>
              <p:tags r:id="rId1"/>
            </p:custDataLst>
            <p:extLst>
              <p:ext uri="{D42A27DB-BD31-4B8C-83A1-F6EECF244321}">
                <p14:modId xmlns:p14="http://schemas.microsoft.com/office/powerpoint/2010/main" val="6582111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24B5ACF8-FA9D-F8FE-D4A5-6275D83E9F3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407019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472501" y="1339200"/>
            <a:ext cx="3046676" cy="2465100"/>
          </a:xfrm>
          <a:prstGeom prst="rect">
            <a:avLst/>
          </a:prstGeom>
        </p:spPr>
        <p:txBody>
          <a:bodyPr vert="horz" anchor="ctr">
            <a:noAutofit/>
          </a:bodyPr>
          <a:lstStyle>
            <a:lvl1pPr rtl="0">
              <a:defRPr sz="3300" b="0">
                <a:solidFill>
                  <a:srgbClr val="FFFFFF"/>
                </a:solidFill>
                <a:latin typeface="+mj-lt"/>
                <a:sym typeface="Trebuchet MS" panose="020B0603020202020204" pitchFamily="34" charset="0"/>
              </a:defRPr>
            </a:lvl1pPr>
          </a:lstStyle>
          <a:p>
            <a:r>
              <a:rPr lang="en-US"/>
              <a:t>Click to add title</a:t>
            </a:r>
          </a:p>
        </p:txBody>
      </p:sp>
      <p:sp>
        <p:nvSpPr>
          <p:cNvPr id="13"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2683544" y="2562225"/>
            <a:ext cx="2021000" cy="2581275"/>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409168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FF7ECF22-104F-4888-950D-D1A8213FFC36}"/>
              </a:ext>
            </a:extLst>
          </p:cNvPr>
          <p:cNvGraphicFramePr>
            <a:graphicFrameLocks noChangeAspect="1"/>
          </p:cNvGraphicFramePr>
          <p:nvPr userDrawn="1">
            <p:custDataLst>
              <p:tags r:id="rId1"/>
            </p:custDataLst>
            <p:extLst>
              <p:ext uri="{D42A27DB-BD31-4B8C-83A1-F6EECF244321}">
                <p14:modId xmlns:p14="http://schemas.microsoft.com/office/powerpoint/2010/main" val="360520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FF7ECF22-104F-4888-950D-D1A8213FFC3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rtl="0">
              <a:defRPr>
                <a:latin typeface="+mj-lt"/>
                <a:sym typeface="Trebuchet MS" panose="020B0603020202020204" pitchFamily="34" charset="0"/>
              </a:defRPr>
            </a:lvl1pPr>
          </a:lstStyle>
          <a:p>
            <a:r>
              <a:rPr lang="en-US"/>
              <a:t>Click to add title</a:t>
            </a:r>
          </a:p>
        </p:txBody>
      </p:sp>
      <p:sp>
        <p:nvSpPr>
          <p:cNvPr id="13" name="Date Placeholder 4"/>
          <p:cNvSpPr>
            <a:spLocks noGrp="1"/>
          </p:cNvSpPr>
          <p:nvPr>
            <p:ph type="dt" sz="half" idx="10"/>
          </p:nvPr>
        </p:nvSpPr>
        <p:spPr>
          <a:xfrm>
            <a:off x="7258051" y="4803777"/>
            <a:ext cx="1111538" cy="115416"/>
          </a:xfrm>
        </p:spPr>
        <p:txBody>
          <a:bodyPr/>
          <a:lstStyle>
            <a:lvl1pPr rtl="0">
              <a:defRPr>
                <a:solidFill>
                  <a:schemeClr val="bg1"/>
                </a:solidFill>
                <a:latin typeface="+mn-lt"/>
                <a:sym typeface="Trebuchet MS" panose="020B0603020202020204" pitchFamily="34" charset="0"/>
              </a:defRPr>
            </a:lvl1pPr>
          </a:lstStyle>
          <a:p>
            <a:endParaRPr lang="en-US"/>
          </a:p>
        </p:txBody>
      </p:sp>
      <p:sp>
        <p:nvSpPr>
          <p:cNvPr id="18"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6" name="TextBox 1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048354" y="2692204"/>
            <a:ext cx="1023938" cy="253722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442811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20E31576-003A-3B57-759B-9B432586CADF}"/>
              </a:ext>
            </a:extLst>
          </p:cNvPr>
          <p:cNvGraphicFramePr>
            <a:graphicFrameLocks noChangeAspect="1"/>
          </p:cNvGraphicFramePr>
          <p:nvPr userDrawn="1">
            <p:custDataLst>
              <p:tags r:id="rId1"/>
            </p:custDataLst>
            <p:extLst>
              <p:ext uri="{D42A27DB-BD31-4B8C-83A1-F6EECF244321}">
                <p14:modId xmlns:p14="http://schemas.microsoft.com/office/powerpoint/2010/main" val="33388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20E31576-003A-3B57-759B-9B432586CA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4772660" cy="51435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472500" y="467101"/>
            <a:ext cx="3560867" cy="2492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US"/>
              <a:t>Click to add title</a:t>
            </a:r>
          </a:p>
        </p:txBody>
      </p:sp>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4" name="TextBox 13"/>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3345129" y="2555853"/>
            <a:ext cx="2021000" cy="2592413"/>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6407447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1F9D46A4-C7A8-3DC0-062D-061B94FB74DE}"/>
              </a:ext>
            </a:extLst>
          </p:cNvPr>
          <p:cNvGraphicFramePr>
            <a:graphicFrameLocks noChangeAspect="1"/>
          </p:cNvGraphicFramePr>
          <p:nvPr userDrawn="1">
            <p:custDataLst>
              <p:tags r:id="rId1"/>
            </p:custDataLst>
            <p:extLst>
              <p:ext uri="{D42A27DB-BD31-4B8C-83A1-F6EECF244321}">
                <p14:modId xmlns:p14="http://schemas.microsoft.com/office/powerpoint/2010/main" val="21833547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1F9D46A4-C7A8-3DC0-062D-061B94FB74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7258051" y="4803777"/>
            <a:ext cx="1111538" cy="115416"/>
          </a:xfrm>
        </p:spPr>
        <p:txBody>
          <a:bodyPr/>
          <a:lstStyle>
            <a:lvl1pPr rtl="0">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rtl="0">
              <a:defRPr>
                <a:latin typeface="+mj-lt"/>
                <a:sym typeface="Trebuchet MS" panose="020B0603020202020204" pitchFamily="34" charset="0"/>
              </a:defRPr>
            </a:lvl1pPr>
          </a:lstStyle>
          <a:p>
            <a:r>
              <a:rPr lang="en-US"/>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617754" y="2692204"/>
            <a:ext cx="1023938" cy="253722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45618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B7956F96-F570-4886-4CDC-3E82F7D95D63}"/>
              </a:ext>
            </a:extLst>
          </p:cNvPr>
          <p:cNvGraphicFramePr>
            <a:graphicFrameLocks noChangeAspect="1"/>
          </p:cNvGraphicFramePr>
          <p:nvPr userDrawn="1">
            <p:custDataLst>
              <p:tags r:id="rId1"/>
            </p:custDataLst>
            <p:extLst>
              <p:ext uri="{D42A27DB-BD31-4B8C-83A1-F6EECF244321}">
                <p14:modId xmlns:p14="http://schemas.microsoft.com/office/powerpoint/2010/main" val="209378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4" name="think-cell data - do not delete" hidden="1">
                        <a:extLst>
                          <a:ext uri="{FF2B5EF4-FFF2-40B4-BE49-F238E27FC236}">
                            <a16:creationId xmlns:a16="http://schemas.microsoft.com/office/drawing/2014/main" id="{B7956F96-F570-4886-4CDC-3E82F7D95D6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6334679" cy="51435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lnSpc>
                <a:spcPct val="90000"/>
              </a:lnSpc>
              <a:spcAft>
                <a:spcPts val="750"/>
              </a:spcAft>
            </a:pPr>
            <a:endParaRPr lang="en-US" sz="90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472500" y="467101"/>
            <a:ext cx="4690872" cy="249299"/>
          </a:xfrm>
          <a:prstGeom prst="rect">
            <a:avLst/>
          </a:prstGeom>
        </p:spPr>
        <p:txBody>
          <a:bodyPr vert="horz"/>
          <a:lstStyle>
            <a:lvl1pPr rtl="0">
              <a:defRPr>
                <a:solidFill>
                  <a:srgbClr val="FFFFFF"/>
                </a:solidFill>
                <a:latin typeface="+mj-lt"/>
                <a:sym typeface="Trebuchet MS" panose="020B0603020202020204" pitchFamily="34" charset="0"/>
              </a:defRPr>
            </a:lvl1pPr>
          </a:lstStyle>
          <a:p>
            <a:r>
              <a:rPr lang="en-US"/>
              <a:t>Click to add title</a:t>
            </a:r>
          </a:p>
        </p:txBody>
      </p:sp>
      <p:sp>
        <p:nvSpPr>
          <p:cNvPr id="17"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8" name="TextBox 1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925721" y="2555853"/>
            <a:ext cx="2021000" cy="2592413"/>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8984181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81DE2BA7-16F8-A7E4-3373-C1D728A8CD41}"/>
              </a:ext>
            </a:extLst>
          </p:cNvPr>
          <p:cNvGraphicFramePr>
            <a:graphicFrameLocks noChangeAspect="1"/>
          </p:cNvGraphicFramePr>
          <p:nvPr userDrawn="1">
            <p:custDataLst>
              <p:tags r:id="rId1"/>
            </p:custDataLst>
            <p:extLst>
              <p:ext uri="{D42A27DB-BD31-4B8C-83A1-F6EECF244321}">
                <p14:modId xmlns:p14="http://schemas.microsoft.com/office/powerpoint/2010/main" val="11970887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81DE2BA7-16F8-A7E4-3373-C1D728A8CD4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4"/>
          <p:cNvSpPr>
            <a:spLocks noGrp="1"/>
          </p:cNvSpPr>
          <p:nvPr>
            <p:ph type="dt" sz="half" idx="10"/>
          </p:nvPr>
        </p:nvSpPr>
        <p:spPr>
          <a:xfrm>
            <a:off x="7258051" y="4803777"/>
            <a:ext cx="1111538" cy="115416"/>
          </a:xfrm>
        </p:spPr>
        <p:txBody>
          <a:bodyPr/>
          <a:lstStyle>
            <a:lvl1pPr rtl="0">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0" name="TextBox 9"/>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472500" y="2869750"/>
            <a:ext cx="8199900" cy="1204913"/>
          </a:xfr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818560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äliotsikkodia tekstille ja kuvalle - sininen">
    <p:bg>
      <p:bgPr>
        <a:solidFill>
          <a:srgbClr val="141F94"/>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3436807-C028-A902-7758-9406D9619BFC}"/>
              </a:ext>
            </a:extLst>
          </p:cNvPr>
          <p:cNvGraphicFramePr>
            <a:graphicFrameLocks noChangeAspect="1"/>
          </p:cNvGraphicFramePr>
          <p:nvPr userDrawn="1">
            <p:custDataLst>
              <p:tags r:id="rId1"/>
            </p:custDataLst>
            <p:extLst>
              <p:ext uri="{D42A27DB-BD31-4B8C-83A1-F6EECF244321}">
                <p14:modId xmlns:p14="http://schemas.microsoft.com/office/powerpoint/2010/main" val="38249588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A3436807-C028-A902-7758-9406D9619B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Kuvan paikkamerkki 6"/>
          <p:cNvSpPr>
            <a:spLocks noGrp="1"/>
          </p:cNvSpPr>
          <p:nvPr>
            <p:ph type="pic" sz="quarter" idx="18" hasCustomPrompt="1"/>
          </p:nvPr>
        </p:nvSpPr>
        <p:spPr>
          <a:xfrm>
            <a:off x="5090400" y="0"/>
            <a:ext cx="4053605" cy="5143500"/>
          </a:xfrm>
          <a:prstGeom prst="rect">
            <a:avLst/>
          </a:prstGeom>
        </p:spPr>
        <p:txBody>
          <a:bodyPr anchor="ctr"/>
          <a:lstStyle>
            <a:lvl1pPr marL="0" indent="0" algn="ctr" rtl="0">
              <a:buFontTx/>
              <a:buNone/>
              <a:defRPr sz="1500">
                <a:solidFill>
                  <a:schemeClr val="bg1"/>
                </a:solidFill>
              </a:defRPr>
            </a:lvl1pPr>
          </a:lstStyle>
          <a:p>
            <a:r>
              <a:rPr lang="en-US"/>
              <a:t>Lisää kuva napsauttamalla kuvaketta</a:t>
            </a:r>
          </a:p>
        </p:txBody>
      </p:sp>
      <p:sp>
        <p:nvSpPr>
          <p:cNvPr id="9"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2620A5ED-6AB1-4AF1-A5CF-257A19B62523}" type="datetime1">
              <a:rPr lang="en-US" smtClean="0"/>
              <a:pPr/>
              <a:t>4/9/2024</a:t>
            </a:fld>
            <a:endParaRPr lang="en-US"/>
          </a:p>
        </p:txBody>
      </p:sp>
      <p:sp>
        <p:nvSpPr>
          <p:cNvPr id="10"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
        <p:nvSpPr>
          <p:cNvPr id="7" name="Tekstin paikkamerkki 2"/>
          <p:cNvSpPr>
            <a:spLocks noGrp="1"/>
          </p:cNvSpPr>
          <p:nvPr>
            <p:ph idx="21" hasCustomPrompt="1"/>
          </p:nvPr>
        </p:nvSpPr>
        <p:spPr>
          <a:xfrm>
            <a:off x="1072800" y="1585226"/>
            <a:ext cx="3844800" cy="2849967"/>
          </a:xfrm>
          <a:prstGeom prst="rect">
            <a:avLst/>
          </a:prstGeom>
        </p:spPr>
        <p:txBody>
          <a:bodyPr vert="horz" lIns="91440" tIns="45720" rIns="91440" bIns="45720" rtlCol="0">
            <a:normAutofit/>
          </a:bodyPr>
          <a:lstStyle>
            <a:lvl1pPr marL="234000" marR="0" indent="-212400" algn="l" defTabSz="806052" rtl="0" eaLnBrk="1" fontAlgn="auto" latinLnBrk="0" hangingPunct="1">
              <a:lnSpc>
                <a:spcPts val="2000"/>
              </a:lnSpc>
              <a:spcBef>
                <a:spcPts val="400"/>
              </a:spcBef>
              <a:spcAft>
                <a:spcPts val="300"/>
              </a:spcAft>
              <a:buClrTx/>
              <a:buSzPct val="125000"/>
              <a:buFont typeface="Arial" panose="020B0604020202020204" pitchFamily="34" charset="0"/>
              <a:buChar char="•"/>
              <a:tabLst/>
              <a:defRPr sz="1600">
                <a:solidFill>
                  <a:schemeClr val="bg1"/>
                </a:solidFill>
              </a:defRPr>
            </a:lvl1pPr>
            <a:lvl2pPr indent="-158400" rtl="0">
              <a:buSzPct val="125000"/>
              <a:defRPr sz="1300" baseline="0">
                <a:solidFill>
                  <a:schemeClr val="bg1"/>
                </a:solidFill>
              </a:defRPr>
            </a:lvl2pPr>
            <a:lvl3pPr indent="-158400" rtl="0">
              <a:buSzPct val="125000"/>
              <a:defRPr sz="1100">
                <a:solidFill>
                  <a:schemeClr val="bg1"/>
                </a:solidFill>
              </a:defRPr>
            </a:lvl3pPr>
            <a:lvl4pPr indent="-158400" rtl="0">
              <a:buSzPct val="125000"/>
              <a:defRPr sz="1000">
                <a:solidFill>
                  <a:schemeClr val="bg1"/>
                </a:solidFill>
              </a:defRPr>
            </a:lvl4p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8" name="Tekstin paikkamerkki 28"/>
          <p:cNvSpPr>
            <a:spLocks noGrp="1"/>
          </p:cNvSpPr>
          <p:nvPr>
            <p:ph type="body" sz="quarter" idx="22" hasCustomPrompt="1"/>
          </p:nvPr>
        </p:nvSpPr>
        <p:spPr>
          <a:xfrm>
            <a:off x="1072800" y="1102950"/>
            <a:ext cx="3844800" cy="482276"/>
          </a:xfrm>
          <a:prstGeom prst="rect">
            <a:avLst/>
          </a:prstGeom>
        </p:spPr>
        <p:txBody>
          <a:bodyPr/>
          <a:lstStyle>
            <a:lvl1pPr marL="14400" indent="0" rtl="0">
              <a:lnSpc>
                <a:spcPts val="2700"/>
              </a:lnSpc>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napsautt.</a:t>
            </a:r>
          </a:p>
        </p:txBody>
      </p:sp>
    </p:spTree>
    <p:extLst>
      <p:ext uri="{BB962C8B-B14F-4D97-AF65-F5344CB8AC3E}">
        <p14:creationId xmlns:p14="http://schemas.microsoft.com/office/powerpoint/2010/main" val="2781393815"/>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B67C88BA-F3E4-9624-477E-C2C7FD52D350}"/>
              </a:ext>
            </a:extLst>
          </p:cNvPr>
          <p:cNvGraphicFramePr>
            <a:graphicFrameLocks noChangeAspect="1"/>
          </p:cNvGraphicFramePr>
          <p:nvPr userDrawn="1">
            <p:custDataLst>
              <p:tags r:id="rId1"/>
            </p:custDataLst>
            <p:extLst>
              <p:ext uri="{D42A27DB-BD31-4B8C-83A1-F6EECF244321}">
                <p14:modId xmlns:p14="http://schemas.microsoft.com/office/powerpoint/2010/main" val="1669561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B67C88BA-F3E4-9624-477E-C2C7FD52D3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rtl="0">
              <a:defRPr>
                <a:latin typeface="+mn-lt"/>
                <a:sym typeface="Trebuchet MS" panose="020B0603020202020204" pitchFamily="34" charset="0"/>
              </a:defRPr>
            </a:lvl1pPr>
          </a:lstStyle>
          <a:p>
            <a:endParaRPr lang="en-US"/>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6" name="Rectangle 5"/>
          <p:cNvSpPr/>
          <p:nvPr userDrawn="1"/>
        </p:nvSpPr>
        <p:spPr bwMode="white">
          <a:xfrm>
            <a:off x="472500" y="469106"/>
            <a:ext cx="699516" cy="699516"/>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90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472500" y="2869750"/>
            <a:ext cx="8199900" cy="1204913"/>
          </a:xfrm>
          <a:prstGeom prst="rect">
            <a:avLst/>
          </a:prstGeom>
        </p:spPr>
        <p:txBody>
          <a:bodyPr vert="horz" anchor="b">
            <a:noAutofit/>
          </a:bodyPr>
          <a:lstStyle>
            <a:lvl1pPr marL="0" algn="l" defTabSz="685800" rtl="0" eaLnBrk="1" fontAlgn="auto" latinLnBrk="0" hangingPunct="1">
              <a:lnSpc>
                <a:spcPts val="4500"/>
              </a:lnSpc>
              <a:spcBef>
                <a:spcPts val="0"/>
              </a:spcBef>
              <a:spcAft>
                <a:spcPts val="0"/>
              </a:spcAft>
              <a:defRPr lang="en-US" sz="405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a:t>Click to add big statement text</a:t>
            </a:r>
          </a:p>
        </p:txBody>
      </p:sp>
    </p:spTree>
    <p:extLst>
      <p:ext uri="{BB962C8B-B14F-4D97-AF65-F5344CB8AC3E}">
        <p14:creationId xmlns:p14="http://schemas.microsoft.com/office/powerpoint/2010/main" val="16439280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73499477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6" name="TextBox 5"/>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US"/>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5098096" y="76083"/>
            <a:ext cx="576943" cy="7514866"/>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1"/>
            <a:ext cx="9144000" cy="4400501"/>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68580" tIns="34290" rIns="68580" bIns="34290" numCol="1" anchor="t" anchorCtr="0" compatLnSpc="1">
            <a:prstTxWarp prst="textNoShape">
              <a:avLst/>
            </a:prstTxWarp>
            <a:noAutofit/>
          </a:bodyPr>
          <a:lstStyle/>
          <a:p>
            <a:pPr rtl="0"/>
            <a:endParaRPr lang="en-US" sz="1005">
              <a:latin typeface="+mn-lt"/>
              <a:sym typeface="Trebuchet MS" panose="020B0603020202020204" pitchFamily="34" charset="0"/>
            </a:endParaRPr>
          </a:p>
        </p:txBody>
      </p:sp>
    </p:spTree>
    <p:extLst>
      <p:ext uri="{BB962C8B-B14F-4D97-AF65-F5344CB8AC3E}">
        <p14:creationId xmlns:p14="http://schemas.microsoft.com/office/powerpoint/2010/main" val="14787133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1FE90806-D2D7-F529-E3B9-C3CE60E485E4}"/>
              </a:ext>
            </a:extLst>
          </p:cNvPr>
          <p:cNvGraphicFramePr>
            <a:graphicFrameLocks noChangeAspect="1"/>
          </p:cNvGraphicFramePr>
          <p:nvPr userDrawn="1">
            <p:custDataLst>
              <p:tags r:id="rId1"/>
            </p:custDataLst>
            <p:extLst>
              <p:ext uri="{D42A27DB-BD31-4B8C-83A1-F6EECF244321}">
                <p14:modId xmlns:p14="http://schemas.microsoft.com/office/powerpoint/2010/main" val="30083519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6" name="think-cell data - do not delete" hidden="1">
                        <a:extLst>
                          <a:ext uri="{FF2B5EF4-FFF2-40B4-BE49-F238E27FC236}">
                            <a16:creationId xmlns:a16="http://schemas.microsoft.com/office/drawing/2014/main" id="{1FE90806-D2D7-F529-E3B9-C3CE60E485E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TextBox 4"/>
          <p:cNvSpPr txBox="1"/>
          <p:nvPr/>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rtl="0">
              <a:defRPr>
                <a:solidFill>
                  <a:schemeClr val="bg1"/>
                </a:solidFill>
                <a:latin typeface="+mn-lt"/>
                <a:sym typeface="Trebuchet MS" panose="020B0603020202020204" pitchFamily="34" charset="0"/>
              </a:defRPr>
            </a:lvl1pPr>
          </a:lstStyle>
          <a:p>
            <a:endParaRPr lang="en-US"/>
          </a:p>
        </p:txBody>
      </p:sp>
      <p:sp>
        <p:nvSpPr>
          <p:cNvPr id="11"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2" name="Title 1"/>
          <p:cNvSpPr>
            <a:spLocks noGrp="1"/>
          </p:cNvSpPr>
          <p:nvPr>
            <p:ph type="title" hasCustomPrompt="1"/>
          </p:nvPr>
        </p:nvSpPr>
        <p:spPr>
          <a:xfrm>
            <a:off x="472500" y="467101"/>
            <a:ext cx="8199900" cy="249299"/>
          </a:xfrm>
        </p:spPr>
        <p:txBody>
          <a:bodyPr vert="horz"/>
          <a:lstStyle>
            <a:lvl1pPr rtl="0">
              <a:defRPr>
                <a:solidFill>
                  <a:schemeClr val="bg1"/>
                </a:solidFill>
                <a:latin typeface="+mj-lt"/>
                <a:sym typeface="Trebuchet MS" panose="020B0603020202020204" pitchFamily="34" charset="0"/>
              </a:defRPr>
            </a:lvl1pPr>
          </a:lstStyle>
          <a:p>
            <a:r>
              <a:rPr lang="en-US"/>
              <a:t>Click to add title</a:t>
            </a:r>
          </a:p>
        </p:txBody>
      </p:sp>
    </p:spTree>
    <p:extLst>
      <p:ext uri="{BB962C8B-B14F-4D97-AF65-F5344CB8AC3E}">
        <p14:creationId xmlns:p14="http://schemas.microsoft.com/office/powerpoint/2010/main" val="8629212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FA0608D-EBC0-34B7-9B23-DDF685C76F19}"/>
              </a:ext>
            </a:extLst>
          </p:cNvPr>
          <p:cNvGraphicFramePr>
            <a:graphicFrameLocks noChangeAspect="1"/>
          </p:cNvGraphicFramePr>
          <p:nvPr userDrawn="1">
            <p:custDataLst>
              <p:tags r:id="rId1"/>
            </p:custDataLst>
            <p:extLst>
              <p:ext uri="{D42A27DB-BD31-4B8C-83A1-F6EECF244321}">
                <p14:modId xmlns:p14="http://schemas.microsoft.com/office/powerpoint/2010/main" val="15717551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1FA0608D-EBC0-34B7-9B23-DDF685C76F1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mn-lt"/>
              <a:sym typeface="Trebuchet MS" panose="020B0603020202020204" pitchFamily="34" charset="0"/>
            </a:endParaRPr>
          </a:p>
        </p:txBody>
      </p:sp>
      <p:sp>
        <p:nvSpPr>
          <p:cNvPr id="20" name="TextBox 19"/>
          <p:cNvSpPr txBox="1"/>
          <p:nvPr userDrawn="1"/>
        </p:nvSpPr>
        <p:spPr>
          <a:xfrm>
            <a:off x="472500" y="1956406"/>
            <a:ext cx="2114550" cy="1275414"/>
          </a:xfrm>
          <a:prstGeom prst="rect">
            <a:avLst/>
          </a:prstGeom>
          <a:noFill/>
        </p:spPr>
        <p:txBody>
          <a:bodyPr wrap="square" lIns="0" tIns="0" rIns="0" bIns="0" rtlCol="0" anchor="ctr">
            <a:spAutoFit/>
          </a:bodyPr>
          <a:lstStyle/>
          <a:p>
            <a:pPr marL="0" indent="0" rtl="0">
              <a:lnSpc>
                <a:spcPct val="106000"/>
              </a:lnSpc>
              <a:spcAft>
                <a:spcPts val="525"/>
              </a:spcAft>
              <a:buFontTx/>
              <a:buNone/>
            </a:pPr>
            <a:r>
              <a:rPr lang="en-US" sz="405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7258051" y="4803777"/>
            <a:ext cx="1111538" cy="115416"/>
          </a:xfrm>
        </p:spPr>
        <p:txBody>
          <a:bodyPr/>
          <a:lstStyle>
            <a:lvl1pPr rtl="0">
              <a:defRPr>
                <a:solidFill>
                  <a:schemeClr val="bg1"/>
                </a:solidFill>
                <a:latin typeface="+mn-lt"/>
                <a:sym typeface="Trebuchet MS" panose="020B0603020202020204" pitchFamily="34" charset="0"/>
              </a:defRPr>
            </a:lvl1pPr>
          </a:lstStyle>
          <a:p>
            <a:endParaRPr lang="en-US"/>
          </a:p>
        </p:txBody>
      </p:sp>
      <p:sp>
        <p:nvSpPr>
          <p:cNvPr id="2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592575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4D89670F-0802-9527-77BC-397DC756E299}"/>
              </a:ext>
            </a:extLst>
          </p:cNvPr>
          <p:cNvGraphicFramePr>
            <a:graphicFrameLocks noChangeAspect="1"/>
          </p:cNvGraphicFramePr>
          <p:nvPr userDrawn="1">
            <p:custDataLst>
              <p:tags r:id="rId1"/>
            </p:custDataLst>
            <p:extLst>
              <p:ext uri="{D42A27DB-BD31-4B8C-83A1-F6EECF244321}">
                <p14:modId xmlns:p14="http://schemas.microsoft.com/office/powerpoint/2010/main" val="7521155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4D89670F-0802-9527-77BC-397DC756E2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Date Placeholder 4"/>
          <p:cNvSpPr>
            <a:spLocks noGrp="1"/>
          </p:cNvSpPr>
          <p:nvPr>
            <p:ph type="dt" sz="half" idx="10"/>
          </p:nvPr>
        </p:nvSpPr>
        <p:spPr>
          <a:xfrm>
            <a:off x="7258051" y="4803777"/>
            <a:ext cx="1111538" cy="115416"/>
          </a:xfrm>
        </p:spPr>
        <p:txBody>
          <a:bodyPr/>
          <a:lstStyle>
            <a:lvl1pPr rtl="0">
              <a:defRPr>
                <a:solidFill>
                  <a:schemeClr val="bg1"/>
                </a:solidFill>
                <a:latin typeface="+mn-lt"/>
                <a:sym typeface="Trebuchet MS" panose="020B0603020202020204" pitchFamily="34" charset="0"/>
              </a:defRPr>
            </a:lvl1pPr>
          </a:lstStyle>
          <a:p>
            <a:endParaRPr lang="en-US"/>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mn-lt"/>
                <a:sym typeface="Trebuchet MS" panose="020B0603020202020204" pitchFamily="34" charset="0"/>
              </a:rPr>
              <a:t>Copyright © 2024 by Boston Consulting Group. All rights reserved.</a:t>
            </a:r>
          </a:p>
        </p:txBody>
      </p:sp>
      <p:sp>
        <p:nvSpPr>
          <p:cNvPr id="11" name="TextBox 10"/>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1289345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3A3E11A-3DD7-3E61-42DC-3E2EB790F7FC}"/>
              </a:ext>
            </a:extLst>
          </p:cNvPr>
          <p:cNvGraphicFramePr>
            <a:graphicFrameLocks noChangeAspect="1"/>
          </p:cNvGraphicFramePr>
          <p:nvPr userDrawn="1">
            <p:custDataLst>
              <p:tags r:id="rId1"/>
            </p:custDataLst>
            <p:extLst>
              <p:ext uri="{D42A27DB-BD31-4B8C-83A1-F6EECF244321}">
                <p14:modId xmlns:p14="http://schemas.microsoft.com/office/powerpoint/2010/main" val="4247531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03A3E11A-3DD7-3E61-42DC-3E2EB790F7F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rtl="0">
              <a:defRPr>
                <a:latin typeface="+mn-lt"/>
                <a:sym typeface="Trebuchet MS" panose="020B0603020202020204" pitchFamily="34" charset="0"/>
              </a:defRPr>
            </a:lvl1pPr>
          </a:lstStyle>
          <a:p>
            <a:endParaRPr lang="en-US"/>
          </a:p>
        </p:txBody>
      </p:sp>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272495975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1D5F6271-6FFE-42FF-65A8-36F34183C66C}"/>
              </a:ext>
            </a:extLst>
          </p:cNvPr>
          <p:cNvGraphicFramePr>
            <a:graphicFrameLocks noChangeAspect="1"/>
          </p:cNvGraphicFramePr>
          <p:nvPr userDrawn="1">
            <p:custDataLst>
              <p:tags r:id="rId1"/>
            </p:custDataLst>
            <p:extLst>
              <p:ext uri="{D42A27DB-BD31-4B8C-83A1-F6EECF244321}">
                <p14:modId xmlns:p14="http://schemas.microsoft.com/office/powerpoint/2010/main" val="1530502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1D5F6271-6FFE-42FF-65A8-36F34183C6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p:cNvSpPr/>
          <p:nvPr/>
        </p:nvSpPr>
        <p:spPr>
          <a:xfrm>
            <a:off x="3766370" y="1248192"/>
            <a:ext cx="4656804" cy="2492990"/>
          </a:xfrm>
          <a:prstGeom prst="rect">
            <a:avLst/>
          </a:prstGeom>
        </p:spPr>
        <p:txBody>
          <a:bodyPr wrap="square" lIns="0" tIns="0" rIns="0" bIns="0" anchor="ctr">
            <a:spAutoFit/>
          </a:bodyPr>
          <a:lstStyle/>
          <a:p>
            <a:pPr indent="0" rtl="0">
              <a:lnSpc>
                <a:spcPct val="100000"/>
              </a:lnSpc>
            </a:pPr>
            <a:r>
              <a:rPr lang="en-US" sz="675" b="0">
                <a:latin typeface="+mn-lt"/>
                <a:sym typeface="Trebuchet MS" panose="020B0603020202020204" pitchFamily="34" charset="0"/>
              </a:rPr>
              <a:t>The services and materials provided by Boston Consulting Group (BCG) are subject to BCG's Standard Terms </a:t>
            </a:r>
            <a:br>
              <a:rPr lang="en-US" sz="675" b="0">
                <a:latin typeface="+mn-lt"/>
                <a:sym typeface="Trebuchet MS" panose="020B0603020202020204" pitchFamily="34" charset="0"/>
              </a:rPr>
            </a:br>
            <a:r>
              <a:rPr lang="en-US" sz="675" b="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675" b="0">
                <a:latin typeface="+mn-lt"/>
                <a:sym typeface="Trebuchet MS" panose="020B0603020202020204" pitchFamily="34" charset="0"/>
              </a:rPr>
            </a:br>
            <a:r>
              <a:rPr lang="en-US" sz="675" b="0">
                <a:latin typeface="+mn-lt"/>
                <a:sym typeface="Trebuchet MS" panose="020B0603020202020204" pitchFamily="34" charset="0"/>
              </a:rPr>
              <a:t>to update these materials after the date hereof, notwithstanding that such information may become outdated </a:t>
            </a:r>
            <a:br>
              <a:rPr lang="en-US" sz="675" b="0">
                <a:latin typeface="+mn-lt"/>
                <a:sym typeface="Trebuchet MS" panose="020B0603020202020204" pitchFamily="34" charset="0"/>
              </a:rPr>
            </a:br>
            <a:r>
              <a:rPr lang="en-US" sz="675" b="0">
                <a:latin typeface="+mn-lt"/>
                <a:sym typeface="Trebuchet MS" panose="020B0603020202020204" pitchFamily="34" charset="0"/>
              </a:rPr>
              <a:t>or inaccurate.</a:t>
            </a:r>
          </a:p>
          <a:p>
            <a:pPr indent="0" rtl="0">
              <a:lnSpc>
                <a:spcPct val="100000"/>
              </a:lnSpc>
            </a:pPr>
            <a:r>
              <a:rPr lang="en-US" sz="675" b="0">
                <a:latin typeface="+mn-lt"/>
                <a:sym typeface="Trebuchet MS" panose="020B0603020202020204" pitchFamily="34" charset="0"/>
              </a:rPr>
              <a:t> </a:t>
            </a:r>
          </a:p>
          <a:p>
            <a:pPr indent="0" rtl="0">
              <a:lnSpc>
                <a:spcPct val="100000"/>
              </a:lnSpc>
            </a:pPr>
            <a:r>
              <a:rPr lang="en-US" sz="675" b="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675" b="0">
                <a:latin typeface="+mn-lt"/>
                <a:sym typeface="Trebuchet MS" panose="020B0603020202020204" pitchFamily="34" charset="0"/>
              </a:rPr>
            </a:br>
            <a:r>
              <a:rPr lang="en-US" sz="675" b="0">
                <a:latin typeface="+mn-lt"/>
                <a:sym typeface="Trebuchet MS" panose="020B0603020202020204" pitchFamily="34" charset="0"/>
              </a:rPr>
              <a:t>of this document shall be deemed agreement with and consideration for the foregoing.</a:t>
            </a:r>
          </a:p>
          <a:p>
            <a:pPr indent="0" rtl="0">
              <a:lnSpc>
                <a:spcPct val="100000"/>
              </a:lnSpc>
            </a:pPr>
            <a:endParaRPr lang="en-US" sz="675" b="0">
              <a:latin typeface="+mn-lt"/>
              <a:sym typeface="Trebuchet MS" panose="020B0603020202020204" pitchFamily="34" charset="0"/>
            </a:endParaRPr>
          </a:p>
          <a:p>
            <a:pPr marL="0" marR="0" indent="0" algn="l" defTabSz="685800" rtl="0" eaLnBrk="1" fontAlgn="auto" latinLnBrk="0" hangingPunct="1">
              <a:lnSpc>
                <a:spcPct val="100000"/>
              </a:lnSpc>
              <a:spcBef>
                <a:spcPts val="0"/>
              </a:spcBef>
              <a:spcAft>
                <a:spcPts val="0"/>
              </a:spcAft>
              <a:buClrTx/>
              <a:buSzTx/>
              <a:buFontTx/>
              <a:buNone/>
              <a:tabLst/>
              <a:defRPr/>
            </a:pPr>
            <a:r>
              <a:rPr lang="en-US" sz="675" b="0">
                <a:latin typeface="+mn-lt"/>
                <a:sym typeface="Trebuchet MS" panose="020B0603020202020204" pitchFamily="34" charset="0"/>
              </a:rPr>
              <a:t>BCG does not provide fairness opinions or valuations of market transactions, and these materials should not be relied </a:t>
            </a:r>
            <a:br>
              <a:rPr lang="en-US" sz="675" b="0">
                <a:latin typeface="+mn-lt"/>
                <a:sym typeface="Trebuchet MS" panose="020B0603020202020204" pitchFamily="34" charset="0"/>
              </a:rPr>
            </a:br>
            <a:r>
              <a:rPr lang="en-US" sz="675" b="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675" b="0">
                <a:latin typeface="+mn-lt"/>
                <a:sym typeface="Trebuchet MS" panose="020B0603020202020204" pitchFamily="34" charset="0"/>
              </a:rPr>
            </a:br>
            <a:r>
              <a:rPr lang="en-US" sz="675" b="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479283" y="2229807"/>
            <a:ext cx="2399647" cy="529760"/>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pPr rtl="0"/>
            <a:r>
              <a:rPr lang="en-US" sz="3825">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3275924" y="1222639"/>
            <a:ext cx="0" cy="2544097"/>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rtl="0">
              <a:defRPr>
                <a:latin typeface="+mn-lt"/>
                <a:sym typeface="Trebuchet MS" panose="020B0603020202020204" pitchFamily="34" charset="0"/>
              </a:defRPr>
            </a:lvl1pPr>
          </a:lstStyle>
          <a:p>
            <a:endParaRPr lang="en-US"/>
          </a:p>
        </p:txBody>
      </p:sp>
      <p:sp>
        <p:nvSpPr>
          <p:cNvPr id="10"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0667415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174204238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192" y="1192"/>
                        <a:ext cx="1190" cy="1190"/>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9144000" cy="5143500"/>
          </a:xfrm>
          <a:prstGeom prst="rect">
            <a:avLst/>
          </a:prstGeom>
        </p:spPr>
      </p:pic>
      <p:sp>
        <p:nvSpPr>
          <p:cNvPr id="8" name="Rectangle 7"/>
          <p:cNvSpPr/>
          <p:nvPr userDrawn="1"/>
        </p:nvSpPr>
        <p:spPr bwMode="black">
          <a:xfrm>
            <a:off x="473202" y="469650"/>
            <a:ext cx="6093900" cy="41472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rtl="0">
              <a:lnSpc>
                <a:spcPct val="95000"/>
              </a:lnSpc>
            </a:pPr>
            <a:endParaRPr lang="en-US" sz="1500">
              <a:solidFill>
                <a:prstClr val="white"/>
              </a:solidFill>
              <a:latin typeface="+mn-lt"/>
              <a:sym typeface="Trebuchet MS" panose="020B0603020202020204" pitchFamily="34" charset="0"/>
            </a:endParaRPr>
          </a:p>
        </p:txBody>
      </p:sp>
      <p:sp>
        <p:nvSpPr>
          <p:cNvPr id="15" name="TextBox 14"/>
          <p:cNvSpPr txBox="1"/>
          <p:nvPr/>
        </p:nvSpPr>
        <p:spPr bwMode="white">
          <a:xfrm>
            <a:off x="693735" y="4286383"/>
            <a:ext cx="630601" cy="127583"/>
          </a:xfrm>
          <a:prstGeom prst="rect">
            <a:avLst/>
          </a:prstGeom>
          <a:noFill/>
        </p:spPr>
        <p:txBody>
          <a:bodyPr wrap="none" lIns="0" tIns="0" rIns="0" bIns="0" rtlCol="0" anchor="b">
            <a:noAutofit/>
          </a:bodyPr>
          <a:lstStyle/>
          <a:p>
            <a:pPr rtl="0">
              <a:lnSpc>
                <a:spcPct val="90000"/>
              </a:lnSpc>
              <a:spcAft>
                <a:spcPts val="450"/>
              </a:spcAft>
            </a:pPr>
            <a:r>
              <a:rPr lang="en-US" sz="90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007643" y="2227135"/>
            <a:ext cx="3025018" cy="632231"/>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8580" tIns="34290" rIns="68580" bIns="34290" numCol="1" anchor="t" anchorCtr="0" compatLnSpc="1">
            <a:prstTxWarp prst="textNoShape">
              <a:avLst/>
            </a:prstTxWarp>
            <a:noAutofit/>
          </a:bodyPr>
          <a:lstStyle/>
          <a:p>
            <a:pPr rtl="0"/>
            <a:endParaRPr lang="en-US" sz="1005"/>
          </a:p>
        </p:txBody>
      </p:sp>
    </p:spTree>
    <p:extLst>
      <p:ext uri="{BB962C8B-B14F-4D97-AF65-F5344CB8AC3E}">
        <p14:creationId xmlns:p14="http://schemas.microsoft.com/office/powerpoint/2010/main" val="2143876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BD857D6-2430-0A08-1A17-C2359B57529F}"/>
              </a:ext>
            </a:extLst>
          </p:cNvPr>
          <p:cNvGraphicFramePr>
            <a:graphicFrameLocks noChangeAspect="1"/>
          </p:cNvGraphicFramePr>
          <p:nvPr userDrawn="1">
            <p:custDataLst>
              <p:tags r:id="rId1"/>
            </p:custDataLst>
            <p:extLst>
              <p:ext uri="{D42A27DB-BD31-4B8C-83A1-F6EECF244321}">
                <p14:modId xmlns:p14="http://schemas.microsoft.com/office/powerpoint/2010/main" val="325783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3" name="think-cell data - do not delete" hidden="1">
                        <a:extLst>
                          <a:ext uri="{FF2B5EF4-FFF2-40B4-BE49-F238E27FC236}">
                            <a16:creationId xmlns:a16="http://schemas.microsoft.com/office/drawing/2014/main" id="{9BD857D6-2430-0A08-1A17-C2359B57529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144" name="Group 143"/>
          <p:cNvGrpSpPr/>
          <p:nvPr userDrawn="1"/>
        </p:nvGrpSpPr>
        <p:grpSpPr>
          <a:xfrm>
            <a:off x="-450" y="-1"/>
            <a:ext cx="9145350" cy="51435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rtl="0"/>
                <a:endParaRPr lang="en-US" sz="1005">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rtl="0">
                <a:lnSpc>
                  <a:spcPct val="90000"/>
                </a:lnSpc>
                <a:spcAft>
                  <a:spcPts val="750"/>
                </a:spcAft>
              </a:pPr>
              <a:endParaRPr lang="en-US" sz="900">
                <a:solidFill>
                  <a:schemeClr val="bg1"/>
                </a:solidFill>
                <a:latin typeface="+mn-lt"/>
              </a:endParaRPr>
            </a:p>
          </p:txBody>
        </p:sp>
        <p:sp>
          <p:nvSpPr>
            <p:cNvPr id="153" name="Footnote example"/>
            <p:cNvSpPr txBox="1"/>
            <p:nvPr/>
          </p:nvSpPr>
          <p:spPr>
            <a:xfrm>
              <a:off x="630000" y="6144441"/>
              <a:ext cx="9030915" cy="415499"/>
            </a:xfrm>
            <a:prstGeom prst="rect">
              <a:avLst/>
            </a:prstGeom>
            <a:noFill/>
          </p:spPr>
          <p:txBody>
            <a:bodyPr wrap="square" lIns="0" tIns="0" rIns="0" bIns="0" rtlCol="0" anchor="b">
              <a:spAutoFit/>
            </a:bodyPr>
            <a:lstStyle/>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1.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2. </a:t>
              </a:r>
              <a:r>
                <a:rPr kumimoji="0" lang="en-US" sz="750" b="0" i="0" u="none" strike="noStrike" kern="1200" cap="none" spc="0" normalizeH="0" baseline="0" noProof="0" err="1">
                  <a:ln>
                    <a:noFill/>
                  </a:ln>
                  <a:solidFill>
                    <a:schemeClr val="bg1">
                      <a:lumMod val="50000"/>
                    </a:schemeClr>
                  </a:solidFill>
                  <a:effectLst/>
                  <a:uLnTx/>
                  <a:uFillTx/>
                  <a:latin typeface="+mn-lt"/>
                  <a:ea typeface="+mn-ea"/>
                  <a:cs typeface="+mn-cs"/>
                  <a:sym typeface="Trebuchet MS" panose="020B0603020202020204" pitchFamily="34" charset="0"/>
                </a:rPr>
                <a:t>xxxx</a:t>
              </a: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  3. List footnotes in numerical order. Footnote numbers are not bracketed. Use 10pt font</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685800" rtl="0" eaLnBrk="1" fontAlgn="auto" latinLnBrk="0" hangingPunct="1">
                <a:lnSpc>
                  <a:spcPct val="90000"/>
                </a:lnSpc>
                <a:spcBef>
                  <a:spcPts val="0"/>
                </a:spcBef>
                <a:spcAft>
                  <a:spcPts val="0"/>
                </a:spcAft>
                <a:buClrTx/>
                <a:buSzTx/>
                <a:buFontTx/>
                <a:buNone/>
                <a:tabLst/>
                <a:defRPr/>
              </a:pPr>
              <a:r>
                <a:rPr kumimoji="0" lang="en-US" sz="750" b="0" i="0" u="none" strike="noStrike" kern="1200" cap="none" spc="0" normalizeH="0" baseline="0" noProof="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rtl="0">
              <a:defRPr>
                <a:solidFill>
                  <a:schemeClr val="bg1">
                    <a:lumMod val="50000"/>
                  </a:schemeClr>
                </a:solidFill>
                <a:latin typeface="+mn-lt"/>
                <a:sym typeface="Trebuchet MS" panose="020B0603020202020204" pitchFamily="34" charset="0"/>
              </a:defRPr>
            </a:lvl1pPr>
          </a:lstStyle>
          <a:p>
            <a:endParaRPr lang="en-US"/>
          </a:p>
        </p:txBody>
      </p:sp>
      <p:sp>
        <p:nvSpPr>
          <p:cNvPr id="5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980742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19106349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11" name="Rectangle 10"/>
          <p:cNvSpPr/>
          <p:nvPr userDrawn="1"/>
        </p:nvSpPr>
        <p:spPr bwMode="invGray">
          <a:xfrm>
            <a:off x="1041109" y="3518390"/>
            <a:ext cx="697003" cy="746906"/>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150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1882112" y="3518390"/>
            <a:ext cx="1177614" cy="1101132"/>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rtl="0">
              <a:lnSpc>
                <a:spcPct val="95000"/>
              </a:lnSpc>
            </a:pPr>
            <a:endParaRPr lang="en-US" sz="900">
              <a:solidFill>
                <a:srgbClr val="FFFFFF"/>
              </a:solidFill>
              <a:latin typeface="Trebuchet MS" panose="020B0603020202020204" pitchFamily="34" charset="0"/>
            </a:endParaRPr>
          </a:p>
        </p:txBody>
      </p:sp>
      <p:sp>
        <p:nvSpPr>
          <p:cNvPr id="10" name="TextBox 1"/>
          <p:cNvSpPr txBox="1"/>
          <p:nvPr userDrawn="1"/>
        </p:nvSpPr>
        <p:spPr>
          <a:xfrm>
            <a:off x="824407" y="836562"/>
            <a:ext cx="1882247" cy="684418"/>
          </a:xfrm>
          <a:prstGeom prst="rect">
            <a:avLst/>
          </a:prstGeom>
          <a:noFill/>
        </p:spPr>
        <p:txBody>
          <a:bodyPr wrap="none" rtlCol="0">
            <a:spAutoFit/>
          </a:bodyPr>
          <a:lstStyle/>
          <a:p>
            <a:pPr algn="ctr" rtl="0" fontAlgn="auto">
              <a:lnSpc>
                <a:spcPct val="95000"/>
              </a:lnSpc>
              <a:spcBef>
                <a:spcPts val="0"/>
              </a:spcBef>
              <a:spcAft>
                <a:spcPts val="0"/>
              </a:spcAft>
            </a:pPr>
            <a:r>
              <a:rPr lang="en-US" sz="4050">
                <a:solidFill>
                  <a:schemeClr val="bg1"/>
                </a:solidFill>
                <a:latin typeface="+mj-lt"/>
              </a:rPr>
              <a:t>Agenda</a:t>
            </a:r>
          </a:p>
        </p:txBody>
      </p:sp>
      <p:sp>
        <p:nvSpPr>
          <p:cNvPr id="2" name="TextBox 1"/>
          <p:cNvSpPr txBox="1"/>
          <p:nvPr userDrawn="1"/>
        </p:nvSpPr>
        <p:spPr>
          <a:xfrm>
            <a:off x="472500" y="680400"/>
            <a:ext cx="2586600" cy="915351"/>
          </a:xfrm>
          <a:prstGeom prst="rect">
            <a:avLst/>
          </a:prstGeom>
          <a:noFill/>
          <a:ln>
            <a:solidFill>
              <a:schemeClr val="bg1"/>
            </a:solidFill>
          </a:ln>
        </p:spPr>
        <p:txBody>
          <a:bodyPr wrap="square" lIns="459000" tIns="351000" rIns="0" bIns="0" rtlCol="0" anchor="t">
            <a:spAutoFit/>
          </a:bodyPr>
          <a:lstStyle/>
          <a:p>
            <a:pPr rtl="0">
              <a:lnSpc>
                <a:spcPct val="90000"/>
              </a:lnSpc>
              <a:spcAft>
                <a:spcPts val="450"/>
              </a:spcAft>
            </a:pPr>
            <a:endParaRPr lang="en-US" sz="4050">
              <a:solidFill>
                <a:schemeClr val="bg1"/>
              </a:solidFill>
            </a:endParaRPr>
          </a:p>
        </p:txBody>
      </p:sp>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Tree>
    <p:extLst>
      <p:ext uri="{BB962C8B-B14F-4D97-AF65-F5344CB8AC3E}">
        <p14:creationId xmlns:p14="http://schemas.microsoft.com/office/powerpoint/2010/main" val="3046473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Väliotsikkodia - violetti">
    <p:bg>
      <p:bgPr>
        <a:solidFill>
          <a:srgbClr val="8A0FA6"/>
        </a:solidFill>
        <a:effectLst/>
      </p:bgPr>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01433024-3247-E555-48C2-C45CE9F44EFD}"/>
              </a:ext>
            </a:extLst>
          </p:cNvPr>
          <p:cNvGraphicFramePr>
            <a:graphicFrameLocks noChangeAspect="1"/>
          </p:cNvGraphicFramePr>
          <p:nvPr userDrawn="1">
            <p:custDataLst>
              <p:tags r:id="rId1"/>
            </p:custDataLst>
            <p:extLst>
              <p:ext uri="{D42A27DB-BD31-4B8C-83A1-F6EECF244321}">
                <p14:modId xmlns:p14="http://schemas.microsoft.com/office/powerpoint/2010/main" val="35751293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2" name="think-cell data - do not delete" hidden="1">
                        <a:extLst>
                          <a:ext uri="{FF2B5EF4-FFF2-40B4-BE49-F238E27FC236}">
                            <a16:creationId xmlns:a16="http://schemas.microsoft.com/office/drawing/2014/main" id="{01433024-3247-E555-48C2-C45CE9F44E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Kuva 7"/>
          <p:cNvPicPr>
            <a:picLocks noChangeAspect="1"/>
          </p:cNvPicPr>
          <p:nvPr userDrawn="1"/>
        </p:nvPicPr>
        <p:blipFill>
          <a:blip r:embed="rId5"/>
          <a:stretch>
            <a:fillRect/>
          </a:stretch>
        </p:blipFill>
        <p:spPr>
          <a:xfrm>
            <a:off x="8335004" y="370433"/>
            <a:ext cx="437200" cy="437174"/>
          </a:xfrm>
          <a:prstGeom prst="rect">
            <a:avLst/>
          </a:prstGeom>
        </p:spPr>
      </p:pic>
      <p:sp>
        <p:nvSpPr>
          <p:cNvPr id="10" name="Tekstin paikkamerkki 28"/>
          <p:cNvSpPr>
            <a:spLocks noGrp="1"/>
          </p:cNvSpPr>
          <p:nvPr>
            <p:ph type="body" sz="quarter" idx="15" hasCustomPrompt="1"/>
          </p:nvPr>
        </p:nvSpPr>
        <p:spPr>
          <a:xfrm>
            <a:off x="1072800" y="1924882"/>
            <a:ext cx="6977283" cy="1165268"/>
          </a:xfrm>
          <a:prstGeom prst="rect">
            <a:avLst/>
          </a:prstGeom>
        </p:spPr>
        <p:txBody>
          <a:bodyPr/>
          <a:lstStyle>
            <a:lvl1pPr marL="10800" indent="0" rtl="0">
              <a:lnSpc>
                <a:spcPts val="2700"/>
              </a:lnSpc>
              <a:spcBef>
                <a:spcPts val="0"/>
              </a:spcBef>
              <a:spcAft>
                <a:spcPts val="0"/>
              </a:spcAft>
              <a:buFontTx/>
              <a:buNone/>
              <a:defRPr sz="2200" b="1" baseline="0">
                <a:solidFill>
                  <a:schemeClr val="bg1"/>
                </a:solidFill>
              </a:defRPr>
            </a:lvl1pPr>
            <a:lvl2pPr marL="314865" indent="0">
              <a:spcAft>
                <a:spcPts val="0"/>
              </a:spcAft>
              <a:buFontTx/>
              <a:buNone/>
              <a:defRPr sz="2200" b="1">
                <a:solidFill>
                  <a:srgbClr val="666666"/>
                </a:solidFill>
              </a:defRPr>
            </a:lvl2pPr>
            <a:lvl3pPr marL="629724" indent="0">
              <a:spcAft>
                <a:spcPts val="0"/>
              </a:spcAft>
              <a:buFontTx/>
              <a:buNone/>
              <a:defRPr sz="2200" b="1">
                <a:solidFill>
                  <a:srgbClr val="666666"/>
                </a:solidFill>
              </a:defRPr>
            </a:lvl3pPr>
            <a:lvl4pPr marL="944589" indent="0">
              <a:spcAft>
                <a:spcPts val="0"/>
              </a:spcAft>
              <a:buFontTx/>
              <a:buNone/>
              <a:defRPr sz="2200" b="1">
                <a:solidFill>
                  <a:srgbClr val="666666"/>
                </a:solidFill>
              </a:defRPr>
            </a:lvl4pPr>
            <a:lvl5pPr marL="1267851" indent="0">
              <a:spcAft>
                <a:spcPts val="0"/>
              </a:spcAft>
              <a:buFontTx/>
              <a:buNone/>
              <a:defRPr sz="2200" b="1">
                <a:solidFill>
                  <a:srgbClr val="666666"/>
                </a:solidFill>
              </a:defRPr>
            </a:lvl5pPr>
          </a:lstStyle>
          <a:p>
            <a:pPr lvl="0"/>
            <a:r>
              <a:rPr lang="en-US"/>
              <a:t>Muokkaa väliotsikkoa napsautt.</a:t>
            </a:r>
          </a:p>
        </p:txBody>
      </p:sp>
      <p:sp>
        <p:nvSpPr>
          <p:cNvPr id="12" name="Dian numeron paikkamerkki 3"/>
          <p:cNvSpPr>
            <a:spLocks noGrp="1"/>
          </p:cNvSpPr>
          <p:nvPr>
            <p:ph type="sldNum" sz="quarter" idx="12"/>
          </p:nvPr>
        </p:nvSpPr>
        <p:spPr>
          <a:xfrm>
            <a:off x="8005977" y="4729407"/>
            <a:ext cx="863990" cy="165406"/>
          </a:xfrm>
          <a:prstGeom prst="rect">
            <a:avLst/>
          </a:prstGeom>
        </p:spPr>
        <p:txBody>
          <a:bodyPr/>
          <a:lstStyle>
            <a:lvl1pPr rtl="0">
              <a:defRPr sz="700">
                <a:solidFill>
                  <a:schemeClr val="bg1"/>
                </a:solidFill>
              </a:defRPr>
            </a:lvl1pPr>
          </a:lstStyle>
          <a:p>
            <a:fld id="{6FCB6B90-8271-4E8F-82C1-E646FBB48A2E}" type="slidenum">
              <a:rPr lang="en-US" smtClean="0"/>
              <a:pPr/>
              <a:t>‹#›</a:t>
            </a:fld>
            <a:endParaRPr lang="en-US"/>
          </a:p>
        </p:txBody>
      </p:sp>
      <p:sp>
        <p:nvSpPr>
          <p:cNvPr id="14" name="Päivämäärän paikkamerkki 1"/>
          <p:cNvSpPr>
            <a:spLocks noGrp="1"/>
          </p:cNvSpPr>
          <p:nvPr>
            <p:ph type="dt" sz="half" idx="10"/>
          </p:nvPr>
        </p:nvSpPr>
        <p:spPr>
          <a:xfrm>
            <a:off x="282027" y="4728047"/>
            <a:ext cx="916709" cy="164690"/>
          </a:xfrm>
        </p:spPr>
        <p:txBody>
          <a:bodyPr/>
          <a:lstStyle>
            <a:lvl1pPr rtl="0">
              <a:defRPr>
                <a:solidFill>
                  <a:schemeClr val="bg1"/>
                </a:solidFill>
              </a:defRPr>
            </a:lvl1pPr>
          </a:lstStyle>
          <a:p>
            <a:fld id="{8829E41B-9EFE-4C4A-A95F-7439E186849E}" type="datetime1">
              <a:rPr lang="en-US" smtClean="0"/>
              <a:pPr/>
              <a:t>4/9/2024</a:t>
            </a:fld>
            <a:endParaRPr lang="en-US"/>
          </a:p>
        </p:txBody>
      </p:sp>
      <p:sp>
        <p:nvSpPr>
          <p:cNvPr id="15" name="Alatunnisteen paikkamerkki 2"/>
          <p:cNvSpPr>
            <a:spLocks noGrp="1"/>
          </p:cNvSpPr>
          <p:nvPr>
            <p:ph type="ftr" sz="quarter" idx="11"/>
          </p:nvPr>
        </p:nvSpPr>
        <p:spPr>
          <a:xfrm>
            <a:off x="1111510" y="4728047"/>
            <a:ext cx="2034868" cy="164690"/>
          </a:xfrm>
        </p:spPr>
        <p:txBody>
          <a:bodyPr/>
          <a:lstStyle>
            <a:lvl1pPr rtl="0">
              <a:defRPr>
                <a:solidFill>
                  <a:schemeClr val="bg1"/>
                </a:solidFill>
              </a:defRPr>
            </a:lvl1pPr>
          </a:lstStyle>
          <a:p>
            <a:r>
              <a:rPr lang="en-US"/>
              <a:t>Technology Industries of Finland</a:t>
            </a:r>
          </a:p>
        </p:txBody>
      </p:sp>
    </p:spTree>
    <p:extLst>
      <p:ext uri="{BB962C8B-B14F-4D97-AF65-F5344CB8AC3E}">
        <p14:creationId xmlns:p14="http://schemas.microsoft.com/office/powerpoint/2010/main" val="330501944"/>
      </p:ext>
    </p:extLst>
  </p:cSld>
  <p:clrMapOvr>
    <a:masterClrMapping/>
  </p:clrMapOvr>
  <p:transition spd="med">
    <p:fade/>
  </p:transition>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28718536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Rectangle 9"/>
          <p:cNvSpPr/>
          <p:nvPr userDrawn="1"/>
        </p:nvSpPr>
        <p:spPr bwMode="white">
          <a:xfrm>
            <a:off x="963557" y="1071098"/>
            <a:ext cx="710754" cy="71075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90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963900" y="2000700"/>
            <a:ext cx="7214400" cy="24003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1500">
              <a:solidFill>
                <a:prstClr val="white"/>
              </a:solidFill>
              <a:latin typeface="Trebuchet MS" panose="020B0603020202020204" pitchFamily="34" charset="0"/>
            </a:endParaRPr>
          </a:p>
        </p:txBody>
      </p:sp>
    </p:spTree>
    <p:extLst>
      <p:ext uri="{BB962C8B-B14F-4D97-AF65-F5344CB8AC3E}">
        <p14:creationId xmlns:p14="http://schemas.microsoft.com/office/powerpoint/2010/main" val="14025458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4167149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7" name="TextBox 6"/>
          <p:cNvSpPr txBox="1"/>
          <p:nvPr userDrawn="1"/>
        </p:nvSpPr>
        <p:spPr bwMode="white">
          <a:xfrm>
            <a:off x="8375904" y="4803300"/>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0"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sz="2550">
                <a:solidFill>
                  <a:schemeClr val="bg1"/>
                </a:solidFill>
              </a:rPr>
              <a:t>Agenda</a:t>
            </a:r>
          </a:p>
        </p:txBody>
      </p:sp>
      <p:cxnSp>
        <p:nvCxnSpPr>
          <p:cNvPr id="13" name="Straight Connector 12"/>
          <p:cNvCxnSpPr/>
          <p:nvPr userDrawn="1"/>
        </p:nvCxnSpPr>
        <p:spPr bwMode="white">
          <a:xfrm>
            <a:off x="464174" y="904500"/>
            <a:ext cx="8682228"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474848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31755163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13" name="Rectangle 12"/>
          <p:cNvSpPr/>
          <p:nvPr userDrawn="1"/>
        </p:nvSpPr>
        <p:spPr bwMode="white">
          <a:xfrm>
            <a:off x="3060573" y="-982"/>
            <a:ext cx="6083428" cy="51444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16"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15" name="TextBox 14"/>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472501" y="2405787"/>
            <a:ext cx="1160357" cy="332399"/>
          </a:xfrm>
          <a:prstGeom prst="rect">
            <a:avLst/>
          </a:prstGeom>
          <a:noFill/>
        </p:spPr>
        <p:txBody>
          <a:bodyPr wrap="square" lIns="0" tIns="0" rIns="0" bIns="0" rtlCol="0" anchor="t">
            <a:spAutoFit/>
          </a:bodyPr>
          <a:lstStyle/>
          <a:p>
            <a:pPr rtl="0">
              <a:lnSpc>
                <a:spcPct val="90000"/>
              </a:lnSpc>
              <a:spcAft>
                <a:spcPts val="450"/>
              </a:spcAft>
            </a:pPr>
            <a:r>
              <a:rPr lang="en-US" sz="2400">
                <a:solidFill>
                  <a:schemeClr val="bg1"/>
                </a:solidFill>
              </a:rPr>
              <a:t>Agenda</a:t>
            </a:r>
          </a:p>
        </p:txBody>
      </p:sp>
    </p:spTree>
    <p:extLst>
      <p:ext uri="{BB962C8B-B14F-4D97-AF65-F5344CB8AC3E}">
        <p14:creationId xmlns:p14="http://schemas.microsoft.com/office/powerpoint/2010/main" val="35763385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610398"/>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192" y="1192"/>
                        <a:ext cx="1190" cy="1190"/>
                      </a:xfrm>
                      <a:prstGeom prst="rect">
                        <a:avLst/>
                      </a:prstGeom>
                    </p:spPr>
                  </p:pic>
                </p:oleObj>
              </mc:Fallback>
            </mc:AlternateContent>
          </a:graphicData>
        </a:graphic>
      </p:graphicFrame>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invGray">
          <a:xfrm>
            <a:off x="1041109" y="3518390"/>
            <a:ext cx="697003" cy="746906"/>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lnSpc>
                <a:spcPct val="95000"/>
              </a:lnSpc>
              <a:spcBef>
                <a:spcPts val="0"/>
              </a:spcBef>
              <a:spcAft>
                <a:spcPts val="0"/>
              </a:spcAft>
            </a:pPr>
            <a:endParaRPr lang="en-US" sz="150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1882112" y="3518390"/>
            <a:ext cx="1177614" cy="1101132"/>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135000" rIns="137160" bIns="137160" numCol="1" spcCol="0" rtlCol="0" fromWordArt="0" anchor="t" anchorCtr="0" forceAA="0" compatLnSpc="1">
            <a:prstTxWarp prst="textNoShape">
              <a:avLst/>
            </a:prstTxWarp>
            <a:noAutofit/>
          </a:bodyPr>
          <a:lstStyle/>
          <a:p>
            <a:pPr rtl="0">
              <a:lnSpc>
                <a:spcPct val="95000"/>
              </a:lnSpc>
            </a:pPr>
            <a:endParaRPr lang="en-US" sz="900">
              <a:solidFill>
                <a:srgbClr val="FFFFFF"/>
              </a:solidFill>
              <a:latin typeface="Trebuchet MS" panose="020B0603020202020204" pitchFamily="34" charset="0"/>
            </a:endParaRPr>
          </a:p>
        </p:txBody>
      </p:sp>
      <p:sp>
        <p:nvSpPr>
          <p:cNvPr id="11" name="TextBox 10"/>
          <p:cNvSpPr txBox="1"/>
          <p:nvPr userDrawn="1"/>
        </p:nvSpPr>
        <p:spPr>
          <a:xfrm>
            <a:off x="472500" y="680399"/>
            <a:ext cx="2586600" cy="915351"/>
          </a:xfrm>
          <a:prstGeom prst="rect">
            <a:avLst/>
          </a:prstGeom>
          <a:noFill/>
          <a:ln>
            <a:solidFill>
              <a:schemeClr val="accent4"/>
            </a:solidFill>
          </a:ln>
        </p:spPr>
        <p:txBody>
          <a:bodyPr wrap="square" lIns="459000" tIns="351000" rIns="0" bIns="0" rtlCol="0" anchor="t">
            <a:spAutoFit/>
          </a:bodyPr>
          <a:lstStyle/>
          <a:p>
            <a:pPr rtl="0">
              <a:lnSpc>
                <a:spcPct val="90000"/>
              </a:lnSpc>
              <a:spcAft>
                <a:spcPts val="450"/>
              </a:spcAft>
            </a:pPr>
            <a:endParaRPr lang="en-US" sz="4050">
              <a:solidFill>
                <a:schemeClr val="accent4"/>
              </a:solidFill>
            </a:endParaRPr>
          </a:p>
        </p:txBody>
      </p:sp>
      <p:sp>
        <p:nvSpPr>
          <p:cNvPr id="9" name="TextBox 1"/>
          <p:cNvSpPr txBox="1"/>
          <p:nvPr userDrawn="1"/>
        </p:nvSpPr>
        <p:spPr>
          <a:xfrm>
            <a:off x="824407" y="836562"/>
            <a:ext cx="1882247" cy="684418"/>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rtl="0"/>
            <a:r>
              <a:rPr lang="en-US" sz="4050"/>
              <a:t>Agenda</a:t>
            </a:r>
          </a:p>
        </p:txBody>
      </p:sp>
    </p:spTree>
    <p:extLst>
      <p:ext uri="{BB962C8B-B14F-4D97-AF65-F5344CB8AC3E}">
        <p14:creationId xmlns:p14="http://schemas.microsoft.com/office/powerpoint/2010/main" val="5415143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50990874"/>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8" name="Rectangle 7"/>
          <p:cNvSpPr/>
          <p:nvPr userDrawn="1"/>
        </p:nvSpPr>
        <p:spPr bwMode="white">
          <a:xfrm>
            <a:off x="963557" y="1071098"/>
            <a:ext cx="710754" cy="71075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rtl="0"/>
            <a:endParaRPr lang="en-US" sz="90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963900" y="2000700"/>
            <a:ext cx="7214400" cy="24003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rtl="0" fontAlgn="auto">
              <a:spcBef>
                <a:spcPts val="0"/>
              </a:spcBef>
              <a:spcAft>
                <a:spcPts val="0"/>
              </a:spcAft>
            </a:pPr>
            <a:endParaRPr lang="en-US" sz="1500">
              <a:solidFill>
                <a:prstClr val="white"/>
              </a:solidFill>
              <a:latin typeface="Trebuchet MS" panose="020B0603020202020204" pitchFamily="34" charset="0"/>
            </a:endParaRPr>
          </a:p>
        </p:txBody>
      </p:sp>
    </p:spTree>
    <p:extLst>
      <p:ext uri="{BB962C8B-B14F-4D97-AF65-F5344CB8AC3E}">
        <p14:creationId xmlns:p14="http://schemas.microsoft.com/office/powerpoint/2010/main" val="1082766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930728220"/>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5"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Trebuchet MS" panose="020B0603020202020204" pitchFamily="34" charset="0"/>
                <a:sym typeface="Trebuchet MS" panose="020B0603020202020204" pitchFamily="34" charset="0"/>
              </a:rPr>
              <a:t>Copyright © 2024 by Boston Consulting Group. All rights reserved.</a:t>
            </a:r>
          </a:p>
        </p:txBody>
      </p:sp>
      <p:sp>
        <p:nvSpPr>
          <p:cNvPr id="7" name="Title 1"/>
          <p:cNvSpPr txBox="1">
            <a:spLocks/>
          </p:cNvSpPr>
          <p:nvPr userDrawn="1"/>
        </p:nvSpPr>
        <p:spPr>
          <a:xfrm>
            <a:off x="472500" y="467100"/>
            <a:ext cx="5392499" cy="353174"/>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pPr rtl="0"/>
            <a:r>
              <a:rPr lang="en-US" sz="2550">
                <a:solidFill>
                  <a:schemeClr val="accent4"/>
                </a:solidFill>
              </a:rPr>
              <a:t>Agenda</a:t>
            </a:r>
          </a:p>
        </p:txBody>
      </p:sp>
      <p:cxnSp>
        <p:nvCxnSpPr>
          <p:cNvPr id="9" name="Straight Connector 8"/>
          <p:cNvCxnSpPr/>
          <p:nvPr userDrawn="1"/>
        </p:nvCxnSpPr>
        <p:spPr bwMode="white">
          <a:xfrm>
            <a:off x="464174" y="904500"/>
            <a:ext cx="8682228"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79371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28352844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2753302" y="0"/>
            <a:ext cx="312713" cy="5143500"/>
          </a:xfrm>
          <a:prstGeom prst="rect">
            <a:avLst/>
          </a:prstGeom>
        </p:spPr>
      </p:pic>
      <p:sp>
        <p:nvSpPr>
          <p:cNvPr id="26" name="Rectangle 25"/>
          <p:cNvSpPr/>
          <p:nvPr userDrawn="1"/>
        </p:nvSpPr>
        <p:spPr bwMode="ltGray">
          <a:xfrm>
            <a:off x="3060573" y="-982"/>
            <a:ext cx="6083428" cy="514448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rtl="0"/>
            <a:endParaRPr lang="en-US" sz="900">
              <a:solidFill>
                <a:schemeClr val="bg1"/>
              </a:solidFill>
              <a:latin typeface="+mn-lt"/>
              <a:sym typeface="Trebuchet MS" panose="020B0603020202020204" pitchFamily="34" charset="0"/>
            </a:endParaRPr>
          </a:p>
        </p:txBody>
      </p:sp>
      <p:sp>
        <p:nvSpPr>
          <p:cNvPr id="29"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lumMod val="50000"/>
                  </a:schemeClr>
                </a:solidFill>
                <a:latin typeface="+mn-lt"/>
                <a:sym typeface="Trebuchet MS" panose="020B0603020202020204" pitchFamily="34" charset="0"/>
              </a:rPr>
              <a:t>Copyright © 2024 by Boston Consulting Group. All rights reserved.</a:t>
            </a:r>
          </a:p>
        </p:txBody>
      </p:sp>
      <p:sp>
        <p:nvSpPr>
          <p:cNvPr id="28" name="TextBox 27"/>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472501" y="2446609"/>
            <a:ext cx="870785" cy="249299"/>
          </a:xfrm>
          <a:prstGeom prst="rect">
            <a:avLst/>
          </a:prstGeom>
          <a:noFill/>
        </p:spPr>
        <p:txBody>
          <a:bodyPr wrap="square" lIns="0" tIns="0" rIns="0" bIns="0" rtlCol="0" anchor="t">
            <a:spAutoFit/>
          </a:bodyPr>
          <a:lstStyle/>
          <a:p>
            <a:pPr rtl="0">
              <a:lnSpc>
                <a:spcPct val="90000"/>
              </a:lnSpc>
              <a:spcAft>
                <a:spcPts val="450"/>
              </a:spcAft>
            </a:pPr>
            <a:r>
              <a:rPr lang="en-US" sz="1800">
                <a:solidFill>
                  <a:schemeClr val="bg1"/>
                </a:solidFill>
              </a:rPr>
              <a:t>Agenda</a:t>
            </a:r>
          </a:p>
        </p:txBody>
      </p:sp>
    </p:spTree>
    <p:extLst>
      <p:ext uri="{BB962C8B-B14F-4D97-AF65-F5344CB8AC3E}">
        <p14:creationId xmlns:p14="http://schemas.microsoft.com/office/powerpoint/2010/main" val="130226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4206037383"/>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192" y="1192"/>
                        <a:ext cx="1190" cy="1190"/>
                      </a:xfrm>
                      <a:prstGeom prst="rect">
                        <a:avLst/>
                      </a:prstGeom>
                    </p:spPr>
                  </p:pic>
                </p:oleObj>
              </mc:Fallback>
            </mc:AlternateContent>
          </a:graphicData>
        </a:graphic>
      </p:graphicFrame>
      <p:sp>
        <p:nvSpPr>
          <p:cNvPr id="13" name="Freeform 12"/>
          <p:cNvSpPr/>
          <p:nvPr/>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3066234" cy="51435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rtl="0">
              <a:lnSpc>
                <a:spcPct val="90000"/>
              </a:lnSpc>
              <a:spcAft>
                <a:spcPts val="750"/>
              </a:spcAft>
            </a:pPr>
            <a:endParaRPr lang="en-US" sz="90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472500" y="1956406"/>
            <a:ext cx="2114550" cy="1275414"/>
          </a:xfrm>
          <a:prstGeom prst="rect">
            <a:avLst/>
          </a:prstGeom>
          <a:noFill/>
        </p:spPr>
        <p:txBody>
          <a:bodyPr wrap="square" lIns="0" tIns="0" rIns="0" bIns="0" rtlCol="0" anchor="ctr">
            <a:spAutoFit/>
          </a:bodyPr>
          <a:lstStyle/>
          <a:p>
            <a:pPr marL="0" indent="0" rtl="0">
              <a:lnSpc>
                <a:spcPct val="106000"/>
              </a:lnSpc>
              <a:spcAft>
                <a:spcPts val="525"/>
              </a:spcAft>
              <a:buFontTx/>
              <a:buNone/>
            </a:pPr>
            <a:r>
              <a:rPr lang="en-US" sz="405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7115176" y="2941873"/>
            <a:ext cx="3850481" cy="72712"/>
          </a:xfrm>
          <a:prstGeom prst="rect">
            <a:avLst/>
          </a:prstGeom>
          <a:noFill/>
        </p:spPr>
        <p:txBody>
          <a:bodyPr wrap="square" lIns="0" tIns="0" rIns="0" bIns="0" rtlCol="0" anchor="t">
            <a:spAutoFit/>
          </a:bodyPr>
          <a:lstStyle/>
          <a:p>
            <a:pPr rtl="0">
              <a:lnSpc>
                <a:spcPct val="90000"/>
              </a:lnSpc>
              <a:spcAft>
                <a:spcPts val="450"/>
              </a:spcAft>
            </a:pPr>
            <a:r>
              <a:rPr lang="en-US" sz="525">
                <a:solidFill>
                  <a:schemeClr val="bg1"/>
                </a:solidFill>
                <a:latin typeface="Trebuchet MS" panose="020B0603020202020204" pitchFamily="34" charset="0"/>
                <a:sym typeface="Trebuchet MS" panose="020B0603020202020204" pitchFamily="34" charset="0"/>
              </a:rPr>
              <a:t>Copyright © 2024 by Boston Consulting Group. All rights reserved.</a:t>
            </a:r>
          </a:p>
        </p:txBody>
      </p:sp>
      <p:sp>
        <p:nvSpPr>
          <p:cNvPr id="19" name="TextBox 18"/>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2331478" y="2690061"/>
            <a:ext cx="1023938" cy="253722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99607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0000"/>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3415542906"/>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191" y="1191"/>
                        <a:ext cx="1191" cy="1191"/>
                      </a:xfrm>
                      <a:prstGeom prst="rect">
                        <a:avLst/>
                      </a:prstGeom>
                    </p:spPr>
                  </p:pic>
                </p:oleObj>
              </mc:Fallback>
            </mc:AlternateContent>
          </a:graphicData>
        </a:graphic>
      </p:graphicFrame>
      <p:sp>
        <p:nvSpPr>
          <p:cNvPr id="3" name="Rectangle 2" hidden="1"/>
          <p:cNvSpPr/>
          <p:nvPr userDrawn="1">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4050" b="0" i="0" baseline="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1072800" y="1881898"/>
            <a:ext cx="6977283" cy="1165268"/>
          </a:xfrm>
          <a:prstGeom prst="rect">
            <a:avLst/>
          </a:prstGeom>
        </p:spPr>
        <p:txBody>
          <a:bodyPr vert="horz" anchor="ctr">
            <a:normAutofit/>
          </a:bodyPr>
          <a:lstStyle>
            <a:lvl1pPr marL="9144" algn="l">
              <a:lnSpc>
                <a:spcPct val="100000"/>
              </a:lnSpc>
              <a:spcBef>
                <a:spcPts val="0"/>
              </a:spcBef>
              <a:defRPr sz="2000" baseline="0">
                <a:solidFill>
                  <a:schemeClr val="bg1"/>
                </a:solidFill>
                <a:latin typeface="+mj-lt"/>
                <a:ea typeface="+mj-ea"/>
                <a:cs typeface="+mj-cs"/>
                <a:sym typeface="Trebuchet MS" panose="020B0603020202020204" pitchFamily="34" charset="0"/>
              </a:defRPr>
            </a:lvl1pPr>
          </a:lstStyle>
          <a:p>
            <a:r>
              <a:rPr lang="en-US"/>
              <a:t>Title</a:t>
            </a:r>
          </a:p>
        </p:txBody>
      </p:sp>
      <p:pic>
        <p:nvPicPr>
          <p:cNvPr id="16" name="Kuva 7">
            <a:extLst>
              <a:ext uri="{FF2B5EF4-FFF2-40B4-BE49-F238E27FC236}">
                <a16:creationId xmlns:a16="http://schemas.microsoft.com/office/drawing/2014/main" id="{2802724C-691B-42AE-99F1-C0DD11C2B282}"/>
              </a:ext>
            </a:extLst>
          </p:cNvPr>
          <p:cNvPicPr>
            <a:picLocks noChangeAspect="1"/>
          </p:cNvPicPr>
          <p:nvPr userDrawn="1"/>
        </p:nvPicPr>
        <p:blipFill>
          <a:blip r:embed="rId6"/>
          <a:stretch>
            <a:fillRect/>
          </a:stretch>
        </p:blipFill>
        <p:spPr>
          <a:xfrm>
            <a:off x="8335004" y="370433"/>
            <a:ext cx="437200" cy="437174"/>
          </a:xfrm>
          <a:prstGeom prst="rect">
            <a:avLst/>
          </a:prstGeom>
        </p:spPr>
      </p:pic>
      <p:sp>
        <p:nvSpPr>
          <p:cNvPr id="17" name="Päivämäärän paikkamerkki 3">
            <a:extLst>
              <a:ext uri="{FF2B5EF4-FFF2-40B4-BE49-F238E27FC236}">
                <a16:creationId xmlns:a16="http://schemas.microsoft.com/office/drawing/2014/main" id="{A7A57318-6280-4E06-AB32-B0A5E65533E5}"/>
              </a:ext>
            </a:extLst>
          </p:cNvPr>
          <p:cNvSpPr txBox="1">
            <a:spLocks/>
          </p:cNvSpPr>
          <p:nvPr userDrawn="1"/>
        </p:nvSpPr>
        <p:spPr>
          <a:xfrm>
            <a:off x="282027" y="4728047"/>
            <a:ext cx="916709"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fld id="{81E00E6F-8D33-4515-8E96-EC6D63C57588}" type="datetime1">
              <a:rPr kumimoji="0" lang="en-US" sz="7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rPr>
              <a:pPr marL="0" marR="0" lvl="0" indent="0" algn="l" defTabSz="679871" rtl="0" eaLnBrk="1" fontAlgn="auto" latinLnBrk="0" hangingPunct="1">
                <a:lnSpc>
                  <a:spcPct val="100000"/>
                </a:lnSpc>
                <a:spcBef>
                  <a:spcPts val="0"/>
                </a:spcBef>
                <a:spcAft>
                  <a:spcPts val="0"/>
                </a:spcAft>
                <a:buClrTx/>
                <a:buSzTx/>
                <a:buFontTx/>
                <a:buNone/>
                <a:tabLst/>
                <a:defRPr/>
              </a:pPr>
              <a:t>4/9/2024</a:t>
            </a:fld>
            <a:endParaRPr kumimoji="0" lang="fi-FI" sz="7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endParaRPr>
          </a:p>
        </p:txBody>
      </p:sp>
      <p:sp>
        <p:nvSpPr>
          <p:cNvPr id="19" name="Alatunnisteen paikkamerkki 4">
            <a:extLst>
              <a:ext uri="{FF2B5EF4-FFF2-40B4-BE49-F238E27FC236}">
                <a16:creationId xmlns:a16="http://schemas.microsoft.com/office/drawing/2014/main" id="{54EC5329-B4D6-44E1-99F2-D30F2B1245F0}"/>
              </a:ext>
            </a:extLst>
          </p:cNvPr>
          <p:cNvSpPr txBox="1">
            <a:spLocks/>
          </p:cNvSpPr>
          <p:nvPr userDrawn="1"/>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rPr>
              <a:t>Technology Industries of Finland</a:t>
            </a:r>
          </a:p>
        </p:txBody>
      </p:sp>
      <p:sp>
        <p:nvSpPr>
          <p:cNvPr id="24" name="Dian numeron paikkamerkki 2">
            <a:extLst>
              <a:ext uri="{FF2B5EF4-FFF2-40B4-BE49-F238E27FC236}">
                <a16:creationId xmlns:a16="http://schemas.microsoft.com/office/drawing/2014/main" id="{D004523C-6073-48B5-B848-9190E182BC06}"/>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bg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FFFFFF"/>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FFFFFF"/>
              </a:solidFill>
              <a:effectLst/>
              <a:uLnTx/>
              <a:uFillTx/>
              <a:latin typeface="Verdana"/>
              <a:ea typeface="+mn-ea"/>
              <a:cs typeface="+mn-cs"/>
            </a:endParaRPr>
          </a:p>
        </p:txBody>
      </p:sp>
    </p:spTree>
    <p:extLst>
      <p:ext uri="{BB962C8B-B14F-4D97-AF65-F5344CB8AC3E}">
        <p14:creationId xmlns:p14="http://schemas.microsoft.com/office/powerpoint/2010/main" val="18811845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think-cell data - do not delete" hidden="1">
            <a:extLst>
              <a:ext uri="{FF2B5EF4-FFF2-40B4-BE49-F238E27FC236}">
                <a16:creationId xmlns:a16="http://schemas.microsoft.com/office/drawing/2014/main" id="{6CE6BC8B-7D70-4610-A6B9-69F52EED7C6D}"/>
              </a:ext>
            </a:extLst>
          </p:cNvPr>
          <p:cNvGraphicFramePr>
            <a:graphicFrameLocks noChangeAspect="1"/>
          </p:cNvGraphicFramePr>
          <p:nvPr userDrawn="1">
            <p:custDataLst>
              <p:tags r:id="rId1"/>
            </p:custDataLst>
            <p:extLst>
              <p:ext uri="{D42A27DB-BD31-4B8C-83A1-F6EECF244321}">
                <p14:modId xmlns:p14="http://schemas.microsoft.com/office/powerpoint/2010/main" val="2963341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think-cell data - do not delete" hidden="1">
                        <a:extLst>
                          <a:ext uri="{FF2B5EF4-FFF2-40B4-BE49-F238E27FC236}">
                            <a16:creationId xmlns:a16="http://schemas.microsoft.com/office/drawing/2014/main" id="{6CE6BC8B-7D70-4610-A6B9-69F52EED7C6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7115176" y="2941873"/>
            <a:ext cx="3850481" cy="72712"/>
          </a:xfrm>
          <a:prstGeom prst="rect">
            <a:avLst/>
          </a:prstGeom>
          <a:noFill/>
        </p:spPr>
        <p:txBody>
          <a:bodyPr wrap="square" lIns="0" tIns="0" rIns="0" bIns="0" rtlCol="0" anchor="t">
            <a:spAutoFit/>
          </a:bodyPr>
          <a:lstStyle/>
          <a:p>
            <a:pPr>
              <a:lnSpc>
                <a:spcPct val="90000"/>
              </a:lnSpc>
              <a:spcAft>
                <a:spcPts val="450"/>
              </a:spcAft>
            </a:pPr>
            <a:r>
              <a:rPr lang="en-US" sz="525">
                <a:solidFill>
                  <a:schemeClr val="bg1">
                    <a:lumMod val="50000"/>
                  </a:schemeClr>
                </a:solidFill>
                <a:latin typeface="+mn-lt"/>
                <a:ea typeface="+mn-ea"/>
                <a:cs typeface="+mn-cs"/>
                <a:sym typeface="Trebuchet MS" panose="020B0603020202020204" pitchFamily="34" charset="0"/>
              </a:rPr>
              <a:t>Copyright © 2024 by Boston Consulting Group. All rights reserved.</a:t>
            </a:r>
          </a:p>
        </p:txBody>
      </p:sp>
      <p:pic>
        <p:nvPicPr>
          <p:cNvPr id="9" name="Kuva 9">
            <a:extLst>
              <a:ext uri="{FF2B5EF4-FFF2-40B4-BE49-F238E27FC236}">
                <a16:creationId xmlns:a16="http://schemas.microsoft.com/office/drawing/2014/main" id="{FE829AA3-5816-4B0F-BBEF-B5A4D4BE89D8}"/>
              </a:ext>
            </a:extLst>
          </p:cNvPr>
          <p:cNvPicPr>
            <a:picLocks noChangeAspect="1"/>
          </p:cNvPicPr>
          <p:nvPr userDrawn="1"/>
        </p:nvPicPr>
        <p:blipFill>
          <a:blip r:embed="rId5"/>
          <a:stretch>
            <a:fillRect/>
          </a:stretch>
        </p:blipFill>
        <p:spPr>
          <a:xfrm>
            <a:off x="8335624" y="368923"/>
            <a:ext cx="437056" cy="437032"/>
          </a:xfrm>
          <a:prstGeom prst="rect">
            <a:avLst/>
          </a:prstGeom>
        </p:spPr>
      </p:pic>
      <p:sp>
        <p:nvSpPr>
          <p:cNvPr id="10" name="Date Placeholder 3">
            <a:extLst>
              <a:ext uri="{FF2B5EF4-FFF2-40B4-BE49-F238E27FC236}">
                <a16:creationId xmlns:a16="http://schemas.microsoft.com/office/drawing/2014/main" id="{46D73AF1-AB8B-49F5-A82C-A11D58A53BD2}"/>
              </a:ext>
            </a:extLst>
          </p:cNvPr>
          <p:cNvSpPr txBox="1">
            <a:spLocks/>
          </p:cNvSpPr>
          <p:nvPr userDrawn="1"/>
        </p:nvSpPr>
        <p:spPr>
          <a:xfrm>
            <a:off x="282027" y="4728047"/>
            <a:ext cx="916709"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fld id="{CBE7DC44-C376-4F45-AAD9-CF0021B2BA36}" type="datetime1">
              <a:rPr kumimoji="0" lang="en-US" sz="700" b="0" i="0" u="none" strike="noStrike" kern="1200" cap="none" spc="0" normalizeH="0" baseline="0" noProof="0" smtClean="0">
                <a:ln>
                  <a:noFill/>
                </a:ln>
                <a:solidFill>
                  <a:srgbClr val="29282E"/>
                </a:solidFill>
                <a:effectLst/>
                <a:uLnTx/>
                <a:uFillTx/>
                <a:latin typeface="Verdana" panose="020B0604030504040204" pitchFamily="34" charset="0"/>
                <a:ea typeface="Verdana" panose="020B0604030504040204" pitchFamily="34" charset="0"/>
              </a:rPr>
              <a:pPr marL="0" marR="0" lvl="0" indent="0" algn="l" defTabSz="679871" rtl="0" eaLnBrk="1" fontAlgn="auto" latinLnBrk="0" hangingPunct="1">
                <a:lnSpc>
                  <a:spcPct val="100000"/>
                </a:lnSpc>
                <a:spcBef>
                  <a:spcPts val="0"/>
                </a:spcBef>
                <a:spcAft>
                  <a:spcPts val="0"/>
                </a:spcAft>
                <a:buClrTx/>
                <a:buSzTx/>
                <a:buFontTx/>
                <a:buNone/>
                <a:tabLst/>
                <a:defRPr/>
              </a:pPr>
              <a:t>4/9/2024</a:t>
            </a:fld>
            <a:endPar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endParaRPr>
          </a:p>
        </p:txBody>
      </p:sp>
      <p:sp>
        <p:nvSpPr>
          <p:cNvPr id="11" name="Footer Placeholder 4">
            <a:extLst>
              <a:ext uri="{FF2B5EF4-FFF2-40B4-BE49-F238E27FC236}">
                <a16:creationId xmlns:a16="http://schemas.microsoft.com/office/drawing/2014/main" id="{808F6C8F-DD0A-4438-8CED-E1A94D56E469}"/>
              </a:ext>
            </a:extLst>
          </p:cNvPr>
          <p:cNvSpPr txBox="1">
            <a:spLocks/>
          </p:cNvSpPr>
          <p:nvPr userDrawn="1"/>
        </p:nvSpPr>
        <p:spPr>
          <a:xfrm>
            <a:off x="1111510" y="4728047"/>
            <a:ext cx="1775664"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fi-FI" sz="700" b="0" i="0" u="none" strike="noStrike" kern="1200" cap="none" spc="0" normalizeH="0" baseline="0" noProof="0">
                <a:ln>
                  <a:noFill/>
                </a:ln>
                <a:solidFill>
                  <a:srgbClr val="29282E"/>
                </a:solidFill>
                <a:effectLst/>
                <a:uLnTx/>
                <a:uFillTx/>
                <a:latin typeface="Verdana" panose="020B0604030504040204" pitchFamily="34" charset="0"/>
                <a:ea typeface="Verdana" panose="020B0604030504040204" pitchFamily="34" charset="0"/>
              </a:rPr>
              <a:t>Technology Industries of Finland</a:t>
            </a:r>
          </a:p>
        </p:txBody>
      </p:sp>
      <p:sp>
        <p:nvSpPr>
          <p:cNvPr id="13" name="Title Placeholder 1">
            <a:extLst>
              <a:ext uri="{FF2B5EF4-FFF2-40B4-BE49-F238E27FC236}">
                <a16:creationId xmlns:a16="http://schemas.microsoft.com/office/drawing/2014/main" id="{41F9C132-80D7-4078-B43B-1328A26CEA60}"/>
              </a:ext>
            </a:extLst>
          </p:cNvPr>
          <p:cNvSpPr>
            <a:spLocks noGrp="1"/>
          </p:cNvSpPr>
          <p:nvPr>
            <p:ph type="title" hasCustomPrompt="1"/>
          </p:nvPr>
        </p:nvSpPr>
        <p:spPr>
          <a:xfrm>
            <a:off x="252414" y="282575"/>
            <a:ext cx="7991475" cy="820738"/>
          </a:xfrm>
          <a:prstGeom prst="rect">
            <a:avLst/>
          </a:prstGeom>
        </p:spPr>
        <p:txBody>
          <a:bodyPr vert="horz" wrap="square" lIns="91440" tIns="45720" rIns="91440" bIns="45720" rtlCol="0" anchor="t">
            <a:noAutofit/>
          </a:bodyPr>
          <a:lstStyle/>
          <a:p>
            <a:r>
              <a:rPr lang="en-US"/>
              <a:t>Click to add title</a:t>
            </a:r>
          </a:p>
        </p:txBody>
      </p:sp>
    </p:spTree>
    <p:extLst>
      <p:ext uri="{BB962C8B-B14F-4D97-AF65-F5344CB8AC3E}">
        <p14:creationId xmlns:p14="http://schemas.microsoft.com/office/powerpoint/2010/main" val="42594376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6.xml"/><Relationship Id="rId21" Type="http://schemas.openxmlformats.org/officeDocument/2006/relationships/slideLayout" Target="../slideLayouts/slideLayout51.xml"/><Relationship Id="rId42" Type="http://schemas.openxmlformats.org/officeDocument/2006/relationships/slideLayout" Target="../slideLayouts/slideLayout72.xml"/><Relationship Id="rId47" Type="http://schemas.openxmlformats.org/officeDocument/2006/relationships/slideLayout" Target="../slideLayouts/slideLayout77.xml"/><Relationship Id="rId63" Type="http://schemas.openxmlformats.org/officeDocument/2006/relationships/slideLayout" Target="../slideLayouts/slideLayout93.xml"/><Relationship Id="rId68" Type="http://schemas.openxmlformats.org/officeDocument/2006/relationships/theme" Target="../theme/theme2.xml"/><Relationship Id="rId7" Type="http://schemas.openxmlformats.org/officeDocument/2006/relationships/slideLayout" Target="../slideLayouts/slideLayout37.xml"/><Relationship Id="rId71" Type="http://schemas.openxmlformats.org/officeDocument/2006/relationships/image" Target="../media/image6.emf"/><Relationship Id="rId2" Type="http://schemas.openxmlformats.org/officeDocument/2006/relationships/slideLayout" Target="../slideLayouts/slideLayout32.xml"/><Relationship Id="rId16" Type="http://schemas.openxmlformats.org/officeDocument/2006/relationships/slideLayout" Target="../slideLayouts/slideLayout46.xml"/><Relationship Id="rId29" Type="http://schemas.openxmlformats.org/officeDocument/2006/relationships/slideLayout" Target="../slideLayouts/slideLayout59.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slideLayout" Target="../slideLayouts/slideLayout70.xml"/><Relationship Id="rId45" Type="http://schemas.openxmlformats.org/officeDocument/2006/relationships/slideLayout" Target="../slideLayouts/slideLayout75.xml"/><Relationship Id="rId53" Type="http://schemas.openxmlformats.org/officeDocument/2006/relationships/slideLayout" Target="../slideLayouts/slideLayout83.xml"/><Relationship Id="rId58" Type="http://schemas.openxmlformats.org/officeDocument/2006/relationships/slideLayout" Target="../slideLayouts/slideLayout88.xml"/><Relationship Id="rId66" Type="http://schemas.openxmlformats.org/officeDocument/2006/relationships/slideLayout" Target="../slideLayouts/slideLayout96.xml"/><Relationship Id="rId5" Type="http://schemas.openxmlformats.org/officeDocument/2006/relationships/slideLayout" Target="../slideLayouts/slideLayout35.xml"/><Relationship Id="rId61" Type="http://schemas.openxmlformats.org/officeDocument/2006/relationships/slideLayout" Target="../slideLayouts/slideLayout91.xml"/><Relationship Id="rId19" Type="http://schemas.openxmlformats.org/officeDocument/2006/relationships/slideLayout" Target="../slideLayouts/slideLayout4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 Id="rId43" Type="http://schemas.openxmlformats.org/officeDocument/2006/relationships/slideLayout" Target="../slideLayouts/slideLayout73.xml"/><Relationship Id="rId48" Type="http://schemas.openxmlformats.org/officeDocument/2006/relationships/slideLayout" Target="../slideLayouts/slideLayout78.xml"/><Relationship Id="rId56" Type="http://schemas.openxmlformats.org/officeDocument/2006/relationships/slideLayout" Target="../slideLayouts/slideLayout86.xml"/><Relationship Id="rId64" Type="http://schemas.openxmlformats.org/officeDocument/2006/relationships/slideLayout" Target="../slideLayouts/slideLayout94.xml"/><Relationship Id="rId69" Type="http://schemas.openxmlformats.org/officeDocument/2006/relationships/tags" Target="../tags/tag31.xml"/><Relationship Id="rId8" Type="http://schemas.openxmlformats.org/officeDocument/2006/relationships/slideLayout" Target="../slideLayouts/slideLayout38.xml"/><Relationship Id="rId51" Type="http://schemas.openxmlformats.org/officeDocument/2006/relationships/slideLayout" Target="../slideLayouts/slideLayout81.xml"/><Relationship Id="rId3" Type="http://schemas.openxmlformats.org/officeDocument/2006/relationships/slideLayout" Target="../slideLayouts/slideLayout33.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46" Type="http://schemas.openxmlformats.org/officeDocument/2006/relationships/slideLayout" Target="../slideLayouts/slideLayout76.xml"/><Relationship Id="rId59" Type="http://schemas.openxmlformats.org/officeDocument/2006/relationships/slideLayout" Target="../slideLayouts/slideLayout89.xml"/><Relationship Id="rId67" Type="http://schemas.openxmlformats.org/officeDocument/2006/relationships/slideLayout" Target="../slideLayouts/slideLayout97.xml"/><Relationship Id="rId20" Type="http://schemas.openxmlformats.org/officeDocument/2006/relationships/slideLayout" Target="../slideLayouts/slideLayout50.xml"/><Relationship Id="rId41" Type="http://schemas.openxmlformats.org/officeDocument/2006/relationships/slideLayout" Target="../slideLayouts/slideLayout71.xml"/><Relationship Id="rId54" Type="http://schemas.openxmlformats.org/officeDocument/2006/relationships/slideLayout" Target="../slideLayouts/slideLayout84.xml"/><Relationship Id="rId62" Type="http://schemas.openxmlformats.org/officeDocument/2006/relationships/slideLayout" Target="../slideLayouts/slideLayout92.xml"/><Relationship Id="rId70" Type="http://schemas.openxmlformats.org/officeDocument/2006/relationships/oleObject" Target="../embeddings/oleObject30.bin"/><Relationship Id="rId1" Type="http://schemas.openxmlformats.org/officeDocument/2006/relationships/slideLayout" Target="../slideLayouts/slideLayout31.xml"/><Relationship Id="rId6" Type="http://schemas.openxmlformats.org/officeDocument/2006/relationships/slideLayout" Target="../slideLayouts/slideLayout36.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49" Type="http://schemas.openxmlformats.org/officeDocument/2006/relationships/slideLayout" Target="../slideLayouts/slideLayout79.xml"/><Relationship Id="rId57" Type="http://schemas.openxmlformats.org/officeDocument/2006/relationships/slideLayout" Target="../slideLayouts/slideLayout87.xml"/><Relationship Id="rId10" Type="http://schemas.openxmlformats.org/officeDocument/2006/relationships/slideLayout" Target="../slideLayouts/slideLayout40.xml"/><Relationship Id="rId31" Type="http://schemas.openxmlformats.org/officeDocument/2006/relationships/slideLayout" Target="../slideLayouts/slideLayout61.xml"/><Relationship Id="rId44" Type="http://schemas.openxmlformats.org/officeDocument/2006/relationships/slideLayout" Target="../slideLayouts/slideLayout74.xml"/><Relationship Id="rId52" Type="http://schemas.openxmlformats.org/officeDocument/2006/relationships/slideLayout" Target="../slideLayouts/slideLayout82.xml"/><Relationship Id="rId60" Type="http://schemas.openxmlformats.org/officeDocument/2006/relationships/slideLayout" Target="../slideLayouts/slideLayout90.xml"/><Relationship Id="rId65" Type="http://schemas.openxmlformats.org/officeDocument/2006/relationships/slideLayout" Target="../slideLayouts/slideLayout95.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39" Type="http://schemas.openxmlformats.org/officeDocument/2006/relationships/slideLayout" Target="../slideLayouts/slideLayout69.xml"/><Relationship Id="rId34" Type="http://schemas.openxmlformats.org/officeDocument/2006/relationships/slideLayout" Target="../slideLayouts/slideLayout64.xml"/><Relationship Id="rId50" Type="http://schemas.openxmlformats.org/officeDocument/2006/relationships/slideLayout" Target="../slideLayouts/slideLayout80.xml"/><Relationship Id="rId55" Type="http://schemas.openxmlformats.org/officeDocument/2006/relationships/slideLayout" Target="../slideLayouts/slideLayout85.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23.xml"/><Relationship Id="rId21" Type="http://schemas.openxmlformats.org/officeDocument/2006/relationships/slideLayout" Target="../slideLayouts/slideLayout118.xml"/><Relationship Id="rId42" Type="http://schemas.openxmlformats.org/officeDocument/2006/relationships/slideLayout" Target="../slideLayouts/slideLayout139.xml"/><Relationship Id="rId47" Type="http://schemas.openxmlformats.org/officeDocument/2006/relationships/slideLayout" Target="../slideLayouts/slideLayout144.xml"/><Relationship Id="rId63" Type="http://schemas.openxmlformats.org/officeDocument/2006/relationships/slideLayout" Target="../slideLayouts/slideLayout160.xml"/><Relationship Id="rId68" Type="http://schemas.openxmlformats.org/officeDocument/2006/relationships/slideLayout" Target="../slideLayouts/slideLayout165.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9" Type="http://schemas.openxmlformats.org/officeDocument/2006/relationships/slideLayout" Target="../slideLayouts/slideLayout126.xml"/><Relationship Id="rId11" Type="http://schemas.openxmlformats.org/officeDocument/2006/relationships/slideLayout" Target="../slideLayouts/slideLayout108.xml"/><Relationship Id="rId24" Type="http://schemas.openxmlformats.org/officeDocument/2006/relationships/slideLayout" Target="../slideLayouts/slideLayout121.xml"/><Relationship Id="rId32" Type="http://schemas.openxmlformats.org/officeDocument/2006/relationships/slideLayout" Target="../slideLayouts/slideLayout129.xml"/><Relationship Id="rId37" Type="http://schemas.openxmlformats.org/officeDocument/2006/relationships/slideLayout" Target="../slideLayouts/slideLayout134.xml"/><Relationship Id="rId40" Type="http://schemas.openxmlformats.org/officeDocument/2006/relationships/slideLayout" Target="../slideLayouts/slideLayout137.xml"/><Relationship Id="rId45" Type="http://schemas.openxmlformats.org/officeDocument/2006/relationships/slideLayout" Target="../slideLayouts/slideLayout142.xml"/><Relationship Id="rId53" Type="http://schemas.openxmlformats.org/officeDocument/2006/relationships/slideLayout" Target="../slideLayouts/slideLayout150.xml"/><Relationship Id="rId58" Type="http://schemas.openxmlformats.org/officeDocument/2006/relationships/slideLayout" Target="../slideLayouts/slideLayout155.xml"/><Relationship Id="rId66" Type="http://schemas.openxmlformats.org/officeDocument/2006/relationships/slideLayout" Target="../slideLayouts/slideLayout163.xml"/><Relationship Id="rId5" Type="http://schemas.openxmlformats.org/officeDocument/2006/relationships/slideLayout" Target="../slideLayouts/slideLayout102.xml"/><Relationship Id="rId61" Type="http://schemas.openxmlformats.org/officeDocument/2006/relationships/slideLayout" Target="../slideLayouts/slideLayout158.xml"/><Relationship Id="rId19" Type="http://schemas.openxmlformats.org/officeDocument/2006/relationships/slideLayout" Target="../slideLayouts/slideLayout116.xml"/><Relationship Id="rId14" Type="http://schemas.openxmlformats.org/officeDocument/2006/relationships/slideLayout" Target="../slideLayouts/slideLayout111.xml"/><Relationship Id="rId22" Type="http://schemas.openxmlformats.org/officeDocument/2006/relationships/slideLayout" Target="../slideLayouts/slideLayout119.xml"/><Relationship Id="rId27" Type="http://schemas.openxmlformats.org/officeDocument/2006/relationships/slideLayout" Target="../slideLayouts/slideLayout124.xml"/><Relationship Id="rId30" Type="http://schemas.openxmlformats.org/officeDocument/2006/relationships/slideLayout" Target="../slideLayouts/slideLayout127.xml"/><Relationship Id="rId35" Type="http://schemas.openxmlformats.org/officeDocument/2006/relationships/slideLayout" Target="../slideLayouts/slideLayout132.xml"/><Relationship Id="rId43" Type="http://schemas.openxmlformats.org/officeDocument/2006/relationships/slideLayout" Target="../slideLayouts/slideLayout140.xml"/><Relationship Id="rId48" Type="http://schemas.openxmlformats.org/officeDocument/2006/relationships/slideLayout" Target="../slideLayouts/slideLayout145.xml"/><Relationship Id="rId56" Type="http://schemas.openxmlformats.org/officeDocument/2006/relationships/slideLayout" Target="../slideLayouts/slideLayout153.xml"/><Relationship Id="rId64" Type="http://schemas.openxmlformats.org/officeDocument/2006/relationships/slideLayout" Target="../slideLayouts/slideLayout161.xml"/><Relationship Id="rId69" Type="http://schemas.openxmlformats.org/officeDocument/2006/relationships/slideLayout" Target="../slideLayouts/slideLayout166.xml"/><Relationship Id="rId8" Type="http://schemas.openxmlformats.org/officeDocument/2006/relationships/slideLayout" Target="../slideLayouts/slideLayout105.xml"/><Relationship Id="rId51" Type="http://schemas.openxmlformats.org/officeDocument/2006/relationships/slideLayout" Target="../slideLayouts/slideLayout148.xml"/><Relationship Id="rId72" Type="http://schemas.openxmlformats.org/officeDocument/2006/relationships/oleObject" Target="../embeddings/oleObject98.bin"/><Relationship Id="rId3" Type="http://schemas.openxmlformats.org/officeDocument/2006/relationships/slideLayout" Target="../slideLayouts/slideLayout100.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5" Type="http://schemas.openxmlformats.org/officeDocument/2006/relationships/slideLayout" Target="../slideLayouts/slideLayout122.xml"/><Relationship Id="rId33" Type="http://schemas.openxmlformats.org/officeDocument/2006/relationships/slideLayout" Target="../slideLayouts/slideLayout130.xml"/><Relationship Id="rId38" Type="http://schemas.openxmlformats.org/officeDocument/2006/relationships/slideLayout" Target="../slideLayouts/slideLayout135.xml"/><Relationship Id="rId46" Type="http://schemas.openxmlformats.org/officeDocument/2006/relationships/slideLayout" Target="../slideLayouts/slideLayout143.xml"/><Relationship Id="rId59" Type="http://schemas.openxmlformats.org/officeDocument/2006/relationships/slideLayout" Target="../slideLayouts/slideLayout156.xml"/><Relationship Id="rId67" Type="http://schemas.openxmlformats.org/officeDocument/2006/relationships/slideLayout" Target="../slideLayouts/slideLayout164.xml"/><Relationship Id="rId20" Type="http://schemas.openxmlformats.org/officeDocument/2006/relationships/slideLayout" Target="../slideLayouts/slideLayout117.xml"/><Relationship Id="rId41" Type="http://schemas.openxmlformats.org/officeDocument/2006/relationships/slideLayout" Target="../slideLayouts/slideLayout138.xml"/><Relationship Id="rId54" Type="http://schemas.openxmlformats.org/officeDocument/2006/relationships/slideLayout" Target="../slideLayouts/slideLayout151.xml"/><Relationship Id="rId62" Type="http://schemas.openxmlformats.org/officeDocument/2006/relationships/slideLayout" Target="../slideLayouts/slideLayout159.xml"/><Relationship Id="rId70" Type="http://schemas.openxmlformats.org/officeDocument/2006/relationships/theme" Target="../theme/theme3.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5" Type="http://schemas.openxmlformats.org/officeDocument/2006/relationships/slideLayout" Target="../slideLayouts/slideLayout112.xml"/><Relationship Id="rId23" Type="http://schemas.openxmlformats.org/officeDocument/2006/relationships/slideLayout" Target="../slideLayouts/slideLayout120.xml"/><Relationship Id="rId28" Type="http://schemas.openxmlformats.org/officeDocument/2006/relationships/slideLayout" Target="../slideLayouts/slideLayout125.xml"/><Relationship Id="rId36" Type="http://schemas.openxmlformats.org/officeDocument/2006/relationships/slideLayout" Target="../slideLayouts/slideLayout133.xml"/><Relationship Id="rId49" Type="http://schemas.openxmlformats.org/officeDocument/2006/relationships/slideLayout" Target="../slideLayouts/slideLayout146.xml"/><Relationship Id="rId57" Type="http://schemas.openxmlformats.org/officeDocument/2006/relationships/slideLayout" Target="../slideLayouts/slideLayout154.xml"/><Relationship Id="rId10" Type="http://schemas.openxmlformats.org/officeDocument/2006/relationships/slideLayout" Target="../slideLayouts/slideLayout107.xml"/><Relationship Id="rId31" Type="http://schemas.openxmlformats.org/officeDocument/2006/relationships/slideLayout" Target="../slideLayouts/slideLayout128.xml"/><Relationship Id="rId44" Type="http://schemas.openxmlformats.org/officeDocument/2006/relationships/slideLayout" Target="../slideLayouts/slideLayout141.xml"/><Relationship Id="rId52" Type="http://schemas.openxmlformats.org/officeDocument/2006/relationships/slideLayout" Target="../slideLayouts/slideLayout149.xml"/><Relationship Id="rId60" Type="http://schemas.openxmlformats.org/officeDocument/2006/relationships/slideLayout" Target="../slideLayouts/slideLayout157.xml"/><Relationship Id="rId65" Type="http://schemas.openxmlformats.org/officeDocument/2006/relationships/slideLayout" Target="../slideLayouts/slideLayout162.xml"/><Relationship Id="rId73" Type="http://schemas.openxmlformats.org/officeDocument/2006/relationships/image" Target="../media/image6.emf"/><Relationship Id="rId4" Type="http://schemas.openxmlformats.org/officeDocument/2006/relationships/slideLayout" Target="../slideLayouts/slideLayout101.xml"/><Relationship Id="rId9" Type="http://schemas.openxmlformats.org/officeDocument/2006/relationships/slideLayout" Target="../slideLayouts/slideLayout106.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9" Type="http://schemas.openxmlformats.org/officeDocument/2006/relationships/slideLayout" Target="../slideLayouts/slideLayout136.xml"/><Relationship Id="rId34" Type="http://schemas.openxmlformats.org/officeDocument/2006/relationships/slideLayout" Target="../slideLayouts/slideLayout131.xml"/><Relationship Id="rId50" Type="http://schemas.openxmlformats.org/officeDocument/2006/relationships/slideLayout" Target="../slideLayouts/slideLayout147.xml"/><Relationship Id="rId55" Type="http://schemas.openxmlformats.org/officeDocument/2006/relationships/slideLayout" Target="../slideLayouts/slideLayout152.xml"/><Relationship Id="rId7" Type="http://schemas.openxmlformats.org/officeDocument/2006/relationships/slideLayout" Target="../slideLayouts/slideLayout104.xml"/><Relationship Id="rId71" Type="http://schemas.openxmlformats.org/officeDocument/2006/relationships/tags" Target="../tags/tag1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1FFB956D-309A-DEDC-14B0-E2ABE8923BFE}"/>
              </a:ext>
            </a:extLst>
          </p:cNvPr>
          <p:cNvGraphicFramePr>
            <a:graphicFrameLocks noChangeAspect="1"/>
          </p:cNvGraphicFramePr>
          <p:nvPr userDrawn="1">
            <p:custDataLst>
              <p:tags r:id="rId32"/>
            </p:custDataLst>
            <p:extLst>
              <p:ext uri="{D42A27DB-BD31-4B8C-83A1-F6EECF244321}">
                <p14:modId xmlns:p14="http://schemas.microsoft.com/office/powerpoint/2010/main" val="11247934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473" imgH="473" progId="TCLayout.ActiveDocument.1">
                  <p:embed/>
                </p:oleObj>
              </mc:Choice>
              <mc:Fallback>
                <p:oleObj name="think-cell Slide" r:id="rId33" imgW="473" imgH="473" progId="TCLayout.ActiveDocument.1">
                  <p:embed/>
                  <p:pic>
                    <p:nvPicPr>
                      <p:cNvPr id="3" name="think-cell data - do not delete" hidden="1">
                        <a:extLst>
                          <a:ext uri="{FF2B5EF4-FFF2-40B4-BE49-F238E27FC236}">
                            <a16:creationId xmlns:a16="http://schemas.microsoft.com/office/drawing/2014/main" id="{1FFB956D-309A-DEDC-14B0-E2ABE8923BFE}"/>
                          </a:ext>
                        </a:extLst>
                      </p:cNvPr>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7" name="Päivämäärän paikkamerkki 3"/>
          <p:cNvSpPr>
            <a:spLocks noGrp="1"/>
          </p:cNvSpPr>
          <p:nvPr>
            <p:ph type="dt" sz="half" idx="2"/>
          </p:nvPr>
        </p:nvSpPr>
        <p:spPr>
          <a:xfrm>
            <a:off x="282027" y="4728047"/>
            <a:ext cx="919711" cy="163042"/>
          </a:xfrm>
          <a:prstGeom prst="rect">
            <a:avLst/>
          </a:prstGeom>
        </p:spPr>
        <p:txBody>
          <a:bodyPr vert="horz" lIns="91440" tIns="45720" rIns="91440" bIns="45720" rtlCol="0" anchor="t"/>
          <a:lstStyle>
            <a:lvl1pPr algn="l" rtl="0">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A47E46FA-4437-4E43-8891-B8D611D31DE6}" type="datetime1">
              <a:rPr lang="en-US" smtClean="0"/>
              <a:pPr/>
              <a:t>4/9/2024</a:t>
            </a:fld>
            <a:endParaRPr lang="en-US"/>
          </a:p>
        </p:txBody>
      </p:sp>
      <p:sp>
        <p:nvSpPr>
          <p:cNvPr id="8" name="Alatunnisteen paikkamerkki 4"/>
          <p:cNvSpPr>
            <a:spLocks noGrp="1"/>
          </p:cNvSpPr>
          <p:nvPr>
            <p:ph type="ftr" sz="quarter" idx="3"/>
          </p:nvPr>
        </p:nvSpPr>
        <p:spPr>
          <a:xfrm>
            <a:off x="1111306" y="4728047"/>
            <a:ext cx="2035071" cy="163042"/>
          </a:xfrm>
          <a:prstGeom prst="rect">
            <a:avLst/>
          </a:prstGeom>
        </p:spPr>
        <p:txBody>
          <a:bodyPr vert="horz" lIns="91440" tIns="45720" rIns="91440" bIns="45720" rtlCol="0" anchor="t"/>
          <a:lstStyle>
            <a:lvl1pPr algn="l" rtl="0">
              <a:defRPr sz="70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r>
              <a:rPr lang="en-US"/>
              <a:t>Technology Industries of Finland</a:t>
            </a:r>
          </a:p>
        </p:txBody>
      </p:sp>
      <p:sp>
        <p:nvSpPr>
          <p:cNvPr id="26" name="Tekstin paikkamerkki 3"/>
          <p:cNvSpPr>
            <a:spLocks noGrp="1"/>
          </p:cNvSpPr>
          <p:nvPr>
            <p:ph type="body" idx="1"/>
          </p:nvPr>
        </p:nvSpPr>
        <p:spPr>
          <a:xfrm>
            <a:off x="1072801" y="1583532"/>
            <a:ext cx="7171199" cy="2893218"/>
          </a:xfrm>
          <a:prstGeom prst="rect">
            <a:avLst/>
          </a:prstGeom>
        </p:spPr>
        <p:txBody>
          <a:bodyPr vert="horz" lIns="91440" tIns="45720" rIns="91440" bIns="45720" rtlCol="0">
            <a:normAutofit/>
          </a:bodyPr>
          <a:lstStyle/>
          <a:p>
            <a:pPr lvl="0"/>
            <a:r>
              <a:rPr lang="en-US"/>
              <a:t>Muokkaa tekstin perustyylejä napsauttamalla</a:t>
            </a:r>
          </a:p>
          <a:p>
            <a:pPr lvl="1"/>
            <a:r>
              <a:rPr lang="en-US"/>
              <a:t>toinen taso</a:t>
            </a:r>
          </a:p>
          <a:p>
            <a:pPr lvl="2"/>
            <a:r>
              <a:rPr lang="en-US"/>
              <a:t>kolmas taso</a:t>
            </a:r>
          </a:p>
          <a:p>
            <a:pPr lvl="3"/>
            <a:r>
              <a:rPr lang="en-US"/>
              <a:t>neljäs taso</a:t>
            </a:r>
          </a:p>
        </p:txBody>
      </p:sp>
      <p:sp>
        <p:nvSpPr>
          <p:cNvPr id="27" name="Otsikon paikkamerkki 2"/>
          <p:cNvSpPr>
            <a:spLocks noGrp="1"/>
          </p:cNvSpPr>
          <p:nvPr>
            <p:ph type="title"/>
          </p:nvPr>
        </p:nvSpPr>
        <p:spPr>
          <a:xfrm>
            <a:off x="1072801" y="1102950"/>
            <a:ext cx="7171199" cy="473089"/>
          </a:xfrm>
          <a:prstGeom prst="rect">
            <a:avLst/>
          </a:prstGeom>
        </p:spPr>
        <p:txBody>
          <a:bodyPr vert="horz" lIns="91440" tIns="45720" rIns="91440" bIns="45720" rtlCol="0" anchor="t">
            <a:normAutofit/>
          </a:bodyPr>
          <a:lstStyle/>
          <a:p>
            <a:r>
              <a:rPr lang="en-US"/>
              <a:t>Muokkaa perustyyl. napsautt.</a:t>
            </a:r>
          </a:p>
        </p:txBody>
      </p:sp>
      <p:sp>
        <p:nvSpPr>
          <p:cNvPr id="13" name="Dian numeron paikkamerkki 1"/>
          <p:cNvSpPr>
            <a:spLocks noGrp="1"/>
          </p:cNvSpPr>
          <p:nvPr>
            <p:ph type="sldNum" sz="quarter" idx="4"/>
          </p:nvPr>
        </p:nvSpPr>
        <p:spPr>
          <a:xfrm>
            <a:off x="8005977" y="4729163"/>
            <a:ext cx="863990" cy="166687"/>
          </a:xfrm>
          <a:prstGeom prst="rect">
            <a:avLst/>
          </a:prstGeom>
        </p:spPr>
        <p:txBody>
          <a:bodyPr vert="horz" lIns="91440" tIns="45720" rIns="91440" bIns="45720" rtlCol="0" anchor="t"/>
          <a:lstStyle>
            <a:lvl1pPr algn="r" rtl="0">
              <a:defRPr sz="700">
                <a:solidFill>
                  <a:schemeClr val="tx1"/>
                </a:solidFill>
              </a:defRPr>
            </a:lvl1pPr>
          </a:lstStyle>
          <a:p>
            <a:fld id="{6FCB6B90-8271-4E8F-82C1-E646FBB48A2E}" type="slidenum">
              <a:rPr lang="en-US" smtClean="0"/>
              <a:pPr/>
              <a:t>‹#›</a:t>
            </a:fld>
            <a:endParaRPr lang="en-US"/>
          </a:p>
        </p:txBody>
      </p:sp>
    </p:spTree>
    <p:extLst>
      <p:ext uri="{BB962C8B-B14F-4D97-AF65-F5344CB8AC3E}">
        <p14:creationId xmlns:p14="http://schemas.microsoft.com/office/powerpoint/2010/main" val="729942253"/>
      </p:ext>
    </p:extLst>
  </p:cSld>
  <p:clrMap bg1="lt1" tx1="dk1" bg2="lt2" tx2="dk2" accent1="accent1" accent2="accent2" accent3="accent3" accent4="accent4" accent5="accent5" accent6="accent6" hlink="hlink" folHlink="folHlink"/>
  <p:sldLayoutIdLst>
    <p:sldLayoutId id="2147483649" r:id="rId1"/>
    <p:sldLayoutId id="2147483701" r:id="rId2"/>
    <p:sldLayoutId id="2147483664" r:id="rId3"/>
    <p:sldLayoutId id="2147483679" r:id="rId4"/>
    <p:sldLayoutId id="2147483665" r:id="rId5"/>
    <p:sldLayoutId id="2147483681" r:id="rId6"/>
    <p:sldLayoutId id="2147483666" r:id="rId7"/>
    <p:sldLayoutId id="2147483682" r:id="rId8"/>
    <p:sldLayoutId id="2147483667" r:id="rId9"/>
    <p:sldLayoutId id="2147483683" r:id="rId10"/>
    <p:sldLayoutId id="2147483668" r:id="rId11"/>
    <p:sldLayoutId id="2147483684" r:id="rId12"/>
    <p:sldLayoutId id="2147483669" r:id="rId13"/>
    <p:sldLayoutId id="2147483685" r:id="rId14"/>
    <p:sldLayoutId id="2147483670" r:id="rId15"/>
    <p:sldLayoutId id="2147483686" r:id="rId16"/>
    <p:sldLayoutId id="2147483671" r:id="rId17"/>
    <p:sldLayoutId id="2147483687" r:id="rId18"/>
    <p:sldLayoutId id="2147483702" r:id="rId19"/>
    <p:sldLayoutId id="2147483704" r:id="rId20"/>
    <p:sldLayoutId id="2147483680" r:id="rId21"/>
    <p:sldLayoutId id="2147483674" r:id="rId22"/>
    <p:sldLayoutId id="2147483691" r:id="rId23"/>
    <p:sldLayoutId id="2147483700" r:id="rId24"/>
    <p:sldLayoutId id="2147483696" r:id="rId25"/>
    <p:sldLayoutId id="2147483673" r:id="rId26"/>
    <p:sldLayoutId id="2147483703" r:id="rId27"/>
    <p:sldLayoutId id="2147483707" r:id="rId28"/>
    <p:sldLayoutId id="2147483708" r:id="rId29"/>
    <p:sldLayoutId id="2147483779" r:id="rId30"/>
  </p:sldLayoutIdLst>
  <p:transition spd="med">
    <p:fade/>
  </p:transition>
  <p:hf hdr="0"/>
  <p:txStyles>
    <p:title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p:titleStyle>
    <p:body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p:bodyStyle>
    <p:otherStyle>
      <a:defPPr>
        <a:defRPr lang="fi-FI"/>
      </a:defPPr>
      <a:lvl1pPr marL="0" algn="l" defTabSz="806052" rtl="0" eaLnBrk="1" latinLnBrk="0" hangingPunct="1">
        <a:defRPr sz="1587" kern="1200">
          <a:solidFill>
            <a:schemeClr val="tx1"/>
          </a:solidFill>
          <a:latin typeface="+mn-lt"/>
          <a:ea typeface="+mn-ea"/>
          <a:cs typeface="+mn-cs"/>
        </a:defRPr>
      </a:lvl1pPr>
      <a:lvl2pPr marL="403025" algn="l" defTabSz="806052" rtl="0" eaLnBrk="1" latinLnBrk="0" hangingPunct="1">
        <a:defRPr sz="1587" kern="1200">
          <a:solidFill>
            <a:schemeClr val="tx1"/>
          </a:solidFill>
          <a:latin typeface="+mn-lt"/>
          <a:ea typeface="+mn-ea"/>
          <a:cs typeface="+mn-cs"/>
        </a:defRPr>
      </a:lvl2pPr>
      <a:lvl3pPr marL="806052" algn="l" defTabSz="806052" rtl="0" eaLnBrk="1" latinLnBrk="0" hangingPunct="1">
        <a:defRPr sz="1587" kern="1200">
          <a:solidFill>
            <a:schemeClr val="tx1"/>
          </a:solidFill>
          <a:latin typeface="+mn-lt"/>
          <a:ea typeface="+mn-ea"/>
          <a:cs typeface="+mn-cs"/>
        </a:defRPr>
      </a:lvl3pPr>
      <a:lvl4pPr marL="1209078" algn="l" defTabSz="806052" rtl="0" eaLnBrk="1" latinLnBrk="0" hangingPunct="1">
        <a:defRPr sz="1587" kern="1200">
          <a:solidFill>
            <a:schemeClr val="tx1"/>
          </a:solidFill>
          <a:latin typeface="+mn-lt"/>
          <a:ea typeface="+mn-ea"/>
          <a:cs typeface="+mn-cs"/>
        </a:defRPr>
      </a:lvl4pPr>
      <a:lvl5pPr marL="1612105" algn="l" defTabSz="806052" rtl="0" eaLnBrk="1" latinLnBrk="0" hangingPunct="1">
        <a:defRPr sz="1587" kern="1200">
          <a:solidFill>
            <a:schemeClr val="tx1"/>
          </a:solidFill>
          <a:latin typeface="+mn-lt"/>
          <a:ea typeface="+mn-ea"/>
          <a:cs typeface="+mn-cs"/>
        </a:defRPr>
      </a:lvl5pPr>
      <a:lvl6pPr marL="2015123" algn="l" defTabSz="806052" rtl="0" eaLnBrk="1" latinLnBrk="0" hangingPunct="1">
        <a:defRPr sz="1587" kern="1200">
          <a:solidFill>
            <a:schemeClr val="tx1"/>
          </a:solidFill>
          <a:latin typeface="+mn-lt"/>
          <a:ea typeface="+mn-ea"/>
          <a:cs typeface="+mn-cs"/>
        </a:defRPr>
      </a:lvl6pPr>
      <a:lvl7pPr marL="2418157" algn="l" defTabSz="806052" rtl="0" eaLnBrk="1" latinLnBrk="0" hangingPunct="1">
        <a:defRPr sz="1587" kern="1200">
          <a:solidFill>
            <a:schemeClr val="tx1"/>
          </a:solidFill>
          <a:latin typeface="+mn-lt"/>
          <a:ea typeface="+mn-ea"/>
          <a:cs typeface="+mn-cs"/>
        </a:defRPr>
      </a:lvl7pPr>
      <a:lvl8pPr marL="2821180" algn="l" defTabSz="806052" rtl="0" eaLnBrk="1" latinLnBrk="0" hangingPunct="1">
        <a:defRPr sz="1587" kern="1200">
          <a:solidFill>
            <a:schemeClr val="tx1"/>
          </a:solidFill>
          <a:latin typeface="+mn-lt"/>
          <a:ea typeface="+mn-ea"/>
          <a:cs typeface="+mn-cs"/>
        </a:defRPr>
      </a:lvl8pPr>
      <a:lvl9pPr marL="3224205" algn="l" defTabSz="806052" rtl="0" eaLnBrk="1" latinLnBrk="0" hangingPunct="1">
        <a:defRPr sz="1587" kern="1200">
          <a:solidFill>
            <a:schemeClr val="tx1"/>
          </a:solidFill>
          <a:latin typeface="+mn-lt"/>
          <a:ea typeface="+mn-ea"/>
          <a:cs typeface="+mn-cs"/>
        </a:defRPr>
      </a:lvl9pPr>
    </p:otherStyle>
  </p:txStyles>
  <p:extLst>
    <p:ext uri="{27BBF7A9-308A-43DC-89C8-2F10F3537804}">
      <p15:sldGuideLst xmlns:p15="http://schemas.microsoft.com/office/powerpoint/2012/main">
        <p15:guide id="20" pos="5520" userDrawn="1">
          <p15:clr>
            <a:srgbClr val="F26B43"/>
          </p15:clr>
        </p15:guide>
        <p15:guide id="22" orient="horz" pos="3062" userDrawn="1">
          <p15:clr>
            <a:srgbClr val="F26B43"/>
          </p15:clr>
        </p15:guide>
        <p15:guide id="23" orient="horz" pos="232" userDrawn="1">
          <p15:clr>
            <a:srgbClr val="F26B43"/>
          </p15:clr>
        </p15:guide>
        <p15:guide id="26" pos="240" userDrawn="1">
          <p15:clr>
            <a:srgbClr val="F26B43"/>
          </p15:clr>
        </p15:guide>
        <p15:guide id="27" pos="757"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947159535"/>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192" y="1192"/>
                        <a:ext cx="1190" cy="1190"/>
                      </a:xfrm>
                      <a:prstGeom prst="rect">
                        <a:avLst/>
                      </a:prstGeom>
                    </p:spPr>
                  </p:pic>
                </p:oleObj>
              </mc:Fallback>
            </mc:AlternateContent>
          </a:graphicData>
        </a:graphic>
      </p:graphicFrame>
      <p:sp>
        <p:nvSpPr>
          <p:cNvPr id="11" name="Date Placeholder 3"/>
          <p:cNvSpPr>
            <a:spLocks noGrp="1"/>
          </p:cNvSpPr>
          <p:nvPr>
            <p:ph type="dt" sz="half" idx="2"/>
          </p:nvPr>
        </p:nvSpPr>
        <p:spPr>
          <a:xfrm>
            <a:off x="7258051" y="4803777"/>
            <a:ext cx="1111538" cy="115416"/>
          </a:xfrm>
          <a:prstGeom prst="rect">
            <a:avLst/>
          </a:prstGeom>
        </p:spPr>
        <p:txBody>
          <a:bodyPr vert="horz" wrap="square" lIns="0" tIns="0" rIns="0" bIns="0" rtlCol="0" anchor="b">
            <a:spAutoFit/>
          </a:bodyPr>
          <a:lstStyle>
            <a:lvl1pPr algn="r" rtl="0">
              <a:defRPr sz="750">
                <a:solidFill>
                  <a:schemeClr val="bg1">
                    <a:lumMod val="50000"/>
                  </a:schemeClr>
                </a:solidFill>
                <a:latin typeface="+mn-lt"/>
                <a:sym typeface="Trebuchet MS" panose="020B0603020202020204" pitchFamily="34" charset="0"/>
              </a:defRPr>
            </a:lvl1pPr>
          </a:lstStyle>
          <a:p>
            <a:endParaRPr lang="en-US"/>
          </a:p>
        </p:txBody>
      </p:sp>
      <p:sp>
        <p:nvSpPr>
          <p:cNvPr id="12" name="TextBox 11"/>
          <p:cNvSpPr txBox="1"/>
          <p:nvPr userDrawn="1"/>
        </p:nvSpPr>
        <p:spPr>
          <a:xfrm>
            <a:off x="8375904" y="4803777"/>
            <a:ext cx="285750" cy="115416"/>
          </a:xfrm>
          <a:prstGeom prst="rect">
            <a:avLst/>
          </a:prstGeom>
          <a:noFill/>
        </p:spPr>
        <p:txBody>
          <a:bodyPr wrap="square" lIns="0" tIns="0" rIns="0" bIns="0" rtlCol="0" anchor="b">
            <a:spAutoFit/>
          </a:bodyPr>
          <a:lstStyle/>
          <a:p>
            <a:pPr marL="0" marR="0" indent="0" algn="r" defTabSz="685800" rtl="0" eaLnBrk="1" fontAlgn="auto" latinLnBrk="0" hangingPunct="1">
              <a:lnSpc>
                <a:spcPct val="100000"/>
              </a:lnSpc>
              <a:spcBef>
                <a:spcPts val="0"/>
              </a:spcBef>
              <a:spcAft>
                <a:spcPts val="0"/>
              </a:spcAft>
              <a:buClrTx/>
              <a:buSzTx/>
              <a:buFontTx/>
              <a:buNone/>
              <a:tabLst/>
              <a:defRPr/>
            </a:pPr>
            <a:fld id="{DFCF27A5-1A5B-48D3-A060-2758FFBB1ADD}" type="slidenum">
              <a:rPr lang="en-US" sz="750" kern="1200" smtClean="0">
                <a:solidFill>
                  <a:schemeClr val="bg1">
                    <a:lumMod val="50000"/>
                  </a:schemeClr>
                </a:solidFill>
                <a:latin typeface="+mn-lt"/>
                <a:ea typeface="+mn-ea"/>
                <a:cs typeface="+mn-cs"/>
                <a:sym typeface="Trebuchet MS" panose="020B0603020202020204" pitchFamily="34" charset="0"/>
              </a:rPr>
              <a:pPr marL="0" marR="0" indent="0" algn="r" defTabSz="685800" rtl="0" eaLnBrk="1" fontAlgn="auto" latinLnBrk="0" hangingPunct="1">
                <a:lnSpc>
                  <a:spcPct val="100000"/>
                </a:lnSpc>
                <a:spcBef>
                  <a:spcPts val="0"/>
                </a:spcBef>
                <a:spcAft>
                  <a:spcPts val="0"/>
                </a:spcAft>
                <a:buClrTx/>
                <a:buSzTx/>
                <a:buFontTx/>
                <a:buNone/>
                <a:tabLst/>
                <a:defRPr/>
              </a:pPr>
              <a:t>‹#›</a:t>
            </a:fld>
            <a:endParaRPr lang="en-US" sz="750" kern="120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472500" y="467101"/>
            <a:ext cx="8200013" cy="2492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472500" y="1369219"/>
            <a:ext cx="8200013" cy="3263504"/>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Tree>
    <p:extLst>
      <p:ext uri="{BB962C8B-B14F-4D97-AF65-F5344CB8AC3E}">
        <p14:creationId xmlns:p14="http://schemas.microsoft.com/office/powerpoint/2010/main" val="1321919033"/>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22" r:id="rId13"/>
    <p:sldLayoutId id="2147483723" r:id="rId14"/>
    <p:sldLayoutId id="2147483724" r:id="rId15"/>
    <p:sldLayoutId id="2147483725" r:id="rId16"/>
    <p:sldLayoutId id="2147483726" r:id="rId17"/>
    <p:sldLayoutId id="2147483727" r:id="rId18"/>
    <p:sldLayoutId id="2147483728" r:id="rId19"/>
    <p:sldLayoutId id="2147483729" r:id="rId20"/>
    <p:sldLayoutId id="2147483730" r:id="rId21"/>
    <p:sldLayoutId id="2147483731" r:id="rId22"/>
    <p:sldLayoutId id="2147483732" r:id="rId23"/>
    <p:sldLayoutId id="2147483733" r:id="rId24"/>
    <p:sldLayoutId id="2147483734" r:id="rId25"/>
    <p:sldLayoutId id="2147483735" r:id="rId26"/>
    <p:sldLayoutId id="2147483736" r:id="rId27"/>
    <p:sldLayoutId id="2147483737" r:id="rId28"/>
    <p:sldLayoutId id="2147483738" r:id="rId29"/>
    <p:sldLayoutId id="2147483739" r:id="rId30"/>
    <p:sldLayoutId id="2147483740" r:id="rId31"/>
    <p:sldLayoutId id="2147483741" r:id="rId32"/>
    <p:sldLayoutId id="2147483742" r:id="rId33"/>
    <p:sldLayoutId id="2147483743" r:id="rId34"/>
    <p:sldLayoutId id="2147483744" r:id="rId35"/>
    <p:sldLayoutId id="2147483745" r:id="rId36"/>
    <p:sldLayoutId id="2147483746" r:id="rId37"/>
    <p:sldLayoutId id="2147483747" r:id="rId38"/>
    <p:sldLayoutId id="2147483748" r:id="rId39"/>
    <p:sldLayoutId id="2147483749" r:id="rId40"/>
    <p:sldLayoutId id="2147483750" r:id="rId41"/>
    <p:sldLayoutId id="2147483751" r:id="rId42"/>
    <p:sldLayoutId id="2147483752" r:id="rId43"/>
    <p:sldLayoutId id="2147483753" r:id="rId44"/>
    <p:sldLayoutId id="2147483754" r:id="rId45"/>
    <p:sldLayoutId id="2147483755" r:id="rId46"/>
    <p:sldLayoutId id="2147483756" r:id="rId47"/>
    <p:sldLayoutId id="2147483757" r:id="rId48"/>
    <p:sldLayoutId id="2147483758" r:id="rId49"/>
    <p:sldLayoutId id="2147483759" r:id="rId50"/>
    <p:sldLayoutId id="2147483760" r:id="rId51"/>
    <p:sldLayoutId id="2147483761" r:id="rId52"/>
    <p:sldLayoutId id="2147483762" r:id="rId53"/>
    <p:sldLayoutId id="2147483763" r:id="rId54"/>
    <p:sldLayoutId id="2147483764" r:id="rId55"/>
    <p:sldLayoutId id="2147483765" r:id="rId56"/>
    <p:sldLayoutId id="2147483766" r:id="rId57"/>
    <p:sldLayoutId id="2147483767" r:id="rId58"/>
    <p:sldLayoutId id="2147483768" r:id="rId59"/>
    <p:sldLayoutId id="2147483769" r:id="rId60"/>
    <p:sldLayoutId id="2147483770" r:id="rId61"/>
    <p:sldLayoutId id="2147483771" r:id="rId62"/>
    <p:sldLayoutId id="2147483772" r:id="rId63"/>
    <p:sldLayoutId id="2147483773" r:id="rId64"/>
    <p:sldLayoutId id="2147483774" r:id="rId65"/>
    <p:sldLayoutId id="2147483775" r:id="rId66"/>
    <p:sldLayoutId id="2147483776"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685800" rtl="0" eaLnBrk="1" latinLnBrk="0" hangingPunct="1">
        <a:lnSpc>
          <a:spcPct val="90000"/>
        </a:lnSpc>
        <a:spcBef>
          <a:spcPct val="0"/>
        </a:spcBef>
        <a:buNone/>
        <a:defRPr sz="1800" kern="1200">
          <a:solidFill>
            <a:schemeClr val="tx2"/>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lang="en-US" sz="18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71"/>
            </p:custDataLst>
            <p:extLst>
              <p:ext uri="{D42A27DB-BD31-4B8C-83A1-F6EECF244321}">
                <p14:modId xmlns:p14="http://schemas.microsoft.com/office/powerpoint/2010/main" val="692189917"/>
              </p:ext>
            </p:extLst>
          </p:nvPr>
        </p:nvGraphicFramePr>
        <p:xfrm>
          <a:off x="1192" y="1192"/>
          <a:ext cx="1190" cy="1190"/>
        </p:xfrm>
        <a:graphic>
          <a:graphicData uri="http://schemas.openxmlformats.org/presentationml/2006/ole">
            <mc:AlternateContent xmlns:mc="http://schemas.openxmlformats.org/markup-compatibility/2006">
              <mc:Choice xmlns:v="urn:schemas-microsoft-com:vml" Requires="v">
                <p:oleObj name="think-cell Slide" r:id="rId72" imgW="270" imgH="270" progId="TCLayout.ActiveDocument.1">
                  <p:embed/>
                </p:oleObj>
              </mc:Choice>
              <mc:Fallback>
                <p:oleObj name="think-cell Slide" r:id="rId72" imgW="270" imgH="270" progId="TCLayout.ActiveDocument.1">
                  <p:embed/>
                  <p:pic>
                    <p:nvPicPr>
                      <p:cNvPr id="2" name="Object 1" hidden="1"/>
                      <p:cNvPicPr/>
                      <p:nvPr/>
                    </p:nvPicPr>
                    <p:blipFill>
                      <a:blip r:embed="rId73"/>
                      <a:stretch>
                        <a:fillRect/>
                      </a:stretch>
                    </p:blipFill>
                    <p:spPr>
                      <a:xfrm>
                        <a:off x="1192" y="1192"/>
                        <a:ext cx="1190" cy="1190"/>
                      </a:xfrm>
                      <a:prstGeom prst="rect">
                        <a:avLst/>
                      </a:prstGeom>
                    </p:spPr>
                  </p:pic>
                </p:oleObj>
              </mc:Fallback>
            </mc:AlternateContent>
          </a:graphicData>
        </a:graphic>
      </p:graphicFrame>
      <p:sp>
        <p:nvSpPr>
          <p:cNvPr id="9" name="Title Placeholder 1"/>
          <p:cNvSpPr>
            <a:spLocks noGrp="1"/>
          </p:cNvSpPr>
          <p:nvPr>
            <p:ph type="title"/>
          </p:nvPr>
        </p:nvSpPr>
        <p:spPr>
          <a:xfrm>
            <a:off x="252414" y="282575"/>
            <a:ext cx="7991475" cy="820738"/>
          </a:xfrm>
          <a:prstGeom prst="rect">
            <a:avLst/>
          </a:prstGeom>
        </p:spPr>
        <p:txBody>
          <a:bodyPr vert="horz" wrap="square" lIns="91440" tIns="45720" rIns="91440" bIns="45720" rtlCol="0" anchor="t">
            <a:noAutofit/>
          </a:bodyPr>
          <a:lstStyle/>
          <a:p>
            <a:r>
              <a:rPr lang="en-US"/>
              <a:t>Click to add title</a:t>
            </a:r>
          </a:p>
        </p:txBody>
      </p:sp>
      <p:sp>
        <p:nvSpPr>
          <p:cNvPr id="4" name="Text Placeholder 3"/>
          <p:cNvSpPr>
            <a:spLocks noGrp="1"/>
          </p:cNvSpPr>
          <p:nvPr>
            <p:ph type="body" idx="1"/>
          </p:nvPr>
        </p:nvSpPr>
        <p:spPr>
          <a:xfrm>
            <a:off x="381221" y="1377907"/>
            <a:ext cx="8381779" cy="3032289"/>
          </a:xfrm>
          <a:prstGeom prst="rect">
            <a:avLst/>
          </a:prstGeom>
        </p:spPr>
        <p:txBody>
          <a:bodyPr vert="horz" lIns="0" tIns="0" rIns="0" bIns="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Level six</a:t>
            </a:r>
          </a:p>
          <a:p>
            <a:pPr lvl="6"/>
            <a:r>
              <a:rPr lang="en-US"/>
              <a:t>Level seven</a:t>
            </a:r>
          </a:p>
          <a:p>
            <a:pPr lvl="7"/>
            <a:r>
              <a:rPr lang="en-US"/>
              <a:t>Level eight</a:t>
            </a:r>
          </a:p>
          <a:p>
            <a:pPr lvl="8"/>
            <a:r>
              <a:rPr lang="en-US"/>
              <a:t>Level nine</a:t>
            </a:r>
          </a:p>
        </p:txBody>
      </p:sp>
      <p:sp>
        <p:nvSpPr>
          <p:cNvPr id="19" name="Slide Number Placeholder 2">
            <a:extLst>
              <a:ext uri="{FF2B5EF4-FFF2-40B4-BE49-F238E27FC236}">
                <a16:creationId xmlns:a16="http://schemas.microsoft.com/office/drawing/2014/main" id="{C1CD8D67-99D1-4C54-8267-24160B4A5B67}"/>
              </a:ext>
            </a:extLst>
          </p:cNvPr>
          <p:cNvSpPr txBox="1">
            <a:spLocks/>
          </p:cNvSpPr>
          <p:nvPr userDrawn="1"/>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pPr marL="0" marR="0" lvl="0" indent="0" algn="r" defTabSz="679871" rtl="0" eaLnBrk="1" fontAlgn="auto" latinLnBrk="0" hangingPunct="1">
              <a:lnSpc>
                <a:spcPct val="100000"/>
              </a:lnSpc>
              <a:spcBef>
                <a:spcPts val="0"/>
              </a:spcBef>
              <a:spcAft>
                <a:spcPts val="0"/>
              </a:spcAft>
              <a:buClrTx/>
              <a:buSzTx/>
              <a:buFontTx/>
              <a:buNone/>
              <a:tabLst/>
              <a:defRPr/>
            </a:pPr>
            <a:fld id="{6FCB6B90-8271-4E8F-82C1-E646FBB48A2E}" type="slidenum">
              <a:rPr kumimoji="0" lang="fi-FI" sz="700" b="0" i="0" u="none" strike="noStrike" kern="1200" cap="none" spc="0" normalizeH="0" baseline="0" noProof="0" smtClean="0">
                <a:ln>
                  <a:noFill/>
                </a:ln>
                <a:solidFill>
                  <a:srgbClr val="29282E"/>
                </a:solidFill>
                <a:effectLst/>
                <a:uLnTx/>
                <a:uFillTx/>
                <a:latin typeface="Verdana"/>
                <a:ea typeface="+mn-ea"/>
                <a:cs typeface="+mn-cs"/>
              </a:rPr>
              <a:pPr marL="0" marR="0" lvl="0" indent="0" algn="r" defTabSz="679871" rtl="0" eaLnBrk="1" fontAlgn="auto" latinLnBrk="0" hangingPunct="1">
                <a:lnSpc>
                  <a:spcPct val="100000"/>
                </a:lnSpc>
                <a:spcBef>
                  <a:spcPts val="0"/>
                </a:spcBef>
                <a:spcAft>
                  <a:spcPts val="0"/>
                </a:spcAft>
                <a:buClrTx/>
                <a:buSzTx/>
                <a:buFontTx/>
                <a:buNone/>
                <a:tabLst/>
                <a:defRPr/>
              </a:pPr>
              <a:t>‹#›</a:t>
            </a:fld>
            <a:endParaRPr kumimoji="0" lang="fi-FI" sz="700" b="0" i="0" u="none" strike="noStrike" kern="1200" cap="none" spc="0" normalizeH="0" baseline="0" noProof="0">
              <a:ln>
                <a:noFill/>
              </a:ln>
              <a:solidFill>
                <a:srgbClr val="29282E"/>
              </a:solidFill>
              <a:effectLst/>
              <a:uLnTx/>
              <a:uFillTx/>
              <a:latin typeface="Verdana"/>
              <a:ea typeface="+mn-ea"/>
              <a:cs typeface="+mn-cs"/>
            </a:endParaRPr>
          </a:p>
        </p:txBody>
      </p:sp>
    </p:spTree>
    <p:extLst>
      <p:ext uri="{BB962C8B-B14F-4D97-AF65-F5344CB8AC3E}">
        <p14:creationId xmlns:p14="http://schemas.microsoft.com/office/powerpoint/2010/main" val="3221472718"/>
      </p:ext>
    </p:extLst>
  </p:cSld>
  <p:clrMap bg1="lt1" tx1="dk1" bg2="lt2" tx2="dk2" accent1="accent1" accent2="accent2" accent3="accent3" accent4="accent4" accent5="accent5" accent6="accent6" hlink="hlink" folHlink="folHlink"/>
  <p:sldLayoutIdLst>
    <p:sldLayoutId id="2147483781" r:id="rId1"/>
    <p:sldLayoutId id="2147483782" r:id="rId2"/>
    <p:sldLayoutId id="2147483783" r:id="rId3"/>
    <p:sldLayoutId id="2147483784" r:id="rId4"/>
    <p:sldLayoutId id="2147483785" r:id="rId5"/>
    <p:sldLayoutId id="2147483786" r:id="rId6"/>
    <p:sldLayoutId id="2147483787" r:id="rId7"/>
    <p:sldLayoutId id="2147483788" r:id="rId8"/>
    <p:sldLayoutId id="2147483789" r:id="rId9"/>
    <p:sldLayoutId id="2147483790" r:id="rId10"/>
    <p:sldLayoutId id="2147483791" r:id="rId11"/>
    <p:sldLayoutId id="2147483792" r:id="rId12"/>
    <p:sldLayoutId id="2147483793" r:id="rId13"/>
    <p:sldLayoutId id="2147483794" r:id="rId14"/>
    <p:sldLayoutId id="2147483795" r:id="rId15"/>
    <p:sldLayoutId id="2147483796" r:id="rId16"/>
    <p:sldLayoutId id="2147483797" r:id="rId17"/>
    <p:sldLayoutId id="2147483798" r:id="rId18"/>
    <p:sldLayoutId id="2147483799" r:id="rId19"/>
    <p:sldLayoutId id="2147483800" r:id="rId20"/>
    <p:sldLayoutId id="2147483801" r:id="rId21"/>
    <p:sldLayoutId id="2147483802" r:id="rId22"/>
    <p:sldLayoutId id="2147483803" r:id="rId23"/>
    <p:sldLayoutId id="2147483804" r:id="rId24"/>
    <p:sldLayoutId id="2147483805" r:id="rId25"/>
    <p:sldLayoutId id="2147483806" r:id="rId26"/>
    <p:sldLayoutId id="2147483807" r:id="rId27"/>
    <p:sldLayoutId id="2147483808" r:id="rId28"/>
    <p:sldLayoutId id="2147483809" r:id="rId29"/>
    <p:sldLayoutId id="2147483810" r:id="rId30"/>
    <p:sldLayoutId id="2147483811" r:id="rId31"/>
    <p:sldLayoutId id="2147483812" r:id="rId32"/>
    <p:sldLayoutId id="2147483813" r:id="rId33"/>
    <p:sldLayoutId id="2147483814" r:id="rId34"/>
    <p:sldLayoutId id="2147483815" r:id="rId35"/>
    <p:sldLayoutId id="2147483816" r:id="rId36"/>
    <p:sldLayoutId id="2147483817" r:id="rId37"/>
    <p:sldLayoutId id="2147483818" r:id="rId38"/>
    <p:sldLayoutId id="2147483819" r:id="rId39"/>
    <p:sldLayoutId id="2147483820" r:id="rId40"/>
    <p:sldLayoutId id="2147483821" r:id="rId41"/>
    <p:sldLayoutId id="2147483822" r:id="rId42"/>
    <p:sldLayoutId id="2147483823" r:id="rId43"/>
    <p:sldLayoutId id="2147483824" r:id="rId44"/>
    <p:sldLayoutId id="2147483825" r:id="rId45"/>
    <p:sldLayoutId id="2147483826" r:id="rId46"/>
    <p:sldLayoutId id="2147483827" r:id="rId47"/>
    <p:sldLayoutId id="2147483828" r:id="rId48"/>
    <p:sldLayoutId id="2147483829" r:id="rId49"/>
    <p:sldLayoutId id="2147483830" r:id="rId50"/>
    <p:sldLayoutId id="2147483831" r:id="rId51"/>
    <p:sldLayoutId id="2147483832" r:id="rId52"/>
    <p:sldLayoutId id="2147483833" r:id="rId53"/>
    <p:sldLayoutId id="2147483834" r:id="rId54"/>
    <p:sldLayoutId id="2147483835" r:id="rId55"/>
    <p:sldLayoutId id="2147483836" r:id="rId56"/>
    <p:sldLayoutId id="2147483837" r:id="rId57"/>
    <p:sldLayoutId id="2147483838" r:id="rId58"/>
    <p:sldLayoutId id="2147483839" r:id="rId59"/>
    <p:sldLayoutId id="2147483840" r:id="rId60"/>
    <p:sldLayoutId id="2147483841" r:id="rId61"/>
    <p:sldLayoutId id="2147483842" r:id="rId62"/>
    <p:sldLayoutId id="2147483843" r:id="rId63"/>
    <p:sldLayoutId id="2147483844" r:id="rId64"/>
    <p:sldLayoutId id="2147483845" r:id="rId65"/>
    <p:sldLayoutId id="2147483846" r:id="rId66"/>
    <p:sldLayoutId id="2147483847" r:id="rId67"/>
    <p:sldLayoutId id="2147483848" r:id="rId68"/>
    <p:sldLayoutId id="2147483849" r:id="rId69"/>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marL="18288" algn="l" defTabSz="685800" rtl="0" eaLnBrk="1" latinLnBrk="0" hangingPunct="1">
        <a:lnSpc>
          <a:spcPts val="2700"/>
        </a:lnSpc>
        <a:spcBef>
          <a:spcPts val="400"/>
        </a:spcBef>
        <a:buNone/>
        <a:defRPr sz="1400" b="1" kern="1200" spc="-40" baseline="0">
          <a:solidFill>
            <a:srgbClr val="000000"/>
          </a:solidFill>
          <a:latin typeface="+mj-lt"/>
          <a:ea typeface="+mj-ea"/>
          <a:cs typeface="+mj-cs"/>
          <a:sym typeface="Trebuchet MS" panose="020B0603020202020204" pitchFamily="34" charset="0"/>
        </a:defRPr>
      </a:lvl1pPr>
    </p:titleStyle>
    <p:bodyStyle>
      <a:lvl1pPr marL="0" indent="0" algn="l" defTabSz="685800" rtl="0" eaLnBrk="1" latinLnBrk="0" hangingPunct="1">
        <a:lnSpc>
          <a:spcPct val="110000"/>
        </a:lnSpc>
        <a:spcBef>
          <a:spcPts val="450"/>
        </a:spcBef>
        <a:spcAft>
          <a:spcPts val="225"/>
        </a:spcAft>
        <a:buClr>
          <a:srgbClr val="000000"/>
        </a:buClr>
        <a:buFont typeface="Arial" panose="020B0604020202020204" pitchFamily="34" charset="0"/>
        <a:buChar char="​"/>
        <a:defRPr lang="en-US" sz="800" kern="1200">
          <a:solidFill>
            <a:srgbClr val="000000"/>
          </a:solidFill>
          <a:latin typeface="+mn-lt"/>
          <a:ea typeface="+mn-ea"/>
          <a:cs typeface="+mn-cs"/>
          <a:sym typeface="Trebuchet MS" panose="020B0603020202020204" pitchFamily="34" charset="0"/>
        </a:defRPr>
      </a:lvl1pPr>
      <a:lvl2pPr marL="320040" indent="-219456" algn="l" defTabSz="685800" rtl="0" eaLnBrk="1" latinLnBrk="0" hangingPunct="1">
        <a:lnSpc>
          <a:spcPct val="90000"/>
        </a:lnSpc>
        <a:spcBef>
          <a:spcPts val="0"/>
        </a:spcBef>
        <a:spcAft>
          <a:spcPts val="225"/>
        </a:spcAft>
        <a:buClr>
          <a:srgbClr val="000000"/>
        </a:buClr>
        <a:buFont typeface="Arial" panose="020B0604020202020204" pitchFamily="34" charset="0"/>
        <a:buChar char="•"/>
        <a:defRPr lang="en-US" sz="800" kern="1200">
          <a:solidFill>
            <a:srgbClr val="000000"/>
          </a:solidFill>
          <a:latin typeface="+mn-lt"/>
          <a:ea typeface="+mn-ea"/>
          <a:cs typeface="+mn-cs"/>
          <a:sym typeface="Trebuchet MS" panose="020B0603020202020204" pitchFamily="34" charset="0"/>
        </a:defRPr>
      </a:lvl2pPr>
      <a:lvl3pPr marL="649224" indent="-219456" algn="l" defTabSz="685800" rtl="0" eaLnBrk="1" latinLnBrk="0" hangingPunct="1">
        <a:lnSpc>
          <a:spcPct val="90000"/>
        </a:lnSpc>
        <a:spcBef>
          <a:spcPts val="0"/>
        </a:spcBef>
        <a:spcAft>
          <a:spcPts val="225"/>
        </a:spcAft>
        <a:buClr>
          <a:srgbClr val="000000"/>
        </a:buClr>
        <a:buFont typeface="Verdana" panose="020B0604030504040204" pitchFamily="34" charset="0"/>
        <a:buChar char="–"/>
        <a:defRPr lang="en-US" sz="800" kern="1200">
          <a:solidFill>
            <a:srgbClr val="000000"/>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rgbClr val="000000"/>
        </a:buClr>
        <a:buFont typeface="Arial" panose="020B0604020202020204" pitchFamily="34" charset="0"/>
        <a:buChar char="​"/>
        <a:defRPr lang="en-US" sz="1200" b="1" kern="1200">
          <a:solidFill>
            <a:srgbClr val="000000"/>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
          <a:srgbClr val="000000"/>
        </a:buClr>
        <a:buFont typeface="Arial" panose="020B0604020202020204" pitchFamily="34" charset="0"/>
        <a:buChar char="​"/>
        <a:defRPr lang="en-US" sz="1200" b="1" kern="1200" smtClean="0">
          <a:solidFill>
            <a:srgbClr val="000000"/>
          </a:solidFill>
          <a:latin typeface="+mn-lt"/>
          <a:ea typeface="+mn-ea"/>
          <a:cs typeface="+mn-cs"/>
          <a:sym typeface="Trebuchet MS" panose="020B0603020202020204" pitchFamily="34" charset="0"/>
        </a:defRPr>
      </a:lvl5pPr>
      <a:lvl6pPr marL="320040" indent="-219456" algn="l" defTabSz="685800" rtl="0" eaLnBrk="1" latinLnBrk="0" hangingPunct="1">
        <a:lnSpc>
          <a:spcPct val="90000"/>
        </a:lnSpc>
        <a:spcBef>
          <a:spcPts val="0"/>
        </a:spcBef>
        <a:spcAft>
          <a:spcPts val="450"/>
        </a:spcAft>
        <a:buClr>
          <a:srgbClr val="000000"/>
        </a:buClr>
        <a:buFont typeface="Arial" panose="020B0604020202020204" pitchFamily="34" charset="0"/>
        <a:buChar char="•"/>
        <a:defRPr lang="en-US" sz="1200" kern="1200" smtClean="0">
          <a:solidFill>
            <a:srgbClr val="000000"/>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Clr>
          <a:srgbClr val="000000"/>
        </a:buClr>
        <a:buFont typeface="Arial" panose="020B0604020202020204" pitchFamily="34" charset="0"/>
        <a:buChar char="​"/>
        <a:defRPr lang="en-US" sz="3300" kern="1200" baseline="0" smtClean="0">
          <a:solidFill>
            <a:srgbClr val="000000"/>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Clr>
          <a:srgbClr val="000000"/>
        </a:buClr>
        <a:buFont typeface="Arial" panose="020B0604020202020204" pitchFamily="34" charset="0"/>
        <a:buChar char="​"/>
        <a:defRPr lang="en-US" sz="4000" b="1" kern="1200" baseline="0" smtClean="0">
          <a:solidFill>
            <a:srgbClr val="000000"/>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Clr>
          <a:srgbClr val="000000"/>
        </a:buClr>
        <a:buFont typeface="Arial" panose="020B0604020202020204" pitchFamily="34" charset="0"/>
        <a:buChar char="​"/>
        <a:defRPr lang="en-US" sz="1800" b="1" kern="1200" baseline="0" dirty="0">
          <a:solidFill>
            <a:srgbClr val="000000"/>
          </a:solidFill>
          <a:latin typeface="+mn-lt"/>
          <a:ea typeface="+mn-ea"/>
          <a:cs typeface="+mn-cs"/>
          <a:sym typeface="Trebuchet MS" panose="020B0603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67">
          <p15:clr>
            <a:srgbClr val="F26B43"/>
          </p15:clr>
        </p15:guide>
        <p15:guide id="2" pos="240">
          <p15:clr>
            <a:srgbClr val="F26B43"/>
          </p15:clr>
        </p15:guide>
        <p15:guide id="3" pos="5520">
          <p15:clr>
            <a:srgbClr val="F26B43"/>
          </p15:clr>
        </p15:guide>
        <p15:guide id="4" orient="horz" pos="277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83.xml"/><Relationship Id="rId5" Type="http://schemas.openxmlformats.org/officeDocument/2006/relationships/image" Target="../media/image3.emf"/><Relationship Id="rId4" Type="http://schemas.openxmlformats.org/officeDocument/2006/relationships/oleObject" Target="../embeddings/oleObject166.bin"/></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png"/><Relationship Id="rId7" Type="http://schemas.openxmlformats.org/officeDocument/2006/relationships/image" Target="../media/image33.png"/><Relationship Id="rId2" Type="http://schemas.openxmlformats.org/officeDocument/2006/relationships/image" Target="../media/image28.png"/><Relationship Id="rId1" Type="http://schemas.openxmlformats.org/officeDocument/2006/relationships/slideLayout" Target="../slideLayouts/slideLayout19.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3" Type="http://schemas.openxmlformats.org/officeDocument/2006/relationships/image" Target="../media/image42.png"/><Relationship Id="rId18" Type="http://schemas.openxmlformats.org/officeDocument/2006/relationships/image" Target="../media/image47.png"/><Relationship Id="rId26" Type="http://schemas.openxmlformats.org/officeDocument/2006/relationships/image" Target="../media/image55.png"/><Relationship Id="rId39" Type="http://schemas.openxmlformats.org/officeDocument/2006/relationships/image" Target="../media/image68.png"/><Relationship Id="rId21" Type="http://schemas.openxmlformats.org/officeDocument/2006/relationships/image" Target="../media/image50.png"/><Relationship Id="rId34" Type="http://schemas.openxmlformats.org/officeDocument/2006/relationships/image" Target="../media/image63.png"/><Relationship Id="rId42" Type="http://schemas.openxmlformats.org/officeDocument/2006/relationships/image" Target="../media/image71.png"/><Relationship Id="rId7" Type="http://schemas.openxmlformats.org/officeDocument/2006/relationships/image" Target="../media/image36.jpeg"/><Relationship Id="rId2" Type="http://schemas.openxmlformats.org/officeDocument/2006/relationships/slideLayout" Target="../slideLayouts/slideLayout19.xml"/><Relationship Id="rId16" Type="http://schemas.openxmlformats.org/officeDocument/2006/relationships/image" Target="../media/image45.png"/><Relationship Id="rId29" Type="http://schemas.openxmlformats.org/officeDocument/2006/relationships/image" Target="../media/image58.png"/><Relationship Id="rId1" Type="http://schemas.openxmlformats.org/officeDocument/2006/relationships/tags" Target="../tags/tag310.xml"/><Relationship Id="rId6" Type="http://schemas.openxmlformats.org/officeDocument/2006/relationships/image" Target="../media/image35.jpeg"/><Relationship Id="rId11" Type="http://schemas.openxmlformats.org/officeDocument/2006/relationships/image" Target="../media/image40.png"/><Relationship Id="rId24" Type="http://schemas.openxmlformats.org/officeDocument/2006/relationships/image" Target="../media/image53.png"/><Relationship Id="rId32" Type="http://schemas.openxmlformats.org/officeDocument/2006/relationships/image" Target="../media/image61.png"/><Relationship Id="rId37" Type="http://schemas.openxmlformats.org/officeDocument/2006/relationships/image" Target="../media/image66.png"/><Relationship Id="rId40" Type="http://schemas.openxmlformats.org/officeDocument/2006/relationships/image" Target="../media/image69.png"/><Relationship Id="rId45" Type="http://schemas.openxmlformats.org/officeDocument/2006/relationships/image" Target="../media/image74.png"/><Relationship Id="rId5" Type="http://schemas.openxmlformats.org/officeDocument/2006/relationships/image" Target="../media/image3.emf"/><Relationship Id="rId15" Type="http://schemas.openxmlformats.org/officeDocument/2006/relationships/image" Target="../media/image44.png"/><Relationship Id="rId23" Type="http://schemas.openxmlformats.org/officeDocument/2006/relationships/image" Target="../media/image52.png"/><Relationship Id="rId28" Type="http://schemas.openxmlformats.org/officeDocument/2006/relationships/image" Target="../media/image57.png"/><Relationship Id="rId36" Type="http://schemas.openxmlformats.org/officeDocument/2006/relationships/image" Target="../media/image65.png"/><Relationship Id="rId10" Type="http://schemas.openxmlformats.org/officeDocument/2006/relationships/image" Target="../media/image39.png"/><Relationship Id="rId19" Type="http://schemas.openxmlformats.org/officeDocument/2006/relationships/image" Target="../media/image48.png"/><Relationship Id="rId31" Type="http://schemas.openxmlformats.org/officeDocument/2006/relationships/image" Target="../media/image60.png"/><Relationship Id="rId44" Type="http://schemas.openxmlformats.org/officeDocument/2006/relationships/image" Target="../media/image73.png"/><Relationship Id="rId4" Type="http://schemas.openxmlformats.org/officeDocument/2006/relationships/oleObject" Target="../embeddings/oleObject175.bin"/><Relationship Id="rId9" Type="http://schemas.openxmlformats.org/officeDocument/2006/relationships/image" Target="../media/image38.png"/><Relationship Id="rId14" Type="http://schemas.openxmlformats.org/officeDocument/2006/relationships/image" Target="../media/image43.jpeg"/><Relationship Id="rId22" Type="http://schemas.openxmlformats.org/officeDocument/2006/relationships/image" Target="../media/image51.png"/><Relationship Id="rId27" Type="http://schemas.openxmlformats.org/officeDocument/2006/relationships/image" Target="../media/image56.png"/><Relationship Id="rId30" Type="http://schemas.openxmlformats.org/officeDocument/2006/relationships/image" Target="../media/image59.png"/><Relationship Id="rId35" Type="http://schemas.openxmlformats.org/officeDocument/2006/relationships/image" Target="../media/image64.png"/><Relationship Id="rId43" Type="http://schemas.openxmlformats.org/officeDocument/2006/relationships/image" Target="../media/image72.png"/><Relationship Id="rId8" Type="http://schemas.openxmlformats.org/officeDocument/2006/relationships/image" Target="../media/image37.png"/><Relationship Id="rId3" Type="http://schemas.openxmlformats.org/officeDocument/2006/relationships/notesSlide" Target="../notesSlides/notesSlide6.xml"/><Relationship Id="rId12" Type="http://schemas.openxmlformats.org/officeDocument/2006/relationships/image" Target="../media/image41.jpeg"/><Relationship Id="rId17" Type="http://schemas.openxmlformats.org/officeDocument/2006/relationships/image" Target="../media/image46.png"/><Relationship Id="rId25" Type="http://schemas.openxmlformats.org/officeDocument/2006/relationships/image" Target="../media/image54.jpeg"/><Relationship Id="rId33" Type="http://schemas.openxmlformats.org/officeDocument/2006/relationships/image" Target="../media/image62.png"/><Relationship Id="rId38" Type="http://schemas.openxmlformats.org/officeDocument/2006/relationships/image" Target="../media/image67.png"/><Relationship Id="rId20" Type="http://schemas.openxmlformats.org/officeDocument/2006/relationships/image" Target="../media/image49.png"/><Relationship Id="rId41" Type="http://schemas.openxmlformats.org/officeDocument/2006/relationships/image" Target="../media/image70.png"/></Relationships>
</file>

<file path=ppt/slides/_rels/slide13.xml.rels><?xml version="1.0" encoding="UTF-8" standalone="yes"?>
<Relationships xmlns="http://schemas.openxmlformats.org/package/2006/relationships"><Relationship Id="rId13" Type="http://schemas.openxmlformats.org/officeDocument/2006/relationships/image" Target="../media/image81.png"/><Relationship Id="rId18" Type="http://schemas.openxmlformats.org/officeDocument/2006/relationships/image" Target="../media/image86.png"/><Relationship Id="rId26" Type="http://schemas.openxmlformats.org/officeDocument/2006/relationships/image" Target="../media/image92.png"/><Relationship Id="rId39" Type="http://schemas.openxmlformats.org/officeDocument/2006/relationships/image" Target="../media/image105.png"/><Relationship Id="rId21" Type="http://schemas.openxmlformats.org/officeDocument/2006/relationships/image" Target="../media/image88.png"/><Relationship Id="rId34" Type="http://schemas.openxmlformats.org/officeDocument/2006/relationships/image" Target="../media/image100.png"/><Relationship Id="rId42" Type="http://schemas.openxmlformats.org/officeDocument/2006/relationships/image" Target="../media/image107.png"/><Relationship Id="rId47" Type="http://schemas.openxmlformats.org/officeDocument/2006/relationships/image" Target="../media/image112.png"/><Relationship Id="rId50" Type="http://schemas.openxmlformats.org/officeDocument/2006/relationships/image" Target="../media/image115.png"/><Relationship Id="rId55" Type="http://schemas.openxmlformats.org/officeDocument/2006/relationships/image" Target="../media/image120.png"/><Relationship Id="rId63" Type="http://schemas.openxmlformats.org/officeDocument/2006/relationships/image" Target="../media/image125.png"/><Relationship Id="rId7" Type="http://schemas.openxmlformats.org/officeDocument/2006/relationships/image" Target="../media/image75.emf"/><Relationship Id="rId2" Type="http://schemas.openxmlformats.org/officeDocument/2006/relationships/tags" Target="../tags/tag312.xml"/><Relationship Id="rId16" Type="http://schemas.openxmlformats.org/officeDocument/2006/relationships/image" Target="../media/image84.png"/><Relationship Id="rId29" Type="http://schemas.openxmlformats.org/officeDocument/2006/relationships/image" Target="../media/image95.png"/><Relationship Id="rId11" Type="http://schemas.openxmlformats.org/officeDocument/2006/relationships/image" Target="../media/image79.png"/><Relationship Id="rId24" Type="http://schemas.openxmlformats.org/officeDocument/2006/relationships/image" Target="../media/image90.png"/><Relationship Id="rId32" Type="http://schemas.openxmlformats.org/officeDocument/2006/relationships/image" Target="../media/image98.jpeg"/><Relationship Id="rId37" Type="http://schemas.openxmlformats.org/officeDocument/2006/relationships/image" Target="../media/image103.png"/><Relationship Id="rId40" Type="http://schemas.openxmlformats.org/officeDocument/2006/relationships/image" Target="../media/image106.png"/><Relationship Id="rId45" Type="http://schemas.openxmlformats.org/officeDocument/2006/relationships/image" Target="../media/image110.png"/><Relationship Id="rId53" Type="http://schemas.openxmlformats.org/officeDocument/2006/relationships/image" Target="../media/image118.png"/><Relationship Id="rId58" Type="http://schemas.openxmlformats.org/officeDocument/2006/relationships/image" Target="../media/image122.png"/><Relationship Id="rId5" Type="http://schemas.openxmlformats.org/officeDocument/2006/relationships/notesSlide" Target="../notesSlides/notesSlide7.xml"/><Relationship Id="rId61" Type="http://schemas.openxmlformats.org/officeDocument/2006/relationships/image" Target="../media/image66.png"/><Relationship Id="rId19" Type="http://schemas.openxmlformats.org/officeDocument/2006/relationships/image" Target="../media/image52.png"/><Relationship Id="rId14" Type="http://schemas.openxmlformats.org/officeDocument/2006/relationships/image" Target="../media/image82.png"/><Relationship Id="rId22" Type="http://schemas.openxmlformats.org/officeDocument/2006/relationships/image" Target="../media/image89.png"/><Relationship Id="rId27" Type="http://schemas.openxmlformats.org/officeDocument/2006/relationships/image" Target="../media/image93.png"/><Relationship Id="rId30" Type="http://schemas.openxmlformats.org/officeDocument/2006/relationships/image" Target="../media/image96.png"/><Relationship Id="rId35" Type="http://schemas.openxmlformats.org/officeDocument/2006/relationships/image" Target="../media/image101.png"/><Relationship Id="rId43" Type="http://schemas.openxmlformats.org/officeDocument/2006/relationships/image" Target="../media/image108.png"/><Relationship Id="rId48" Type="http://schemas.openxmlformats.org/officeDocument/2006/relationships/image" Target="../media/image113.png"/><Relationship Id="rId56" Type="http://schemas.openxmlformats.org/officeDocument/2006/relationships/image" Target="../media/image40.png"/><Relationship Id="rId64" Type="http://schemas.openxmlformats.org/officeDocument/2006/relationships/image" Target="../media/image60.png"/><Relationship Id="rId8" Type="http://schemas.openxmlformats.org/officeDocument/2006/relationships/image" Target="../media/image76.png"/><Relationship Id="rId51" Type="http://schemas.openxmlformats.org/officeDocument/2006/relationships/image" Target="../media/image116.jpeg"/><Relationship Id="rId3" Type="http://schemas.openxmlformats.org/officeDocument/2006/relationships/tags" Target="../tags/tag313.xml"/><Relationship Id="rId12" Type="http://schemas.openxmlformats.org/officeDocument/2006/relationships/image" Target="../media/image80.png"/><Relationship Id="rId17" Type="http://schemas.openxmlformats.org/officeDocument/2006/relationships/image" Target="../media/image85.png"/><Relationship Id="rId25" Type="http://schemas.openxmlformats.org/officeDocument/2006/relationships/image" Target="../media/image91.png"/><Relationship Id="rId33" Type="http://schemas.openxmlformats.org/officeDocument/2006/relationships/image" Target="../media/image99.png"/><Relationship Id="rId38" Type="http://schemas.openxmlformats.org/officeDocument/2006/relationships/image" Target="../media/image104.jpeg"/><Relationship Id="rId46" Type="http://schemas.openxmlformats.org/officeDocument/2006/relationships/image" Target="../media/image111.jpeg"/><Relationship Id="rId59" Type="http://schemas.openxmlformats.org/officeDocument/2006/relationships/image" Target="../media/image123.png"/><Relationship Id="rId20" Type="http://schemas.openxmlformats.org/officeDocument/2006/relationships/image" Target="../media/image87.png"/><Relationship Id="rId41" Type="http://schemas.openxmlformats.org/officeDocument/2006/relationships/image" Target="../media/image39.png"/><Relationship Id="rId54" Type="http://schemas.openxmlformats.org/officeDocument/2006/relationships/image" Target="../media/image119.png"/><Relationship Id="rId62" Type="http://schemas.openxmlformats.org/officeDocument/2006/relationships/image" Target="../media/image61.png"/><Relationship Id="rId1" Type="http://schemas.openxmlformats.org/officeDocument/2006/relationships/tags" Target="../tags/tag311.xml"/><Relationship Id="rId6" Type="http://schemas.openxmlformats.org/officeDocument/2006/relationships/oleObject" Target="../embeddings/oleObject176.bin"/><Relationship Id="rId15" Type="http://schemas.openxmlformats.org/officeDocument/2006/relationships/image" Target="../media/image83.png"/><Relationship Id="rId23" Type="http://schemas.openxmlformats.org/officeDocument/2006/relationships/image" Target="../media/image57.png"/><Relationship Id="rId28" Type="http://schemas.openxmlformats.org/officeDocument/2006/relationships/image" Target="../media/image94.png"/><Relationship Id="rId36" Type="http://schemas.openxmlformats.org/officeDocument/2006/relationships/image" Target="../media/image102.jpeg"/><Relationship Id="rId49" Type="http://schemas.openxmlformats.org/officeDocument/2006/relationships/image" Target="../media/image114.png"/><Relationship Id="rId57" Type="http://schemas.openxmlformats.org/officeDocument/2006/relationships/image" Target="../media/image121.png"/><Relationship Id="rId10" Type="http://schemas.openxmlformats.org/officeDocument/2006/relationships/image" Target="../media/image78.png"/><Relationship Id="rId31" Type="http://schemas.openxmlformats.org/officeDocument/2006/relationships/image" Target="../media/image97.png"/><Relationship Id="rId44" Type="http://schemas.openxmlformats.org/officeDocument/2006/relationships/image" Target="../media/image109.png"/><Relationship Id="rId52" Type="http://schemas.openxmlformats.org/officeDocument/2006/relationships/image" Target="../media/image117.png"/><Relationship Id="rId60" Type="http://schemas.openxmlformats.org/officeDocument/2006/relationships/image" Target="../media/image124.png"/><Relationship Id="rId4" Type="http://schemas.openxmlformats.org/officeDocument/2006/relationships/slideLayout" Target="../slideLayouts/slideLayout30.xml"/><Relationship Id="rId9"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9.xml"/><Relationship Id="rId7" Type="http://schemas.openxmlformats.org/officeDocument/2006/relationships/chart" Target="../charts/chart5.xml"/><Relationship Id="rId2" Type="http://schemas.openxmlformats.org/officeDocument/2006/relationships/tags" Target="../tags/tag315.xml"/><Relationship Id="rId1" Type="http://schemas.openxmlformats.org/officeDocument/2006/relationships/tags" Target="../tags/tag314.xml"/><Relationship Id="rId6" Type="http://schemas.openxmlformats.org/officeDocument/2006/relationships/image" Target="../media/image126.emf"/><Relationship Id="rId5" Type="http://schemas.openxmlformats.org/officeDocument/2006/relationships/oleObject" Target="../embeddings/oleObject177.bin"/><Relationship Id="rId4" Type="http://schemas.openxmlformats.org/officeDocument/2006/relationships/notesSlide" Target="../notesSlides/notesSlide8.xml"/></Relationships>
</file>

<file path=ppt/slides/_rels/slide15.xml.rels><?xml version="1.0" encoding="UTF-8" standalone="yes"?>
<Relationships xmlns="http://schemas.openxmlformats.org/package/2006/relationships"><Relationship Id="rId13" Type="http://schemas.openxmlformats.org/officeDocument/2006/relationships/image" Target="../media/image134.png"/><Relationship Id="rId18" Type="http://schemas.openxmlformats.org/officeDocument/2006/relationships/image" Target="../media/image139.png"/><Relationship Id="rId26" Type="http://schemas.openxmlformats.org/officeDocument/2006/relationships/image" Target="../media/image74.png"/><Relationship Id="rId39" Type="http://schemas.openxmlformats.org/officeDocument/2006/relationships/image" Target="../media/image152.png"/><Relationship Id="rId21" Type="http://schemas.openxmlformats.org/officeDocument/2006/relationships/image" Target="../media/image142.png"/><Relationship Id="rId34" Type="http://schemas.openxmlformats.org/officeDocument/2006/relationships/image" Target="../media/image107.png"/><Relationship Id="rId42" Type="http://schemas.openxmlformats.org/officeDocument/2006/relationships/image" Target="../media/image153.png"/><Relationship Id="rId47" Type="http://schemas.openxmlformats.org/officeDocument/2006/relationships/image" Target="../media/image157.png"/><Relationship Id="rId50" Type="http://schemas.openxmlformats.org/officeDocument/2006/relationships/image" Target="../media/image87.png"/><Relationship Id="rId7" Type="http://schemas.openxmlformats.org/officeDocument/2006/relationships/image" Target="../media/image128.png"/><Relationship Id="rId2" Type="http://schemas.openxmlformats.org/officeDocument/2006/relationships/slideLayout" Target="../slideLayouts/slideLayout19.xml"/><Relationship Id="rId16" Type="http://schemas.openxmlformats.org/officeDocument/2006/relationships/image" Target="../media/image137.png"/><Relationship Id="rId29" Type="http://schemas.microsoft.com/office/2007/relationships/hdphoto" Target="../media/hdphoto1.wdp"/><Relationship Id="rId11" Type="http://schemas.openxmlformats.org/officeDocument/2006/relationships/image" Target="../media/image132.png"/><Relationship Id="rId24" Type="http://schemas.openxmlformats.org/officeDocument/2006/relationships/image" Target="../media/image145.png"/><Relationship Id="rId32" Type="http://schemas.openxmlformats.org/officeDocument/2006/relationships/image" Target="../media/image150.png"/><Relationship Id="rId37" Type="http://schemas.openxmlformats.org/officeDocument/2006/relationships/image" Target="../media/image115.png"/><Relationship Id="rId40" Type="http://schemas.openxmlformats.org/officeDocument/2006/relationships/image" Target="../media/image118.png"/><Relationship Id="rId45" Type="http://schemas.openxmlformats.org/officeDocument/2006/relationships/image" Target="../media/image155.png"/><Relationship Id="rId53" Type="http://schemas.openxmlformats.org/officeDocument/2006/relationships/image" Target="../media/image161.png"/><Relationship Id="rId5" Type="http://schemas.openxmlformats.org/officeDocument/2006/relationships/image" Target="../media/image17.emf"/><Relationship Id="rId10" Type="http://schemas.openxmlformats.org/officeDocument/2006/relationships/image" Target="../media/image131.png"/><Relationship Id="rId19" Type="http://schemas.openxmlformats.org/officeDocument/2006/relationships/image" Target="../media/image140.jpeg"/><Relationship Id="rId31" Type="http://schemas.openxmlformats.org/officeDocument/2006/relationships/image" Target="../media/image149.jpeg"/><Relationship Id="rId44" Type="http://schemas.openxmlformats.org/officeDocument/2006/relationships/image" Target="../media/image154.png"/><Relationship Id="rId52" Type="http://schemas.openxmlformats.org/officeDocument/2006/relationships/image" Target="../media/image160.png"/><Relationship Id="rId4" Type="http://schemas.openxmlformats.org/officeDocument/2006/relationships/oleObject" Target="../embeddings/oleObject178.bin"/><Relationship Id="rId9" Type="http://schemas.openxmlformats.org/officeDocument/2006/relationships/image" Target="../media/image130.png"/><Relationship Id="rId14" Type="http://schemas.openxmlformats.org/officeDocument/2006/relationships/image" Target="../media/image135.png"/><Relationship Id="rId22" Type="http://schemas.openxmlformats.org/officeDocument/2006/relationships/image" Target="../media/image143.png"/><Relationship Id="rId27" Type="http://schemas.openxmlformats.org/officeDocument/2006/relationships/image" Target="../media/image103.png"/><Relationship Id="rId30" Type="http://schemas.openxmlformats.org/officeDocument/2006/relationships/image" Target="../media/image148.png"/><Relationship Id="rId35" Type="http://schemas.openxmlformats.org/officeDocument/2006/relationships/image" Target="../media/image105.png"/><Relationship Id="rId43" Type="http://schemas.openxmlformats.org/officeDocument/2006/relationships/image" Target="../media/image61.png"/><Relationship Id="rId48" Type="http://schemas.openxmlformats.org/officeDocument/2006/relationships/image" Target="../media/image158.png"/><Relationship Id="rId8" Type="http://schemas.openxmlformats.org/officeDocument/2006/relationships/image" Target="../media/image129.png"/><Relationship Id="rId51" Type="http://schemas.openxmlformats.org/officeDocument/2006/relationships/image" Target="../media/image159.jpeg"/><Relationship Id="rId3" Type="http://schemas.openxmlformats.org/officeDocument/2006/relationships/notesSlide" Target="../notesSlides/notesSlide9.xml"/><Relationship Id="rId12" Type="http://schemas.openxmlformats.org/officeDocument/2006/relationships/image" Target="../media/image133.png"/><Relationship Id="rId17" Type="http://schemas.openxmlformats.org/officeDocument/2006/relationships/image" Target="../media/image138.png"/><Relationship Id="rId25" Type="http://schemas.openxmlformats.org/officeDocument/2006/relationships/image" Target="../media/image146.png"/><Relationship Id="rId33" Type="http://schemas.openxmlformats.org/officeDocument/2006/relationships/image" Target="../media/image108.png"/><Relationship Id="rId38" Type="http://schemas.openxmlformats.org/officeDocument/2006/relationships/image" Target="../media/image151.png"/><Relationship Id="rId46" Type="http://schemas.openxmlformats.org/officeDocument/2006/relationships/image" Target="../media/image156.png"/><Relationship Id="rId20" Type="http://schemas.openxmlformats.org/officeDocument/2006/relationships/image" Target="../media/image141.png"/><Relationship Id="rId41" Type="http://schemas.openxmlformats.org/officeDocument/2006/relationships/image" Target="../media/image124.png"/><Relationship Id="rId54" Type="http://schemas.openxmlformats.org/officeDocument/2006/relationships/image" Target="../media/image162.png"/><Relationship Id="rId1" Type="http://schemas.openxmlformats.org/officeDocument/2006/relationships/tags" Target="../tags/tag316.xml"/><Relationship Id="rId6" Type="http://schemas.openxmlformats.org/officeDocument/2006/relationships/image" Target="../media/image127.jpeg"/><Relationship Id="rId15" Type="http://schemas.openxmlformats.org/officeDocument/2006/relationships/image" Target="../media/image136.png"/><Relationship Id="rId23" Type="http://schemas.openxmlformats.org/officeDocument/2006/relationships/image" Target="../media/image144.png"/><Relationship Id="rId28" Type="http://schemas.openxmlformats.org/officeDocument/2006/relationships/image" Target="../media/image147.png"/><Relationship Id="rId36" Type="http://schemas.openxmlformats.org/officeDocument/2006/relationships/image" Target="../media/image106.png"/><Relationship Id="rId49" Type="http://schemas.openxmlformats.org/officeDocument/2006/relationships/image" Target="../media/image80.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19.xml"/><Relationship Id="rId1" Type="http://schemas.openxmlformats.org/officeDocument/2006/relationships/tags" Target="../tags/tag317.xml"/><Relationship Id="rId5" Type="http://schemas.openxmlformats.org/officeDocument/2006/relationships/image" Target="../media/image3.emf"/><Relationship Id="rId4" Type="http://schemas.openxmlformats.org/officeDocument/2006/relationships/oleObject" Target="../embeddings/oleObject179.bin"/></Relationships>
</file>

<file path=ppt/slides/_rels/slide17.xml.rels><?xml version="1.0" encoding="UTF-8" standalone="yes"?>
<Relationships xmlns="http://schemas.openxmlformats.org/package/2006/relationships"><Relationship Id="rId26" Type="http://schemas.openxmlformats.org/officeDocument/2006/relationships/tags" Target="../tags/tag343.xml"/><Relationship Id="rId21" Type="http://schemas.openxmlformats.org/officeDocument/2006/relationships/tags" Target="../tags/tag338.xml"/><Relationship Id="rId42" Type="http://schemas.openxmlformats.org/officeDocument/2006/relationships/tags" Target="../tags/tag359.xml"/><Relationship Id="rId47" Type="http://schemas.openxmlformats.org/officeDocument/2006/relationships/tags" Target="../tags/tag364.xml"/><Relationship Id="rId63" Type="http://schemas.openxmlformats.org/officeDocument/2006/relationships/tags" Target="../tags/tag380.xml"/><Relationship Id="rId68" Type="http://schemas.openxmlformats.org/officeDocument/2006/relationships/tags" Target="../tags/tag385.xml"/><Relationship Id="rId84" Type="http://schemas.openxmlformats.org/officeDocument/2006/relationships/tags" Target="../tags/tag401.xml"/><Relationship Id="rId89" Type="http://schemas.openxmlformats.org/officeDocument/2006/relationships/tags" Target="../tags/tag406.xml"/><Relationship Id="rId16" Type="http://schemas.openxmlformats.org/officeDocument/2006/relationships/tags" Target="../tags/tag333.xml"/><Relationship Id="rId11" Type="http://schemas.openxmlformats.org/officeDocument/2006/relationships/tags" Target="../tags/tag328.xml"/><Relationship Id="rId32" Type="http://schemas.openxmlformats.org/officeDocument/2006/relationships/tags" Target="../tags/tag349.xml"/><Relationship Id="rId37" Type="http://schemas.openxmlformats.org/officeDocument/2006/relationships/tags" Target="../tags/tag354.xml"/><Relationship Id="rId53" Type="http://schemas.openxmlformats.org/officeDocument/2006/relationships/tags" Target="../tags/tag370.xml"/><Relationship Id="rId58" Type="http://schemas.openxmlformats.org/officeDocument/2006/relationships/tags" Target="../tags/tag375.xml"/><Relationship Id="rId74" Type="http://schemas.openxmlformats.org/officeDocument/2006/relationships/tags" Target="../tags/tag391.xml"/><Relationship Id="rId79" Type="http://schemas.openxmlformats.org/officeDocument/2006/relationships/tags" Target="../tags/tag396.xml"/><Relationship Id="rId5" Type="http://schemas.openxmlformats.org/officeDocument/2006/relationships/tags" Target="../tags/tag322.xml"/><Relationship Id="rId90" Type="http://schemas.openxmlformats.org/officeDocument/2006/relationships/tags" Target="../tags/tag407.xml"/><Relationship Id="rId95" Type="http://schemas.openxmlformats.org/officeDocument/2006/relationships/slideLayout" Target="../slideLayouts/slideLayout19.xml"/><Relationship Id="rId22" Type="http://schemas.openxmlformats.org/officeDocument/2006/relationships/tags" Target="../tags/tag339.xml"/><Relationship Id="rId27" Type="http://schemas.openxmlformats.org/officeDocument/2006/relationships/tags" Target="../tags/tag344.xml"/><Relationship Id="rId43" Type="http://schemas.openxmlformats.org/officeDocument/2006/relationships/tags" Target="../tags/tag360.xml"/><Relationship Id="rId48" Type="http://schemas.openxmlformats.org/officeDocument/2006/relationships/tags" Target="../tags/tag365.xml"/><Relationship Id="rId64" Type="http://schemas.openxmlformats.org/officeDocument/2006/relationships/tags" Target="../tags/tag381.xml"/><Relationship Id="rId69" Type="http://schemas.openxmlformats.org/officeDocument/2006/relationships/tags" Target="../tags/tag386.xml"/><Relationship Id="rId80" Type="http://schemas.openxmlformats.org/officeDocument/2006/relationships/tags" Target="../tags/tag397.xml"/><Relationship Id="rId85" Type="http://schemas.openxmlformats.org/officeDocument/2006/relationships/tags" Target="../tags/tag402.xml"/><Relationship Id="rId3" Type="http://schemas.openxmlformats.org/officeDocument/2006/relationships/tags" Target="../tags/tag320.xml"/><Relationship Id="rId12" Type="http://schemas.openxmlformats.org/officeDocument/2006/relationships/tags" Target="../tags/tag329.xml"/><Relationship Id="rId17" Type="http://schemas.openxmlformats.org/officeDocument/2006/relationships/tags" Target="../tags/tag334.xml"/><Relationship Id="rId25" Type="http://schemas.openxmlformats.org/officeDocument/2006/relationships/tags" Target="../tags/tag342.xml"/><Relationship Id="rId33" Type="http://schemas.openxmlformats.org/officeDocument/2006/relationships/tags" Target="../tags/tag350.xml"/><Relationship Id="rId38" Type="http://schemas.openxmlformats.org/officeDocument/2006/relationships/tags" Target="../tags/tag355.xml"/><Relationship Id="rId46" Type="http://schemas.openxmlformats.org/officeDocument/2006/relationships/tags" Target="../tags/tag363.xml"/><Relationship Id="rId59" Type="http://schemas.openxmlformats.org/officeDocument/2006/relationships/tags" Target="../tags/tag376.xml"/><Relationship Id="rId67" Type="http://schemas.openxmlformats.org/officeDocument/2006/relationships/tags" Target="../tags/tag384.xml"/><Relationship Id="rId20" Type="http://schemas.openxmlformats.org/officeDocument/2006/relationships/tags" Target="../tags/tag337.xml"/><Relationship Id="rId41" Type="http://schemas.openxmlformats.org/officeDocument/2006/relationships/tags" Target="../tags/tag358.xml"/><Relationship Id="rId54" Type="http://schemas.openxmlformats.org/officeDocument/2006/relationships/tags" Target="../tags/tag371.xml"/><Relationship Id="rId62" Type="http://schemas.openxmlformats.org/officeDocument/2006/relationships/tags" Target="../tags/tag379.xml"/><Relationship Id="rId70" Type="http://schemas.openxmlformats.org/officeDocument/2006/relationships/tags" Target="../tags/tag387.xml"/><Relationship Id="rId75" Type="http://schemas.openxmlformats.org/officeDocument/2006/relationships/tags" Target="../tags/tag392.xml"/><Relationship Id="rId83" Type="http://schemas.openxmlformats.org/officeDocument/2006/relationships/tags" Target="../tags/tag400.xml"/><Relationship Id="rId88" Type="http://schemas.openxmlformats.org/officeDocument/2006/relationships/tags" Target="../tags/tag405.xml"/><Relationship Id="rId91" Type="http://schemas.openxmlformats.org/officeDocument/2006/relationships/tags" Target="../tags/tag408.xml"/><Relationship Id="rId96" Type="http://schemas.openxmlformats.org/officeDocument/2006/relationships/notesSlide" Target="../notesSlides/notesSlide11.xml"/><Relationship Id="rId1" Type="http://schemas.openxmlformats.org/officeDocument/2006/relationships/tags" Target="../tags/tag318.xml"/><Relationship Id="rId6" Type="http://schemas.openxmlformats.org/officeDocument/2006/relationships/tags" Target="../tags/tag323.xml"/><Relationship Id="rId15" Type="http://schemas.openxmlformats.org/officeDocument/2006/relationships/tags" Target="../tags/tag332.xml"/><Relationship Id="rId23" Type="http://schemas.openxmlformats.org/officeDocument/2006/relationships/tags" Target="../tags/tag340.xml"/><Relationship Id="rId28" Type="http://schemas.openxmlformats.org/officeDocument/2006/relationships/tags" Target="../tags/tag345.xml"/><Relationship Id="rId36" Type="http://schemas.openxmlformats.org/officeDocument/2006/relationships/tags" Target="../tags/tag353.xml"/><Relationship Id="rId49" Type="http://schemas.openxmlformats.org/officeDocument/2006/relationships/tags" Target="../tags/tag366.xml"/><Relationship Id="rId57" Type="http://schemas.openxmlformats.org/officeDocument/2006/relationships/tags" Target="../tags/tag374.xml"/><Relationship Id="rId10" Type="http://schemas.openxmlformats.org/officeDocument/2006/relationships/tags" Target="../tags/tag327.xml"/><Relationship Id="rId31" Type="http://schemas.openxmlformats.org/officeDocument/2006/relationships/tags" Target="../tags/tag348.xml"/><Relationship Id="rId44" Type="http://schemas.openxmlformats.org/officeDocument/2006/relationships/tags" Target="../tags/tag361.xml"/><Relationship Id="rId52" Type="http://schemas.openxmlformats.org/officeDocument/2006/relationships/tags" Target="../tags/tag369.xml"/><Relationship Id="rId60" Type="http://schemas.openxmlformats.org/officeDocument/2006/relationships/tags" Target="../tags/tag377.xml"/><Relationship Id="rId65" Type="http://schemas.openxmlformats.org/officeDocument/2006/relationships/tags" Target="../tags/tag382.xml"/><Relationship Id="rId73" Type="http://schemas.openxmlformats.org/officeDocument/2006/relationships/tags" Target="../tags/tag390.xml"/><Relationship Id="rId78" Type="http://schemas.openxmlformats.org/officeDocument/2006/relationships/tags" Target="../tags/tag395.xml"/><Relationship Id="rId81" Type="http://schemas.openxmlformats.org/officeDocument/2006/relationships/tags" Target="../tags/tag398.xml"/><Relationship Id="rId86" Type="http://schemas.openxmlformats.org/officeDocument/2006/relationships/tags" Target="../tags/tag403.xml"/><Relationship Id="rId94" Type="http://schemas.openxmlformats.org/officeDocument/2006/relationships/tags" Target="../tags/tag411.xml"/><Relationship Id="rId99" Type="http://schemas.openxmlformats.org/officeDocument/2006/relationships/chart" Target="../charts/chart6.xml"/><Relationship Id="rId4" Type="http://schemas.openxmlformats.org/officeDocument/2006/relationships/tags" Target="../tags/tag321.xml"/><Relationship Id="rId9" Type="http://schemas.openxmlformats.org/officeDocument/2006/relationships/tags" Target="../tags/tag326.xml"/><Relationship Id="rId13" Type="http://schemas.openxmlformats.org/officeDocument/2006/relationships/tags" Target="../tags/tag330.xml"/><Relationship Id="rId18" Type="http://schemas.openxmlformats.org/officeDocument/2006/relationships/tags" Target="../tags/tag335.xml"/><Relationship Id="rId39" Type="http://schemas.openxmlformats.org/officeDocument/2006/relationships/tags" Target="../tags/tag356.xml"/><Relationship Id="rId34" Type="http://schemas.openxmlformats.org/officeDocument/2006/relationships/tags" Target="../tags/tag351.xml"/><Relationship Id="rId50" Type="http://schemas.openxmlformats.org/officeDocument/2006/relationships/tags" Target="../tags/tag367.xml"/><Relationship Id="rId55" Type="http://schemas.openxmlformats.org/officeDocument/2006/relationships/tags" Target="../tags/tag372.xml"/><Relationship Id="rId76" Type="http://schemas.openxmlformats.org/officeDocument/2006/relationships/tags" Target="../tags/tag393.xml"/><Relationship Id="rId97" Type="http://schemas.openxmlformats.org/officeDocument/2006/relationships/oleObject" Target="../embeddings/oleObject180.bin"/><Relationship Id="rId7" Type="http://schemas.openxmlformats.org/officeDocument/2006/relationships/tags" Target="../tags/tag324.xml"/><Relationship Id="rId71" Type="http://schemas.openxmlformats.org/officeDocument/2006/relationships/tags" Target="../tags/tag388.xml"/><Relationship Id="rId92" Type="http://schemas.openxmlformats.org/officeDocument/2006/relationships/tags" Target="../tags/tag409.xml"/><Relationship Id="rId2" Type="http://schemas.openxmlformats.org/officeDocument/2006/relationships/tags" Target="../tags/tag319.xml"/><Relationship Id="rId29" Type="http://schemas.openxmlformats.org/officeDocument/2006/relationships/tags" Target="../tags/tag346.xml"/><Relationship Id="rId24" Type="http://schemas.openxmlformats.org/officeDocument/2006/relationships/tags" Target="../tags/tag341.xml"/><Relationship Id="rId40" Type="http://schemas.openxmlformats.org/officeDocument/2006/relationships/tags" Target="../tags/tag357.xml"/><Relationship Id="rId45" Type="http://schemas.openxmlformats.org/officeDocument/2006/relationships/tags" Target="../tags/tag362.xml"/><Relationship Id="rId66" Type="http://schemas.openxmlformats.org/officeDocument/2006/relationships/tags" Target="../tags/tag383.xml"/><Relationship Id="rId87" Type="http://schemas.openxmlformats.org/officeDocument/2006/relationships/tags" Target="../tags/tag404.xml"/><Relationship Id="rId61" Type="http://schemas.openxmlformats.org/officeDocument/2006/relationships/tags" Target="../tags/tag378.xml"/><Relationship Id="rId82" Type="http://schemas.openxmlformats.org/officeDocument/2006/relationships/tags" Target="../tags/tag399.xml"/><Relationship Id="rId19" Type="http://schemas.openxmlformats.org/officeDocument/2006/relationships/tags" Target="../tags/tag336.xml"/><Relationship Id="rId14" Type="http://schemas.openxmlformats.org/officeDocument/2006/relationships/tags" Target="../tags/tag331.xml"/><Relationship Id="rId30" Type="http://schemas.openxmlformats.org/officeDocument/2006/relationships/tags" Target="../tags/tag347.xml"/><Relationship Id="rId35" Type="http://schemas.openxmlformats.org/officeDocument/2006/relationships/tags" Target="../tags/tag352.xml"/><Relationship Id="rId56" Type="http://schemas.openxmlformats.org/officeDocument/2006/relationships/tags" Target="../tags/tag373.xml"/><Relationship Id="rId77" Type="http://schemas.openxmlformats.org/officeDocument/2006/relationships/tags" Target="../tags/tag394.xml"/><Relationship Id="rId8" Type="http://schemas.openxmlformats.org/officeDocument/2006/relationships/tags" Target="../tags/tag325.xml"/><Relationship Id="rId51" Type="http://schemas.openxmlformats.org/officeDocument/2006/relationships/tags" Target="../tags/tag368.xml"/><Relationship Id="rId72" Type="http://schemas.openxmlformats.org/officeDocument/2006/relationships/tags" Target="../tags/tag389.xml"/><Relationship Id="rId93" Type="http://schemas.openxmlformats.org/officeDocument/2006/relationships/tags" Target="../tags/tag410.xml"/><Relationship Id="rId98" Type="http://schemas.openxmlformats.org/officeDocument/2006/relationships/image" Target="../media/image3.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8.png"/><Relationship Id="rId2" Type="http://schemas.openxmlformats.org/officeDocument/2006/relationships/slideLayout" Target="../slideLayouts/slideLayout19.xml"/><Relationship Id="rId1" Type="http://schemas.openxmlformats.org/officeDocument/2006/relationships/tags" Target="../tags/tag412.xml"/><Relationship Id="rId6" Type="http://schemas.openxmlformats.org/officeDocument/2006/relationships/image" Target="../media/image35.jpeg"/><Relationship Id="rId5" Type="http://schemas.openxmlformats.org/officeDocument/2006/relationships/image" Target="../media/image17.emf"/><Relationship Id="rId4" Type="http://schemas.openxmlformats.org/officeDocument/2006/relationships/oleObject" Target="../embeddings/oleObject181.bin"/></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167.bin"/><Relationship Id="rId3" Type="http://schemas.openxmlformats.org/officeDocument/2006/relationships/tags" Target="../tags/tag186.xml"/><Relationship Id="rId7" Type="http://schemas.openxmlformats.org/officeDocument/2006/relationships/slideLayout" Target="../slideLayouts/slideLayout127.xml"/><Relationship Id="rId2" Type="http://schemas.openxmlformats.org/officeDocument/2006/relationships/tags" Target="../tags/tag185.xml"/><Relationship Id="rId1" Type="http://schemas.openxmlformats.org/officeDocument/2006/relationships/tags" Target="../tags/tag184.xml"/><Relationship Id="rId6" Type="http://schemas.openxmlformats.org/officeDocument/2006/relationships/tags" Target="../tags/tag189.xml"/><Relationship Id="rId5" Type="http://schemas.openxmlformats.org/officeDocument/2006/relationships/tags" Target="../tags/tag188.xml"/><Relationship Id="rId10" Type="http://schemas.openxmlformats.org/officeDocument/2006/relationships/image" Target="../media/image16.png"/><Relationship Id="rId4" Type="http://schemas.openxmlformats.org/officeDocument/2006/relationships/tags" Target="../tags/tag187.xml"/><Relationship Id="rId9" Type="http://schemas.openxmlformats.org/officeDocument/2006/relationships/image" Target="../media/image1.emf"/></Relationships>
</file>

<file path=ppt/slides/_rels/slide20.xml.rels><?xml version="1.0" encoding="UTF-8" standalone="yes"?>
<Relationships xmlns="http://schemas.openxmlformats.org/package/2006/relationships"><Relationship Id="rId8" Type="http://schemas.openxmlformats.org/officeDocument/2006/relationships/image" Target="../media/image165.jpeg"/><Relationship Id="rId3" Type="http://schemas.openxmlformats.org/officeDocument/2006/relationships/notesSlide" Target="../notesSlides/notesSlide13.xml"/><Relationship Id="rId7" Type="http://schemas.openxmlformats.org/officeDocument/2006/relationships/image" Target="../media/image164.jpeg"/><Relationship Id="rId2" Type="http://schemas.openxmlformats.org/officeDocument/2006/relationships/slideLayout" Target="../slideLayouts/slideLayout19.xml"/><Relationship Id="rId1" Type="http://schemas.openxmlformats.org/officeDocument/2006/relationships/tags" Target="../tags/tag413.xml"/><Relationship Id="rId6" Type="http://schemas.openxmlformats.org/officeDocument/2006/relationships/image" Target="../media/image17.emf"/><Relationship Id="rId11" Type="http://schemas.openxmlformats.org/officeDocument/2006/relationships/image" Target="../media/image168.jpeg"/><Relationship Id="rId5" Type="http://schemas.openxmlformats.org/officeDocument/2006/relationships/oleObject" Target="../embeddings/oleObject182.bin"/><Relationship Id="rId10" Type="http://schemas.openxmlformats.org/officeDocument/2006/relationships/image" Target="../media/image167.jpeg"/><Relationship Id="rId4" Type="http://schemas.openxmlformats.org/officeDocument/2006/relationships/image" Target="../media/image163.jpeg"/><Relationship Id="rId9" Type="http://schemas.openxmlformats.org/officeDocument/2006/relationships/image" Target="../media/image166.jpeg"/></Relationships>
</file>

<file path=ppt/slides/_rels/slide21.xml.rels><?xml version="1.0" encoding="UTF-8" standalone="yes"?>
<Relationships xmlns="http://schemas.openxmlformats.org/package/2006/relationships"><Relationship Id="rId13" Type="http://schemas.openxmlformats.org/officeDocument/2006/relationships/tags" Target="../tags/tag426.xml"/><Relationship Id="rId18" Type="http://schemas.openxmlformats.org/officeDocument/2006/relationships/tags" Target="../tags/tag431.xml"/><Relationship Id="rId26" Type="http://schemas.openxmlformats.org/officeDocument/2006/relationships/tags" Target="../tags/tag439.xml"/><Relationship Id="rId39" Type="http://schemas.openxmlformats.org/officeDocument/2006/relationships/oleObject" Target="../embeddings/oleObject183.bin"/><Relationship Id="rId21" Type="http://schemas.openxmlformats.org/officeDocument/2006/relationships/tags" Target="../tags/tag434.xml"/><Relationship Id="rId34" Type="http://schemas.openxmlformats.org/officeDocument/2006/relationships/tags" Target="../tags/tag447.xml"/><Relationship Id="rId42" Type="http://schemas.openxmlformats.org/officeDocument/2006/relationships/chart" Target="../charts/chart8.xml"/><Relationship Id="rId7" Type="http://schemas.openxmlformats.org/officeDocument/2006/relationships/tags" Target="../tags/tag420.xml"/><Relationship Id="rId2" Type="http://schemas.openxmlformats.org/officeDocument/2006/relationships/tags" Target="../tags/tag415.xml"/><Relationship Id="rId16" Type="http://schemas.openxmlformats.org/officeDocument/2006/relationships/tags" Target="../tags/tag429.xml"/><Relationship Id="rId20" Type="http://schemas.openxmlformats.org/officeDocument/2006/relationships/tags" Target="../tags/tag433.xml"/><Relationship Id="rId29" Type="http://schemas.openxmlformats.org/officeDocument/2006/relationships/tags" Target="../tags/tag442.xml"/><Relationship Id="rId41" Type="http://schemas.openxmlformats.org/officeDocument/2006/relationships/chart" Target="../charts/chart7.xml"/><Relationship Id="rId1" Type="http://schemas.openxmlformats.org/officeDocument/2006/relationships/tags" Target="../tags/tag414.xml"/><Relationship Id="rId6" Type="http://schemas.openxmlformats.org/officeDocument/2006/relationships/tags" Target="../tags/tag419.xml"/><Relationship Id="rId11" Type="http://schemas.openxmlformats.org/officeDocument/2006/relationships/tags" Target="../tags/tag424.xml"/><Relationship Id="rId24" Type="http://schemas.openxmlformats.org/officeDocument/2006/relationships/tags" Target="../tags/tag437.xml"/><Relationship Id="rId32" Type="http://schemas.openxmlformats.org/officeDocument/2006/relationships/tags" Target="../tags/tag445.xml"/><Relationship Id="rId37" Type="http://schemas.openxmlformats.org/officeDocument/2006/relationships/tags" Target="../tags/tag450.xml"/><Relationship Id="rId40" Type="http://schemas.openxmlformats.org/officeDocument/2006/relationships/image" Target="../media/image17.emf"/><Relationship Id="rId5" Type="http://schemas.openxmlformats.org/officeDocument/2006/relationships/tags" Target="../tags/tag418.xml"/><Relationship Id="rId15" Type="http://schemas.openxmlformats.org/officeDocument/2006/relationships/tags" Target="../tags/tag428.xml"/><Relationship Id="rId23" Type="http://schemas.openxmlformats.org/officeDocument/2006/relationships/tags" Target="../tags/tag436.xml"/><Relationship Id="rId28" Type="http://schemas.openxmlformats.org/officeDocument/2006/relationships/tags" Target="../tags/tag441.xml"/><Relationship Id="rId36" Type="http://schemas.openxmlformats.org/officeDocument/2006/relationships/tags" Target="../tags/tag449.xml"/><Relationship Id="rId10" Type="http://schemas.openxmlformats.org/officeDocument/2006/relationships/tags" Target="../tags/tag423.xml"/><Relationship Id="rId19" Type="http://schemas.openxmlformats.org/officeDocument/2006/relationships/tags" Target="../tags/tag432.xml"/><Relationship Id="rId31" Type="http://schemas.openxmlformats.org/officeDocument/2006/relationships/tags" Target="../tags/tag444.xml"/><Relationship Id="rId4" Type="http://schemas.openxmlformats.org/officeDocument/2006/relationships/tags" Target="../tags/tag417.xml"/><Relationship Id="rId9" Type="http://schemas.openxmlformats.org/officeDocument/2006/relationships/tags" Target="../tags/tag422.xml"/><Relationship Id="rId14" Type="http://schemas.openxmlformats.org/officeDocument/2006/relationships/tags" Target="../tags/tag427.xml"/><Relationship Id="rId22" Type="http://schemas.openxmlformats.org/officeDocument/2006/relationships/tags" Target="../tags/tag435.xml"/><Relationship Id="rId27" Type="http://schemas.openxmlformats.org/officeDocument/2006/relationships/tags" Target="../tags/tag440.xml"/><Relationship Id="rId30" Type="http://schemas.openxmlformats.org/officeDocument/2006/relationships/tags" Target="../tags/tag443.xml"/><Relationship Id="rId35" Type="http://schemas.openxmlformats.org/officeDocument/2006/relationships/tags" Target="../tags/tag448.xml"/><Relationship Id="rId8" Type="http://schemas.openxmlformats.org/officeDocument/2006/relationships/tags" Target="../tags/tag421.xml"/><Relationship Id="rId3" Type="http://schemas.openxmlformats.org/officeDocument/2006/relationships/tags" Target="../tags/tag416.xml"/><Relationship Id="rId12" Type="http://schemas.openxmlformats.org/officeDocument/2006/relationships/tags" Target="../tags/tag425.xml"/><Relationship Id="rId17" Type="http://schemas.openxmlformats.org/officeDocument/2006/relationships/tags" Target="../tags/tag430.xml"/><Relationship Id="rId25" Type="http://schemas.openxmlformats.org/officeDocument/2006/relationships/tags" Target="../tags/tag438.xml"/><Relationship Id="rId33" Type="http://schemas.openxmlformats.org/officeDocument/2006/relationships/tags" Target="../tags/tag446.xml"/><Relationship Id="rId38" Type="http://schemas.openxmlformats.org/officeDocument/2006/relationships/slideLayout" Target="../slideLayouts/slideLayout19.xml"/></Relationships>
</file>

<file path=ppt/slides/_rels/slide22.xml.rels><?xml version="1.0" encoding="UTF-8" standalone="yes"?>
<Relationships xmlns="http://schemas.openxmlformats.org/package/2006/relationships"><Relationship Id="rId8" Type="http://schemas.openxmlformats.org/officeDocument/2006/relationships/notesSlide" Target="../notesSlides/notesSlide14.xml"/><Relationship Id="rId3" Type="http://schemas.openxmlformats.org/officeDocument/2006/relationships/tags" Target="../tags/tag453.xml"/><Relationship Id="rId7" Type="http://schemas.openxmlformats.org/officeDocument/2006/relationships/slideLayout" Target="../slideLayouts/slideLayout127.xml"/><Relationship Id="rId2" Type="http://schemas.openxmlformats.org/officeDocument/2006/relationships/tags" Target="../tags/tag452.xml"/><Relationship Id="rId1" Type="http://schemas.openxmlformats.org/officeDocument/2006/relationships/tags" Target="../tags/tag451.xml"/><Relationship Id="rId6" Type="http://schemas.openxmlformats.org/officeDocument/2006/relationships/tags" Target="../tags/tag456.xml"/><Relationship Id="rId11" Type="http://schemas.openxmlformats.org/officeDocument/2006/relationships/image" Target="../media/image16.png"/><Relationship Id="rId5" Type="http://schemas.openxmlformats.org/officeDocument/2006/relationships/tags" Target="../tags/tag455.xml"/><Relationship Id="rId10" Type="http://schemas.openxmlformats.org/officeDocument/2006/relationships/image" Target="../media/image1.emf"/><Relationship Id="rId4" Type="http://schemas.openxmlformats.org/officeDocument/2006/relationships/tags" Target="../tags/tag454.xml"/><Relationship Id="rId9" Type="http://schemas.openxmlformats.org/officeDocument/2006/relationships/oleObject" Target="../embeddings/oleObject184.bin"/></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9.xml"/><Relationship Id="rId1" Type="http://schemas.openxmlformats.org/officeDocument/2006/relationships/tags" Target="../tags/tag457.xml"/><Relationship Id="rId5" Type="http://schemas.openxmlformats.org/officeDocument/2006/relationships/image" Target="../media/image3.emf"/><Relationship Id="rId4" Type="http://schemas.openxmlformats.org/officeDocument/2006/relationships/oleObject" Target="../embeddings/oleObject185.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9.xml"/><Relationship Id="rId1" Type="http://schemas.openxmlformats.org/officeDocument/2006/relationships/tags" Target="../tags/tag458.xml"/><Relationship Id="rId5" Type="http://schemas.openxmlformats.org/officeDocument/2006/relationships/image" Target="../media/image3.emf"/><Relationship Id="rId4" Type="http://schemas.openxmlformats.org/officeDocument/2006/relationships/oleObject" Target="../embeddings/oleObject186.bin"/></Relationships>
</file>

<file path=ppt/slides/_rels/slide2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9.xml"/><Relationship Id="rId1" Type="http://schemas.openxmlformats.org/officeDocument/2006/relationships/tags" Target="../tags/tag190.xml"/><Relationship Id="rId5" Type="http://schemas.openxmlformats.org/officeDocument/2006/relationships/image" Target="../media/image17.emf"/><Relationship Id="rId4" Type="http://schemas.openxmlformats.org/officeDocument/2006/relationships/oleObject" Target="../embeddings/oleObject168.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9.xml"/><Relationship Id="rId1" Type="http://schemas.openxmlformats.org/officeDocument/2006/relationships/tags" Target="../tags/tag191.xml"/><Relationship Id="rId6" Type="http://schemas.openxmlformats.org/officeDocument/2006/relationships/image" Target="../media/image18.png"/><Relationship Id="rId5" Type="http://schemas.openxmlformats.org/officeDocument/2006/relationships/image" Target="../media/image3.emf"/><Relationship Id="rId4" Type="http://schemas.openxmlformats.org/officeDocument/2006/relationships/oleObject" Target="../embeddings/oleObject169.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xml"/><Relationship Id="rId1" Type="http://schemas.openxmlformats.org/officeDocument/2006/relationships/tags" Target="../tags/tag192.xml"/><Relationship Id="rId5" Type="http://schemas.openxmlformats.org/officeDocument/2006/relationships/image" Target="../media/image3.emf"/><Relationship Id="rId4" Type="http://schemas.openxmlformats.org/officeDocument/2006/relationships/oleObject" Target="../embeddings/oleObject170.bin"/></Relationships>
</file>

<file path=ppt/slides/_rels/slide6.xml.rels><?xml version="1.0" encoding="UTF-8" standalone="yes"?>
<Relationships xmlns="http://schemas.openxmlformats.org/package/2006/relationships"><Relationship Id="rId13" Type="http://schemas.openxmlformats.org/officeDocument/2006/relationships/tags" Target="../tags/tag205.xml"/><Relationship Id="rId18" Type="http://schemas.openxmlformats.org/officeDocument/2006/relationships/tags" Target="../tags/tag210.xml"/><Relationship Id="rId26" Type="http://schemas.openxmlformats.org/officeDocument/2006/relationships/chart" Target="../charts/chart1.xml"/><Relationship Id="rId3" Type="http://schemas.openxmlformats.org/officeDocument/2006/relationships/tags" Target="../tags/tag195.xml"/><Relationship Id="rId21" Type="http://schemas.openxmlformats.org/officeDocument/2006/relationships/tags" Target="../tags/tag213.xml"/><Relationship Id="rId34" Type="http://schemas.openxmlformats.org/officeDocument/2006/relationships/image" Target="../media/image26.png"/><Relationship Id="rId7" Type="http://schemas.openxmlformats.org/officeDocument/2006/relationships/tags" Target="../tags/tag199.xml"/><Relationship Id="rId12" Type="http://schemas.openxmlformats.org/officeDocument/2006/relationships/tags" Target="../tags/tag204.xml"/><Relationship Id="rId17" Type="http://schemas.openxmlformats.org/officeDocument/2006/relationships/tags" Target="../tags/tag209.xml"/><Relationship Id="rId25" Type="http://schemas.openxmlformats.org/officeDocument/2006/relationships/image" Target="../media/image17.emf"/><Relationship Id="rId33" Type="http://schemas.openxmlformats.org/officeDocument/2006/relationships/image" Target="../media/image25.png"/><Relationship Id="rId2" Type="http://schemas.openxmlformats.org/officeDocument/2006/relationships/tags" Target="../tags/tag194.xml"/><Relationship Id="rId16" Type="http://schemas.openxmlformats.org/officeDocument/2006/relationships/tags" Target="../tags/tag208.xml"/><Relationship Id="rId20" Type="http://schemas.openxmlformats.org/officeDocument/2006/relationships/tags" Target="../tags/tag212.xml"/><Relationship Id="rId29" Type="http://schemas.openxmlformats.org/officeDocument/2006/relationships/image" Target="../media/image21.png"/><Relationship Id="rId1" Type="http://schemas.openxmlformats.org/officeDocument/2006/relationships/tags" Target="../tags/tag193.xml"/><Relationship Id="rId6" Type="http://schemas.openxmlformats.org/officeDocument/2006/relationships/tags" Target="../tags/tag198.xml"/><Relationship Id="rId11" Type="http://schemas.openxmlformats.org/officeDocument/2006/relationships/tags" Target="../tags/tag203.xml"/><Relationship Id="rId24" Type="http://schemas.openxmlformats.org/officeDocument/2006/relationships/oleObject" Target="../embeddings/oleObject171.bin"/><Relationship Id="rId32" Type="http://schemas.openxmlformats.org/officeDocument/2006/relationships/image" Target="../media/image24.png"/><Relationship Id="rId5" Type="http://schemas.openxmlformats.org/officeDocument/2006/relationships/tags" Target="../tags/tag197.xml"/><Relationship Id="rId15" Type="http://schemas.openxmlformats.org/officeDocument/2006/relationships/tags" Target="../tags/tag207.xml"/><Relationship Id="rId23" Type="http://schemas.openxmlformats.org/officeDocument/2006/relationships/slideLayout" Target="../slideLayouts/slideLayout19.xml"/><Relationship Id="rId28" Type="http://schemas.openxmlformats.org/officeDocument/2006/relationships/image" Target="../media/image20.png"/><Relationship Id="rId10" Type="http://schemas.openxmlformats.org/officeDocument/2006/relationships/tags" Target="../tags/tag202.xml"/><Relationship Id="rId19" Type="http://schemas.openxmlformats.org/officeDocument/2006/relationships/tags" Target="../tags/tag211.xml"/><Relationship Id="rId31" Type="http://schemas.openxmlformats.org/officeDocument/2006/relationships/image" Target="../media/image23.png"/><Relationship Id="rId4" Type="http://schemas.openxmlformats.org/officeDocument/2006/relationships/tags" Target="../tags/tag196.xml"/><Relationship Id="rId9" Type="http://schemas.openxmlformats.org/officeDocument/2006/relationships/tags" Target="../tags/tag201.xml"/><Relationship Id="rId14" Type="http://schemas.openxmlformats.org/officeDocument/2006/relationships/tags" Target="../tags/tag206.xml"/><Relationship Id="rId22" Type="http://schemas.openxmlformats.org/officeDocument/2006/relationships/tags" Target="../tags/tag214.xml"/><Relationship Id="rId27" Type="http://schemas.openxmlformats.org/officeDocument/2006/relationships/image" Target="../media/image19.png"/><Relationship Id="rId30" Type="http://schemas.openxmlformats.org/officeDocument/2006/relationships/image" Target="../media/image22.png"/><Relationship Id="rId35" Type="http://schemas.openxmlformats.org/officeDocument/2006/relationships/image" Target="../media/image27.png"/><Relationship Id="rId8" Type="http://schemas.openxmlformats.org/officeDocument/2006/relationships/tags" Target="../tags/tag200.xml"/></Relationships>
</file>

<file path=ppt/slides/_rels/slide7.xml.rels><?xml version="1.0" encoding="UTF-8" standalone="yes"?>
<Relationships xmlns="http://schemas.openxmlformats.org/package/2006/relationships"><Relationship Id="rId26" Type="http://schemas.openxmlformats.org/officeDocument/2006/relationships/tags" Target="../tags/tag240.xml"/><Relationship Id="rId21" Type="http://schemas.openxmlformats.org/officeDocument/2006/relationships/tags" Target="../tags/tag235.xml"/><Relationship Id="rId42" Type="http://schemas.openxmlformats.org/officeDocument/2006/relationships/tags" Target="../tags/tag256.xml"/><Relationship Id="rId47" Type="http://schemas.openxmlformats.org/officeDocument/2006/relationships/tags" Target="../tags/tag261.xml"/><Relationship Id="rId63" Type="http://schemas.openxmlformats.org/officeDocument/2006/relationships/tags" Target="../tags/tag277.xml"/><Relationship Id="rId68" Type="http://schemas.openxmlformats.org/officeDocument/2006/relationships/tags" Target="../tags/tag282.xml"/><Relationship Id="rId84" Type="http://schemas.openxmlformats.org/officeDocument/2006/relationships/tags" Target="../tags/tag298.xml"/><Relationship Id="rId89" Type="http://schemas.openxmlformats.org/officeDocument/2006/relationships/tags" Target="../tags/tag303.xml"/><Relationship Id="rId16" Type="http://schemas.openxmlformats.org/officeDocument/2006/relationships/tags" Target="../tags/tag230.xml"/><Relationship Id="rId11" Type="http://schemas.openxmlformats.org/officeDocument/2006/relationships/tags" Target="../tags/tag225.xml"/><Relationship Id="rId32" Type="http://schemas.openxmlformats.org/officeDocument/2006/relationships/tags" Target="../tags/tag246.xml"/><Relationship Id="rId37" Type="http://schemas.openxmlformats.org/officeDocument/2006/relationships/tags" Target="../tags/tag251.xml"/><Relationship Id="rId53" Type="http://schemas.openxmlformats.org/officeDocument/2006/relationships/tags" Target="../tags/tag267.xml"/><Relationship Id="rId58" Type="http://schemas.openxmlformats.org/officeDocument/2006/relationships/tags" Target="../tags/tag272.xml"/><Relationship Id="rId74" Type="http://schemas.openxmlformats.org/officeDocument/2006/relationships/tags" Target="../tags/tag288.xml"/><Relationship Id="rId79" Type="http://schemas.openxmlformats.org/officeDocument/2006/relationships/tags" Target="../tags/tag293.xml"/><Relationship Id="rId5" Type="http://schemas.openxmlformats.org/officeDocument/2006/relationships/tags" Target="../tags/tag219.xml"/><Relationship Id="rId90" Type="http://schemas.openxmlformats.org/officeDocument/2006/relationships/tags" Target="../tags/tag304.xml"/><Relationship Id="rId95" Type="http://schemas.openxmlformats.org/officeDocument/2006/relationships/oleObject" Target="../embeddings/oleObject172.bin"/><Relationship Id="rId22" Type="http://schemas.openxmlformats.org/officeDocument/2006/relationships/tags" Target="../tags/tag236.xml"/><Relationship Id="rId27" Type="http://schemas.openxmlformats.org/officeDocument/2006/relationships/tags" Target="../tags/tag241.xml"/><Relationship Id="rId43" Type="http://schemas.openxmlformats.org/officeDocument/2006/relationships/tags" Target="../tags/tag257.xml"/><Relationship Id="rId48" Type="http://schemas.openxmlformats.org/officeDocument/2006/relationships/tags" Target="../tags/tag262.xml"/><Relationship Id="rId64" Type="http://schemas.openxmlformats.org/officeDocument/2006/relationships/tags" Target="../tags/tag278.xml"/><Relationship Id="rId69" Type="http://schemas.openxmlformats.org/officeDocument/2006/relationships/tags" Target="../tags/tag283.xml"/><Relationship Id="rId80" Type="http://schemas.openxmlformats.org/officeDocument/2006/relationships/tags" Target="../tags/tag294.xml"/><Relationship Id="rId85" Type="http://schemas.openxmlformats.org/officeDocument/2006/relationships/tags" Target="../tags/tag299.xml"/><Relationship Id="rId3" Type="http://schemas.openxmlformats.org/officeDocument/2006/relationships/tags" Target="../tags/tag217.xml"/><Relationship Id="rId12" Type="http://schemas.openxmlformats.org/officeDocument/2006/relationships/tags" Target="../tags/tag226.xml"/><Relationship Id="rId17" Type="http://schemas.openxmlformats.org/officeDocument/2006/relationships/tags" Target="../tags/tag231.xml"/><Relationship Id="rId25" Type="http://schemas.openxmlformats.org/officeDocument/2006/relationships/tags" Target="../tags/tag239.xml"/><Relationship Id="rId33" Type="http://schemas.openxmlformats.org/officeDocument/2006/relationships/tags" Target="../tags/tag247.xml"/><Relationship Id="rId38" Type="http://schemas.openxmlformats.org/officeDocument/2006/relationships/tags" Target="../tags/tag252.xml"/><Relationship Id="rId46" Type="http://schemas.openxmlformats.org/officeDocument/2006/relationships/tags" Target="../tags/tag260.xml"/><Relationship Id="rId59" Type="http://schemas.openxmlformats.org/officeDocument/2006/relationships/tags" Target="../tags/tag273.xml"/><Relationship Id="rId67" Type="http://schemas.openxmlformats.org/officeDocument/2006/relationships/tags" Target="../tags/tag281.xml"/><Relationship Id="rId20" Type="http://schemas.openxmlformats.org/officeDocument/2006/relationships/tags" Target="../tags/tag234.xml"/><Relationship Id="rId41" Type="http://schemas.openxmlformats.org/officeDocument/2006/relationships/tags" Target="../tags/tag255.xml"/><Relationship Id="rId54" Type="http://schemas.openxmlformats.org/officeDocument/2006/relationships/tags" Target="../tags/tag268.xml"/><Relationship Id="rId62" Type="http://schemas.openxmlformats.org/officeDocument/2006/relationships/tags" Target="../tags/tag276.xml"/><Relationship Id="rId70" Type="http://schemas.openxmlformats.org/officeDocument/2006/relationships/tags" Target="../tags/tag284.xml"/><Relationship Id="rId75" Type="http://schemas.openxmlformats.org/officeDocument/2006/relationships/tags" Target="../tags/tag289.xml"/><Relationship Id="rId83" Type="http://schemas.openxmlformats.org/officeDocument/2006/relationships/tags" Target="../tags/tag297.xml"/><Relationship Id="rId88" Type="http://schemas.openxmlformats.org/officeDocument/2006/relationships/tags" Target="../tags/tag302.xml"/><Relationship Id="rId91" Type="http://schemas.openxmlformats.org/officeDocument/2006/relationships/tags" Target="../tags/tag305.xml"/><Relationship Id="rId96" Type="http://schemas.openxmlformats.org/officeDocument/2006/relationships/image" Target="../media/image17.emf"/><Relationship Id="rId1" Type="http://schemas.openxmlformats.org/officeDocument/2006/relationships/tags" Target="../tags/tag215.xml"/><Relationship Id="rId6" Type="http://schemas.openxmlformats.org/officeDocument/2006/relationships/tags" Target="../tags/tag220.xml"/><Relationship Id="rId15" Type="http://schemas.openxmlformats.org/officeDocument/2006/relationships/tags" Target="../tags/tag229.xml"/><Relationship Id="rId23" Type="http://schemas.openxmlformats.org/officeDocument/2006/relationships/tags" Target="../tags/tag237.xml"/><Relationship Id="rId28" Type="http://schemas.openxmlformats.org/officeDocument/2006/relationships/tags" Target="../tags/tag242.xml"/><Relationship Id="rId36" Type="http://schemas.openxmlformats.org/officeDocument/2006/relationships/tags" Target="../tags/tag250.xml"/><Relationship Id="rId49" Type="http://schemas.openxmlformats.org/officeDocument/2006/relationships/tags" Target="../tags/tag263.xml"/><Relationship Id="rId57" Type="http://schemas.openxmlformats.org/officeDocument/2006/relationships/tags" Target="../tags/tag271.xml"/><Relationship Id="rId10" Type="http://schemas.openxmlformats.org/officeDocument/2006/relationships/tags" Target="../tags/tag224.xml"/><Relationship Id="rId31" Type="http://schemas.openxmlformats.org/officeDocument/2006/relationships/tags" Target="../tags/tag245.xml"/><Relationship Id="rId44" Type="http://schemas.openxmlformats.org/officeDocument/2006/relationships/tags" Target="../tags/tag258.xml"/><Relationship Id="rId52" Type="http://schemas.openxmlformats.org/officeDocument/2006/relationships/tags" Target="../tags/tag266.xml"/><Relationship Id="rId60" Type="http://schemas.openxmlformats.org/officeDocument/2006/relationships/tags" Target="../tags/tag274.xml"/><Relationship Id="rId65" Type="http://schemas.openxmlformats.org/officeDocument/2006/relationships/tags" Target="../tags/tag279.xml"/><Relationship Id="rId73" Type="http://schemas.openxmlformats.org/officeDocument/2006/relationships/tags" Target="../tags/tag287.xml"/><Relationship Id="rId78" Type="http://schemas.openxmlformats.org/officeDocument/2006/relationships/tags" Target="../tags/tag292.xml"/><Relationship Id="rId81" Type="http://schemas.openxmlformats.org/officeDocument/2006/relationships/tags" Target="../tags/tag295.xml"/><Relationship Id="rId86" Type="http://schemas.openxmlformats.org/officeDocument/2006/relationships/tags" Target="../tags/tag300.xml"/><Relationship Id="rId94" Type="http://schemas.openxmlformats.org/officeDocument/2006/relationships/notesSlide" Target="../notesSlides/notesSlide5.xml"/><Relationship Id="rId4" Type="http://schemas.openxmlformats.org/officeDocument/2006/relationships/tags" Target="../tags/tag218.xml"/><Relationship Id="rId9" Type="http://schemas.openxmlformats.org/officeDocument/2006/relationships/tags" Target="../tags/tag223.xml"/><Relationship Id="rId13" Type="http://schemas.openxmlformats.org/officeDocument/2006/relationships/tags" Target="../tags/tag227.xml"/><Relationship Id="rId18" Type="http://schemas.openxmlformats.org/officeDocument/2006/relationships/tags" Target="../tags/tag232.xml"/><Relationship Id="rId39" Type="http://schemas.openxmlformats.org/officeDocument/2006/relationships/tags" Target="../tags/tag253.xml"/><Relationship Id="rId34" Type="http://schemas.openxmlformats.org/officeDocument/2006/relationships/tags" Target="../tags/tag248.xml"/><Relationship Id="rId50" Type="http://schemas.openxmlformats.org/officeDocument/2006/relationships/tags" Target="../tags/tag264.xml"/><Relationship Id="rId55" Type="http://schemas.openxmlformats.org/officeDocument/2006/relationships/tags" Target="../tags/tag269.xml"/><Relationship Id="rId76" Type="http://schemas.openxmlformats.org/officeDocument/2006/relationships/tags" Target="../tags/tag290.xml"/><Relationship Id="rId97" Type="http://schemas.openxmlformats.org/officeDocument/2006/relationships/chart" Target="../charts/chart2.xml"/><Relationship Id="rId7" Type="http://schemas.openxmlformats.org/officeDocument/2006/relationships/tags" Target="../tags/tag221.xml"/><Relationship Id="rId71" Type="http://schemas.openxmlformats.org/officeDocument/2006/relationships/tags" Target="../tags/tag285.xml"/><Relationship Id="rId92" Type="http://schemas.openxmlformats.org/officeDocument/2006/relationships/tags" Target="../tags/tag306.xml"/><Relationship Id="rId2" Type="http://schemas.openxmlformats.org/officeDocument/2006/relationships/tags" Target="../tags/tag216.xml"/><Relationship Id="rId29" Type="http://schemas.openxmlformats.org/officeDocument/2006/relationships/tags" Target="../tags/tag243.xml"/><Relationship Id="rId24" Type="http://schemas.openxmlformats.org/officeDocument/2006/relationships/tags" Target="../tags/tag238.xml"/><Relationship Id="rId40" Type="http://schemas.openxmlformats.org/officeDocument/2006/relationships/tags" Target="../tags/tag254.xml"/><Relationship Id="rId45" Type="http://schemas.openxmlformats.org/officeDocument/2006/relationships/tags" Target="../tags/tag259.xml"/><Relationship Id="rId66" Type="http://schemas.openxmlformats.org/officeDocument/2006/relationships/tags" Target="../tags/tag280.xml"/><Relationship Id="rId87" Type="http://schemas.openxmlformats.org/officeDocument/2006/relationships/tags" Target="../tags/tag301.xml"/><Relationship Id="rId61" Type="http://schemas.openxmlformats.org/officeDocument/2006/relationships/tags" Target="../tags/tag275.xml"/><Relationship Id="rId82" Type="http://schemas.openxmlformats.org/officeDocument/2006/relationships/tags" Target="../tags/tag296.xml"/><Relationship Id="rId19" Type="http://schemas.openxmlformats.org/officeDocument/2006/relationships/tags" Target="../tags/tag233.xml"/><Relationship Id="rId14" Type="http://schemas.openxmlformats.org/officeDocument/2006/relationships/tags" Target="../tags/tag228.xml"/><Relationship Id="rId30" Type="http://schemas.openxmlformats.org/officeDocument/2006/relationships/tags" Target="../tags/tag244.xml"/><Relationship Id="rId35" Type="http://schemas.openxmlformats.org/officeDocument/2006/relationships/tags" Target="../tags/tag249.xml"/><Relationship Id="rId56" Type="http://schemas.openxmlformats.org/officeDocument/2006/relationships/tags" Target="../tags/tag270.xml"/><Relationship Id="rId77" Type="http://schemas.openxmlformats.org/officeDocument/2006/relationships/tags" Target="../tags/tag291.xml"/><Relationship Id="rId8" Type="http://schemas.openxmlformats.org/officeDocument/2006/relationships/tags" Target="../tags/tag222.xml"/><Relationship Id="rId51" Type="http://schemas.openxmlformats.org/officeDocument/2006/relationships/tags" Target="../tags/tag265.xml"/><Relationship Id="rId72" Type="http://schemas.openxmlformats.org/officeDocument/2006/relationships/tags" Target="../tags/tag286.xml"/><Relationship Id="rId93" Type="http://schemas.openxmlformats.org/officeDocument/2006/relationships/slideLayout" Target="../slideLayouts/slideLayout19.xml"/><Relationship Id="rId98" Type="http://schemas.openxmlformats.org/officeDocument/2006/relationships/chart" Target="../charts/chart3.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308.xml"/><Relationship Id="rId1" Type="http://schemas.openxmlformats.org/officeDocument/2006/relationships/tags" Target="../tags/tag307.xml"/><Relationship Id="rId6" Type="http://schemas.openxmlformats.org/officeDocument/2006/relationships/chart" Target="../charts/chart4.xml"/><Relationship Id="rId5" Type="http://schemas.openxmlformats.org/officeDocument/2006/relationships/image" Target="../media/image17.emf"/><Relationship Id="rId4" Type="http://schemas.openxmlformats.org/officeDocument/2006/relationships/oleObject" Target="../embeddings/oleObject173.bin"/></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174.bin"/><Relationship Id="rId2" Type="http://schemas.openxmlformats.org/officeDocument/2006/relationships/slideLayout" Target="../slideLayouts/slideLayout19.xml"/><Relationship Id="rId1" Type="http://schemas.openxmlformats.org/officeDocument/2006/relationships/tags" Target="../tags/tag309.xml"/><Relationship Id="rId4" Type="http://schemas.openxmlformats.org/officeDocument/2006/relationships/image" Target="../media/image17.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DAF33CD0-B35F-F7B5-1716-BAEAF8B9FF6E}"/>
              </a:ext>
            </a:extLst>
          </p:cNvPr>
          <p:cNvGraphicFramePr>
            <a:graphicFrameLocks noChangeAspect="1"/>
          </p:cNvGraphicFramePr>
          <p:nvPr>
            <p:custDataLst>
              <p:tags r:id="rId1"/>
            </p:custDataLst>
            <p:extLst>
              <p:ext uri="{D42A27DB-BD31-4B8C-83A1-F6EECF244321}">
                <p14:modId xmlns:p14="http://schemas.microsoft.com/office/powerpoint/2010/main" val="1146575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6" name="think-cell data - do not delete" hidden="1">
                        <a:extLst>
                          <a:ext uri="{FF2B5EF4-FFF2-40B4-BE49-F238E27FC236}">
                            <a16:creationId xmlns:a16="http://schemas.microsoft.com/office/drawing/2014/main" id="{DAF33CD0-B35F-F7B5-1716-BAEAF8B9FF6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kstin paikkamerkki 1">
            <a:extLst>
              <a:ext uri="{FF2B5EF4-FFF2-40B4-BE49-F238E27FC236}">
                <a16:creationId xmlns:a16="http://schemas.microsoft.com/office/drawing/2014/main" id="{001CE8E0-3002-6540-AB4A-44A213CCD16D}"/>
              </a:ext>
            </a:extLst>
          </p:cNvPr>
          <p:cNvSpPr>
            <a:spLocks noGrp="1"/>
          </p:cNvSpPr>
          <p:nvPr>
            <p:ph type="body" sz="quarter" idx="15"/>
          </p:nvPr>
        </p:nvSpPr>
        <p:spPr>
          <a:xfrm>
            <a:off x="1072800" y="1881898"/>
            <a:ext cx="7390886" cy="1165268"/>
          </a:xfrm>
        </p:spPr>
        <p:txBody>
          <a:bodyPr vert="horz" lIns="91440" tIns="45720" rIns="91440" bIns="45720" rtlCol="0" anchor="ctr">
            <a:normAutofit/>
          </a:bodyPr>
          <a:lstStyle/>
          <a:p>
            <a:r>
              <a:rPr kumimoji="0" lang="en-US" sz="2000" i="0" u="none" strike="noStrike" kern="1200" cap="none" spc="0" normalizeH="0" baseline="0" dirty="0">
                <a:ln>
                  <a:noFill/>
                </a:ln>
                <a:solidFill>
                  <a:srgbClr val="FFFFFF"/>
                </a:solidFill>
                <a:effectLst/>
                <a:uLnTx/>
                <a:uFillTx/>
                <a:latin typeface="+mj-lt"/>
                <a:ea typeface="+mn-ea"/>
                <a:cs typeface="+mn-cs"/>
              </a:rPr>
              <a:t>Chips from the North</a:t>
            </a:r>
            <a:endParaRPr lang="en-US" sz="2000" spc="0" dirty="0">
              <a:solidFill>
                <a:srgbClr val="FFFFFF"/>
              </a:solidFill>
              <a:latin typeface="+mj-lt"/>
              <a:ea typeface="+mn-ea"/>
              <a:cs typeface="+mn-cs"/>
            </a:endParaRPr>
          </a:p>
          <a:p>
            <a:r>
              <a:rPr kumimoji="0" lang="en-US" sz="2000" b="0" i="1" u="none" strike="noStrike" kern="1200" cap="none" spc="0" normalizeH="0" baseline="0" dirty="0">
                <a:ln>
                  <a:noFill/>
                </a:ln>
                <a:solidFill>
                  <a:srgbClr val="FFFFFF"/>
                </a:solidFill>
                <a:effectLst/>
                <a:uLnTx/>
                <a:uFillTx/>
                <a:latin typeface="+mj-lt"/>
                <a:ea typeface="+mn-ea"/>
                <a:cs typeface="+mn-cs"/>
              </a:rPr>
              <a:t>Semiconductor Strategy for Finland</a:t>
            </a:r>
          </a:p>
        </p:txBody>
      </p:sp>
      <p:sp>
        <p:nvSpPr>
          <p:cNvPr id="3" name="Dian numeron paikkamerkki 2">
            <a:extLst>
              <a:ext uri="{FF2B5EF4-FFF2-40B4-BE49-F238E27FC236}">
                <a16:creationId xmlns:a16="http://schemas.microsoft.com/office/drawing/2014/main" id="{C10B4546-3353-FD47-A7A9-0CAD02106343}"/>
              </a:ext>
            </a:extLst>
          </p:cNvPr>
          <p:cNvSpPr>
            <a:spLocks noGrp="1"/>
          </p:cNvSpPr>
          <p:nvPr>
            <p:ph type="sldNum" sz="quarter" idx="12"/>
          </p:nvPr>
        </p:nvSpPr>
        <p:spPr/>
        <p:txBody>
          <a:bodyPr/>
          <a:lstStyle/>
          <a:p>
            <a:fld id="{6FCB6B90-8271-4E8F-82C1-E646FBB48A2E}" type="slidenum">
              <a:rPr lang="en-US" smtClean="0"/>
              <a:pPr/>
              <a:t>1</a:t>
            </a:fld>
            <a:endParaRPr lang="en-US"/>
          </a:p>
        </p:txBody>
      </p:sp>
      <p:sp>
        <p:nvSpPr>
          <p:cNvPr id="5" name="Alatunnisteen paikkamerkki 4">
            <a:extLst>
              <a:ext uri="{FF2B5EF4-FFF2-40B4-BE49-F238E27FC236}">
                <a16:creationId xmlns:a16="http://schemas.microsoft.com/office/drawing/2014/main" id="{605993C4-190E-3143-88DA-769C2A43EF43}"/>
              </a:ext>
            </a:extLst>
          </p:cNvPr>
          <p:cNvSpPr>
            <a:spLocks noGrp="1"/>
          </p:cNvSpPr>
          <p:nvPr>
            <p:ph type="ftr" sz="quarter" idx="11"/>
          </p:nvPr>
        </p:nvSpPr>
        <p:spPr/>
        <p:txBody>
          <a:bodyPr/>
          <a:lstStyle/>
          <a:p>
            <a:r>
              <a:rPr lang="en-US"/>
              <a:t>Technology Industries of Finland</a:t>
            </a:r>
          </a:p>
        </p:txBody>
      </p:sp>
      <p:sp>
        <p:nvSpPr>
          <p:cNvPr id="7" name="Date Placeholder 2">
            <a:extLst>
              <a:ext uri="{FF2B5EF4-FFF2-40B4-BE49-F238E27FC236}">
                <a16:creationId xmlns:a16="http://schemas.microsoft.com/office/drawing/2014/main" id="{8068E101-E14C-260A-9BBA-B04B2F142C9F}"/>
              </a:ext>
            </a:extLst>
          </p:cNvPr>
          <p:cNvSpPr>
            <a:spLocks noGrp="1"/>
          </p:cNvSpPr>
          <p:nvPr>
            <p:ph type="dt" sz="half" idx="10"/>
          </p:nvPr>
        </p:nvSpPr>
        <p:spPr>
          <a:xfrm>
            <a:off x="282027" y="4728047"/>
            <a:ext cx="916709" cy="164690"/>
          </a:xfrm>
        </p:spPr>
        <p:txBody>
          <a:bodyPr/>
          <a:lstStyle/>
          <a:p>
            <a:fld id="{F553C366-6A2C-43B9-A437-B827E0484441}" type="datetime1">
              <a:rPr lang="fi-FI" smtClean="0"/>
              <a:pPr/>
              <a:t>9.4.2024</a:t>
            </a:fld>
            <a:endParaRPr lang="en-US"/>
          </a:p>
        </p:txBody>
      </p:sp>
    </p:spTree>
    <p:extLst>
      <p:ext uri="{BB962C8B-B14F-4D97-AF65-F5344CB8AC3E}">
        <p14:creationId xmlns:p14="http://schemas.microsoft.com/office/powerpoint/2010/main" val="24558173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p:txBody>
          <a:bodyPr/>
          <a:lstStyle/>
          <a:p>
            <a:fld id="{6FCB6B90-8271-4E8F-82C1-E646FBB48A2E}" type="slidenum">
              <a:rPr lang="fi-FI" smtClean="0"/>
              <a:pPr/>
              <a:t>10</a:t>
            </a:fld>
            <a:endParaRPr lang="fi-FI"/>
          </a:p>
        </p:txBody>
      </p:sp>
      <p:sp>
        <p:nvSpPr>
          <p:cNvPr id="3" name="Date Placeholder 2">
            <a:extLst>
              <a:ext uri="{FF2B5EF4-FFF2-40B4-BE49-F238E27FC236}">
                <a16:creationId xmlns:a16="http://schemas.microsoft.com/office/drawing/2014/main" id="{18FF0807-DAF8-B85E-04CD-C4F80F1262E3}"/>
              </a:ext>
            </a:extLst>
          </p:cNvPr>
          <p:cNvSpPr>
            <a:spLocks noGrp="1"/>
          </p:cNvSpPr>
          <p:nvPr>
            <p:ph type="dt" sz="half" idx="10"/>
          </p:nvPr>
        </p:nvSpPr>
        <p:spPr/>
        <p:txBody>
          <a:bodyPr/>
          <a:lstStyle/>
          <a:p>
            <a:fld id="{F553C366-6A2C-43B9-A437-B827E0484441}" type="datetime1">
              <a:rPr lang="fi-FI" smtClean="0"/>
              <a:pPr/>
              <a:t>9.4.2024</a:t>
            </a:fld>
            <a:endParaRPr lang="fi-FI"/>
          </a:p>
        </p:txBody>
      </p:sp>
      <p:sp>
        <p:nvSpPr>
          <p:cNvPr id="4" name="Footer Placeholder 3">
            <a:extLst>
              <a:ext uri="{FF2B5EF4-FFF2-40B4-BE49-F238E27FC236}">
                <a16:creationId xmlns:a16="http://schemas.microsoft.com/office/drawing/2014/main" id="{D621C63B-DC3F-9AB3-994A-92E4128610F0}"/>
              </a:ext>
            </a:extLst>
          </p:cNvPr>
          <p:cNvSpPr>
            <a:spLocks noGrp="1"/>
          </p:cNvSpPr>
          <p:nvPr>
            <p:ph type="ftr" sz="quarter" idx="11"/>
          </p:nvPr>
        </p:nvSpPr>
        <p:spPr/>
        <p:txBody>
          <a:bodyPr/>
          <a:lstStyle/>
          <a:p>
            <a:r>
              <a:rPr lang="fi-FI"/>
              <a:t>Technology Industries of Finland</a:t>
            </a:r>
          </a:p>
        </p:txBody>
      </p:sp>
      <p:sp>
        <p:nvSpPr>
          <p:cNvPr id="7" name="Text Placeholder 4">
            <a:extLst>
              <a:ext uri="{FF2B5EF4-FFF2-40B4-BE49-F238E27FC236}">
                <a16:creationId xmlns:a16="http://schemas.microsoft.com/office/drawing/2014/main" id="{655C5497-1A69-8645-BD38-1845C93346B4}"/>
              </a:ext>
            </a:extLst>
          </p:cNvPr>
          <p:cNvSpPr>
            <a:spLocks noGrp="1"/>
          </p:cNvSpPr>
          <p:nvPr>
            <p:ph type="body" sz="quarter" idx="18"/>
          </p:nvPr>
        </p:nvSpPr>
        <p:spPr>
          <a:xfrm>
            <a:off x="252000" y="290513"/>
            <a:ext cx="8072298" cy="517525"/>
          </a:xfrm>
        </p:spPr>
        <p:txBody>
          <a:bodyPr>
            <a:normAutofit lnSpcReduction="10000"/>
          </a:bodyPr>
          <a:lstStyle/>
          <a:p>
            <a:pPr marL="0" defTabSz="679871">
              <a:buSzTx/>
              <a:defRPr/>
            </a:pPr>
            <a:r>
              <a:rPr kumimoji="0" lang="en-US" sz="1400" b="1" i="0" u="none" strike="noStrike" kern="1200" cap="none" spc="0" normalizeH="0" baseline="0" noProof="0" dirty="0">
                <a:ln>
                  <a:noFill/>
                </a:ln>
                <a:solidFill>
                  <a:srgbClr val="29282E"/>
                </a:solidFill>
                <a:effectLst/>
                <a:uLnTx/>
                <a:uFillTx/>
                <a:latin typeface="Verdana"/>
                <a:ea typeface="Verdana" panose="020B0604030504040204" pitchFamily="34" charset="0"/>
                <a:cs typeface="+mn-cs"/>
              </a:rPr>
              <a:t>Governments globally are focusing on strategic technology autonomy in semiconductors due to security concerns and economic growth potential</a:t>
            </a:r>
            <a:endParaRPr kumimoji="0" lang="fi-FI" sz="1400" b="1" i="0" u="none" strike="noStrike" kern="1200" cap="none" spc="0" normalizeH="0" baseline="0" noProof="0" dirty="0">
              <a:ln>
                <a:noFill/>
              </a:ln>
              <a:solidFill>
                <a:srgbClr val="29282E"/>
              </a:solidFill>
              <a:effectLst/>
              <a:uLnTx/>
              <a:uFillTx/>
              <a:latin typeface="Verdana"/>
              <a:ea typeface="Verdana" panose="020B0604030504040204" pitchFamily="34" charset="0"/>
              <a:cs typeface="+mn-cs"/>
            </a:endParaRPr>
          </a:p>
        </p:txBody>
      </p:sp>
      <p:sp>
        <p:nvSpPr>
          <p:cNvPr id="8" name="Rounded Rectangle 42">
            <a:extLst>
              <a:ext uri="{FF2B5EF4-FFF2-40B4-BE49-F238E27FC236}">
                <a16:creationId xmlns:a16="http://schemas.microsoft.com/office/drawing/2014/main" id="{2C5DD0C3-EAB4-6AB1-C877-EE4374DC8597}"/>
              </a:ext>
            </a:extLst>
          </p:cNvPr>
          <p:cNvSpPr/>
          <p:nvPr/>
        </p:nvSpPr>
        <p:spPr>
          <a:xfrm>
            <a:off x="4758139" y="1110098"/>
            <a:ext cx="3974377" cy="400110"/>
          </a:xfrm>
          <a:prstGeom prst="rect">
            <a:avLst/>
          </a:prstGeom>
          <a:noFill/>
          <a:extLst>
            <a:ext uri="{909E8E84-426E-40DD-AFC4-6F175D3DCCD1}">
              <a14:hiddenFill xmlns:a14="http://schemas.microsoft.com/office/drawing/2010/main">
                <a:solidFill>
                  <a:schemeClr val="accent6">
                    <a:lumMod val="20000"/>
                    <a:lumOff val="80000"/>
                  </a:schemeClr>
                </a:solidFill>
              </a14:hiddenFill>
            </a:ext>
          </a:extLst>
        </p:spPr>
        <p:txBody>
          <a:bodyPr wrap="square">
            <a:spAutoFit/>
          </a:bodyPr>
          <a:lstStyle/>
          <a:p>
            <a:r>
              <a:rPr lang="en-US" sz="1000" b="1" spc="-40" dirty="0"/>
              <a:t>Countries around the world support their domestic semiconductor industry through varying strategies</a:t>
            </a:r>
            <a:endParaRPr lang="fi-FI" sz="1000" b="1" spc="-40" dirty="0"/>
          </a:p>
        </p:txBody>
      </p:sp>
      <p:cxnSp>
        <p:nvCxnSpPr>
          <p:cNvPr id="9" name="Straight Connector 8">
            <a:extLst>
              <a:ext uri="{FF2B5EF4-FFF2-40B4-BE49-F238E27FC236}">
                <a16:creationId xmlns:a16="http://schemas.microsoft.com/office/drawing/2014/main" id="{EED63704-DE0A-ACE3-F4CB-04C553277C89}"/>
              </a:ext>
            </a:extLst>
          </p:cNvPr>
          <p:cNvCxnSpPr>
            <a:cxnSpLocks/>
          </p:cNvCxnSpPr>
          <p:nvPr/>
        </p:nvCxnSpPr>
        <p:spPr>
          <a:xfrm>
            <a:off x="4450757" y="1677998"/>
            <a:ext cx="0" cy="2699924"/>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B1A811DF-A039-2EF0-5B70-C4471134AED9}"/>
              </a:ext>
            </a:extLst>
          </p:cNvPr>
          <p:cNvSpPr txBox="1"/>
          <p:nvPr/>
        </p:nvSpPr>
        <p:spPr>
          <a:xfrm>
            <a:off x="404378" y="3859860"/>
            <a:ext cx="3728702" cy="565146"/>
          </a:xfrm>
          <a:prstGeom prst="rect">
            <a:avLst/>
          </a:prstGeom>
          <a:noFill/>
        </p:spPr>
        <p:txBody>
          <a:bodyPr wrap="square" lIns="36000" tIns="36000" rIns="36000" bIns="36000" rtlCol="0">
            <a:spAutoFit/>
          </a:bodyPr>
          <a:lstStyle/>
          <a:p>
            <a:r>
              <a:rPr lang="fi-FI" sz="800" i="1" spc="-40">
                <a:solidFill>
                  <a:schemeClr val="tx2"/>
                </a:solidFill>
              </a:rPr>
              <a:t>"Chips are essential for our green and digital transitions, and for our economies. Our economy would not function without chips ... </a:t>
            </a:r>
            <a:r>
              <a:rPr lang="fi-FI" sz="800" b="1" i="1" spc="-40">
                <a:solidFill>
                  <a:schemeClr val="tx2"/>
                </a:solidFill>
              </a:rPr>
              <a:t>We need to promote the design, testing and production here in Europe</a:t>
            </a:r>
            <a:r>
              <a:rPr lang="fi-FI" sz="800" i="1" spc="-40">
                <a:solidFill>
                  <a:schemeClr val="tx2"/>
                </a:solidFill>
              </a:rPr>
              <a:t>. For that, the Chips Act is a game changer."</a:t>
            </a:r>
            <a:endParaRPr lang="fi-FI" sz="800" i="1" spc="-40"/>
          </a:p>
        </p:txBody>
      </p:sp>
      <p:pic>
        <p:nvPicPr>
          <p:cNvPr id="11" name="flag_europeanunion">
            <a:extLst>
              <a:ext uri="{FF2B5EF4-FFF2-40B4-BE49-F238E27FC236}">
                <a16:creationId xmlns:a16="http://schemas.microsoft.com/office/drawing/2014/main" id="{D4F57697-47E0-1B6B-FB3C-B1E8A07EB093}"/>
              </a:ext>
            </a:extLst>
          </p:cNvPr>
          <p:cNvPicPr>
            <a:picLocks noChangeAspect="1" noChangeArrowheads="1"/>
          </p:cNvPicPr>
          <p:nvPr/>
        </p:nvPicPr>
        <p:blipFill>
          <a:blip r:embed="rId2" cstate="print"/>
          <a:srcRect/>
          <a:stretch>
            <a:fillRect/>
          </a:stretch>
        </p:blipFill>
        <p:spPr bwMode="auto">
          <a:xfrm>
            <a:off x="381000" y="1150233"/>
            <a:ext cx="480060" cy="319840"/>
          </a:xfrm>
          <a:prstGeom prst="rect">
            <a:avLst/>
          </a:prstGeom>
          <a:noFill/>
        </p:spPr>
      </p:pic>
      <p:cxnSp>
        <p:nvCxnSpPr>
          <p:cNvPr id="12" name="Straight Connector 11">
            <a:extLst>
              <a:ext uri="{FF2B5EF4-FFF2-40B4-BE49-F238E27FC236}">
                <a16:creationId xmlns:a16="http://schemas.microsoft.com/office/drawing/2014/main" id="{284B2D52-3663-01A8-DA00-83E6A37374A2}"/>
              </a:ext>
            </a:extLst>
          </p:cNvPr>
          <p:cNvCxnSpPr>
            <a:cxnSpLocks/>
          </p:cNvCxnSpPr>
          <p:nvPr/>
        </p:nvCxnSpPr>
        <p:spPr>
          <a:xfrm>
            <a:off x="4871165" y="1847193"/>
            <a:ext cx="3861351" cy="5388"/>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B669ABF5-2E03-AFF2-9EF2-38FD86E8142B}"/>
              </a:ext>
            </a:extLst>
          </p:cNvPr>
          <p:cNvSpPr txBox="1"/>
          <p:nvPr/>
        </p:nvSpPr>
        <p:spPr>
          <a:xfrm>
            <a:off x="4861970" y="1657920"/>
            <a:ext cx="3001819" cy="195814"/>
          </a:xfrm>
          <a:prstGeom prst="rect">
            <a:avLst/>
          </a:prstGeom>
          <a:noFill/>
        </p:spPr>
        <p:txBody>
          <a:bodyPr wrap="square" lIns="36000" tIns="36000" rIns="36000" bIns="36000" rtlCol="0">
            <a:spAutoFit/>
          </a:bodyPr>
          <a:lstStyle/>
          <a:p>
            <a:r>
              <a:rPr lang="fi-FI" sz="800" b="1"/>
              <a:t>Examples of economies' actions</a:t>
            </a:r>
          </a:p>
        </p:txBody>
      </p:sp>
      <p:sp>
        <p:nvSpPr>
          <p:cNvPr id="14" name="TextBox 13">
            <a:extLst>
              <a:ext uri="{FF2B5EF4-FFF2-40B4-BE49-F238E27FC236}">
                <a16:creationId xmlns:a16="http://schemas.microsoft.com/office/drawing/2014/main" id="{5746B9E5-8388-0D46-BFC5-CD79468030EF}"/>
              </a:ext>
            </a:extLst>
          </p:cNvPr>
          <p:cNvSpPr txBox="1"/>
          <p:nvPr/>
        </p:nvSpPr>
        <p:spPr>
          <a:xfrm>
            <a:off x="5273040" y="1964774"/>
            <a:ext cx="3459477" cy="318924"/>
          </a:xfrm>
          <a:prstGeom prst="rect">
            <a:avLst/>
          </a:prstGeom>
          <a:noFill/>
        </p:spPr>
        <p:txBody>
          <a:bodyPr wrap="square" lIns="36000" tIns="36000" rIns="36000" bIns="36000" rtlCol="0">
            <a:spAutoFit/>
          </a:bodyPr>
          <a:lstStyle/>
          <a:p>
            <a:r>
              <a:rPr lang="en-US" sz="800" dirty="0"/>
              <a:t>PERTE Chip strategy allocates €12 billion by 2027 into the industry, focusing on chip design, quantum chips, and photonics</a:t>
            </a:r>
            <a:endParaRPr lang="fi-FI" sz="800" dirty="0"/>
          </a:p>
        </p:txBody>
      </p:sp>
      <p:sp>
        <p:nvSpPr>
          <p:cNvPr id="15" name="TextBox 14">
            <a:extLst>
              <a:ext uri="{FF2B5EF4-FFF2-40B4-BE49-F238E27FC236}">
                <a16:creationId xmlns:a16="http://schemas.microsoft.com/office/drawing/2014/main" id="{F9B32BF4-515B-05CA-1ABD-50B1CD8032AC}"/>
              </a:ext>
            </a:extLst>
          </p:cNvPr>
          <p:cNvSpPr txBox="1"/>
          <p:nvPr/>
        </p:nvSpPr>
        <p:spPr>
          <a:xfrm>
            <a:off x="5273040" y="2363782"/>
            <a:ext cx="3459477" cy="442035"/>
          </a:xfrm>
          <a:prstGeom prst="rect">
            <a:avLst/>
          </a:prstGeom>
          <a:noFill/>
        </p:spPr>
        <p:txBody>
          <a:bodyPr wrap="square" lIns="36000" tIns="36000" rIns="36000" bIns="36000" rtlCol="0">
            <a:spAutoFit/>
          </a:bodyPr>
          <a:lstStyle/>
          <a:p>
            <a:r>
              <a:rPr lang="en-US" sz="800" err="1"/>
              <a:t>Electronique</a:t>
            </a:r>
            <a:r>
              <a:rPr lang="en-US" sz="800"/>
              <a:t> 2030 strategy allocates approximately €5 billion into the industry, focusing on production, R&amp;D activities, and education</a:t>
            </a:r>
            <a:endParaRPr lang="fi-FI" sz="800"/>
          </a:p>
        </p:txBody>
      </p:sp>
      <p:sp>
        <p:nvSpPr>
          <p:cNvPr id="16" name="TextBox 15">
            <a:extLst>
              <a:ext uri="{FF2B5EF4-FFF2-40B4-BE49-F238E27FC236}">
                <a16:creationId xmlns:a16="http://schemas.microsoft.com/office/drawing/2014/main" id="{380AB583-8504-4251-6496-27B6E047AB18}"/>
              </a:ext>
            </a:extLst>
          </p:cNvPr>
          <p:cNvSpPr txBox="1"/>
          <p:nvPr/>
        </p:nvSpPr>
        <p:spPr>
          <a:xfrm>
            <a:off x="5273040" y="2824345"/>
            <a:ext cx="3527144" cy="318924"/>
          </a:xfrm>
          <a:prstGeom prst="rect">
            <a:avLst/>
          </a:prstGeom>
          <a:noFill/>
        </p:spPr>
        <p:txBody>
          <a:bodyPr wrap="square" lIns="36000" tIns="36000" rIns="36000" bIns="36000" rtlCol="0">
            <a:spAutoFit/>
          </a:bodyPr>
          <a:lstStyle/>
          <a:p>
            <a:r>
              <a:rPr lang="en-US" sz="800"/>
              <a:t>No national strategy, but have supported an Intel factory with €10 billion and other factories and design centers with over €6 billion</a:t>
            </a:r>
            <a:endParaRPr lang="fi-FI" sz="800"/>
          </a:p>
        </p:txBody>
      </p:sp>
      <p:sp>
        <p:nvSpPr>
          <p:cNvPr id="17" name="TextBox 16">
            <a:extLst>
              <a:ext uri="{FF2B5EF4-FFF2-40B4-BE49-F238E27FC236}">
                <a16:creationId xmlns:a16="http://schemas.microsoft.com/office/drawing/2014/main" id="{B9FB0FC6-51B2-ED8C-D2C4-EECE197181E9}"/>
              </a:ext>
            </a:extLst>
          </p:cNvPr>
          <p:cNvSpPr txBox="1"/>
          <p:nvPr/>
        </p:nvSpPr>
        <p:spPr>
          <a:xfrm>
            <a:off x="5273040" y="3161797"/>
            <a:ext cx="3459477" cy="442035"/>
          </a:xfrm>
          <a:prstGeom prst="rect">
            <a:avLst/>
          </a:prstGeom>
          <a:noFill/>
        </p:spPr>
        <p:txBody>
          <a:bodyPr wrap="square" lIns="36000" tIns="36000" rIns="36000" bIns="36000" rtlCol="0">
            <a:spAutoFit/>
          </a:bodyPr>
          <a:lstStyle/>
          <a:p>
            <a:r>
              <a:rPr lang="en-US" sz="800"/>
              <a:t>National strategy allocates £1 billion by 2034 int to the industry focusing on chip design and materials (especially compound semiconductors).</a:t>
            </a:r>
            <a:endParaRPr lang="fi-FI" sz="800"/>
          </a:p>
        </p:txBody>
      </p:sp>
      <p:sp>
        <p:nvSpPr>
          <p:cNvPr id="18" name="TextBox 17">
            <a:extLst>
              <a:ext uri="{FF2B5EF4-FFF2-40B4-BE49-F238E27FC236}">
                <a16:creationId xmlns:a16="http://schemas.microsoft.com/office/drawing/2014/main" id="{B3029324-9053-82B6-D2CE-C6100EEFDDBB}"/>
              </a:ext>
            </a:extLst>
          </p:cNvPr>
          <p:cNvSpPr txBox="1"/>
          <p:nvPr/>
        </p:nvSpPr>
        <p:spPr>
          <a:xfrm>
            <a:off x="5273040" y="3622360"/>
            <a:ext cx="3459477" cy="442035"/>
          </a:xfrm>
          <a:prstGeom prst="rect">
            <a:avLst/>
          </a:prstGeom>
          <a:noFill/>
        </p:spPr>
        <p:txBody>
          <a:bodyPr wrap="square" lIns="36000" tIns="36000" rIns="36000" bIns="36000" rtlCol="0">
            <a:spAutoFit/>
          </a:bodyPr>
          <a:lstStyle/>
          <a:p>
            <a:r>
              <a:rPr lang="en-US" sz="800" dirty="0"/>
              <a:t>Released the CHIPS Act (€52 billion) and the Inflation Reduction Act (€71 billion), focusing on supporting advanced semiconductor manufacturing capacity</a:t>
            </a:r>
            <a:endParaRPr lang="fi-FI" sz="800" dirty="0"/>
          </a:p>
        </p:txBody>
      </p:sp>
      <p:sp>
        <p:nvSpPr>
          <p:cNvPr id="19" name="TextBox 18">
            <a:extLst>
              <a:ext uri="{FF2B5EF4-FFF2-40B4-BE49-F238E27FC236}">
                <a16:creationId xmlns:a16="http://schemas.microsoft.com/office/drawing/2014/main" id="{B358BF5B-B6FE-DA9D-757B-6DF76BAD81B4}"/>
              </a:ext>
            </a:extLst>
          </p:cNvPr>
          <p:cNvSpPr txBox="1"/>
          <p:nvPr/>
        </p:nvSpPr>
        <p:spPr>
          <a:xfrm>
            <a:off x="5273039" y="4082925"/>
            <a:ext cx="3459477" cy="442035"/>
          </a:xfrm>
          <a:prstGeom prst="rect">
            <a:avLst/>
          </a:prstGeom>
          <a:noFill/>
        </p:spPr>
        <p:txBody>
          <a:bodyPr wrap="square" lIns="36000" tIns="36000" rIns="36000" bIns="36000" rtlCol="0">
            <a:spAutoFit/>
          </a:bodyPr>
          <a:lstStyle/>
          <a:p>
            <a:r>
              <a:rPr lang="en-US" sz="800"/>
              <a:t>Approximately €75 billion 'Electronics Fund,' of which about 70% is focused on supporting semiconductor manufacturing facilities. However, it is uncertain how much money is actually invested</a:t>
            </a:r>
            <a:endParaRPr lang="fi-FI" sz="800"/>
          </a:p>
        </p:txBody>
      </p:sp>
      <p:sp>
        <p:nvSpPr>
          <p:cNvPr id="22" name="TextBox 21">
            <a:extLst>
              <a:ext uri="{FF2B5EF4-FFF2-40B4-BE49-F238E27FC236}">
                <a16:creationId xmlns:a16="http://schemas.microsoft.com/office/drawing/2014/main" id="{8FDF5BBF-1E98-2952-42F2-CC3A457D8267}"/>
              </a:ext>
            </a:extLst>
          </p:cNvPr>
          <p:cNvSpPr txBox="1"/>
          <p:nvPr/>
        </p:nvSpPr>
        <p:spPr>
          <a:xfrm>
            <a:off x="392689" y="2426448"/>
            <a:ext cx="3721592" cy="1303809"/>
          </a:xfrm>
          <a:prstGeom prst="rect">
            <a:avLst/>
          </a:prstGeom>
          <a:noFill/>
        </p:spPr>
        <p:txBody>
          <a:bodyPr wrap="square" lIns="36000" tIns="36000" rIns="36000" bIns="36000" rtlCol="0">
            <a:spAutoFit/>
          </a:bodyPr>
          <a:lstStyle/>
          <a:p>
            <a:pPr marL="228600" indent="-228600">
              <a:buFont typeface="+mj-lt"/>
              <a:buAutoNum type="arabicPeriod"/>
            </a:pPr>
            <a:r>
              <a:rPr lang="en-US" sz="800" b="1" dirty="0"/>
              <a:t>Chips for Europe Initiative: </a:t>
            </a:r>
            <a:r>
              <a:rPr lang="en-US" sz="800" dirty="0"/>
              <a:t>Aims to facilitate and accelerate the industrial utilization of R&amp;D activities in the sector by increasing pilot lines and design platforms, and by supporting startups and SMEs, among other measures</a:t>
            </a:r>
          </a:p>
          <a:p>
            <a:pPr marL="228600" indent="-228600">
              <a:buFont typeface="+mj-lt"/>
              <a:buAutoNum type="arabicPeriod"/>
            </a:pPr>
            <a:r>
              <a:rPr lang="en-US" sz="800" b="1" dirty="0">
                <a:latin typeface="Verdana" panose="020B0604030504040204" pitchFamily="34" charset="0"/>
              </a:rPr>
              <a:t>Supply Security: </a:t>
            </a:r>
            <a:r>
              <a:rPr lang="en-US" sz="800" dirty="0">
                <a:latin typeface="Verdana" panose="020B0604030504040204" pitchFamily="34" charset="0"/>
              </a:rPr>
              <a:t>Attracts manufacturing investments and capacity increases by using subsidies and simplifying licensing processes</a:t>
            </a:r>
            <a:endParaRPr lang="fi-FI" sz="800" dirty="0">
              <a:latin typeface="Verdana" panose="020B0604030504040204" pitchFamily="34" charset="0"/>
            </a:endParaRPr>
          </a:p>
          <a:p>
            <a:pPr marL="228600" indent="-228600">
              <a:buFont typeface="+mj-lt"/>
              <a:buAutoNum type="arabicPeriod"/>
            </a:pPr>
            <a:r>
              <a:rPr lang="fi-FI" sz="800" b="1" dirty="0">
                <a:latin typeface="Verdana" panose="020B0604030504040204" pitchFamily="34" charset="0"/>
              </a:rPr>
              <a:t>C</a:t>
            </a:r>
            <a:r>
              <a:rPr lang="en-US" sz="800" b="1" dirty="0" err="1">
                <a:latin typeface="Verdana" panose="020B0604030504040204" pitchFamily="34" charset="0"/>
              </a:rPr>
              <a:t>risis</a:t>
            </a:r>
            <a:r>
              <a:rPr lang="en-US" sz="800" b="1" dirty="0">
                <a:latin typeface="Verdana" panose="020B0604030504040204" pitchFamily="34" charset="0"/>
              </a:rPr>
              <a:t> Management: </a:t>
            </a:r>
            <a:r>
              <a:rPr lang="en-US" sz="800" dirty="0">
                <a:latin typeface="Verdana" panose="020B0604030504040204" pitchFamily="34" charset="0"/>
              </a:rPr>
              <a:t>Strengthens cooperation in monitoring and managing crises in the semiconductor sector through early warning indicators and crisis measures.</a:t>
            </a:r>
            <a:endParaRPr lang="fi-FI" sz="800" dirty="0">
              <a:latin typeface="Verdana" panose="020B0604030504040204" pitchFamily="34" charset="0"/>
            </a:endParaRPr>
          </a:p>
        </p:txBody>
      </p:sp>
      <p:sp>
        <p:nvSpPr>
          <p:cNvPr id="21" name="TextBox 20">
            <a:extLst>
              <a:ext uri="{FF2B5EF4-FFF2-40B4-BE49-F238E27FC236}">
                <a16:creationId xmlns:a16="http://schemas.microsoft.com/office/drawing/2014/main" id="{14313FD6-0E00-9CC9-8B28-7DEE7E412910}"/>
              </a:ext>
            </a:extLst>
          </p:cNvPr>
          <p:cNvSpPr txBox="1"/>
          <p:nvPr/>
        </p:nvSpPr>
        <p:spPr>
          <a:xfrm>
            <a:off x="1009498" y="4370775"/>
            <a:ext cx="3123582" cy="318924"/>
          </a:xfrm>
          <a:prstGeom prst="rect">
            <a:avLst/>
          </a:prstGeom>
          <a:noFill/>
        </p:spPr>
        <p:txBody>
          <a:bodyPr wrap="square" lIns="36000" tIns="36000" rIns="36000" bIns="36000" rtlCol="0">
            <a:spAutoFit/>
          </a:bodyPr>
          <a:lstStyle/>
          <a:p>
            <a:pPr algn="r"/>
            <a:r>
              <a:rPr lang="fi-FI" sz="800" spc="-40">
                <a:solidFill>
                  <a:schemeClr val="tx2"/>
                </a:solidFill>
              </a:rPr>
              <a:t>- Ursula von der Leyen, </a:t>
            </a:r>
            <a:r>
              <a:rPr lang="en-US" sz="800" spc="-40">
                <a:solidFill>
                  <a:schemeClr val="tx2"/>
                </a:solidFill>
              </a:rPr>
              <a:t>President of the European Commission</a:t>
            </a:r>
          </a:p>
          <a:p>
            <a:pPr algn="r"/>
            <a:endParaRPr lang="fi-FI" sz="800" spc="-40"/>
          </a:p>
        </p:txBody>
      </p:sp>
      <p:sp>
        <p:nvSpPr>
          <p:cNvPr id="10" name="TextBox 9">
            <a:extLst>
              <a:ext uri="{FF2B5EF4-FFF2-40B4-BE49-F238E27FC236}">
                <a16:creationId xmlns:a16="http://schemas.microsoft.com/office/drawing/2014/main" id="{AB4E8471-842C-1D9C-5487-AAD641F188A4}"/>
              </a:ext>
            </a:extLst>
          </p:cNvPr>
          <p:cNvSpPr txBox="1"/>
          <p:nvPr/>
        </p:nvSpPr>
        <p:spPr>
          <a:xfrm>
            <a:off x="392689" y="1622873"/>
            <a:ext cx="3752079" cy="811367"/>
          </a:xfrm>
          <a:prstGeom prst="rect">
            <a:avLst/>
          </a:prstGeom>
          <a:noFill/>
        </p:spPr>
        <p:txBody>
          <a:bodyPr wrap="square" lIns="36000" tIns="36000" rIns="36000" bIns="36000" rtlCol="0">
            <a:spAutoFit/>
          </a:bodyPr>
          <a:lstStyle/>
          <a:p>
            <a:r>
              <a:rPr lang="en-US" sz="800" spc="-40" dirty="0">
                <a:solidFill>
                  <a:schemeClr val="tx2"/>
                </a:solidFill>
              </a:rPr>
              <a:t>The main goal of the EU Chips Act is to improve the EU's self-reliance by increasing the union's global semiconductor market share from 9% to 20% by 2030. The Act is based on three pillars: the Chips for Europe Initiative, a framework for supply security, and a mechanism for crisis management. The EU aims to mobilize €43 billion in public and private investments through the regulation.</a:t>
            </a:r>
            <a:endParaRPr lang="fi-FI" sz="800" spc="-40" dirty="0"/>
          </a:p>
        </p:txBody>
      </p:sp>
      <p:grpSp>
        <p:nvGrpSpPr>
          <p:cNvPr id="5" name="Group 4">
            <a:extLst>
              <a:ext uri="{FF2B5EF4-FFF2-40B4-BE49-F238E27FC236}">
                <a16:creationId xmlns:a16="http://schemas.microsoft.com/office/drawing/2014/main" id="{8E1D5B56-2F02-C1C9-1BB9-ED4A227BF5C8}"/>
              </a:ext>
            </a:extLst>
          </p:cNvPr>
          <p:cNvGrpSpPr/>
          <p:nvPr/>
        </p:nvGrpSpPr>
        <p:grpSpPr>
          <a:xfrm>
            <a:off x="381000" y="3708207"/>
            <a:ext cx="3648072" cy="172971"/>
            <a:chOff x="381000" y="3688250"/>
            <a:chExt cx="3648072" cy="172971"/>
          </a:xfrm>
        </p:grpSpPr>
        <p:cxnSp>
          <p:nvCxnSpPr>
            <p:cNvPr id="23" name="Straight Connector 22">
              <a:extLst>
                <a:ext uri="{FF2B5EF4-FFF2-40B4-BE49-F238E27FC236}">
                  <a16:creationId xmlns:a16="http://schemas.microsoft.com/office/drawing/2014/main" id="{CB324BBA-8772-6E4A-6357-B87F67575718}"/>
                </a:ext>
              </a:extLst>
            </p:cNvPr>
            <p:cNvCxnSpPr/>
            <p:nvPr/>
          </p:nvCxnSpPr>
          <p:spPr>
            <a:xfrm>
              <a:off x="381000" y="3774735"/>
              <a:ext cx="3648072" cy="0"/>
            </a:xfrm>
            <a:prstGeom prst="line">
              <a:avLst/>
            </a:prstGeom>
            <a:ln w="952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B9AF1CDA-BA99-2764-9C1F-EA83619B97D0}"/>
                </a:ext>
              </a:extLst>
            </p:cNvPr>
            <p:cNvGrpSpPr>
              <a:grpSpLocks noChangeAspect="1"/>
            </p:cNvGrpSpPr>
            <p:nvPr/>
          </p:nvGrpSpPr>
          <p:grpSpPr>
            <a:xfrm>
              <a:off x="2118551" y="3688250"/>
              <a:ext cx="172971" cy="172971"/>
              <a:chOff x="628651" y="3463915"/>
              <a:chExt cx="269875" cy="269874"/>
            </a:xfrm>
          </p:grpSpPr>
          <p:sp>
            <p:nvSpPr>
              <p:cNvPr id="25" name="Oval 24">
                <a:extLst>
                  <a:ext uri="{FF2B5EF4-FFF2-40B4-BE49-F238E27FC236}">
                    <a16:creationId xmlns:a16="http://schemas.microsoft.com/office/drawing/2014/main" id="{2BBEC806-6EBE-98C1-7BDA-E21D3BA49C79}"/>
                  </a:ext>
                </a:extLst>
              </p:cNvPr>
              <p:cNvSpPr>
                <a:spLocks noChangeArrowheads="1"/>
              </p:cNvSpPr>
              <p:nvPr/>
            </p:nvSpPr>
            <p:spPr bwMode="auto">
              <a:xfrm>
                <a:off x="628651" y="3463915"/>
                <a:ext cx="269875" cy="269874"/>
              </a:xfrm>
              <a:prstGeom prst="ellipse">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sp>
            <p:nvSpPr>
              <p:cNvPr id="26" name="Freeform 47">
                <a:extLst>
                  <a:ext uri="{FF2B5EF4-FFF2-40B4-BE49-F238E27FC236}">
                    <a16:creationId xmlns:a16="http://schemas.microsoft.com/office/drawing/2014/main" id="{3681BD86-BB71-CAA7-88A8-D87983B95C2B}"/>
                  </a:ext>
                </a:extLst>
              </p:cNvPr>
              <p:cNvSpPr>
                <a:spLocks noEditPoints="1"/>
              </p:cNvSpPr>
              <p:nvPr/>
            </p:nvSpPr>
            <p:spPr bwMode="auto">
              <a:xfrm>
                <a:off x="700087" y="3549650"/>
                <a:ext cx="127000" cy="98425"/>
              </a:xfrm>
              <a:custGeom>
                <a:avLst/>
                <a:gdLst>
                  <a:gd name="T0" fmla="*/ 154 w 596"/>
                  <a:gd name="T1" fmla="*/ 204 h 464"/>
                  <a:gd name="T2" fmla="*/ 191 w 596"/>
                  <a:gd name="T3" fmla="*/ 276 h 464"/>
                  <a:gd name="T4" fmla="*/ 229 w 596"/>
                  <a:gd name="T5" fmla="*/ 352 h 464"/>
                  <a:gd name="T6" fmla="*/ 118 w 596"/>
                  <a:gd name="T7" fmla="*/ 464 h 464"/>
                  <a:gd name="T8" fmla="*/ 0 w 596"/>
                  <a:gd name="T9" fmla="*/ 329 h 464"/>
                  <a:gd name="T10" fmla="*/ 202 w 596"/>
                  <a:gd name="T11" fmla="*/ 0 h 464"/>
                  <a:gd name="T12" fmla="*/ 253 w 596"/>
                  <a:gd name="T13" fmla="*/ 68 h 464"/>
                  <a:gd name="T14" fmla="*/ 196 w 596"/>
                  <a:gd name="T15" fmla="*/ 116 h 464"/>
                  <a:gd name="T16" fmla="*/ 154 w 596"/>
                  <a:gd name="T17" fmla="*/ 204 h 464"/>
                  <a:gd name="T18" fmla="*/ 538 w 596"/>
                  <a:gd name="T19" fmla="*/ 116 h 464"/>
                  <a:gd name="T20" fmla="*/ 596 w 596"/>
                  <a:gd name="T21" fmla="*/ 68 h 464"/>
                  <a:gd name="T22" fmla="*/ 545 w 596"/>
                  <a:gd name="T23" fmla="*/ 0 h 464"/>
                  <a:gd name="T24" fmla="*/ 343 w 596"/>
                  <a:gd name="T25" fmla="*/ 329 h 464"/>
                  <a:gd name="T26" fmla="*/ 461 w 596"/>
                  <a:gd name="T27" fmla="*/ 464 h 464"/>
                  <a:gd name="T28" fmla="*/ 571 w 596"/>
                  <a:gd name="T29" fmla="*/ 352 h 464"/>
                  <a:gd name="T30" fmla="*/ 534 w 596"/>
                  <a:gd name="T31" fmla="*/ 276 h 464"/>
                  <a:gd name="T32" fmla="*/ 497 w 596"/>
                  <a:gd name="T33" fmla="*/ 204 h 464"/>
                  <a:gd name="T34" fmla="*/ 538 w 596"/>
                  <a:gd name="T35" fmla="*/ 116 h 4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96" h="464">
                    <a:moveTo>
                      <a:pt x="154" y="204"/>
                    </a:moveTo>
                    <a:cubicBezTo>
                      <a:pt x="154" y="225"/>
                      <a:pt x="166" y="249"/>
                      <a:pt x="191" y="276"/>
                    </a:cubicBezTo>
                    <a:cubicBezTo>
                      <a:pt x="216" y="304"/>
                      <a:pt x="229" y="329"/>
                      <a:pt x="229" y="352"/>
                    </a:cubicBezTo>
                    <a:cubicBezTo>
                      <a:pt x="229" y="426"/>
                      <a:pt x="192" y="464"/>
                      <a:pt x="118" y="464"/>
                    </a:cubicBezTo>
                    <a:cubicBezTo>
                      <a:pt x="40" y="464"/>
                      <a:pt x="0" y="419"/>
                      <a:pt x="0" y="329"/>
                    </a:cubicBezTo>
                    <a:cubicBezTo>
                      <a:pt x="0" y="194"/>
                      <a:pt x="67" y="85"/>
                      <a:pt x="202" y="0"/>
                    </a:cubicBezTo>
                    <a:cubicBezTo>
                      <a:pt x="253" y="68"/>
                      <a:pt x="253" y="68"/>
                      <a:pt x="253" y="68"/>
                    </a:cubicBezTo>
                    <a:cubicBezTo>
                      <a:pt x="196" y="116"/>
                      <a:pt x="196" y="116"/>
                      <a:pt x="196" y="116"/>
                    </a:cubicBezTo>
                    <a:cubicBezTo>
                      <a:pt x="168" y="140"/>
                      <a:pt x="154" y="169"/>
                      <a:pt x="154" y="204"/>
                    </a:cubicBezTo>
                    <a:close/>
                    <a:moveTo>
                      <a:pt x="538" y="116"/>
                    </a:moveTo>
                    <a:cubicBezTo>
                      <a:pt x="596" y="68"/>
                      <a:pt x="596" y="68"/>
                      <a:pt x="596" y="68"/>
                    </a:cubicBezTo>
                    <a:cubicBezTo>
                      <a:pt x="545" y="0"/>
                      <a:pt x="545" y="0"/>
                      <a:pt x="545" y="0"/>
                    </a:cubicBezTo>
                    <a:cubicBezTo>
                      <a:pt x="410" y="85"/>
                      <a:pt x="343" y="194"/>
                      <a:pt x="343" y="329"/>
                    </a:cubicBezTo>
                    <a:cubicBezTo>
                      <a:pt x="343" y="419"/>
                      <a:pt x="382" y="464"/>
                      <a:pt x="461" y="464"/>
                    </a:cubicBezTo>
                    <a:cubicBezTo>
                      <a:pt x="534" y="464"/>
                      <a:pt x="571" y="426"/>
                      <a:pt x="571" y="352"/>
                    </a:cubicBezTo>
                    <a:cubicBezTo>
                      <a:pt x="571" y="329"/>
                      <a:pt x="559" y="304"/>
                      <a:pt x="534" y="276"/>
                    </a:cubicBezTo>
                    <a:cubicBezTo>
                      <a:pt x="509" y="249"/>
                      <a:pt x="497" y="225"/>
                      <a:pt x="497" y="204"/>
                    </a:cubicBezTo>
                    <a:cubicBezTo>
                      <a:pt x="497" y="169"/>
                      <a:pt x="511" y="140"/>
                      <a:pt x="538" y="11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solidFill>
                    <a:schemeClr val="bg1"/>
                  </a:solidFill>
                </a:endParaRPr>
              </a:p>
            </p:txBody>
          </p:sp>
        </p:grpSp>
      </p:grpSp>
      <p:sp>
        <p:nvSpPr>
          <p:cNvPr id="28" name="Rounded Rectangle 42">
            <a:extLst>
              <a:ext uri="{FF2B5EF4-FFF2-40B4-BE49-F238E27FC236}">
                <a16:creationId xmlns:a16="http://schemas.microsoft.com/office/drawing/2014/main" id="{DACC5B8A-8C7E-14CC-F38F-E2286B39E7AB}"/>
              </a:ext>
            </a:extLst>
          </p:cNvPr>
          <p:cNvSpPr/>
          <p:nvPr/>
        </p:nvSpPr>
        <p:spPr>
          <a:xfrm>
            <a:off x="928467" y="1110098"/>
            <a:ext cx="3522289" cy="400110"/>
          </a:xfrm>
          <a:prstGeom prst="rect">
            <a:avLst/>
          </a:prstGeom>
          <a:noFill/>
          <a:extLst>
            <a:ext uri="{909E8E84-426E-40DD-AFC4-6F175D3DCCD1}">
              <a14:hiddenFill xmlns:a14="http://schemas.microsoft.com/office/drawing/2010/main">
                <a:solidFill>
                  <a:schemeClr val="accent6">
                    <a:lumMod val="20000"/>
                    <a:lumOff val="80000"/>
                  </a:schemeClr>
                </a:solidFill>
              </a14:hiddenFill>
            </a:ext>
          </a:extLst>
        </p:spPr>
        <p:txBody>
          <a:bodyPr wrap="square">
            <a:spAutoFit/>
          </a:bodyPr>
          <a:lstStyle/>
          <a:p>
            <a:r>
              <a:rPr lang="en-US" sz="1000" b="1" spc="-40"/>
              <a:t>EU Chips Act aims to increase self-reliance on chips by mobilizing €43 billion in investments</a:t>
            </a:r>
            <a:endParaRPr lang="fi-FI" sz="1000" b="1" spc="-40"/>
          </a:p>
        </p:txBody>
      </p:sp>
      <p:pic>
        <p:nvPicPr>
          <p:cNvPr id="29" name="flag_spain">
            <a:extLst>
              <a:ext uri="{FF2B5EF4-FFF2-40B4-BE49-F238E27FC236}">
                <a16:creationId xmlns:a16="http://schemas.microsoft.com/office/drawing/2014/main" id="{5EBDD630-CC79-898E-3958-F7EB06A927EA}"/>
              </a:ext>
            </a:extLst>
          </p:cNvPr>
          <p:cNvPicPr>
            <a:picLocks noChangeAspect="1" noChangeArrowheads="1"/>
          </p:cNvPicPr>
          <p:nvPr/>
        </p:nvPicPr>
        <p:blipFill>
          <a:blip r:embed="rId3"/>
          <a:srcRect/>
          <a:stretch>
            <a:fillRect/>
          </a:stretch>
        </p:blipFill>
        <p:spPr bwMode="auto">
          <a:xfrm>
            <a:off x="4871165" y="2024947"/>
            <a:ext cx="297868" cy="198579"/>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pic>
        <p:nvPicPr>
          <p:cNvPr id="30" name="flag_spain">
            <a:extLst>
              <a:ext uri="{FF2B5EF4-FFF2-40B4-BE49-F238E27FC236}">
                <a16:creationId xmlns:a16="http://schemas.microsoft.com/office/drawing/2014/main" id="{48B55BCB-BFBF-022C-83CE-CCFCE6344DA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4871165" y="2461488"/>
            <a:ext cx="297868" cy="197722"/>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pic>
        <p:nvPicPr>
          <p:cNvPr id="31" name="flag_spain">
            <a:extLst>
              <a:ext uri="{FF2B5EF4-FFF2-40B4-BE49-F238E27FC236}">
                <a16:creationId xmlns:a16="http://schemas.microsoft.com/office/drawing/2014/main" id="{85E36B1D-3226-2949-7702-238129BF80F7}"/>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p:blipFill>
        <p:spPr bwMode="auto">
          <a:xfrm>
            <a:off x="4871165" y="2897172"/>
            <a:ext cx="297227" cy="198579"/>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pic>
        <p:nvPicPr>
          <p:cNvPr id="32" name="flag_spain">
            <a:extLst>
              <a:ext uri="{FF2B5EF4-FFF2-40B4-BE49-F238E27FC236}">
                <a16:creationId xmlns:a16="http://schemas.microsoft.com/office/drawing/2014/main" id="{D1D96AE3-997E-ED90-5B94-3935D19D4A43}"/>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p:blipFill>
        <p:spPr bwMode="auto">
          <a:xfrm>
            <a:off x="4871165" y="3333713"/>
            <a:ext cx="297868" cy="197722"/>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pic>
        <p:nvPicPr>
          <p:cNvPr id="33" name="flag_spain">
            <a:extLst>
              <a:ext uri="{FF2B5EF4-FFF2-40B4-BE49-F238E27FC236}">
                <a16:creationId xmlns:a16="http://schemas.microsoft.com/office/drawing/2014/main" id="{00E1F7C1-1B80-403E-7B40-9A392D018A70}"/>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p:blipFill>
        <p:spPr bwMode="auto">
          <a:xfrm>
            <a:off x="4871165" y="4205082"/>
            <a:ext cx="297868" cy="197722"/>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pic>
        <p:nvPicPr>
          <p:cNvPr id="34" name="flag_spain">
            <a:extLst>
              <a:ext uri="{FF2B5EF4-FFF2-40B4-BE49-F238E27FC236}">
                <a16:creationId xmlns:a16="http://schemas.microsoft.com/office/drawing/2014/main" id="{393ACD1A-C0BC-B29C-A5CB-E36D0BC47F10}"/>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p:blipFill>
        <p:spPr bwMode="auto">
          <a:xfrm>
            <a:off x="4871165" y="3769397"/>
            <a:ext cx="297868" cy="197722"/>
          </a:xfrm>
          <a:prstGeom prst="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a:extLst>
            <a:ext uri="{91240B29-F687-4F45-9708-019B960494DF}">
              <a14:hiddenLine xmlns:a14="http://schemas.microsoft.com/office/drawing/2010/main" w="9525" cap="flat" cmpd="sng" algn="ctr">
                <a:solidFill>
                  <a:srgbClr val="9A9A9A"/>
                </a:solidFill>
                <a:prstDash val="solid"/>
                <a:round/>
                <a:headEnd type="none" w="med" len="med"/>
                <a:tailEnd type="none" w="med" len="med"/>
              </a14:hiddenLine>
            </a:ext>
          </a:extLst>
        </p:spPr>
      </p:pic>
    </p:spTree>
    <p:extLst>
      <p:ext uri="{BB962C8B-B14F-4D97-AF65-F5344CB8AC3E}">
        <p14:creationId xmlns:p14="http://schemas.microsoft.com/office/powerpoint/2010/main" val="2775471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7DAFC8-E43F-B664-298B-52B12FD413D3}"/>
              </a:ext>
            </a:extLst>
          </p:cNvPr>
          <p:cNvSpPr>
            <a:spLocks noGrp="1"/>
          </p:cNvSpPr>
          <p:nvPr>
            <p:ph type="body" sz="quarter" idx="15"/>
          </p:nvPr>
        </p:nvSpPr>
        <p:spPr/>
        <p:txBody>
          <a:bodyPr/>
          <a:lstStyle/>
          <a:p>
            <a:pPr marL="21600"/>
            <a:r>
              <a:rPr lang="en-US" sz="2400" b="1" dirty="0"/>
              <a:t>Finland as part of the global industry</a:t>
            </a:r>
          </a:p>
        </p:txBody>
      </p:sp>
      <p:sp>
        <p:nvSpPr>
          <p:cNvPr id="2" name="Slide Number Placeholder 1">
            <a:extLst>
              <a:ext uri="{FF2B5EF4-FFF2-40B4-BE49-F238E27FC236}">
                <a16:creationId xmlns:a16="http://schemas.microsoft.com/office/drawing/2014/main" id="{71BBAD17-DC65-091A-7D06-4F91B719CB49}"/>
              </a:ext>
            </a:extLst>
          </p:cNvPr>
          <p:cNvSpPr>
            <a:spLocks noGrp="1"/>
          </p:cNvSpPr>
          <p:nvPr>
            <p:ph type="sldNum" sz="quarter" idx="12"/>
          </p:nvPr>
        </p:nvSpPr>
        <p:spPr/>
        <p:txBody>
          <a:bodyPr/>
          <a:lstStyle/>
          <a:p>
            <a:fld id="{6FCB6B90-8271-4E8F-82C1-E646FBB48A2E}" type="slidenum">
              <a:rPr lang="en-US" smtClean="0"/>
              <a:pPr/>
              <a:t>11</a:t>
            </a:fld>
            <a:endParaRPr lang="en-US"/>
          </a:p>
        </p:txBody>
      </p:sp>
      <p:sp>
        <p:nvSpPr>
          <p:cNvPr id="3" name="Date Placeholder 2">
            <a:extLst>
              <a:ext uri="{FF2B5EF4-FFF2-40B4-BE49-F238E27FC236}">
                <a16:creationId xmlns:a16="http://schemas.microsoft.com/office/drawing/2014/main" id="{F462CA51-9EAF-985A-38ED-2C060F44855E}"/>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F9400000-C18F-D4D7-8C99-C8F6546F8E1F}"/>
              </a:ext>
            </a:extLst>
          </p:cNvPr>
          <p:cNvSpPr>
            <a:spLocks noGrp="1"/>
          </p:cNvSpPr>
          <p:nvPr>
            <p:ph type="ftr" sz="quarter" idx="11"/>
          </p:nvPr>
        </p:nvSpPr>
        <p:spPr/>
        <p:txBody>
          <a:bodyPr/>
          <a:lstStyle/>
          <a:p>
            <a:r>
              <a:rPr lang="en-US"/>
              <a:t>Technology Industries of Finland</a:t>
            </a:r>
          </a:p>
        </p:txBody>
      </p:sp>
    </p:spTree>
    <p:extLst>
      <p:ext uri="{BB962C8B-B14F-4D97-AF65-F5344CB8AC3E}">
        <p14:creationId xmlns:p14="http://schemas.microsoft.com/office/powerpoint/2010/main" val="6475257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7" name="think-cell data - do not delete" hidden="1">
            <a:extLst>
              <a:ext uri="{FF2B5EF4-FFF2-40B4-BE49-F238E27FC236}">
                <a16:creationId xmlns:a16="http://schemas.microsoft.com/office/drawing/2014/main" id="{04FAAC7D-6ACE-FFE3-5C6A-3BD0ADCB9AB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67" name="think-cell data - do not delete" hidden="1">
                        <a:extLst>
                          <a:ext uri="{FF2B5EF4-FFF2-40B4-BE49-F238E27FC236}">
                            <a16:creationId xmlns:a16="http://schemas.microsoft.com/office/drawing/2014/main" id="{04FAAC7D-6ACE-FFE3-5C6A-3BD0ADCB9AB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p:txBody>
          <a:bodyPr/>
          <a:lstStyle/>
          <a:p>
            <a:fld id="{6FCB6B90-8271-4E8F-82C1-E646FBB48A2E}" type="slidenum">
              <a:rPr lang="en-US" smtClean="0"/>
              <a:pPr/>
              <a:t>12</a:t>
            </a:fld>
            <a:endParaRPr lang="en-US"/>
          </a:p>
        </p:txBody>
      </p:sp>
      <p:sp>
        <p:nvSpPr>
          <p:cNvPr id="3" name="Date Placeholder 2">
            <a:extLst>
              <a:ext uri="{FF2B5EF4-FFF2-40B4-BE49-F238E27FC236}">
                <a16:creationId xmlns:a16="http://schemas.microsoft.com/office/drawing/2014/main" id="{18FF0807-DAF8-B85E-04CD-C4F80F1262E3}"/>
              </a:ext>
            </a:extLst>
          </p:cNvPr>
          <p:cNvSpPr>
            <a:spLocks noGrp="1"/>
          </p:cNvSpPr>
          <p:nvPr>
            <p:ph type="dt" sz="half" idx="10"/>
          </p:nvPr>
        </p:nvSpPr>
        <p:spPr/>
        <p:txBody>
          <a:bodyPr/>
          <a:lstStyle/>
          <a:p>
            <a:fld id="{BFBA45B5-99AE-4DC6-AE90-F0CC4C496FAF}" type="datetime1">
              <a:rPr lang="en-US" smtClean="0">
                <a:latin typeface="+mn-lt"/>
              </a:rPr>
              <a:pPr/>
              <a:t>4/9/2024</a:t>
            </a:fld>
            <a:endParaRPr lang="en-US">
              <a:latin typeface="+mn-lt"/>
            </a:endParaRPr>
          </a:p>
        </p:txBody>
      </p:sp>
      <p:sp>
        <p:nvSpPr>
          <p:cNvPr id="4" name="Footer Placeholder 3">
            <a:extLst>
              <a:ext uri="{FF2B5EF4-FFF2-40B4-BE49-F238E27FC236}">
                <a16:creationId xmlns:a16="http://schemas.microsoft.com/office/drawing/2014/main" id="{D621C63B-DC3F-9AB3-994A-92E4128610F0}"/>
              </a:ext>
            </a:extLst>
          </p:cNvPr>
          <p:cNvSpPr>
            <a:spLocks noGrp="1"/>
          </p:cNvSpPr>
          <p:nvPr>
            <p:ph type="ftr" sz="quarter" idx="11"/>
          </p:nvPr>
        </p:nvSpPr>
        <p:spPr/>
        <p:txBody>
          <a:bodyPr/>
          <a:lstStyle/>
          <a:p>
            <a:r>
              <a:rPr lang="en-US">
                <a:latin typeface="+mn-lt"/>
              </a:rPr>
              <a:t>Technology Industries of Finland</a:t>
            </a:r>
          </a:p>
        </p:txBody>
      </p:sp>
      <p:pic>
        <p:nvPicPr>
          <p:cNvPr id="5" name="Picture 4">
            <a:extLst>
              <a:ext uri="{FF2B5EF4-FFF2-40B4-BE49-F238E27FC236}">
                <a16:creationId xmlns:a16="http://schemas.microsoft.com/office/drawing/2014/main" id="{BC97349F-D566-0BF1-967B-BA12EF984D6D}"/>
              </a:ext>
            </a:extLst>
          </p:cNvPr>
          <p:cNvPicPr>
            <a:picLocks noChangeAspect="1"/>
          </p:cNvPicPr>
          <p:nvPr/>
        </p:nvPicPr>
        <p:blipFill rotWithShape="1">
          <a:blip r:embed="rId6">
            <a:extLst>
              <a:ext uri="{28A0092B-C50C-407E-A947-70E740481C1C}">
                <a14:useLocalDpi xmlns:a14="http://schemas.microsoft.com/office/drawing/2010/main" val="0"/>
              </a:ext>
            </a:extLst>
          </a:blip>
          <a:srcRect r="55698"/>
          <a:stretch/>
        </p:blipFill>
        <p:spPr>
          <a:xfrm>
            <a:off x="0" y="0"/>
            <a:ext cx="3061684" cy="5157312"/>
          </a:xfrm>
          <a:prstGeom prst="rect">
            <a:avLst/>
          </a:prstGeom>
        </p:spPr>
      </p:pic>
      <p:sp>
        <p:nvSpPr>
          <p:cNvPr id="6" name="Rectangle 5">
            <a:extLst>
              <a:ext uri="{FF2B5EF4-FFF2-40B4-BE49-F238E27FC236}">
                <a16:creationId xmlns:a16="http://schemas.microsoft.com/office/drawing/2014/main" id="{589378CD-52C8-6163-41D7-184EB71CE89A}"/>
              </a:ext>
            </a:extLst>
          </p:cNvPr>
          <p:cNvSpPr/>
          <p:nvPr/>
        </p:nvSpPr>
        <p:spPr>
          <a:xfrm>
            <a:off x="0" y="-8736"/>
            <a:ext cx="3062133" cy="5152236"/>
          </a:xfrm>
          <a:prstGeom prst="rect">
            <a:avLst/>
          </a:prstGeom>
          <a:solidFill>
            <a:srgbClr val="3078B3">
              <a:alpha val="80000"/>
            </a:srgbClr>
          </a:solidFill>
          <a:ln w="9525" cap="flat" cmpd="sng" algn="ctr">
            <a:solidFill>
              <a:srgbClr val="0070C0"/>
            </a:solidFill>
            <a:prstDash val="solid"/>
            <a:round/>
            <a:headEnd type="none" w="med" len="med"/>
            <a:tailEnd type="none" w="med" len="med"/>
          </a:ln>
        </p:spPr>
        <p:txBody>
          <a:bodyPr vert="horz" wrap="square" lIns="91440" tIns="45720" rIns="91440" bIns="45720" numCol="1" rtlCol="0" anchor="ctr" anchorCtr="0" compatLnSpc="1">
            <a:prstTxWarp prst="textNoShape">
              <a:avLst/>
            </a:prstTxWarp>
          </a:bodyPr>
          <a:lstStyle/>
          <a:p>
            <a:pPr algn="ctr"/>
            <a:endParaRPr lang="en-US" sz="1000" b="1" spc="-40">
              <a:solidFill>
                <a:srgbClr val="FFFFFF"/>
              </a:solidFill>
            </a:endParaRPr>
          </a:p>
        </p:txBody>
      </p:sp>
      <p:sp>
        <p:nvSpPr>
          <p:cNvPr id="7" name="Title 1">
            <a:extLst>
              <a:ext uri="{FF2B5EF4-FFF2-40B4-BE49-F238E27FC236}">
                <a16:creationId xmlns:a16="http://schemas.microsoft.com/office/drawing/2014/main" id="{4408E651-160C-1E66-D23C-D59C1CAF0B33}"/>
              </a:ext>
            </a:extLst>
          </p:cNvPr>
          <p:cNvSpPr txBox="1">
            <a:spLocks/>
          </p:cNvSpPr>
          <p:nvPr/>
        </p:nvSpPr>
        <p:spPr>
          <a:xfrm>
            <a:off x="3191119" y="290513"/>
            <a:ext cx="5153956" cy="517655"/>
          </a:xfrm>
          <a:prstGeom prst="rect">
            <a:avLst/>
          </a:prstGeom>
        </p:spPr>
        <p:txBody>
          <a:bodyPr vert="horz" lIns="91440" tIns="45720" rIns="91440" bIns="45720" rtlCol="0" anchor="t">
            <a:normAutofit fontScale="92500"/>
          </a:bodyPr>
          <a:lst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a:lstStyle>
          <a:p>
            <a:pPr>
              <a:lnSpc>
                <a:spcPts val="1600"/>
              </a:lnSpc>
            </a:pPr>
            <a:r>
              <a:rPr lang="en-US" sz="1400" dirty="0">
                <a:solidFill>
                  <a:schemeClr val="tx1"/>
                </a:solidFill>
                <a:latin typeface="+mn-lt"/>
              </a:rPr>
              <a:t>Finland is strong in specific semiconductor segments, supported by research, education, and infrastructure</a:t>
            </a:r>
          </a:p>
        </p:txBody>
      </p:sp>
      <p:sp>
        <p:nvSpPr>
          <p:cNvPr id="8" name="Rectangle 7">
            <a:extLst>
              <a:ext uri="{FF2B5EF4-FFF2-40B4-BE49-F238E27FC236}">
                <a16:creationId xmlns:a16="http://schemas.microsoft.com/office/drawing/2014/main" id="{531FDD43-1D1A-AA1C-C408-BC8C5ACE26DF}"/>
              </a:ext>
            </a:extLst>
          </p:cNvPr>
          <p:cNvSpPr/>
          <p:nvPr/>
        </p:nvSpPr>
        <p:spPr>
          <a:xfrm>
            <a:off x="3244795" y="913652"/>
            <a:ext cx="5518205" cy="3436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000" b="1" spc="-40">
                <a:solidFill>
                  <a:srgbClr val="3078B3"/>
                </a:solidFill>
              </a:rPr>
              <a:t>Finnish semiconductor industry companies, products and employees	</a:t>
            </a:r>
          </a:p>
        </p:txBody>
      </p:sp>
      <p:pic>
        <p:nvPicPr>
          <p:cNvPr id="9" name="Picture 8" descr="Mectalent – Photonics Finland">
            <a:extLst>
              <a:ext uri="{FF2B5EF4-FFF2-40B4-BE49-F238E27FC236}">
                <a16:creationId xmlns:a16="http://schemas.microsoft.com/office/drawing/2014/main" id="{42897A8E-E814-AD5D-1817-AD82D842E4A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742511" y="2403195"/>
            <a:ext cx="293438" cy="28003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Okmetic Oy - iRel40">
            <a:extLst>
              <a:ext uri="{FF2B5EF4-FFF2-40B4-BE49-F238E27FC236}">
                <a16:creationId xmlns:a16="http://schemas.microsoft.com/office/drawing/2014/main" id="{EA66A170-868C-2292-E7FC-8CB59FDED9D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4207704" y="2313632"/>
            <a:ext cx="336379" cy="134552"/>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8" descr="Silicon Labs - Wikipedia">
            <a:extLst>
              <a:ext uri="{FF2B5EF4-FFF2-40B4-BE49-F238E27FC236}">
                <a16:creationId xmlns:a16="http://schemas.microsoft.com/office/drawing/2014/main" id="{76E55EE1-A3A4-C847-8FE2-9792D4D03F8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451978" y="2320497"/>
            <a:ext cx="234225" cy="12082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Detection Technology – Global provider of X-ray imaging solutions">
            <a:extLst>
              <a:ext uri="{FF2B5EF4-FFF2-40B4-BE49-F238E27FC236}">
                <a16:creationId xmlns:a16="http://schemas.microsoft.com/office/drawing/2014/main" id="{C87A76AE-457E-932D-6800-D86CD7DFDDCE}"/>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177952" y="2416113"/>
            <a:ext cx="402720" cy="254199"/>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6">
            <a:extLst>
              <a:ext uri="{FF2B5EF4-FFF2-40B4-BE49-F238E27FC236}">
                <a16:creationId xmlns:a16="http://schemas.microsoft.com/office/drawing/2014/main" id="{A066D471-C944-6612-AD6C-32263857E231}"/>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641325" y="2504816"/>
            <a:ext cx="310325" cy="66187"/>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2" descr="OPTOFIDELITY VLOGO2016 RGB - Suomen Teollisuussijoitus Oy">
            <a:extLst>
              <a:ext uri="{FF2B5EF4-FFF2-40B4-BE49-F238E27FC236}">
                <a16:creationId xmlns:a16="http://schemas.microsoft.com/office/drawing/2014/main" id="{F0D70ECB-B9C2-25A2-F336-61EA85E4739D}"/>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767698" y="2295132"/>
            <a:ext cx="392117" cy="17155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Fabless waveguide supplier | Dispelix">
            <a:extLst>
              <a:ext uri="{FF2B5EF4-FFF2-40B4-BE49-F238E27FC236}">
                <a16:creationId xmlns:a16="http://schemas.microsoft.com/office/drawing/2014/main" id="{BC362C74-6941-FED4-A2E3-10D03385F554}"/>
              </a:ext>
            </a:extLst>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241310" y="2348477"/>
            <a:ext cx="307932" cy="64861"/>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4" descr="AEM Afore Oy | LinkedIn">
            <a:extLst>
              <a:ext uri="{FF2B5EF4-FFF2-40B4-BE49-F238E27FC236}">
                <a16:creationId xmlns:a16="http://schemas.microsoft.com/office/drawing/2014/main" id="{48561D4C-FE4F-AC7C-E22B-81D1C6EA6A2F}"/>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457071" y="2433240"/>
            <a:ext cx="219946" cy="219946"/>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2">
            <a:extLst>
              <a:ext uri="{FF2B5EF4-FFF2-40B4-BE49-F238E27FC236}">
                <a16:creationId xmlns:a16="http://schemas.microsoft.com/office/drawing/2014/main" id="{5DFAED92-0DBB-9F6E-DD57-51B75252F788}"/>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415614" y="2497374"/>
            <a:ext cx="335282" cy="91679"/>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4" descr="Murata Electronics (Finland) - Wikipedia">
            <a:extLst>
              <a:ext uri="{FF2B5EF4-FFF2-40B4-BE49-F238E27FC236}">
                <a16:creationId xmlns:a16="http://schemas.microsoft.com/office/drawing/2014/main" id="{0BE2240E-9CC3-FCD2-22E6-EEC36AA86F83}"/>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792667" y="2301135"/>
            <a:ext cx="333542" cy="159544"/>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6">
            <a:extLst>
              <a:ext uri="{FF2B5EF4-FFF2-40B4-BE49-F238E27FC236}">
                <a16:creationId xmlns:a16="http://schemas.microsoft.com/office/drawing/2014/main" id="{8113D31D-6AAD-BF9E-6FCD-18FE1360C808}"/>
              </a:ext>
            </a:extLst>
          </p:cNvPr>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8101449" y="2505409"/>
            <a:ext cx="301016" cy="75607"/>
          </a:xfrm>
          <a:prstGeom prst="rect">
            <a:avLst/>
          </a:prstGeom>
          <a:noFill/>
          <a:extLst>
            <a:ext uri="{909E8E84-426E-40DD-AFC4-6F175D3DCCD1}">
              <a14:hiddenFill xmlns:a14="http://schemas.microsoft.com/office/drawing/2010/main">
                <a:solidFill>
                  <a:srgbClr val="FFFFFF"/>
                </a:solidFill>
              </a14:hiddenFill>
            </a:ext>
          </a:extLst>
        </p:spPr>
      </p:pic>
      <p:pic>
        <p:nvPicPr>
          <p:cNvPr id="21" name="Picture 4">
            <a:extLst>
              <a:ext uri="{FF2B5EF4-FFF2-40B4-BE49-F238E27FC236}">
                <a16:creationId xmlns:a16="http://schemas.microsoft.com/office/drawing/2014/main" id="{74BE8022-5D8F-0B6D-F595-62316EA15575}"/>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3816390" y="2498475"/>
            <a:ext cx="355680" cy="89476"/>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12">
            <a:extLst>
              <a:ext uri="{FF2B5EF4-FFF2-40B4-BE49-F238E27FC236}">
                <a16:creationId xmlns:a16="http://schemas.microsoft.com/office/drawing/2014/main" id="{404200F1-0174-24FB-7949-61B0FE38A857}"/>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5658465" y="2321462"/>
            <a:ext cx="333542" cy="118892"/>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22">
            <a:extLst>
              <a:ext uri="{FF2B5EF4-FFF2-40B4-BE49-F238E27FC236}">
                <a16:creationId xmlns:a16="http://schemas.microsoft.com/office/drawing/2014/main" id="{B0177FB2-965E-D812-6A5C-FAD8D8AF44DD}"/>
              </a:ext>
            </a:extLst>
          </p:cNvPr>
          <p:cNvPicPr>
            <a:picLocks noChangeAspect="1"/>
          </p:cNvPicPr>
          <p:nvPr/>
        </p:nvPicPr>
        <p:blipFill>
          <a:blip r:embed="rId20"/>
          <a:stretch>
            <a:fillRect/>
          </a:stretch>
        </p:blipFill>
        <p:spPr>
          <a:xfrm>
            <a:off x="7630737" y="2330442"/>
            <a:ext cx="384563" cy="100930"/>
          </a:xfrm>
          <a:prstGeom prst="rect">
            <a:avLst/>
          </a:prstGeom>
        </p:spPr>
      </p:pic>
      <p:pic>
        <p:nvPicPr>
          <p:cNvPr id="24" name="Picture 2">
            <a:extLst>
              <a:ext uri="{FF2B5EF4-FFF2-40B4-BE49-F238E27FC236}">
                <a16:creationId xmlns:a16="http://schemas.microsoft.com/office/drawing/2014/main" id="{C6FEC44A-7E4C-6DA0-28DC-167FE35AD2BE}"/>
              </a:ext>
            </a:extLst>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237564" y="2455258"/>
            <a:ext cx="173180" cy="175909"/>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
            <a:extLst>
              <a:ext uri="{FF2B5EF4-FFF2-40B4-BE49-F238E27FC236}">
                <a16:creationId xmlns:a16="http://schemas.microsoft.com/office/drawing/2014/main" id="{558B7099-8E7A-7BBF-D307-23A47485DE76}"/>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4625578" y="2337696"/>
            <a:ext cx="298172" cy="86423"/>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6" descr="Intel Logo transparent PNG - StickPNG">
            <a:extLst>
              <a:ext uri="{FF2B5EF4-FFF2-40B4-BE49-F238E27FC236}">
                <a16:creationId xmlns:a16="http://schemas.microsoft.com/office/drawing/2014/main" id="{80762608-8624-D451-2673-B9DAE6017ACC}"/>
              </a:ext>
            </a:extLst>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4912468" y="2477333"/>
            <a:ext cx="199990" cy="13176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2" descr="Senop-logo - PhotonicSweden">
            <a:extLst>
              <a:ext uri="{FF2B5EF4-FFF2-40B4-BE49-F238E27FC236}">
                <a16:creationId xmlns:a16="http://schemas.microsoft.com/office/drawing/2014/main" id="{FE9FA0E9-0BE0-E915-788F-2DDB3F20C2E8}"/>
              </a:ext>
            </a:extLst>
          </p:cNvPr>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773033" y="2505250"/>
            <a:ext cx="231247" cy="75926"/>
          </a:xfrm>
          <a:prstGeom prst="rect">
            <a:avLst/>
          </a:prstGeom>
          <a:noFill/>
          <a:extLst>
            <a:ext uri="{909E8E84-426E-40DD-AFC4-6F175D3DCCD1}">
              <a14:hiddenFill xmlns:a14="http://schemas.microsoft.com/office/drawing/2010/main">
                <a:solidFill>
                  <a:srgbClr val="FFFFFF"/>
                </a:solidFill>
              </a14:hiddenFill>
            </a:ext>
          </a:extLst>
        </p:spPr>
      </p:pic>
      <p:pic>
        <p:nvPicPr>
          <p:cNvPr id="28" name="Picture 12" descr="IQM Finland Oy | Ins-news">
            <a:extLst>
              <a:ext uri="{FF2B5EF4-FFF2-40B4-BE49-F238E27FC236}">
                <a16:creationId xmlns:a16="http://schemas.microsoft.com/office/drawing/2014/main" id="{B1EAB66A-3B9D-4553-F896-8C74848CA1E9}"/>
              </a:ext>
            </a:extLst>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363894" y="2343162"/>
            <a:ext cx="213076" cy="75492"/>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14" descr="MediaTek Logo / Electronics / Logonoid.com">
            <a:extLst>
              <a:ext uri="{FF2B5EF4-FFF2-40B4-BE49-F238E27FC236}">
                <a16:creationId xmlns:a16="http://schemas.microsoft.com/office/drawing/2014/main" id="{48641D91-FE36-2141-A18E-B69AF13C542B}"/>
              </a:ext>
            </a:extLst>
          </p:cNvPr>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6374779" y="2523413"/>
            <a:ext cx="332760" cy="39599"/>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16" descr="Canatu – Future Mobility Finland">
            <a:extLst>
              <a:ext uri="{FF2B5EF4-FFF2-40B4-BE49-F238E27FC236}">
                <a16:creationId xmlns:a16="http://schemas.microsoft.com/office/drawing/2014/main" id="{6A4D4B28-4B78-9613-48DD-AA6EF96AAC4A}"/>
              </a:ext>
            </a:extLst>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6012304" y="2497970"/>
            <a:ext cx="296981" cy="90486"/>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30">
            <a:extLst>
              <a:ext uri="{FF2B5EF4-FFF2-40B4-BE49-F238E27FC236}">
                <a16:creationId xmlns:a16="http://schemas.microsoft.com/office/drawing/2014/main" id="{91B1C94D-08C8-412A-AC4B-8E8A61325D85}"/>
              </a:ext>
            </a:extLst>
          </p:cNvPr>
          <p:cNvPicPr>
            <a:picLocks noChangeAspect="1"/>
          </p:cNvPicPr>
          <p:nvPr/>
        </p:nvPicPr>
        <p:blipFill>
          <a:blip r:embed="rId28"/>
          <a:stretch>
            <a:fillRect/>
          </a:stretch>
        </p:blipFill>
        <p:spPr>
          <a:xfrm>
            <a:off x="6073502" y="2338347"/>
            <a:ext cx="296981" cy="85122"/>
          </a:xfrm>
          <a:prstGeom prst="rect">
            <a:avLst/>
          </a:prstGeom>
        </p:spPr>
      </p:pic>
      <p:pic>
        <p:nvPicPr>
          <p:cNvPr id="32" name="Picture 2">
            <a:extLst>
              <a:ext uri="{FF2B5EF4-FFF2-40B4-BE49-F238E27FC236}">
                <a16:creationId xmlns:a16="http://schemas.microsoft.com/office/drawing/2014/main" id="{CFF8BD2F-2BB9-A101-355C-CEAAEA21A903}"/>
              </a:ext>
            </a:extLst>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4476238" y="2499420"/>
            <a:ext cx="370736" cy="87587"/>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a:extLst>
              <a:ext uri="{FF2B5EF4-FFF2-40B4-BE49-F238E27FC236}">
                <a16:creationId xmlns:a16="http://schemas.microsoft.com/office/drawing/2014/main" id="{64058CF7-24FF-55EF-DA56-B86C14C1A4B4}"/>
              </a:ext>
            </a:extLst>
          </p:cNvPr>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3414008" y="2345967"/>
            <a:ext cx="297164" cy="6988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a:extLst>
              <a:ext uri="{FF2B5EF4-FFF2-40B4-BE49-F238E27FC236}">
                <a16:creationId xmlns:a16="http://schemas.microsoft.com/office/drawing/2014/main" id="{86A06365-AE9C-6B74-0FA2-187F6397A0C8}"/>
              </a:ext>
            </a:extLst>
          </p:cNvPr>
          <p:cNvSpPr txBox="1"/>
          <p:nvPr/>
        </p:nvSpPr>
        <p:spPr>
          <a:xfrm>
            <a:off x="3292842" y="2150317"/>
            <a:ext cx="5052232" cy="103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en-US"/>
            </a:defPPr>
            <a:lvl1pPr>
              <a:defRPr sz="1000" b="1">
                <a:solidFill>
                  <a:srgbClr val="575757"/>
                </a:solidFill>
              </a:defRPr>
            </a:lvl1pPr>
          </a:lstStyle>
          <a:p>
            <a:r>
              <a:rPr lang="en-US" sz="700">
                <a:solidFill>
                  <a:srgbClr val="555D6A"/>
                </a:solidFill>
              </a:rPr>
              <a:t>Example of companies operating in semiconductor industry in Finland</a:t>
            </a:r>
          </a:p>
        </p:txBody>
      </p:sp>
      <p:pic>
        <p:nvPicPr>
          <p:cNvPr id="35" name="Picture 2">
            <a:extLst>
              <a:ext uri="{FF2B5EF4-FFF2-40B4-BE49-F238E27FC236}">
                <a16:creationId xmlns:a16="http://schemas.microsoft.com/office/drawing/2014/main" id="{B6F98957-BB43-05A2-F1D2-6A21C150538A}"/>
              </a:ext>
            </a:extLst>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3470865" y="4167545"/>
            <a:ext cx="276956" cy="230797"/>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4" descr="VTT Technical Research Centre of Finland - Wikipedia">
            <a:extLst>
              <a:ext uri="{FF2B5EF4-FFF2-40B4-BE49-F238E27FC236}">
                <a16:creationId xmlns:a16="http://schemas.microsoft.com/office/drawing/2014/main" id="{F2478E5D-5A5B-0792-D431-8B6486C9F615}"/>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6246011" y="4192312"/>
            <a:ext cx="271463" cy="182296"/>
          </a:xfrm>
          <a:prstGeom prst="rect">
            <a:avLst/>
          </a:prstGeom>
          <a:noFill/>
          <a:extLst>
            <a:ext uri="{909E8E84-426E-40DD-AFC4-6F175D3DCCD1}">
              <a14:hiddenFill xmlns:a14="http://schemas.microsoft.com/office/drawing/2010/main">
                <a:solidFill>
                  <a:srgbClr val="FFFFFF"/>
                </a:solidFill>
              </a14:hiddenFill>
            </a:ext>
          </a:extLst>
        </p:spPr>
      </p:pic>
      <p:pic>
        <p:nvPicPr>
          <p:cNvPr id="37" name="Picture 2" descr="University of Helsinki - Wikipedia">
            <a:extLst>
              <a:ext uri="{FF2B5EF4-FFF2-40B4-BE49-F238E27FC236}">
                <a16:creationId xmlns:a16="http://schemas.microsoft.com/office/drawing/2014/main" id="{3C5BC96F-DEC9-5DE9-BC48-75BC48E9AD81}"/>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5919756" y="4150135"/>
            <a:ext cx="246702" cy="26314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2" descr="University of Eastern Finland | Study in Finland">
            <a:extLst>
              <a:ext uri="{FF2B5EF4-FFF2-40B4-BE49-F238E27FC236}">
                <a16:creationId xmlns:a16="http://schemas.microsoft.com/office/drawing/2014/main" id="{09677ECA-BA46-BC46-1113-96B8B964622F}"/>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4604938" y="4178762"/>
            <a:ext cx="396266" cy="208360"/>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38">
            <a:extLst>
              <a:ext uri="{FF2B5EF4-FFF2-40B4-BE49-F238E27FC236}">
                <a16:creationId xmlns:a16="http://schemas.microsoft.com/office/drawing/2014/main" id="{AB59A59E-A687-AC15-50A6-53A1C9E3144C}"/>
              </a:ext>
            </a:extLst>
          </p:cNvPr>
          <p:cNvPicPr>
            <a:picLocks noChangeAspect="1"/>
          </p:cNvPicPr>
          <p:nvPr/>
        </p:nvPicPr>
        <p:blipFill>
          <a:blip r:embed="rId35"/>
          <a:stretch>
            <a:fillRect/>
          </a:stretch>
        </p:blipFill>
        <p:spPr>
          <a:xfrm>
            <a:off x="7104034" y="4241478"/>
            <a:ext cx="462324" cy="80460"/>
          </a:xfrm>
          <a:prstGeom prst="rect">
            <a:avLst/>
          </a:prstGeom>
        </p:spPr>
      </p:pic>
      <p:pic>
        <p:nvPicPr>
          <p:cNvPr id="40" name="Picture 4" descr="FIQCI_text">
            <a:extLst>
              <a:ext uri="{FF2B5EF4-FFF2-40B4-BE49-F238E27FC236}">
                <a16:creationId xmlns:a16="http://schemas.microsoft.com/office/drawing/2014/main" id="{3AF2C0CA-290A-0752-64B9-A463BD89A72C}"/>
              </a:ext>
            </a:extLst>
          </p:cNvPr>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7931834" y="4131967"/>
            <a:ext cx="523605" cy="301946"/>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a:extLst>
              <a:ext uri="{FF2B5EF4-FFF2-40B4-BE49-F238E27FC236}">
                <a16:creationId xmlns:a16="http://schemas.microsoft.com/office/drawing/2014/main" id="{CCDA6E43-DD42-450B-F00F-F364B32387A6}"/>
              </a:ext>
            </a:extLst>
          </p:cNvPr>
          <p:cNvPicPr>
            <a:picLocks noChangeAspect="1"/>
          </p:cNvPicPr>
          <p:nvPr/>
        </p:nvPicPr>
        <p:blipFill>
          <a:blip r:embed="rId37"/>
          <a:stretch>
            <a:fillRect/>
          </a:stretch>
        </p:blipFill>
        <p:spPr>
          <a:xfrm>
            <a:off x="7570240" y="4189086"/>
            <a:ext cx="421671" cy="140557"/>
          </a:xfrm>
          <a:prstGeom prst="rect">
            <a:avLst/>
          </a:prstGeom>
        </p:spPr>
      </p:pic>
      <p:pic>
        <p:nvPicPr>
          <p:cNvPr id="42" name="Picture 41">
            <a:extLst>
              <a:ext uri="{FF2B5EF4-FFF2-40B4-BE49-F238E27FC236}">
                <a16:creationId xmlns:a16="http://schemas.microsoft.com/office/drawing/2014/main" id="{1079199E-CCB8-182F-7161-9270209E987A}"/>
              </a:ext>
            </a:extLst>
          </p:cNvPr>
          <p:cNvPicPr>
            <a:picLocks noChangeAspect="1"/>
          </p:cNvPicPr>
          <p:nvPr/>
        </p:nvPicPr>
        <p:blipFill>
          <a:blip r:embed="rId38"/>
          <a:stretch>
            <a:fillRect/>
          </a:stretch>
        </p:blipFill>
        <p:spPr>
          <a:xfrm>
            <a:off x="6616659" y="4183372"/>
            <a:ext cx="424169" cy="196673"/>
          </a:xfrm>
          <a:prstGeom prst="rect">
            <a:avLst/>
          </a:prstGeom>
        </p:spPr>
      </p:pic>
      <p:pic>
        <p:nvPicPr>
          <p:cNvPr id="43" name="Picture 4" descr="Logo, Photos and Brochure of the University of Turku | University of Turku">
            <a:extLst>
              <a:ext uri="{FF2B5EF4-FFF2-40B4-BE49-F238E27FC236}">
                <a16:creationId xmlns:a16="http://schemas.microsoft.com/office/drawing/2014/main" id="{FE4A6AD9-6C6B-F0CD-0D35-AA2538E9010A}"/>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4990881" y="4181960"/>
            <a:ext cx="542933" cy="201961"/>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2" descr="The Åbo Akademi University logo | Åbo Akademi University">
            <a:extLst>
              <a:ext uri="{FF2B5EF4-FFF2-40B4-BE49-F238E27FC236}">
                <a16:creationId xmlns:a16="http://schemas.microsoft.com/office/drawing/2014/main" id="{8028A147-E35C-A7D1-3E81-1E828826FD0C}"/>
              </a:ext>
            </a:extLst>
          </p:cNvPr>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5496252" y="4114711"/>
            <a:ext cx="335042" cy="333998"/>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descr="University of Oulu, vertical logo | University of Oulu">
            <a:extLst>
              <a:ext uri="{FF2B5EF4-FFF2-40B4-BE49-F238E27FC236}">
                <a16:creationId xmlns:a16="http://schemas.microsoft.com/office/drawing/2014/main" id="{BDB3BB9E-7A5F-154E-7EAB-8FE561E69E50}"/>
              </a:ext>
            </a:extLst>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4335894" y="4115943"/>
            <a:ext cx="222409" cy="291861"/>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a:extLst>
              <a:ext uri="{FF2B5EF4-FFF2-40B4-BE49-F238E27FC236}">
                <a16:creationId xmlns:a16="http://schemas.microsoft.com/office/drawing/2014/main" id="{06A6C13F-ACEF-8935-3301-9762F62F8AF2}"/>
              </a:ext>
            </a:extLst>
          </p:cNvPr>
          <p:cNvPicPr>
            <a:picLocks noChangeAspect="1" noChangeArrowheads="1"/>
          </p:cNvPicPr>
          <p:nvPr/>
        </p:nvPicPr>
        <p:blipFill>
          <a:blip r:embed="rId42">
            <a:extLst>
              <a:ext uri="{28A0092B-C50C-407E-A947-70E740481C1C}">
                <a14:useLocalDpi xmlns:a14="http://schemas.microsoft.com/office/drawing/2010/main" val="0"/>
              </a:ext>
            </a:extLst>
          </a:blip>
          <a:srcRect/>
          <a:stretch>
            <a:fillRect/>
          </a:stretch>
        </p:blipFill>
        <p:spPr bwMode="auto">
          <a:xfrm>
            <a:off x="3736731" y="4154703"/>
            <a:ext cx="590840" cy="230797"/>
          </a:xfrm>
          <a:prstGeom prst="rect">
            <a:avLst/>
          </a:prstGeom>
          <a:noFill/>
          <a:extLst>
            <a:ext uri="{909E8E84-426E-40DD-AFC4-6F175D3DCCD1}">
              <a14:hiddenFill xmlns:a14="http://schemas.microsoft.com/office/drawing/2010/main">
                <a:solidFill>
                  <a:srgbClr val="FFFFFF"/>
                </a:solidFill>
              </a14:hiddenFill>
            </a:ext>
          </a:extLst>
        </p:spPr>
      </p:pic>
      <p:sp>
        <p:nvSpPr>
          <p:cNvPr id="47" name="ee4pFootnotes">
            <a:extLst>
              <a:ext uri="{FF2B5EF4-FFF2-40B4-BE49-F238E27FC236}">
                <a16:creationId xmlns:a16="http://schemas.microsoft.com/office/drawing/2014/main" id="{F0653A2A-984A-3E11-E9B4-002B674A56BC}"/>
              </a:ext>
            </a:extLst>
          </p:cNvPr>
          <p:cNvSpPr>
            <a:spLocks noChangeArrowheads="1"/>
          </p:cNvSpPr>
          <p:nvPr/>
        </p:nvSpPr>
        <p:spPr bwMode="auto">
          <a:xfrm>
            <a:off x="3302954" y="4609926"/>
            <a:ext cx="5453565" cy="3877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700">
                <a:solidFill>
                  <a:schemeClr val="tx1">
                    <a:lumMod val="75000"/>
                    <a:lumOff val="25000"/>
                  </a:schemeClr>
                </a:solidFill>
                <a:cs typeface="Arial" pitchFamily="34" charset="0"/>
              </a:rPr>
              <a:t>1. IDM = Integrated Design Manufacturer 2. SME = Defined as companies that employ less than 250 persons and has annual revenues below 50M€. Companies which fulfill the criteria in Finland, but are subsidiaries of larger companies which don't full the criteria are not counted (e.g., Nvidia, ASM Microchemistry, etc.)</a:t>
            </a:r>
          </a:p>
          <a:p>
            <a:pPr>
              <a:lnSpc>
                <a:spcPct val="90000"/>
              </a:lnSpc>
            </a:pPr>
            <a:r>
              <a:rPr lang="en-US" sz="700">
                <a:solidFill>
                  <a:schemeClr val="tx1">
                    <a:lumMod val="75000"/>
                    <a:lumOff val="25000"/>
                  </a:schemeClr>
                </a:solidFill>
                <a:cs typeface="Arial" pitchFamily="34" charset="0"/>
              </a:rPr>
              <a:t>Source: Statistics Finland, BCG</a:t>
            </a:r>
          </a:p>
        </p:txBody>
      </p:sp>
      <p:grpSp>
        <p:nvGrpSpPr>
          <p:cNvPr id="48" name="Group 47">
            <a:extLst>
              <a:ext uri="{FF2B5EF4-FFF2-40B4-BE49-F238E27FC236}">
                <a16:creationId xmlns:a16="http://schemas.microsoft.com/office/drawing/2014/main" id="{B5DAC944-B906-63E7-D99B-498D38DE9031}"/>
              </a:ext>
            </a:extLst>
          </p:cNvPr>
          <p:cNvGrpSpPr/>
          <p:nvPr/>
        </p:nvGrpSpPr>
        <p:grpSpPr>
          <a:xfrm>
            <a:off x="1856994" y="2754434"/>
            <a:ext cx="1138369" cy="2138649"/>
            <a:chOff x="3486988" y="2157531"/>
            <a:chExt cx="2182813" cy="4016375"/>
          </a:xfrm>
        </p:grpSpPr>
        <p:grpSp>
          <p:nvGrpSpPr>
            <p:cNvPr id="49" name="Group 48">
              <a:extLst>
                <a:ext uri="{FF2B5EF4-FFF2-40B4-BE49-F238E27FC236}">
                  <a16:creationId xmlns:a16="http://schemas.microsoft.com/office/drawing/2014/main" id="{EAE52FD7-52B3-B5D3-7D10-80EB54CDD70E}"/>
                </a:ext>
              </a:extLst>
            </p:cNvPr>
            <p:cNvGrpSpPr/>
            <p:nvPr/>
          </p:nvGrpSpPr>
          <p:grpSpPr>
            <a:xfrm rot="514736">
              <a:off x="3486988" y="2157531"/>
              <a:ext cx="2182813" cy="4016375"/>
              <a:chOff x="4995863" y="2095500"/>
              <a:chExt cx="2182813" cy="4016375"/>
            </a:xfrm>
          </p:grpSpPr>
          <p:grpSp>
            <p:nvGrpSpPr>
              <p:cNvPr id="55" name="Group 54">
                <a:extLst>
                  <a:ext uri="{FF2B5EF4-FFF2-40B4-BE49-F238E27FC236}">
                    <a16:creationId xmlns:a16="http://schemas.microsoft.com/office/drawing/2014/main" id="{D7E0C69B-C25F-20AC-7596-EBFA58854D4A}"/>
                  </a:ext>
                </a:extLst>
              </p:cNvPr>
              <p:cNvGrpSpPr/>
              <p:nvPr/>
            </p:nvGrpSpPr>
            <p:grpSpPr>
              <a:xfrm>
                <a:off x="4995863" y="2095500"/>
                <a:ext cx="2182813" cy="4016375"/>
                <a:chOff x="4995863" y="2095500"/>
                <a:chExt cx="2182813" cy="4016375"/>
              </a:xfrm>
            </p:grpSpPr>
            <p:sp>
              <p:nvSpPr>
                <p:cNvPr id="57" name="Freeform 27">
                  <a:extLst>
                    <a:ext uri="{FF2B5EF4-FFF2-40B4-BE49-F238E27FC236}">
                      <a16:creationId xmlns:a16="http://schemas.microsoft.com/office/drawing/2014/main" id="{5D2B52FD-1C3B-756A-8EB0-627E096DDA02}"/>
                    </a:ext>
                  </a:extLst>
                </p:cNvPr>
                <p:cNvSpPr>
                  <a:spLocks noEditPoints="1"/>
                </p:cNvSpPr>
                <p:nvPr/>
              </p:nvSpPr>
              <p:spPr bwMode="auto">
                <a:xfrm>
                  <a:off x="5900738" y="5068888"/>
                  <a:ext cx="1149350" cy="1039813"/>
                </a:xfrm>
                <a:custGeom>
                  <a:avLst/>
                  <a:gdLst>
                    <a:gd name="T0" fmla="*/ 128 w 724"/>
                    <a:gd name="T1" fmla="*/ 599 h 655"/>
                    <a:gd name="T2" fmla="*/ 312 w 724"/>
                    <a:gd name="T3" fmla="*/ 495 h 655"/>
                    <a:gd name="T4" fmla="*/ 405 w 724"/>
                    <a:gd name="T5" fmla="*/ 432 h 655"/>
                    <a:gd name="T6" fmla="*/ 689 w 724"/>
                    <a:gd name="T7" fmla="*/ 97 h 655"/>
                    <a:gd name="T8" fmla="*/ 628 w 724"/>
                    <a:gd name="T9" fmla="*/ 209 h 655"/>
                    <a:gd name="T10" fmla="*/ 558 w 724"/>
                    <a:gd name="T11" fmla="*/ 339 h 655"/>
                    <a:gd name="T12" fmla="*/ 540 w 724"/>
                    <a:gd name="T13" fmla="*/ 378 h 655"/>
                    <a:gd name="T14" fmla="*/ 523 w 724"/>
                    <a:gd name="T15" fmla="*/ 390 h 655"/>
                    <a:gd name="T16" fmla="*/ 482 w 724"/>
                    <a:gd name="T17" fmla="*/ 390 h 655"/>
                    <a:gd name="T18" fmla="*/ 475 w 724"/>
                    <a:gd name="T19" fmla="*/ 390 h 655"/>
                    <a:gd name="T20" fmla="*/ 456 w 724"/>
                    <a:gd name="T21" fmla="*/ 397 h 655"/>
                    <a:gd name="T22" fmla="*/ 433 w 724"/>
                    <a:gd name="T23" fmla="*/ 409 h 655"/>
                    <a:gd name="T24" fmla="*/ 412 w 724"/>
                    <a:gd name="T25" fmla="*/ 423 h 655"/>
                    <a:gd name="T26" fmla="*/ 402 w 724"/>
                    <a:gd name="T27" fmla="*/ 392 h 655"/>
                    <a:gd name="T28" fmla="*/ 398 w 724"/>
                    <a:gd name="T29" fmla="*/ 430 h 655"/>
                    <a:gd name="T30" fmla="*/ 384 w 724"/>
                    <a:gd name="T31" fmla="*/ 444 h 655"/>
                    <a:gd name="T32" fmla="*/ 356 w 724"/>
                    <a:gd name="T33" fmla="*/ 441 h 655"/>
                    <a:gd name="T34" fmla="*/ 347 w 724"/>
                    <a:gd name="T35" fmla="*/ 448 h 655"/>
                    <a:gd name="T36" fmla="*/ 347 w 724"/>
                    <a:gd name="T37" fmla="*/ 457 h 655"/>
                    <a:gd name="T38" fmla="*/ 344 w 724"/>
                    <a:gd name="T39" fmla="*/ 481 h 655"/>
                    <a:gd name="T40" fmla="*/ 323 w 724"/>
                    <a:gd name="T41" fmla="*/ 478 h 655"/>
                    <a:gd name="T42" fmla="*/ 316 w 724"/>
                    <a:gd name="T43" fmla="*/ 469 h 655"/>
                    <a:gd name="T44" fmla="*/ 298 w 724"/>
                    <a:gd name="T45" fmla="*/ 495 h 655"/>
                    <a:gd name="T46" fmla="*/ 258 w 724"/>
                    <a:gd name="T47" fmla="*/ 511 h 655"/>
                    <a:gd name="T48" fmla="*/ 246 w 724"/>
                    <a:gd name="T49" fmla="*/ 530 h 655"/>
                    <a:gd name="T50" fmla="*/ 228 w 724"/>
                    <a:gd name="T51" fmla="*/ 532 h 655"/>
                    <a:gd name="T52" fmla="*/ 207 w 724"/>
                    <a:gd name="T53" fmla="*/ 550 h 655"/>
                    <a:gd name="T54" fmla="*/ 195 w 724"/>
                    <a:gd name="T55" fmla="*/ 550 h 655"/>
                    <a:gd name="T56" fmla="*/ 184 w 724"/>
                    <a:gd name="T57" fmla="*/ 578 h 655"/>
                    <a:gd name="T58" fmla="*/ 174 w 724"/>
                    <a:gd name="T59" fmla="*/ 567 h 655"/>
                    <a:gd name="T60" fmla="*/ 149 w 724"/>
                    <a:gd name="T61" fmla="*/ 578 h 655"/>
                    <a:gd name="T62" fmla="*/ 128 w 724"/>
                    <a:gd name="T63" fmla="*/ 590 h 655"/>
                    <a:gd name="T64" fmla="*/ 81 w 724"/>
                    <a:gd name="T65" fmla="*/ 592 h 655"/>
                    <a:gd name="T66" fmla="*/ 70 w 724"/>
                    <a:gd name="T67" fmla="*/ 599 h 655"/>
                    <a:gd name="T68" fmla="*/ 28 w 724"/>
                    <a:gd name="T69" fmla="*/ 650 h 655"/>
                    <a:gd name="T70" fmla="*/ 49 w 724"/>
                    <a:gd name="T71" fmla="*/ 625 h 655"/>
                    <a:gd name="T72" fmla="*/ 42 w 724"/>
                    <a:gd name="T73" fmla="*/ 618 h 655"/>
                    <a:gd name="T74" fmla="*/ 42 w 724"/>
                    <a:gd name="T75" fmla="*/ 595 h 655"/>
                    <a:gd name="T76" fmla="*/ 46 w 724"/>
                    <a:gd name="T77" fmla="*/ 560 h 655"/>
                    <a:gd name="T78" fmla="*/ 84 w 724"/>
                    <a:gd name="T79" fmla="*/ 543 h 655"/>
                    <a:gd name="T80" fmla="*/ 93 w 724"/>
                    <a:gd name="T81" fmla="*/ 497 h 655"/>
                    <a:gd name="T82" fmla="*/ 98 w 724"/>
                    <a:gd name="T83" fmla="*/ 450 h 655"/>
                    <a:gd name="T84" fmla="*/ 23 w 724"/>
                    <a:gd name="T85" fmla="*/ 437 h 655"/>
                    <a:gd name="T86" fmla="*/ 11 w 724"/>
                    <a:gd name="T87" fmla="*/ 397 h 655"/>
                    <a:gd name="T88" fmla="*/ 32 w 724"/>
                    <a:gd name="T89" fmla="*/ 376 h 655"/>
                    <a:gd name="T90" fmla="*/ 72 w 724"/>
                    <a:gd name="T91" fmla="*/ 362 h 655"/>
                    <a:gd name="T92" fmla="*/ 79 w 724"/>
                    <a:gd name="T93" fmla="*/ 337 h 655"/>
                    <a:gd name="T94" fmla="*/ 111 w 724"/>
                    <a:gd name="T95" fmla="*/ 295 h 655"/>
                    <a:gd name="T96" fmla="*/ 177 w 724"/>
                    <a:gd name="T97" fmla="*/ 269 h 655"/>
                    <a:gd name="T98" fmla="*/ 177 w 724"/>
                    <a:gd name="T99" fmla="*/ 230 h 655"/>
                    <a:gd name="T100" fmla="*/ 246 w 724"/>
                    <a:gd name="T101" fmla="*/ 155 h 655"/>
                    <a:gd name="T102" fmla="*/ 267 w 724"/>
                    <a:gd name="T103" fmla="*/ 137 h 655"/>
                    <a:gd name="T104" fmla="*/ 288 w 724"/>
                    <a:gd name="T105" fmla="*/ 151 h 655"/>
                    <a:gd name="T106" fmla="*/ 321 w 724"/>
                    <a:gd name="T107" fmla="*/ 162 h 655"/>
                    <a:gd name="T108" fmla="*/ 321 w 724"/>
                    <a:gd name="T109" fmla="*/ 190 h 655"/>
                    <a:gd name="T110" fmla="*/ 354 w 724"/>
                    <a:gd name="T111" fmla="*/ 227 h 655"/>
                    <a:gd name="T112" fmla="*/ 386 w 724"/>
                    <a:gd name="T113" fmla="*/ 239 h 655"/>
                    <a:gd name="T114" fmla="*/ 409 w 724"/>
                    <a:gd name="T115" fmla="*/ 239 h 655"/>
                    <a:gd name="T116" fmla="*/ 454 w 724"/>
                    <a:gd name="T117" fmla="*/ 225 h 655"/>
                    <a:gd name="T118" fmla="*/ 409 w 724"/>
                    <a:gd name="T119" fmla="*/ 197 h 655"/>
                    <a:gd name="T120" fmla="*/ 561 w 724"/>
                    <a:gd name="T121" fmla="*/ 132 h 655"/>
                    <a:gd name="T122" fmla="*/ 640 w 724"/>
                    <a:gd name="T123" fmla="*/ 9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4" h="655">
                      <a:moveTo>
                        <a:pt x="128" y="599"/>
                      </a:moveTo>
                      <a:lnTo>
                        <a:pt x="128" y="602"/>
                      </a:lnTo>
                      <a:lnTo>
                        <a:pt x="125" y="602"/>
                      </a:lnTo>
                      <a:lnTo>
                        <a:pt x="125" y="604"/>
                      </a:lnTo>
                      <a:lnTo>
                        <a:pt x="123" y="604"/>
                      </a:lnTo>
                      <a:lnTo>
                        <a:pt x="121" y="602"/>
                      </a:lnTo>
                      <a:lnTo>
                        <a:pt x="121" y="604"/>
                      </a:lnTo>
                      <a:lnTo>
                        <a:pt x="118" y="602"/>
                      </a:lnTo>
                      <a:lnTo>
                        <a:pt x="121" y="599"/>
                      </a:lnTo>
                      <a:lnTo>
                        <a:pt x="121" y="597"/>
                      </a:lnTo>
                      <a:lnTo>
                        <a:pt x="123" y="597"/>
                      </a:lnTo>
                      <a:lnTo>
                        <a:pt x="125" y="597"/>
                      </a:lnTo>
                      <a:lnTo>
                        <a:pt x="128" y="597"/>
                      </a:lnTo>
                      <a:lnTo>
                        <a:pt x="128" y="599"/>
                      </a:lnTo>
                      <a:close/>
                      <a:moveTo>
                        <a:pt x="340" y="499"/>
                      </a:moveTo>
                      <a:lnTo>
                        <a:pt x="337" y="499"/>
                      </a:lnTo>
                      <a:lnTo>
                        <a:pt x="335" y="497"/>
                      </a:lnTo>
                      <a:lnTo>
                        <a:pt x="335" y="495"/>
                      </a:lnTo>
                      <a:lnTo>
                        <a:pt x="337" y="495"/>
                      </a:lnTo>
                      <a:lnTo>
                        <a:pt x="342" y="495"/>
                      </a:lnTo>
                      <a:lnTo>
                        <a:pt x="342" y="497"/>
                      </a:lnTo>
                      <a:lnTo>
                        <a:pt x="340" y="499"/>
                      </a:lnTo>
                      <a:close/>
                      <a:moveTo>
                        <a:pt x="314" y="499"/>
                      </a:moveTo>
                      <a:lnTo>
                        <a:pt x="314" y="504"/>
                      </a:lnTo>
                      <a:lnTo>
                        <a:pt x="312" y="502"/>
                      </a:lnTo>
                      <a:lnTo>
                        <a:pt x="309" y="502"/>
                      </a:lnTo>
                      <a:lnTo>
                        <a:pt x="312" y="499"/>
                      </a:lnTo>
                      <a:lnTo>
                        <a:pt x="312" y="495"/>
                      </a:lnTo>
                      <a:lnTo>
                        <a:pt x="307" y="495"/>
                      </a:lnTo>
                      <a:lnTo>
                        <a:pt x="305" y="492"/>
                      </a:lnTo>
                      <a:lnTo>
                        <a:pt x="302" y="488"/>
                      </a:lnTo>
                      <a:lnTo>
                        <a:pt x="305" y="483"/>
                      </a:lnTo>
                      <a:lnTo>
                        <a:pt x="307" y="483"/>
                      </a:lnTo>
                      <a:lnTo>
                        <a:pt x="319" y="492"/>
                      </a:lnTo>
                      <a:lnTo>
                        <a:pt x="319" y="495"/>
                      </a:lnTo>
                      <a:lnTo>
                        <a:pt x="316" y="495"/>
                      </a:lnTo>
                      <a:lnTo>
                        <a:pt x="314" y="497"/>
                      </a:lnTo>
                      <a:lnTo>
                        <a:pt x="314" y="499"/>
                      </a:lnTo>
                      <a:close/>
                      <a:moveTo>
                        <a:pt x="409" y="439"/>
                      </a:moveTo>
                      <a:lnTo>
                        <a:pt x="407" y="439"/>
                      </a:lnTo>
                      <a:lnTo>
                        <a:pt x="405" y="434"/>
                      </a:lnTo>
                      <a:lnTo>
                        <a:pt x="405" y="432"/>
                      </a:lnTo>
                      <a:lnTo>
                        <a:pt x="409" y="430"/>
                      </a:lnTo>
                      <a:lnTo>
                        <a:pt x="412" y="430"/>
                      </a:lnTo>
                      <a:lnTo>
                        <a:pt x="412" y="427"/>
                      </a:lnTo>
                      <a:lnTo>
                        <a:pt x="412" y="425"/>
                      </a:lnTo>
                      <a:lnTo>
                        <a:pt x="412" y="423"/>
                      </a:lnTo>
                      <a:lnTo>
                        <a:pt x="419" y="425"/>
                      </a:lnTo>
                      <a:lnTo>
                        <a:pt x="419" y="427"/>
                      </a:lnTo>
                      <a:lnTo>
                        <a:pt x="419" y="430"/>
                      </a:lnTo>
                      <a:lnTo>
                        <a:pt x="412" y="432"/>
                      </a:lnTo>
                      <a:lnTo>
                        <a:pt x="409" y="434"/>
                      </a:lnTo>
                      <a:lnTo>
                        <a:pt x="409" y="439"/>
                      </a:lnTo>
                      <a:close/>
                      <a:moveTo>
                        <a:pt x="700" y="72"/>
                      </a:moveTo>
                      <a:lnTo>
                        <a:pt x="691" y="93"/>
                      </a:lnTo>
                      <a:lnTo>
                        <a:pt x="689" y="97"/>
                      </a:lnTo>
                      <a:lnTo>
                        <a:pt x="682" y="102"/>
                      </a:lnTo>
                      <a:lnTo>
                        <a:pt x="679" y="107"/>
                      </a:lnTo>
                      <a:lnTo>
                        <a:pt x="679" y="109"/>
                      </a:lnTo>
                      <a:lnTo>
                        <a:pt x="677" y="116"/>
                      </a:lnTo>
                      <a:lnTo>
                        <a:pt x="677" y="121"/>
                      </a:lnTo>
                      <a:lnTo>
                        <a:pt x="665" y="141"/>
                      </a:lnTo>
                      <a:lnTo>
                        <a:pt x="665" y="148"/>
                      </a:lnTo>
                      <a:lnTo>
                        <a:pt x="663" y="151"/>
                      </a:lnTo>
                      <a:lnTo>
                        <a:pt x="663" y="155"/>
                      </a:lnTo>
                      <a:lnTo>
                        <a:pt x="658" y="167"/>
                      </a:lnTo>
                      <a:lnTo>
                        <a:pt x="654" y="176"/>
                      </a:lnTo>
                      <a:lnTo>
                        <a:pt x="640" y="193"/>
                      </a:lnTo>
                      <a:lnTo>
                        <a:pt x="635" y="197"/>
                      </a:lnTo>
                      <a:lnTo>
                        <a:pt x="628" y="209"/>
                      </a:lnTo>
                      <a:lnTo>
                        <a:pt x="623" y="213"/>
                      </a:lnTo>
                      <a:lnTo>
                        <a:pt x="621" y="216"/>
                      </a:lnTo>
                      <a:lnTo>
                        <a:pt x="621" y="223"/>
                      </a:lnTo>
                      <a:lnTo>
                        <a:pt x="614" y="232"/>
                      </a:lnTo>
                      <a:lnTo>
                        <a:pt x="614" y="237"/>
                      </a:lnTo>
                      <a:lnTo>
                        <a:pt x="614" y="241"/>
                      </a:lnTo>
                      <a:lnTo>
                        <a:pt x="612" y="248"/>
                      </a:lnTo>
                      <a:lnTo>
                        <a:pt x="603" y="255"/>
                      </a:lnTo>
                      <a:lnTo>
                        <a:pt x="598" y="260"/>
                      </a:lnTo>
                      <a:lnTo>
                        <a:pt x="586" y="281"/>
                      </a:lnTo>
                      <a:lnTo>
                        <a:pt x="579" y="299"/>
                      </a:lnTo>
                      <a:lnTo>
                        <a:pt x="570" y="309"/>
                      </a:lnTo>
                      <a:lnTo>
                        <a:pt x="561" y="334"/>
                      </a:lnTo>
                      <a:lnTo>
                        <a:pt x="558" y="339"/>
                      </a:lnTo>
                      <a:lnTo>
                        <a:pt x="551" y="351"/>
                      </a:lnTo>
                      <a:lnTo>
                        <a:pt x="544" y="367"/>
                      </a:lnTo>
                      <a:lnTo>
                        <a:pt x="542" y="365"/>
                      </a:lnTo>
                      <a:lnTo>
                        <a:pt x="540" y="362"/>
                      </a:lnTo>
                      <a:lnTo>
                        <a:pt x="537" y="360"/>
                      </a:lnTo>
                      <a:lnTo>
                        <a:pt x="535" y="362"/>
                      </a:lnTo>
                      <a:lnTo>
                        <a:pt x="535" y="365"/>
                      </a:lnTo>
                      <a:lnTo>
                        <a:pt x="537" y="365"/>
                      </a:lnTo>
                      <a:lnTo>
                        <a:pt x="535" y="367"/>
                      </a:lnTo>
                      <a:lnTo>
                        <a:pt x="535" y="369"/>
                      </a:lnTo>
                      <a:lnTo>
                        <a:pt x="537" y="374"/>
                      </a:lnTo>
                      <a:lnTo>
                        <a:pt x="540" y="376"/>
                      </a:lnTo>
                      <a:lnTo>
                        <a:pt x="537" y="376"/>
                      </a:lnTo>
                      <a:lnTo>
                        <a:pt x="540" y="378"/>
                      </a:lnTo>
                      <a:lnTo>
                        <a:pt x="537" y="383"/>
                      </a:lnTo>
                      <a:lnTo>
                        <a:pt x="535" y="383"/>
                      </a:lnTo>
                      <a:lnTo>
                        <a:pt x="528" y="385"/>
                      </a:lnTo>
                      <a:lnTo>
                        <a:pt x="528" y="381"/>
                      </a:lnTo>
                      <a:lnTo>
                        <a:pt x="530" y="378"/>
                      </a:lnTo>
                      <a:lnTo>
                        <a:pt x="533" y="376"/>
                      </a:lnTo>
                      <a:lnTo>
                        <a:pt x="528" y="376"/>
                      </a:lnTo>
                      <a:lnTo>
                        <a:pt x="526" y="378"/>
                      </a:lnTo>
                      <a:lnTo>
                        <a:pt x="523" y="381"/>
                      </a:lnTo>
                      <a:lnTo>
                        <a:pt x="523" y="383"/>
                      </a:lnTo>
                      <a:lnTo>
                        <a:pt x="526" y="385"/>
                      </a:lnTo>
                      <a:lnTo>
                        <a:pt x="526" y="388"/>
                      </a:lnTo>
                      <a:lnTo>
                        <a:pt x="528" y="390"/>
                      </a:lnTo>
                      <a:lnTo>
                        <a:pt x="523" y="390"/>
                      </a:lnTo>
                      <a:lnTo>
                        <a:pt x="512" y="383"/>
                      </a:lnTo>
                      <a:lnTo>
                        <a:pt x="509" y="385"/>
                      </a:lnTo>
                      <a:lnTo>
                        <a:pt x="512" y="388"/>
                      </a:lnTo>
                      <a:lnTo>
                        <a:pt x="512" y="390"/>
                      </a:lnTo>
                      <a:lnTo>
                        <a:pt x="509" y="390"/>
                      </a:lnTo>
                      <a:lnTo>
                        <a:pt x="509" y="392"/>
                      </a:lnTo>
                      <a:lnTo>
                        <a:pt x="512" y="392"/>
                      </a:lnTo>
                      <a:lnTo>
                        <a:pt x="514" y="395"/>
                      </a:lnTo>
                      <a:lnTo>
                        <a:pt x="514" y="397"/>
                      </a:lnTo>
                      <a:lnTo>
                        <a:pt x="509" y="395"/>
                      </a:lnTo>
                      <a:lnTo>
                        <a:pt x="498" y="390"/>
                      </a:lnTo>
                      <a:lnTo>
                        <a:pt x="491" y="390"/>
                      </a:lnTo>
                      <a:lnTo>
                        <a:pt x="484" y="392"/>
                      </a:lnTo>
                      <a:lnTo>
                        <a:pt x="482" y="390"/>
                      </a:lnTo>
                      <a:lnTo>
                        <a:pt x="479" y="388"/>
                      </a:lnTo>
                      <a:lnTo>
                        <a:pt x="484" y="385"/>
                      </a:lnTo>
                      <a:lnTo>
                        <a:pt x="488" y="385"/>
                      </a:lnTo>
                      <a:lnTo>
                        <a:pt x="486" y="383"/>
                      </a:lnTo>
                      <a:lnTo>
                        <a:pt x="477" y="381"/>
                      </a:lnTo>
                      <a:lnTo>
                        <a:pt x="477" y="376"/>
                      </a:lnTo>
                      <a:lnTo>
                        <a:pt x="475" y="374"/>
                      </a:lnTo>
                      <a:lnTo>
                        <a:pt x="472" y="376"/>
                      </a:lnTo>
                      <a:lnTo>
                        <a:pt x="472" y="378"/>
                      </a:lnTo>
                      <a:lnTo>
                        <a:pt x="472" y="383"/>
                      </a:lnTo>
                      <a:lnTo>
                        <a:pt x="475" y="385"/>
                      </a:lnTo>
                      <a:lnTo>
                        <a:pt x="477" y="390"/>
                      </a:lnTo>
                      <a:lnTo>
                        <a:pt x="475" y="392"/>
                      </a:lnTo>
                      <a:lnTo>
                        <a:pt x="475" y="390"/>
                      </a:lnTo>
                      <a:lnTo>
                        <a:pt x="472" y="388"/>
                      </a:lnTo>
                      <a:lnTo>
                        <a:pt x="470" y="390"/>
                      </a:lnTo>
                      <a:lnTo>
                        <a:pt x="468" y="385"/>
                      </a:lnTo>
                      <a:lnTo>
                        <a:pt x="465" y="385"/>
                      </a:lnTo>
                      <a:lnTo>
                        <a:pt x="465" y="388"/>
                      </a:lnTo>
                      <a:lnTo>
                        <a:pt x="465" y="390"/>
                      </a:lnTo>
                      <a:lnTo>
                        <a:pt x="463" y="392"/>
                      </a:lnTo>
                      <a:lnTo>
                        <a:pt x="463" y="390"/>
                      </a:lnTo>
                      <a:lnTo>
                        <a:pt x="461" y="388"/>
                      </a:lnTo>
                      <a:lnTo>
                        <a:pt x="458" y="388"/>
                      </a:lnTo>
                      <a:lnTo>
                        <a:pt x="456" y="390"/>
                      </a:lnTo>
                      <a:lnTo>
                        <a:pt x="456" y="392"/>
                      </a:lnTo>
                      <a:lnTo>
                        <a:pt x="458" y="395"/>
                      </a:lnTo>
                      <a:lnTo>
                        <a:pt x="456" y="397"/>
                      </a:lnTo>
                      <a:lnTo>
                        <a:pt x="456" y="402"/>
                      </a:lnTo>
                      <a:lnTo>
                        <a:pt x="454" y="404"/>
                      </a:lnTo>
                      <a:lnTo>
                        <a:pt x="449" y="404"/>
                      </a:lnTo>
                      <a:lnTo>
                        <a:pt x="451" y="409"/>
                      </a:lnTo>
                      <a:lnTo>
                        <a:pt x="454" y="411"/>
                      </a:lnTo>
                      <a:lnTo>
                        <a:pt x="454" y="413"/>
                      </a:lnTo>
                      <a:lnTo>
                        <a:pt x="449" y="409"/>
                      </a:lnTo>
                      <a:lnTo>
                        <a:pt x="447" y="409"/>
                      </a:lnTo>
                      <a:lnTo>
                        <a:pt x="437" y="413"/>
                      </a:lnTo>
                      <a:lnTo>
                        <a:pt x="435" y="416"/>
                      </a:lnTo>
                      <a:lnTo>
                        <a:pt x="435" y="413"/>
                      </a:lnTo>
                      <a:lnTo>
                        <a:pt x="435" y="411"/>
                      </a:lnTo>
                      <a:lnTo>
                        <a:pt x="435" y="409"/>
                      </a:lnTo>
                      <a:lnTo>
                        <a:pt x="433" y="409"/>
                      </a:lnTo>
                      <a:lnTo>
                        <a:pt x="430" y="409"/>
                      </a:lnTo>
                      <a:lnTo>
                        <a:pt x="428" y="411"/>
                      </a:lnTo>
                      <a:lnTo>
                        <a:pt x="428" y="413"/>
                      </a:lnTo>
                      <a:lnTo>
                        <a:pt x="428" y="416"/>
                      </a:lnTo>
                      <a:lnTo>
                        <a:pt x="428" y="420"/>
                      </a:lnTo>
                      <a:lnTo>
                        <a:pt x="428" y="423"/>
                      </a:lnTo>
                      <a:lnTo>
                        <a:pt x="426" y="425"/>
                      </a:lnTo>
                      <a:lnTo>
                        <a:pt x="426" y="427"/>
                      </a:lnTo>
                      <a:lnTo>
                        <a:pt x="423" y="427"/>
                      </a:lnTo>
                      <a:lnTo>
                        <a:pt x="421" y="425"/>
                      </a:lnTo>
                      <a:lnTo>
                        <a:pt x="419" y="423"/>
                      </a:lnTo>
                      <a:lnTo>
                        <a:pt x="416" y="420"/>
                      </a:lnTo>
                      <a:lnTo>
                        <a:pt x="414" y="420"/>
                      </a:lnTo>
                      <a:lnTo>
                        <a:pt x="412" y="423"/>
                      </a:lnTo>
                      <a:lnTo>
                        <a:pt x="409" y="423"/>
                      </a:lnTo>
                      <a:lnTo>
                        <a:pt x="409" y="425"/>
                      </a:lnTo>
                      <a:lnTo>
                        <a:pt x="407" y="427"/>
                      </a:lnTo>
                      <a:lnTo>
                        <a:pt x="405" y="425"/>
                      </a:lnTo>
                      <a:lnTo>
                        <a:pt x="400" y="423"/>
                      </a:lnTo>
                      <a:lnTo>
                        <a:pt x="398" y="420"/>
                      </a:lnTo>
                      <a:lnTo>
                        <a:pt x="395" y="416"/>
                      </a:lnTo>
                      <a:lnTo>
                        <a:pt x="398" y="413"/>
                      </a:lnTo>
                      <a:lnTo>
                        <a:pt x="400" y="411"/>
                      </a:lnTo>
                      <a:lnTo>
                        <a:pt x="402" y="409"/>
                      </a:lnTo>
                      <a:lnTo>
                        <a:pt x="402" y="402"/>
                      </a:lnTo>
                      <a:lnTo>
                        <a:pt x="402" y="399"/>
                      </a:lnTo>
                      <a:lnTo>
                        <a:pt x="402" y="395"/>
                      </a:lnTo>
                      <a:lnTo>
                        <a:pt x="402" y="392"/>
                      </a:lnTo>
                      <a:lnTo>
                        <a:pt x="402" y="390"/>
                      </a:lnTo>
                      <a:lnTo>
                        <a:pt x="407" y="385"/>
                      </a:lnTo>
                      <a:lnTo>
                        <a:pt x="412" y="383"/>
                      </a:lnTo>
                      <a:lnTo>
                        <a:pt x="423" y="390"/>
                      </a:lnTo>
                      <a:lnTo>
                        <a:pt x="419" y="381"/>
                      </a:lnTo>
                      <a:lnTo>
                        <a:pt x="414" y="376"/>
                      </a:lnTo>
                      <a:lnTo>
                        <a:pt x="409" y="374"/>
                      </a:lnTo>
                      <a:lnTo>
                        <a:pt x="405" y="376"/>
                      </a:lnTo>
                      <a:lnTo>
                        <a:pt x="402" y="381"/>
                      </a:lnTo>
                      <a:lnTo>
                        <a:pt x="400" y="390"/>
                      </a:lnTo>
                      <a:lnTo>
                        <a:pt x="393" y="411"/>
                      </a:lnTo>
                      <a:lnTo>
                        <a:pt x="395" y="420"/>
                      </a:lnTo>
                      <a:lnTo>
                        <a:pt x="400" y="427"/>
                      </a:lnTo>
                      <a:lnTo>
                        <a:pt x="398" y="430"/>
                      </a:lnTo>
                      <a:lnTo>
                        <a:pt x="398" y="432"/>
                      </a:lnTo>
                      <a:lnTo>
                        <a:pt x="398" y="434"/>
                      </a:lnTo>
                      <a:lnTo>
                        <a:pt x="393" y="434"/>
                      </a:lnTo>
                      <a:lnTo>
                        <a:pt x="395" y="439"/>
                      </a:lnTo>
                      <a:lnTo>
                        <a:pt x="393" y="439"/>
                      </a:lnTo>
                      <a:lnTo>
                        <a:pt x="388" y="434"/>
                      </a:lnTo>
                      <a:lnTo>
                        <a:pt x="391" y="439"/>
                      </a:lnTo>
                      <a:lnTo>
                        <a:pt x="388" y="439"/>
                      </a:lnTo>
                      <a:lnTo>
                        <a:pt x="388" y="441"/>
                      </a:lnTo>
                      <a:lnTo>
                        <a:pt x="386" y="441"/>
                      </a:lnTo>
                      <a:lnTo>
                        <a:pt x="386" y="444"/>
                      </a:lnTo>
                      <a:lnTo>
                        <a:pt x="388" y="446"/>
                      </a:lnTo>
                      <a:lnTo>
                        <a:pt x="386" y="446"/>
                      </a:lnTo>
                      <a:lnTo>
                        <a:pt x="384" y="444"/>
                      </a:lnTo>
                      <a:lnTo>
                        <a:pt x="381" y="441"/>
                      </a:lnTo>
                      <a:lnTo>
                        <a:pt x="379" y="437"/>
                      </a:lnTo>
                      <a:lnTo>
                        <a:pt x="377" y="434"/>
                      </a:lnTo>
                      <a:lnTo>
                        <a:pt x="374" y="432"/>
                      </a:lnTo>
                      <a:lnTo>
                        <a:pt x="372" y="430"/>
                      </a:lnTo>
                      <a:lnTo>
                        <a:pt x="370" y="432"/>
                      </a:lnTo>
                      <a:lnTo>
                        <a:pt x="370" y="434"/>
                      </a:lnTo>
                      <a:lnTo>
                        <a:pt x="372" y="437"/>
                      </a:lnTo>
                      <a:lnTo>
                        <a:pt x="377" y="441"/>
                      </a:lnTo>
                      <a:lnTo>
                        <a:pt x="367" y="441"/>
                      </a:lnTo>
                      <a:lnTo>
                        <a:pt x="365" y="441"/>
                      </a:lnTo>
                      <a:lnTo>
                        <a:pt x="363" y="446"/>
                      </a:lnTo>
                      <a:lnTo>
                        <a:pt x="363" y="444"/>
                      </a:lnTo>
                      <a:lnTo>
                        <a:pt x="356" y="441"/>
                      </a:lnTo>
                      <a:lnTo>
                        <a:pt x="351" y="439"/>
                      </a:lnTo>
                      <a:lnTo>
                        <a:pt x="344" y="434"/>
                      </a:lnTo>
                      <a:lnTo>
                        <a:pt x="340" y="432"/>
                      </a:lnTo>
                      <a:lnTo>
                        <a:pt x="337" y="430"/>
                      </a:lnTo>
                      <a:lnTo>
                        <a:pt x="333" y="432"/>
                      </a:lnTo>
                      <a:lnTo>
                        <a:pt x="340" y="434"/>
                      </a:lnTo>
                      <a:lnTo>
                        <a:pt x="342" y="437"/>
                      </a:lnTo>
                      <a:lnTo>
                        <a:pt x="344" y="439"/>
                      </a:lnTo>
                      <a:lnTo>
                        <a:pt x="349" y="441"/>
                      </a:lnTo>
                      <a:lnTo>
                        <a:pt x="351" y="444"/>
                      </a:lnTo>
                      <a:lnTo>
                        <a:pt x="351" y="446"/>
                      </a:lnTo>
                      <a:lnTo>
                        <a:pt x="351" y="448"/>
                      </a:lnTo>
                      <a:lnTo>
                        <a:pt x="349" y="448"/>
                      </a:lnTo>
                      <a:lnTo>
                        <a:pt x="347" y="448"/>
                      </a:lnTo>
                      <a:lnTo>
                        <a:pt x="349" y="450"/>
                      </a:lnTo>
                      <a:lnTo>
                        <a:pt x="351" y="453"/>
                      </a:lnTo>
                      <a:lnTo>
                        <a:pt x="356" y="455"/>
                      </a:lnTo>
                      <a:lnTo>
                        <a:pt x="358" y="457"/>
                      </a:lnTo>
                      <a:lnTo>
                        <a:pt x="360" y="460"/>
                      </a:lnTo>
                      <a:lnTo>
                        <a:pt x="363" y="460"/>
                      </a:lnTo>
                      <a:lnTo>
                        <a:pt x="363" y="464"/>
                      </a:lnTo>
                      <a:lnTo>
                        <a:pt x="363" y="467"/>
                      </a:lnTo>
                      <a:lnTo>
                        <a:pt x="356" y="471"/>
                      </a:lnTo>
                      <a:lnTo>
                        <a:pt x="356" y="464"/>
                      </a:lnTo>
                      <a:lnTo>
                        <a:pt x="349" y="460"/>
                      </a:lnTo>
                      <a:lnTo>
                        <a:pt x="349" y="455"/>
                      </a:lnTo>
                      <a:lnTo>
                        <a:pt x="347" y="455"/>
                      </a:lnTo>
                      <a:lnTo>
                        <a:pt x="347" y="457"/>
                      </a:lnTo>
                      <a:lnTo>
                        <a:pt x="347" y="460"/>
                      </a:lnTo>
                      <a:lnTo>
                        <a:pt x="344" y="460"/>
                      </a:lnTo>
                      <a:lnTo>
                        <a:pt x="342" y="460"/>
                      </a:lnTo>
                      <a:lnTo>
                        <a:pt x="335" y="453"/>
                      </a:lnTo>
                      <a:lnTo>
                        <a:pt x="333" y="453"/>
                      </a:lnTo>
                      <a:lnTo>
                        <a:pt x="328" y="453"/>
                      </a:lnTo>
                      <a:lnTo>
                        <a:pt x="333" y="457"/>
                      </a:lnTo>
                      <a:lnTo>
                        <a:pt x="337" y="460"/>
                      </a:lnTo>
                      <a:lnTo>
                        <a:pt x="340" y="460"/>
                      </a:lnTo>
                      <a:lnTo>
                        <a:pt x="340" y="464"/>
                      </a:lnTo>
                      <a:lnTo>
                        <a:pt x="337" y="469"/>
                      </a:lnTo>
                      <a:lnTo>
                        <a:pt x="337" y="474"/>
                      </a:lnTo>
                      <a:lnTo>
                        <a:pt x="340" y="476"/>
                      </a:lnTo>
                      <a:lnTo>
                        <a:pt x="344" y="481"/>
                      </a:lnTo>
                      <a:lnTo>
                        <a:pt x="347" y="485"/>
                      </a:lnTo>
                      <a:lnTo>
                        <a:pt x="344" y="485"/>
                      </a:lnTo>
                      <a:lnTo>
                        <a:pt x="342" y="485"/>
                      </a:lnTo>
                      <a:lnTo>
                        <a:pt x="340" y="485"/>
                      </a:lnTo>
                      <a:lnTo>
                        <a:pt x="337" y="483"/>
                      </a:lnTo>
                      <a:lnTo>
                        <a:pt x="340" y="481"/>
                      </a:lnTo>
                      <a:lnTo>
                        <a:pt x="337" y="478"/>
                      </a:lnTo>
                      <a:lnTo>
                        <a:pt x="335" y="478"/>
                      </a:lnTo>
                      <a:lnTo>
                        <a:pt x="333" y="478"/>
                      </a:lnTo>
                      <a:lnTo>
                        <a:pt x="330" y="478"/>
                      </a:lnTo>
                      <a:lnTo>
                        <a:pt x="326" y="474"/>
                      </a:lnTo>
                      <a:lnTo>
                        <a:pt x="323" y="474"/>
                      </a:lnTo>
                      <a:lnTo>
                        <a:pt x="321" y="476"/>
                      </a:lnTo>
                      <a:lnTo>
                        <a:pt x="323" y="478"/>
                      </a:lnTo>
                      <a:lnTo>
                        <a:pt x="328" y="481"/>
                      </a:lnTo>
                      <a:lnTo>
                        <a:pt x="335" y="483"/>
                      </a:lnTo>
                      <a:lnTo>
                        <a:pt x="328" y="488"/>
                      </a:lnTo>
                      <a:lnTo>
                        <a:pt x="330" y="490"/>
                      </a:lnTo>
                      <a:lnTo>
                        <a:pt x="328" y="492"/>
                      </a:lnTo>
                      <a:lnTo>
                        <a:pt x="323" y="490"/>
                      </a:lnTo>
                      <a:lnTo>
                        <a:pt x="312" y="483"/>
                      </a:lnTo>
                      <a:lnTo>
                        <a:pt x="312" y="481"/>
                      </a:lnTo>
                      <a:lnTo>
                        <a:pt x="312" y="478"/>
                      </a:lnTo>
                      <a:lnTo>
                        <a:pt x="312" y="476"/>
                      </a:lnTo>
                      <a:lnTo>
                        <a:pt x="312" y="474"/>
                      </a:lnTo>
                      <a:lnTo>
                        <a:pt x="309" y="474"/>
                      </a:lnTo>
                      <a:lnTo>
                        <a:pt x="309" y="471"/>
                      </a:lnTo>
                      <a:lnTo>
                        <a:pt x="316" y="469"/>
                      </a:lnTo>
                      <a:lnTo>
                        <a:pt x="314" y="464"/>
                      </a:lnTo>
                      <a:lnTo>
                        <a:pt x="309" y="464"/>
                      </a:lnTo>
                      <a:lnTo>
                        <a:pt x="309" y="467"/>
                      </a:lnTo>
                      <a:lnTo>
                        <a:pt x="307" y="469"/>
                      </a:lnTo>
                      <a:lnTo>
                        <a:pt x="305" y="474"/>
                      </a:lnTo>
                      <a:lnTo>
                        <a:pt x="295" y="476"/>
                      </a:lnTo>
                      <a:lnTo>
                        <a:pt x="295" y="478"/>
                      </a:lnTo>
                      <a:lnTo>
                        <a:pt x="298" y="478"/>
                      </a:lnTo>
                      <a:lnTo>
                        <a:pt x="300" y="481"/>
                      </a:lnTo>
                      <a:lnTo>
                        <a:pt x="300" y="485"/>
                      </a:lnTo>
                      <a:lnTo>
                        <a:pt x="300" y="488"/>
                      </a:lnTo>
                      <a:lnTo>
                        <a:pt x="300" y="490"/>
                      </a:lnTo>
                      <a:lnTo>
                        <a:pt x="298" y="490"/>
                      </a:lnTo>
                      <a:lnTo>
                        <a:pt x="298" y="495"/>
                      </a:lnTo>
                      <a:lnTo>
                        <a:pt x="298" y="497"/>
                      </a:lnTo>
                      <a:lnTo>
                        <a:pt x="281" y="499"/>
                      </a:lnTo>
                      <a:lnTo>
                        <a:pt x="281" y="497"/>
                      </a:lnTo>
                      <a:lnTo>
                        <a:pt x="279" y="495"/>
                      </a:lnTo>
                      <a:lnTo>
                        <a:pt x="274" y="495"/>
                      </a:lnTo>
                      <a:lnTo>
                        <a:pt x="274" y="497"/>
                      </a:lnTo>
                      <a:lnTo>
                        <a:pt x="277" y="499"/>
                      </a:lnTo>
                      <a:lnTo>
                        <a:pt x="272" y="502"/>
                      </a:lnTo>
                      <a:lnTo>
                        <a:pt x="263" y="504"/>
                      </a:lnTo>
                      <a:lnTo>
                        <a:pt x="263" y="506"/>
                      </a:lnTo>
                      <a:lnTo>
                        <a:pt x="263" y="509"/>
                      </a:lnTo>
                      <a:lnTo>
                        <a:pt x="260" y="509"/>
                      </a:lnTo>
                      <a:lnTo>
                        <a:pt x="258" y="509"/>
                      </a:lnTo>
                      <a:lnTo>
                        <a:pt x="258" y="511"/>
                      </a:lnTo>
                      <a:lnTo>
                        <a:pt x="263" y="511"/>
                      </a:lnTo>
                      <a:lnTo>
                        <a:pt x="265" y="513"/>
                      </a:lnTo>
                      <a:lnTo>
                        <a:pt x="263" y="516"/>
                      </a:lnTo>
                      <a:lnTo>
                        <a:pt x="265" y="516"/>
                      </a:lnTo>
                      <a:lnTo>
                        <a:pt x="263" y="518"/>
                      </a:lnTo>
                      <a:lnTo>
                        <a:pt x="256" y="523"/>
                      </a:lnTo>
                      <a:lnTo>
                        <a:pt x="253" y="523"/>
                      </a:lnTo>
                      <a:lnTo>
                        <a:pt x="253" y="520"/>
                      </a:lnTo>
                      <a:lnTo>
                        <a:pt x="253" y="518"/>
                      </a:lnTo>
                      <a:lnTo>
                        <a:pt x="249" y="523"/>
                      </a:lnTo>
                      <a:lnTo>
                        <a:pt x="249" y="525"/>
                      </a:lnTo>
                      <a:lnTo>
                        <a:pt x="251" y="527"/>
                      </a:lnTo>
                      <a:lnTo>
                        <a:pt x="249" y="527"/>
                      </a:lnTo>
                      <a:lnTo>
                        <a:pt x="246" y="530"/>
                      </a:lnTo>
                      <a:lnTo>
                        <a:pt x="244" y="530"/>
                      </a:lnTo>
                      <a:lnTo>
                        <a:pt x="244" y="527"/>
                      </a:lnTo>
                      <a:lnTo>
                        <a:pt x="244" y="525"/>
                      </a:lnTo>
                      <a:lnTo>
                        <a:pt x="244" y="523"/>
                      </a:lnTo>
                      <a:lnTo>
                        <a:pt x="244" y="518"/>
                      </a:lnTo>
                      <a:lnTo>
                        <a:pt x="244" y="516"/>
                      </a:lnTo>
                      <a:lnTo>
                        <a:pt x="242" y="516"/>
                      </a:lnTo>
                      <a:lnTo>
                        <a:pt x="239" y="520"/>
                      </a:lnTo>
                      <a:lnTo>
                        <a:pt x="239" y="532"/>
                      </a:lnTo>
                      <a:lnTo>
                        <a:pt x="239" y="534"/>
                      </a:lnTo>
                      <a:lnTo>
                        <a:pt x="230" y="536"/>
                      </a:lnTo>
                      <a:lnTo>
                        <a:pt x="226" y="536"/>
                      </a:lnTo>
                      <a:lnTo>
                        <a:pt x="226" y="534"/>
                      </a:lnTo>
                      <a:lnTo>
                        <a:pt x="228" y="532"/>
                      </a:lnTo>
                      <a:lnTo>
                        <a:pt x="228" y="527"/>
                      </a:lnTo>
                      <a:lnTo>
                        <a:pt x="223" y="525"/>
                      </a:lnTo>
                      <a:lnTo>
                        <a:pt x="221" y="525"/>
                      </a:lnTo>
                      <a:lnTo>
                        <a:pt x="223" y="532"/>
                      </a:lnTo>
                      <a:lnTo>
                        <a:pt x="223" y="534"/>
                      </a:lnTo>
                      <a:lnTo>
                        <a:pt x="219" y="536"/>
                      </a:lnTo>
                      <a:lnTo>
                        <a:pt x="219" y="539"/>
                      </a:lnTo>
                      <a:lnTo>
                        <a:pt x="212" y="541"/>
                      </a:lnTo>
                      <a:lnTo>
                        <a:pt x="209" y="541"/>
                      </a:lnTo>
                      <a:lnTo>
                        <a:pt x="207" y="543"/>
                      </a:lnTo>
                      <a:lnTo>
                        <a:pt x="207" y="546"/>
                      </a:lnTo>
                      <a:lnTo>
                        <a:pt x="209" y="548"/>
                      </a:lnTo>
                      <a:lnTo>
                        <a:pt x="209" y="550"/>
                      </a:lnTo>
                      <a:lnTo>
                        <a:pt x="207" y="550"/>
                      </a:lnTo>
                      <a:lnTo>
                        <a:pt x="205" y="548"/>
                      </a:lnTo>
                      <a:lnTo>
                        <a:pt x="205" y="546"/>
                      </a:lnTo>
                      <a:lnTo>
                        <a:pt x="205" y="543"/>
                      </a:lnTo>
                      <a:lnTo>
                        <a:pt x="202" y="543"/>
                      </a:lnTo>
                      <a:lnTo>
                        <a:pt x="195" y="539"/>
                      </a:lnTo>
                      <a:lnTo>
                        <a:pt x="193" y="539"/>
                      </a:lnTo>
                      <a:lnTo>
                        <a:pt x="193" y="541"/>
                      </a:lnTo>
                      <a:lnTo>
                        <a:pt x="193" y="543"/>
                      </a:lnTo>
                      <a:lnTo>
                        <a:pt x="195" y="543"/>
                      </a:lnTo>
                      <a:lnTo>
                        <a:pt x="198" y="543"/>
                      </a:lnTo>
                      <a:lnTo>
                        <a:pt x="198" y="546"/>
                      </a:lnTo>
                      <a:lnTo>
                        <a:pt x="198" y="548"/>
                      </a:lnTo>
                      <a:lnTo>
                        <a:pt x="198" y="550"/>
                      </a:lnTo>
                      <a:lnTo>
                        <a:pt x="195" y="550"/>
                      </a:lnTo>
                      <a:lnTo>
                        <a:pt x="195" y="553"/>
                      </a:lnTo>
                      <a:lnTo>
                        <a:pt x="193" y="555"/>
                      </a:lnTo>
                      <a:lnTo>
                        <a:pt x="202" y="550"/>
                      </a:lnTo>
                      <a:lnTo>
                        <a:pt x="200" y="553"/>
                      </a:lnTo>
                      <a:lnTo>
                        <a:pt x="200" y="555"/>
                      </a:lnTo>
                      <a:lnTo>
                        <a:pt x="198" y="557"/>
                      </a:lnTo>
                      <a:lnTo>
                        <a:pt x="202" y="560"/>
                      </a:lnTo>
                      <a:lnTo>
                        <a:pt x="202" y="562"/>
                      </a:lnTo>
                      <a:lnTo>
                        <a:pt x="195" y="569"/>
                      </a:lnTo>
                      <a:lnTo>
                        <a:pt x="191" y="576"/>
                      </a:lnTo>
                      <a:lnTo>
                        <a:pt x="191" y="578"/>
                      </a:lnTo>
                      <a:lnTo>
                        <a:pt x="188" y="581"/>
                      </a:lnTo>
                      <a:lnTo>
                        <a:pt x="184" y="581"/>
                      </a:lnTo>
                      <a:lnTo>
                        <a:pt x="184" y="578"/>
                      </a:lnTo>
                      <a:lnTo>
                        <a:pt x="186" y="569"/>
                      </a:lnTo>
                      <a:lnTo>
                        <a:pt x="186" y="567"/>
                      </a:lnTo>
                      <a:lnTo>
                        <a:pt x="184" y="571"/>
                      </a:lnTo>
                      <a:lnTo>
                        <a:pt x="179" y="578"/>
                      </a:lnTo>
                      <a:lnTo>
                        <a:pt x="177" y="576"/>
                      </a:lnTo>
                      <a:lnTo>
                        <a:pt x="174" y="576"/>
                      </a:lnTo>
                      <a:lnTo>
                        <a:pt x="174" y="581"/>
                      </a:lnTo>
                      <a:lnTo>
                        <a:pt x="172" y="583"/>
                      </a:lnTo>
                      <a:lnTo>
                        <a:pt x="172" y="578"/>
                      </a:lnTo>
                      <a:lnTo>
                        <a:pt x="172" y="576"/>
                      </a:lnTo>
                      <a:lnTo>
                        <a:pt x="174" y="574"/>
                      </a:lnTo>
                      <a:lnTo>
                        <a:pt x="174" y="571"/>
                      </a:lnTo>
                      <a:lnTo>
                        <a:pt x="174" y="569"/>
                      </a:lnTo>
                      <a:lnTo>
                        <a:pt x="174" y="567"/>
                      </a:lnTo>
                      <a:lnTo>
                        <a:pt x="174" y="562"/>
                      </a:lnTo>
                      <a:lnTo>
                        <a:pt x="170" y="564"/>
                      </a:lnTo>
                      <a:lnTo>
                        <a:pt x="167" y="564"/>
                      </a:lnTo>
                      <a:lnTo>
                        <a:pt x="165" y="569"/>
                      </a:lnTo>
                      <a:lnTo>
                        <a:pt x="167" y="569"/>
                      </a:lnTo>
                      <a:lnTo>
                        <a:pt x="163" y="574"/>
                      </a:lnTo>
                      <a:lnTo>
                        <a:pt x="160" y="574"/>
                      </a:lnTo>
                      <a:lnTo>
                        <a:pt x="156" y="574"/>
                      </a:lnTo>
                      <a:lnTo>
                        <a:pt x="153" y="574"/>
                      </a:lnTo>
                      <a:lnTo>
                        <a:pt x="151" y="576"/>
                      </a:lnTo>
                      <a:lnTo>
                        <a:pt x="156" y="578"/>
                      </a:lnTo>
                      <a:lnTo>
                        <a:pt x="153" y="581"/>
                      </a:lnTo>
                      <a:lnTo>
                        <a:pt x="151" y="581"/>
                      </a:lnTo>
                      <a:lnTo>
                        <a:pt x="149" y="578"/>
                      </a:lnTo>
                      <a:lnTo>
                        <a:pt x="146" y="578"/>
                      </a:lnTo>
                      <a:lnTo>
                        <a:pt x="142" y="583"/>
                      </a:lnTo>
                      <a:lnTo>
                        <a:pt x="139" y="581"/>
                      </a:lnTo>
                      <a:lnTo>
                        <a:pt x="137" y="585"/>
                      </a:lnTo>
                      <a:lnTo>
                        <a:pt x="135" y="585"/>
                      </a:lnTo>
                      <a:lnTo>
                        <a:pt x="135" y="583"/>
                      </a:lnTo>
                      <a:lnTo>
                        <a:pt x="137" y="581"/>
                      </a:lnTo>
                      <a:lnTo>
                        <a:pt x="135" y="578"/>
                      </a:lnTo>
                      <a:lnTo>
                        <a:pt x="135" y="581"/>
                      </a:lnTo>
                      <a:lnTo>
                        <a:pt x="132" y="581"/>
                      </a:lnTo>
                      <a:lnTo>
                        <a:pt x="132" y="583"/>
                      </a:lnTo>
                      <a:lnTo>
                        <a:pt x="132" y="585"/>
                      </a:lnTo>
                      <a:lnTo>
                        <a:pt x="130" y="588"/>
                      </a:lnTo>
                      <a:lnTo>
                        <a:pt x="128" y="590"/>
                      </a:lnTo>
                      <a:lnTo>
                        <a:pt x="121" y="592"/>
                      </a:lnTo>
                      <a:lnTo>
                        <a:pt x="114" y="604"/>
                      </a:lnTo>
                      <a:lnTo>
                        <a:pt x="109" y="602"/>
                      </a:lnTo>
                      <a:lnTo>
                        <a:pt x="91" y="606"/>
                      </a:lnTo>
                      <a:lnTo>
                        <a:pt x="88" y="604"/>
                      </a:lnTo>
                      <a:lnTo>
                        <a:pt x="86" y="604"/>
                      </a:lnTo>
                      <a:lnTo>
                        <a:pt x="79" y="606"/>
                      </a:lnTo>
                      <a:lnTo>
                        <a:pt x="74" y="611"/>
                      </a:lnTo>
                      <a:lnTo>
                        <a:pt x="72" y="611"/>
                      </a:lnTo>
                      <a:lnTo>
                        <a:pt x="72" y="606"/>
                      </a:lnTo>
                      <a:lnTo>
                        <a:pt x="74" y="597"/>
                      </a:lnTo>
                      <a:lnTo>
                        <a:pt x="77" y="595"/>
                      </a:lnTo>
                      <a:lnTo>
                        <a:pt x="79" y="592"/>
                      </a:lnTo>
                      <a:lnTo>
                        <a:pt x="81" y="592"/>
                      </a:lnTo>
                      <a:lnTo>
                        <a:pt x="81" y="590"/>
                      </a:lnTo>
                      <a:lnTo>
                        <a:pt x="79" y="588"/>
                      </a:lnTo>
                      <a:lnTo>
                        <a:pt x="79" y="585"/>
                      </a:lnTo>
                      <a:lnTo>
                        <a:pt x="79" y="583"/>
                      </a:lnTo>
                      <a:lnTo>
                        <a:pt x="79" y="581"/>
                      </a:lnTo>
                      <a:lnTo>
                        <a:pt x="74" y="583"/>
                      </a:lnTo>
                      <a:lnTo>
                        <a:pt x="74" y="585"/>
                      </a:lnTo>
                      <a:lnTo>
                        <a:pt x="74" y="588"/>
                      </a:lnTo>
                      <a:lnTo>
                        <a:pt x="74" y="590"/>
                      </a:lnTo>
                      <a:lnTo>
                        <a:pt x="74" y="592"/>
                      </a:lnTo>
                      <a:lnTo>
                        <a:pt x="72" y="592"/>
                      </a:lnTo>
                      <a:lnTo>
                        <a:pt x="70" y="595"/>
                      </a:lnTo>
                      <a:lnTo>
                        <a:pt x="70" y="597"/>
                      </a:lnTo>
                      <a:lnTo>
                        <a:pt x="70" y="599"/>
                      </a:lnTo>
                      <a:lnTo>
                        <a:pt x="70" y="602"/>
                      </a:lnTo>
                      <a:lnTo>
                        <a:pt x="70" y="604"/>
                      </a:lnTo>
                      <a:lnTo>
                        <a:pt x="67" y="606"/>
                      </a:lnTo>
                      <a:lnTo>
                        <a:pt x="67" y="609"/>
                      </a:lnTo>
                      <a:lnTo>
                        <a:pt x="63" y="615"/>
                      </a:lnTo>
                      <a:lnTo>
                        <a:pt x="60" y="620"/>
                      </a:lnTo>
                      <a:lnTo>
                        <a:pt x="51" y="629"/>
                      </a:lnTo>
                      <a:lnTo>
                        <a:pt x="49" y="632"/>
                      </a:lnTo>
                      <a:lnTo>
                        <a:pt x="51" y="636"/>
                      </a:lnTo>
                      <a:lnTo>
                        <a:pt x="53" y="639"/>
                      </a:lnTo>
                      <a:lnTo>
                        <a:pt x="56" y="641"/>
                      </a:lnTo>
                      <a:lnTo>
                        <a:pt x="35" y="648"/>
                      </a:lnTo>
                      <a:lnTo>
                        <a:pt x="35" y="650"/>
                      </a:lnTo>
                      <a:lnTo>
                        <a:pt x="28" y="650"/>
                      </a:lnTo>
                      <a:lnTo>
                        <a:pt x="25" y="650"/>
                      </a:lnTo>
                      <a:lnTo>
                        <a:pt x="23" y="653"/>
                      </a:lnTo>
                      <a:lnTo>
                        <a:pt x="16" y="655"/>
                      </a:lnTo>
                      <a:lnTo>
                        <a:pt x="14" y="655"/>
                      </a:lnTo>
                      <a:lnTo>
                        <a:pt x="16" y="653"/>
                      </a:lnTo>
                      <a:lnTo>
                        <a:pt x="18" y="648"/>
                      </a:lnTo>
                      <a:lnTo>
                        <a:pt x="18" y="646"/>
                      </a:lnTo>
                      <a:lnTo>
                        <a:pt x="23" y="643"/>
                      </a:lnTo>
                      <a:lnTo>
                        <a:pt x="39" y="634"/>
                      </a:lnTo>
                      <a:lnTo>
                        <a:pt x="44" y="632"/>
                      </a:lnTo>
                      <a:lnTo>
                        <a:pt x="42" y="627"/>
                      </a:lnTo>
                      <a:lnTo>
                        <a:pt x="42" y="625"/>
                      </a:lnTo>
                      <a:lnTo>
                        <a:pt x="44" y="625"/>
                      </a:lnTo>
                      <a:lnTo>
                        <a:pt x="49" y="625"/>
                      </a:lnTo>
                      <a:lnTo>
                        <a:pt x="51" y="622"/>
                      </a:lnTo>
                      <a:lnTo>
                        <a:pt x="53" y="620"/>
                      </a:lnTo>
                      <a:lnTo>
                        <a:pt x="56" y="613"/>
                      </a:lnTo>
                      <a:lnTo>
                        <a:pt x="56" y="609"/>
                      </a:lnTo>
                      <a:lnTo>
                        <a:pt x="56" y="602"/>
                      </a:lnTo>
                      <a:lnTo>
                        <a:pt x="56" y="597"/>
                      </a:lnTo>
                      <a:lnTo>
                        <a:pt x="56" y="599"/>
                      </a:lnTo>
                      <a:lnTo>
                        <a:pt x="51" y="615"/>
                      </a:lnTo>
                      <a:lnTo>
                        <a:pt x="49" y="622"/>
                      </a:lnTo>
                      <a:lnTo>
                        <a:pt x="46" y="622"/>
                      </a:lnTo>
                      <a:lnTo>
                        <a:pt x="46" y="620"/>
                      </a:lnTo>
                      <a:lnTo>
                        <a:pt x="46" y="618"/>
                      </a:lnTo>
                      <a:lnTo>
                        <a:pt x="44" y="618"/>
                      </a:lnTo>
                      <a:lnTo>
                        <a:pt x="42" y="618"/>
                      </a:lnTo>
                      <a:lnTo>
                        <a:pt x="42" y="620"/>
                      </a:lnTo>
                      <a:lnTo>
                        <a:pt x="37" y="620"/>
                      </a:lnTo>
                      <a:lnTo>
                        <a:pt x="35" y="622"/>
                      </a:lnTo>
                      <a:lnTo>
                        <a:pt x="37" y="625"/>
                      </a:lnTo>
                      <a:lnTo>
                        <a:pt x="35" y="625"/>
                      </a:lnTo>
                      <a:lnTo>
                        <a:pt x="32" y="622"/>
                      </a:lnTo>
                      <a:lnTo>
                        <a:pt x="32" y="615"/>
                      </a:lnTo>
                      <a:lnTo>
                        <a:pt x="32" y="613"/>
                      </a:lnTo>
                      <a:lnTo>
                        <a:pt x="35" y="611"/>
                      </a:lnTo>
                      <a:lnTo>
                        <a:pt x="42" y="606"/>
                      </a:lnTo>
                      <a:lnTo>
                        <a:pt x="44" y="604"/>
                      </a:lnTo>
                      <a:lnTo>
                        <a:pt x="46" y="597"/>
                      </a:lnTo>
                      <a:lnTo>
                        <a:pt x="46" y="595"/>
                      </a:lnTo>
                      <a:lnTo>
                        <a:pt x="42" y="595"/>
                      </a:lnTo>
                      <a:lnTo>
                        <a:pt x="30" y="599"/>
                      </a:lnTo>
                      <a:lnTo>
                        <a:pt x="25" y="599"/>
                      </a:lnTo>
                      <a:lnTo>
                        <a:pt x="21" y="599"/>
                      </a:lnTo>
                      <a:lnTo>
                        <a:pt x="18" y="597"/>
                      </a:lnTo>
                      <a:lnTo>
                        <a:pt x="16" y="595"/>
                      </a:lnTo>
                      <a:lnTo>
                        <a:pt x="14" y="592"/>
                      </a:lnTo>
                      <a:lnTo>
                        <a:pt x="16" y="590"/>
                      </a:lnTo>
                      <a:lnTo>
                        <a:pt x="16" y="585"/>
                      </a:lnTo>
                      <a:lnTo>
                        <a:pt x="18" y="585"/>
                      </a:lnTo>
                      <a:lnTo>
                        <a:pt x="23" y="588"/>
                      </a:lnTo>
                      <a:lnTo>
                        <a:pt x="28" y="585"/>
                      </a:lnTo>
                      <a:lnTo>
                        <a:pt x="37" y="578"/>
                      </a:lnTo>
                      <a:lnTo>
                        <a:pt x="46" y="562"/>
                      </a:lnTo>
                      <a:lnTo>
                        <a:pt x="46" y="560"/>
                      </a:lnTo>
                      <a:lnTo>
                        <a:pt x="49" y="560"/>
                      </a:lnTo>
                      <a:lnTo>
                        <a:pt x="49" y="562"/>
                      </a:lnTo>
                      <a:lnTo>
                        <a:pt x="49" y="564"/>
                      </a:lnTo>
                      <a:lnTo>
                        <a:pt x="51" y="564"/>
                      </a:lnTo>
                      <a:lnTo>
                        <a:pt x="53" y="564"/>
                      </a:lnTo>
                      <a:lnTo>
                        <a:pt x="58" y="564"/>
                      </a:lnTo>
                      <a:lnTo>
                        <a:pt x="63" y="562"/>
                      </a:lnTo>
                      <a:lnTo>
                        <a:pt x="67" y="560"/>
                      </a:lnTo>
                      <a:lnTo>
                        <a:pt x="74" y="553"/>
                      </a:lnTo>
                      <a:lnTo>
                        <a:pt x="77" y="550"/>
                      </a:lnTo>
                      <a:lnTo>
                        <a:pt x="84" y="550"/>
                      </a:lnTo>
                      <a:lnTo>
                        <a:pt x="86" y="550"/>
                      </a:lnTo>
                      <a:lnTo>
                        <a:pt x="86" y="546"/>
                      </a:lnTo>
                      <a:lnTo>
                        <a:pt x="84" y="543"/>
                      </a:lnTo>
                      <a:lnTo>
                        <a:pt x="81" y="541"/>
                      </a:lnTo>
                      <a:lnTo>
                        <a:pt x="79" y="539"/>
                      </a:lnTo>
                      <a:lnTo>
                        <a:pt x="77" y="536"/>
                      </a:lnTo>
                      <a:lnTo>
                        <a:pt x="79" y="536"/>
                      </a:lnTo>
                      <a:lnTo>
                        <a:pt x="81" y="536"/>
                      </a:lnTo>
                      <a:lnTo>
                        <a:pt x="81" y="534"/>
                      </a:lnTo>
                      <a:lnTo>
                        <a:pt x="81" y="532"/>
                      </a:lnTo>
                      <a:lnTo>
                        <a:pt x="86" y="527"/>
                      </a:lnTo>
                      <a:lnTo>
                        <a:pt x="88" y="520"/>
                      </a:lnTo>
                      <a:lnTo>
                        <a:pt x="88" y="516"/>
                      </a:lnTo>
                      <a:lnTo>
                        <a:pt x="91" y="509"/>
                      </a:lnTo>
                      <a:lnTo>
                        <a:pt x="91" y="506"/>
                      </a:lnTo>
                      <a:lnTo>
                        <a:pt x="93" y="502"/>
                      </a:lnTo>
                      <a:lnTo>
                        <a:pt x="93" y="497"/>
                      </a:lnTo>
                      <a:lnTo>
                        <a:pt x="93" y="492"/>
                      </a:lnTo>
                      <a:lnTo>
                        <a:pt x="91" y="490"/>
                      </a:lnTo>
                      <a:lnTo>
                        <a:pt x="81" y="490"/>
                      </a:lnTo>
                      <a:lnTo>
                        <a:pt x="81" y="485"/>
                      </a:lnTo>
                      <a:lnTo>
                        <a:pt x="84" y="481"/>
                      </a:lnTo>
                      <a:lnTo>
                        <a:pt x="95" y="476"/>
                      </a:lnTo>
                      <a:lnTo>
                        <a:pt x="98" y="474"/>
                      </a:lnTo>
                      <a:lnTo>
                        <a:pt x="95" y="469"/>
                      </a:lnTo>
                      <a:lnTo>
                        <a:pt x="95" y="467"/>
                      </a:lnTo>
                      <a:lnTo>
                        <a:pt x="95" y="462"/>
                      </a:lnTo>
                      <a:lnTo>
                        <a:pt x="98" y="457"/>
                      </a:lnTo>
                      <a:lnTo>
                        <a:pt x="98" y="455"/>
                      </a:lnTo>
                      <a:lnTo>
                        <a:pt x="100" y="453"/>
                      </a:lnTo>
                      <a:lnTo>
                        <a:pt x="98" y="450"/>
                      </a:lnTo>
                      <a:lnTo>
                        <a:pt x="95" y="448"/>
                      </a:lnTo>
                      <a:lnTo>
                        <a:pt x="93" y="448"/>
                      </a:lnTo>
                      <a:lnTo>
                        <a:pt x="93" y="444"/>
                      </a:lnTo>
                      <a:lnTo>
                        <a:pt x="95" y="441"/>
                      </a:lnTo>
                      <a:lnTo>
                        <a:pt x="79" y="441"/>
                      </a:lnTo>
                      <a:lnTo>
                        <a:pt x="72" y="441"/>
                      </a:lnTo>
                      <a:lnTo>
                        <a:pt x="65" y="437"/>
                      </a:lnTo>
                      <a:lnTo>
                        <a:pt x="56" y="437"/>
                      </a:lnTo>
                      <a:lnTo>
                        <a:pt x="49" y="434"/>
                      </a:lnTo>
                      <a:lnTo>
                        <a:pt x="46" y="430"/>
                      </a:lnTo>
                      <a:lnTo>
                        <a:pt x="42" y="427"/>
                      </a:lnTo>
                      <a:lnTo>
                        <a:pt x="39" y="427"/>
                      </a:lnTo>
                      <a:lnTo>
                        <a:pt x="30" y="434"/>
                      </a:lnTo>
                      <a:lnTo>
                        <a:pt x="23" y="437"/>
                      </a:lnTo>
                      <a:lnTo>
                        <a:pt x="18" y="434"/>
                      </a:lnTo>
                      <a:lnTo>
                        <a:pt x="14" y="434"/>
                      </a:lnTo>
                      <a:lnTo>
                        <a:pt x="7" y="430"/>
                      </a:lnTo>
                      <a:lnTo>
                        <a:pt x="4" y="425"/>
                      </a:lnTo>
                      <a:lnTo>
                        <a:pt x="7" y="423"/>
                      </a:lnTo>
                      <a:lnTo>
                        <a:pt x="7" y="420"/>
                      </a:lnTo>
                      <a:lnTo>
                        <a:pt x="9" y="416"/>
                      </a:lnTo>
                      <a:lnTo>
                        <a:pt x="9" y="413"/>
                      </a:lnTo>
                      <a:lnTo>
                        <a:pt x="4" y="413"/>
                      </a:lnTo>
                      <a:lnTo>
                        <a:pt x="0" y="411"/>
                      </a:lnTo>
                      <a:lnTo>
                        <a:pt x="0" y="404"/>
                      </a:lnTo>
                      <a:lnTo>
                        <a:pt x="0" y="399"/>
                      </a:lnTo>
                      <a:lnTo>
                        <a:pt x="4" y="397"/>
                      </a:lnTo>
                      <a:lnTo>
                        <a:pt x="11" y="397"/>
                      </a:lnTo>
                      <a:lnTo>
                        <a:pt x="11" y="392"/>
                      </a:lnTo>
                      <a:lnTo>
                        <a:pt x="9" y="392"/>
                      </a:lnTo>
                      <a:lnTo>
                        <a:pt x="11" y="392"/>
                      </a:lnTo>
                      <a:lnTo>
                        <a:pt x="14" y="390"/>
                      </a:lnTo>
                      <a:lnTo>
                        <a:pt x="14" y="385"/>
                      </a:lnTo>
                      <a:lnTo>
                        <a:pt x="14" y="383"/>
                      </a:lnTo>
                      <a:lnTo>
                        <a:pt x="11" y="381"/>
                      </a:lnTo>
                      <a:lnTo>
                        <a:pt x="9" y="381"/>
                      </a:lnTo>
                      <a:lnTo>
                        <a:pt x="7" y="378"/>
                      </a:lnTo>
                      <a:lnTo>
                        <a:pt x="0" y="374"/>
                      </a:lnTo>
                      <a:lnTo>
                        <a:pt x="9" y="367"/>
                      </a:lnTo>
                      <a:lnTo>
                        <a:pt x="16" y="369"/>
                      </a:lnTo>
                      <a:lnTo>
                        <a:pt x="28" y="376"/>
                      </a:lnTo>
                      <a:lnTo>
                        <a:pt x="32" y="376"/>
                      </a:lnTo>
                      <a:lnTo>
                        <a:pt x="30" y="374"/>
                      </a:lnTo>
                      <a:lnTo>
                        <a:pt x="30" y="371"/>
                      </a:lnTo>
                      <a:lnTo>
                        <a:pt x="32" y="371"/>
                      </a:lnTo>
                      <a:lnTo>
                        <a:pt x="44" y="369"/>
                      </a:lnTo>
                      <a:lnTo>
                        <a:pt x="53" y="362"/>
                      </a:lnTo>
                      <a:lnTo>
                        <a:pt x="58" y="362"/>
                      </a:lnTo>
                      <a:lnTo>
                        <a:pt x="60" y="362"/>
                      </a:lnTo>
                      <a:lnTo>
                        <a:pt x="65" y="362"/>
                      </a:lnTo>
                      <a:lnTo>
                        <a:pt x="74" y="371"/>
                      </a:lnTo>
                      <a:lnTo>
                        <a:pt x="77" y="371"/>
                      </a:lnTo>
                      <a:lnTo>
                        <a:pt x="77" y="369"/>
                      </a:lnTo>
                      <a:lnTo>
                        <a:pt x="77" y="367"/>
                      </a:lnTo>
                      <a:lnTo>
                        <a:pt x="74" y="365"/>
                      </a:lnTo>
                      <a:lnTo>
                        <a:pt x="72" y="362"/>
                      </a:lnTo>
                      <a:lnTo>
                        <a:pt x="72" y="360"/>
                      </a:lnTo>
                      <a:lnTo>
                        <a:pt x="74" y="358"/>
                      </a:lnTo>
                      <a:lnTo>
                        <a:pt x="74" y="355"/>
                      </a:lnTo>
                      <a:lnTo>
                        <a:pt x="77" y="353"/>
                      </a:lnTo>
                      <a:lnTo>
                        <a:pt x="74" y="351"/>
                      </a:lnTo>
                      <a:lnTo>
                        <a:pt x="72" y="351"/>
                      </a:lnTo>
                      <a:lnTo>
                        <a:pt x="67" y="355"/>
                      </a:lnTo>
                      <a:lnTo>
                        <a:pt x="67" y="353"/>
                      </a:lnTo>
                      <a:lnTo>
                        <a:pt x="67" y="351"/>
                      </a:lnTo>
                      <a:lnTo>
                        <a:pt x="65" y="348"/>
                      </a:lnTo>
                      <a:lnTo>
                        <a:pt x="63" y="348"/>
                      </a:lnTo>
                      <a:lnTo>
                        <a:pt x="63" y="346"/>
                      </a:lnTo>
                      <a:lnTo>
                        <a:pt x="65" y="344"/>
                      </a:lnTo>
                      <a:lnTo>
                        <a:pt x="79" y="337"/>
                      </a:lnTo>
                      <a:lnTo>
                        <a:pt x="88" y="327"/>
                      </a:lnTo>
                      <a:lnTo>
                        <a:pt x="95" y="325"/>
                      </a:lnTo>
                      <a:lnTo>
                        <a:pt x="100" y="325"/>
                      </a:lnTo>
                      <a:lnTo>
                        <a:pt x="100" y="323"/>
                      </a:lnTo>
                      <a:lnTo>
                        <a:pt x="100" y="320"/>
                      </a:lnTo>
                      <a:lnTo>
                        <a:pt x="104" y="318"/>
                      </a:lnTo>
                      <a:lnTo>
                        <a:pt x="109" y="316"/>
                      </a:lnTo>
                      <a:lnTo>
                        <a:pt x="114" y="309"/>
                      </a:lnTo>
                      <a:lnTo>
                        <a:pt x="116" y="304"/>
                      </a:lnTo>
                      <a:lnTo>
                        <a:pt x="114" y="304"/>
                      </a:lnTo>
                      <a:lnTo>
                        <a:pt x="111" y="304"/>
                      </a:lnTo>
                      <a:lnTo>
                        <a:pt x="111" y="302"/>
                      </a:lnTo>
                      <a:lnTo>
                        <a:pt x="111" y="297"/>
                      </a:lnTo>
                      <a:lnTo>
                        <a:pt x="111" y="295"/>
                      </a:lnTo>
                      <a:lnTo>
                        <a:pt x="118" y="295"/>
                      </a:lnTo>
                      <a:lnTo>
                        <a:pt x="123" y="292"/>
                      </a:lnTo>
                      <a:lnTo>
                        <a:pt x="135" y="279"/>
                      </a:lnTo>
                      <a:lnTo>
                        <a:pt x="139" y="276"/>
                      </a:lnTo>
                      <a:lnTo>
                        <a:pt x="144" y="276"/>
                      </a:lnTo>
                      <a:lnTo>
                        <a:pt x="151" y="276"/>
                      </a:lnTo>
                      <a:lnTo>
                        <a:pt x="156" y="279"/>
                      </a:lnTo>
                      <a:lnTo>
                        <a:pt x="158" y="274"/>
                      </a:lnTo>
                      <a:lnTo>
                        <a:pt x="158" y="272"/>
                      </a:lnTo>
                      <a:lnTo>
                        <a:pt x="160" y="269"/>
                      </a:lnTo>
                      <a:lnTo>
                        <a:pt x="165" y="276"/>
                      </a:lnTo>
                      <a:lnTo>
                        <a:pt x="170" y="276"/>
                      </a:lnTo>
                      <a:lnTo>
                        <a:pt x="177" y="272"/>
                      </a:lnTo>
                      <a:lnTo>
                        <a:pt x="177" y="269"/>
                      </a:lnTo>
                      <a:lnTo>
                        <a:pt x="177" y="267"/>
                      </a:lnTo>
                      <a:lnTo>
                        <a:pt x="177" y="265"/>
                      </a:lnTo>
                      <a:lnTo>
                        <a:pt x="177" y="262"/>
                      </a:lnTo>
                      <a:lnTo>
                        <a:pt x="179" y="262"/>
                      </a:lnTo>
                      <a:lnTo>
                        <a:pt x="177" y="258"/>
                      </a:lnTo>
                      <a:lnTo>
                        <a:pt x="174" y="253"/>
                      </a:lnTo>
                      <a:lnTo>
                        <a:pt x="174" y="246"/>
                      </a:lnTo>
                      <a:lnTo>
                        <a:pt x="174" y="241"/>
                      </a:lnTo>
                      <a:lnTo>
                        <a:pt x="172" y="239"/>
                      </a:lnTo>
                      <a:lnTo>
                        <a:pt x="170" y="237"/>
                      </a:lnTo>
                      <a:lnTo>
                        <a:pt x="167" y="232"/>
                      </a:lnTo>
                      <a:lnTo>
                        <a:pt x="165" y="230"/>
                      </a:lnTo>
                      <a:lnTo>
                        <a:pt x="167" y="227"/>
                      </a:lnTo>
                      <a:lnTo>
                        <a:pt x="177" y="230"/>
                      </a:lnTo>
                      <a:lnTo>
                        <a:pt x="179" y="230"/>
                      </a:lnTo>
                      <a:lnTo>
                        <a:pt x="226" y="213"/>
                      </a:lnTo>
                      <a:lnTo>
                        <a:pt x="228" y="211"/>
                      </a:lnTo>
                      <a:lnTo>
                        <a:pt x="228" y="207"/>
                      </a:lnTo>
                      <a:lnTo>
                        <a:pt x="230" y="202"/>
                      </a:lnTo>
                      <a:lnTo>
                        <a:pt x="230" y="193"/>
                      </a:lnTo>
                      <a:lnTo>
                        <a:pt x="228" y="172"/>
                      </a:lnTo>
                      <a:lnTo>
                        <a:pt x="228" y="165"/>
                      </a:lnTo>
                      <a:lnTo>
                        <a:pt x="230" y="165"/>
                      </a:lnTo>
                      <a:lnTo>
                        <a:pt x="235" y="165"/>
                      </a:lnTo>
                      <a:lnTo>
                        <a:pt x="237" y="162"/>
                      </a:lnTo>
                      <a:lnTo>
                        <a:pt x="239" y="158"/>
                      </a:lnTo>
                      <a:lnTo>
                        <a:pt x="244" y="155"/>
                      </a:lnTo>
                      <a:lnTo>
                        <a:pt x="246" y="155"/>
                      </a:lnTo>
                      <a:lnTo>
                        <a:pt x="251" y="153"/>
                      </a:lnTo>
                      <a:lnTo>
                        <a:pt x="253" y="153"/>
                      </a:lnTo>
                      <a:lnTo>
                        <a:pt x="253" y="155"/>
                      </a:lnTo>
                      <a:lnTo>
                        <a:pt x="256" y="155"/>
                      </a:lnTo>
                      <a:lnTo>
                        <a:pt x="256" y="153"/>
                      </a:lnTo>
                      <a:lnTo>
                        <a:pt x="258" y="144"/>
                      </a:lnTo>
                      <a:lnTo>
                        <a:pt x="260" y="134"/>
                      </a:lnTo>
                      <a:lnTo>
                        <a:pt x="260" y="132"/>
                      </a:lnTo>
                      <a:lnTo>
                        <a:pt x="260" y="130"/>
                      </a:lnTo>
                      <a:lnTo>
                        <a:pt x="263" y="132"/>
                      </a:lnTo>
                      <a:lnTo>
                        <a:pt x="263" y="134"/>
                      </a:lnTo>
                      <a:lnTo>
                        <a:pt x="263" y="137"/>
                      </a:lnTo>
                      <a:lnTo>
                        <a:pt x="265" y="137"/>
                      </a:lnTo>
                      <a:lnTo>
                        <a:pt x="267" y="137"/>
                      </a:lnTo>
                      <a:lnTo>
                        <a:pt x="267" y="134"/>
                      </a:lnTo>
                      <a:lnTo>
                        <a:pt x="267" y="132"/>
                      </a:lnTo>
                      <a:lnTo>
                        <a:pt x="267" y="130"/>
                      </a:lnTo>
                      <a:lnTo>
                        <a:pt x="272" y="134"/>
                      </a:lnTo>
                      <a:lnTo>
                        <a:pt x="274" y="134"/>
                      </a:lnTo>
                      <a:lnTo>
                        <a:pt x="277" y="137"/>
                      </a:lnTo>
                      <a:lnTo>
                        <a:pt x="279" y="141"/>
                      </a:lnTo>
                      <a:lnTo>
                        <a:pt x="281" y="144"/>
                      </a:lnTo>
                      <a:lnTo>
                        <a:pt x="284" y="144"/>
                      </a:lnTo>
                      <a:lnTo>
                        <a:pt x="284" y="141"/>
                      </a:lnTo>
                      <a:lnTo>
                        <a:pt x="286" y="141"/>
                      </a:lnTo>
                      <a:lnTo>
                        <a:pt x="288" y="144"/>
                      </a:lnTo>
                      <a:lnTo>
                        <a:pt x="288" y="146"/>
                      </a:lnTo>
                      <a:lnTo>
                        <a:pt x="288" y="151"/>
                      </a:lnTo>
                      <a:lnTo>
                        <a:pt x="288" y="153"/>
                      </a:lnTo>
                      <a:lnTo>
                        <a:pt x="288" y="155"/>
                      </a:lnTo>
                      <a:lnTo>
                        <a:pt x="291" y="158"/>
                      </a:lnTo>
                      <a:lnTo>
                        <a:pt x="295" y="158"/>
                      </a:lnTo>
                      <a:lnTo>
                        <a:pt x="300" y="162"/>
                      </a:lnTo>
                      <a:lnTo>
                        <a:pt x="302" y="162"/>
                      </a:lnTo>
                      <a:lnTo>
                        <a:pt x="302" y="160"/>
                      </a:lnTo>
                      <a:lnTo>
                        <a:pt x="312" y="153"/>
                      </a:lnTo>
                      <a:lnTo>
                        <a:pt x="314" y="153"/>
                      </a:lnTo>
                      <a:lnTo>
                        <a:pt x="316" y="153"/>
                      </a:lnTo>
                      <a:lnTo>
                        <a:pt x="319" y="155"/>
                      </a:lnTo>
                      <a:lnTo>
                        <a:pt x="319" y="158"/>
                      </a:lnTo>
                      <a:lnTo>
                        <a:pt x="319" y="160"/>
                      </a:lnTo>
                      <a:lnTo>
                        <a:pt x="321" y="162"/>
                      </a:lnTo>
                      <a:lnTo>
                        <a:pt x="321" y="165"/>
                      </a:lnTo>
                      <a:lnTo>
                        <a:pt x="321" y="167"/>
                      </a:lnTo>
                      <a:lnTo>
                        <a:pt x="323" y="169"/>
                      </a:lnTo>
                      <a:lnTo>
                        <a:pt x="321" y="169"/>
                      </a:lnTo>
                      <a:lnTo>
                        <a:pt x="319" y="169"/>
                      </a:lnTo>
                      <a:lnTo>
                        <a:pt x="319" y="172"/>
                      </a:lnTo>
                      <a:lnTo>
                        <a:pt x="319" y="174"/>
                      </a:lnTo>
                      <a:lnTo>
                        <a:pt x="321" y="179"/>
                      </a:lnTo>
                      <a:lnTo>
                        <a:pt x="321" y="181"/>
                      </a:lnTo>
                      <a:lnTo>
                        <a:pt x="321" y="183"/>
                      </a:lnTo>
                      <a:lnTo>
                        <a:pt x="319" y="186"/>
                      </a:lnTo>
                      <a:lnTo>
                        <a:pt x="319" y="188"/>
                      </a:lnTo>
                      <a:lnTo>
                        <a:pt x="321" y="188"/>
                      </a:lnTo>
                      <a:lnTo>
                        <a:pt x="321" y="190"/>
                      </a:lnTo>
                      <a:lnTo>
                        <a:pt x="323" y="190"/>
                      </a:lnTo>
                      <a:lnTo>
                        <a:pt x="323" y="193"/>
                      </a:lnTo>
                      <a:lnTo>
                        <a:pt x="323" y="195"/>
                      </a:lnTo>
                      <a:lnTo>
                        <a:pt x="323" y="202"/>
                      </a:lnTo>
                      <a:lnTo>
                        <a:pt x="323" y="207"/>
                      </a:lnTo>
                      <a:lnTo>
                        <a:pt x="326" y="207"/>
                      </a:lnTo>
                      <a:lnTo>
                        <a:pt x="330" y="209"/>
                      </a:lnTo>
                      <a:lnTo>
                        <a:pt x="330" y="211"/>
                      </a:lnTo>
                      <a:lnTo>
                        <a:pt x="330" y="213"/>
                      </a:lnTo>
                      <a:lnTo>
                        <a:pt x="330" y="218"/>
                      </a:lnTo>
                      <a:lnTo>
                        <a:pt x="333" y="218"/>
                      </a:lnTo>
                      <a:lnTo>
                        <a:pt x="340" y="223"/>
                      </a:lnTo>
                      <a:lnTo>
                        <a:pt x="344" y="225"/>
                      </a:lnTo>
                      <a:lnTo>
                        <a:pt x="354" y="227"/>
                      </a:lnTo>
                      <a:lnTo>
                        <a:pt x="356" y="227"/>
                      </a:lnTo>
                      <a:lnTo>
                        <a:pt x="360" y="234"/>
                      </a:lnTo>
                      <a:lnTo>
                        <a:pt x="370" y="230"/>
                      </a:lnTo>
                      <a:lnTo>
                        <a:pt x="372" y="230"/>
                      </a:lnTo>
                      <a:lnTo>
                        <a:pt x="374" y="230"/>
                      </a:lnTo>
                      <a:lnTo>
                        <a:pt x="374" y="232"/>
                      </a:lnTo>
                      <a:lnTo>
                        <a:pt x="377" y="234"/>
                      </a:lnTo>
                      <a:lnTo>
                        <a:pt x="377" y="237"/>
                      </a:lnTo>
                      <a:lnTo>
                        <a:pt x="377" y="241"/>
                      </a:lnTo>
                      <a:lnTo>
                        <a:pt x="377" y="244"/>
                      </a:lnTo>
                      <a:lnTo>
                        <a:pt x="377" y="246"/>
                      </a:lnTo>
                      <a:lnTo>
                        <a:pt x="379" y="246"/>
                      </a:lnTo>
                      <a:lnTo>
                        <a:pt x="384" y="244"/>
                      </a:lnTo>
                      <a:lnTo>
                        <a:pt x="386" y="239"/>
                      </a:lnTo>
                      <a:lnTo>
                        <a:pt x="388" y="237"/>
                      </a:lnTo>
                      <a:lnTo>
                        <a:pt x="388" y="234"/>
                      </a:lnTo>
                      <a:lnTo>
                        <a:pt x="391" y="230"/>
                      </a:lnTo>
                      <a:lnTo>
                        <a:pt x="391" y="227"/>
                      </a:lnTo>
                      <a:lnTo>
                        <a:pt x="393" y="225"/>
                      </a:lnTo>
                      <a:lnTo>
                        <a:pt x="395" y="223"/>
                      </a:lnTo>
                      <a:lnTo>
                        <a:pt x="398" y="223"/>
                      </a:lnTo>
                      <a:lnTo>
                        <a:pt x="400" y="225"/>
                      </a:lnTo>
                      <a:lnTo>
                        <a:pt x="402" y="227"/>
                      </a:lnTo>
                      <a:lnTo>
                        <a:pt x="402" y="230"/>
                      </a:lnTo>
                      <a:lnTo>
                        <a:pt x="405" y="232"/>
                      </a:lnTo>
                      <a:lnTo>
                        <a:pt x="407" y="234"/>
                      </a:lnTo>
                      <a:lnTo>
                        <a:pt x="407" y="239"/>
                      </a:lnTo>
                      <a:lnTo>
                        <a:pt x="409" y="239"/>
                      </a:lnTo>
                      <a:lnTo>
                        <a:pt x="409" y="244"/>
                      </a:lnTo>
                      <a:lnTo>
                        <a:pt x="412" y="246"/>
                      </a:lnTo>
                      <a:lnTo>
                        <a:pt x="421" y="251"/>
                      </a:lnTo>
                      <a:lnTo>
                        <a:pt x="444" y="241"/>
                      </a:lnTo>
                      <a:lnTo>
                        <a:pt x="456" y="237"/>
                      </a:lnTo>
                      <a:lnTo>
                        <a:pt x="458" y="237"/>
                      </a:lnTo>
                      <a:lnTo>
                        <a:pt x="458" y="234"/>
                      </a:lnTo>
                      <a:lnTo>
                        <a:pt x="458" y="232"/>
                      </a:lnTo>
                      <a:lnTo>
                        <a:pt x="458" y="230"/>
                      </a:lnTo>
                      <a:lnTo>
                        <a:pt x="461" y="230"/>
                      </a:lnTo>
                      <a:lnTo>
                        <a:pt x="461" y="227"/>
                      </a:lnTo>
                      <a:lnTo>
                        <a:pt x="461" y="225"/>
                      </a:lnTo>
                      <a:lnTo>
                        <a:pt x="456" y="227"/>
                      </a:lnTo>
                      <a:lnTo>
                        <a:pt x="454" y="225"/>
                      </a:lnTo>
                      <a:lnTo>
                        <a:pt x="451" y="223"/>
                      </a:lnTo>
                      <a:lnTo>
                        <a:pt x="454" y="220"/>
                      </a:lnTo>
                      <a:lnTo>
                        <a:pt x="451" y="218"/>
                      </a:lnTo>
                      <a:lnTo>
                        <a:pt x="444" y="211"/>
                      </a:lnTo>
                      <a:lnTo>
                        <a:pt x="440" y="209"/>
                      </a:lnTo>
                      <a:lnTo>
                        <a:pt x="437" y="207"/>
                      </a:lnTo>
                      <a:lnTo>
                        <a:pt x="437" y="204"/>
                      </a:lnTo>
                      <a:lnTo>
                        <a:pt x="440" y="204"/>
                      </a:lnTo>
                      <a:lnTo>
                        <a:pt x="437" y="202"/>
                      </a:lnTo>
                      <a:lnTo>
                        <a:pt x="426" y="207"/>
                      </a:lnTo>
                      <a:lnTo>
                        <a:pt x="407" y="207"/>
                      </a:lnTo>
                      <a:lnTo>
                        <a:pt x="405" y="202"/>
                      </a:lnTo>
                      <a:lnTo>
                        <a:pt x="407" y="200"/>
                      </a:lnTo>
                      <a:lnTo>
                        <a:pt x="409" y="197"/>
                      </a:lnTo>
                      <a:lnTo>
                        <a:pt x="419" y="197"/>
                      </a:lnTo>
                      <a:lnTo>
                        <a:pt x="421" y="195"/>
                      </a:lnTo>
                      <a:lnTo>
                        <a:pt x="428" y="188"/>
                      </a:lnTo>
                      <a:lnTo>
                        <a:pt x="435" y="186"/>
                      </a:lnTo>
                      <a:lnTo>
                        <a:pt x="440" y="186"/>
                      </a:lnTo>
                      <a:lnTo>
                        <a:pt x="468" y="188"/>
                      </a:lnTo>
                      <a:lnTo>
                        <a:pt x="540" y="167"/>
                      </a:lnTo>
                      <a:lnTo>
                        <a:pt x="554" y="153"/>
                      </a:lnTo>
                      <a:lnTo>
                        <a:pt x="558" y="144"/>
                      </a:lnTo>
                      <a:lnTo>
                        <a:pt x="558" y="141"/>
                      </a:lnTo>
                      <a:lnTo>
                        <a:pt x="558" y="139"/>
                      </a:lnTo>
                      <a:lnTo>
                        <a:pt x="558" y="137"/>
                      </a:lnTo>
                      <a:lnTo>
                        <a:pt x="558" y="134"/>
                      </a:lnTo>
                      <a:lnTo>
                        <a:pt x="561" y="132"/>
                      </a:lnTo>
                      <a:lnTo>
                        <a:pt x="563" y="127"/>
                      </a:lnTo>
                      <a:lnTo>
                        <a:pt x="565" y="127"/>
                      </a:lnTo>
                      <a:lnTo>
                        <a:pt x="568" y="127"/>
                      </a:lnTo>
                      <a:lnTo>
                        <a:pt x="572" y="132"/>
                      </a:lnTo>
                      <a:lnTo>
                        <a:pt x="575" y="134"/>
                      </a:lnTo>
                      <a:lnTo>
                        <a:pt x="586" y="132"/>
                      </a:lnTo>
                      <a:lnTo>
                        <a:pt x="596" y="125"/>
                      </a:lnTo>
                      <a:lnTo>
                        <a:pt x="600" y="121"/>
                      </a:lnTo>
                      <a:lnTo>
                        <a:pt x="600" y="118"/>
                      </a:lnTo>
                      <a:lnTo>
                        <a:pt x="600" y="114"/>
                      </a:lnTo>
                      <a:lnTo>
                        <a:pt x="600" y="111"/>
                      </a:lnTo>
                      <a:lnTo>
                        <a:pt x="607" y="111"/>
                      </a:lnTo>
                      <a:lnTo>
                        <a:pt x="626" y="107"/>
                      </a:lnTo>
                      <a:lnTo>
                        <a:pt x="640" y="97"/>
                      </a:lnTo>
                      <a:lnTo>
                        <a:pt x="644" y="95"/>
                      </a:lnTo>
                      <a:lnTo>
                        <a:pt x="647" y="90"/>
                      </a:lnTo>
                      <a:lnTo>
                        <a:pt x="651" y="76"/>
                      </a:lnTo>
                      <a:lnTo>
                        <a:pt x="663" y="65"/>
                      </a:lnTo>
                      <a:lnTo>
                        <a:pt x="668" y="58"/>
                      </a:lnTo>
                      <a:lnTo>
                        <a:pt x="670" y="46"/>
                      </a:lnTo>
                      <a:lnTo>
                        <a:pt x="714" y="4"/>
                      </a:lnTo>
                      <a:lnTo>
                        <a:pt x="724" y="0"/>
                      </a:lnTo>
                      <a:lnTo>
                        <a:pt x="714" y="35"/>
                      </a:lnTo>
                      <a:lnTo>
                        <a:pt x="703" y="53"/>
                      </a:lnTo>
                      <a:lnTo>
                        <a:pt x="703" y="58"/>
                      </a:lnTo>
                      <a:lnTo>
                        <a:pt x="703" y="67"/>
                      </a:lnTo>
                      <a:lnTo>
                        <a:pt x="700" y="72"/>
                      </a:lnTo>
                      <a:close/>
                    </a:path>
                  </a:pathLst>
                </a:custGeom>
                <a:solidFill>
                  <a:schemeClr val="bg1"/>
                </a:solidFill>
                <a:ln w="3175">
                  <a:solidFill>
                    <a:schemeClr val="accent1">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8" name="Freeform 28">
                  <a:extLst>
                    <a:ext uri="{FF2B5EF4-FFF2-40B4-BE49-F238E27FC236}">
                      <a16:creationId xmlns:a16="http://schemas.microsoft.com/office/drawing/2014/main" id="{43F28C14-B570-7663-51A0-DFE917661121}"/>
                    </a:ext>
                  </a:extLst>
                </p:cNvPr>
                <p:cNvSpPr>
                  <a:spLocks/>
                </p:cNvSpPr>
                <p:nvPr/>
              </p:nvSpPr>
              <p:spPr bwMode="auto">
                <a:xfrm>
                  <a:off x="6215063" y="4356100"/>
                  <a:ext cx="963613" cy="1111250"/>
                </a:xfrm>
                <a:custGeom>
                  <a:avLst/>
                  <a:gdLst>
                    <a:gd name="T0" fmla="*/ 123 w 607"/>
                    <a:gd name="T1" fmla="*/ 35 h 700"/>
                    <a:gd name="T2" fmla="*/ 202 w 607"/>
                    <a:gd name="T3" fmla="*/ 75 h 700"/>
                    <a:gd name="T4" fmla="*/ 221 w 607"/>
                    <a:gd name="T5" fmla="*/ 68 h 700"/>
                    <a:gd name="T6" fmla="*/ 230 w 607"/>
                    <a:gd name="T7" fmla="*/ 28 h 700"/>
                    <a:gd name="T8" fmla="*/ 365 w 607"/>
                    <a:gd name="T9" fmla="*/ 30 h 700"/>
                    <a:gd name="T10" fmla="*/ 391 w 607"/>
                    <a:gd name="T11" fmla="*/ 19 h 700"/>
                    <a:gd name="T12" fmla="*/ 458 w 607"/>
                    <a:gd name="T13" fmla="*/ 70 h 700"/>
                    <a:gd name="T14" fmla="*/ 556 w 607"/>
                    <a:gd name="T15" fmla="*/ 119 h 700"/>
                    <a:gd name="T16" fmla="*/ 588 w 607"/>
                    <a:gd name="T17" fmla="*/ 147 h 700"/>
                    <a:gd name="T18" fmla="*/ 605 w 607"/>
                    <a:gd name="T19" fmla="*/ 186 h 700"/>
                    <a:gd name="T20" fmla="*/ 600 w 607"/>
                    <a:gd name="T21" fmla="*/ 260 h 700"/>
                    <a:gd name="T22" fmla="*/ 593 w 607"/>
                    <a:gd name="T23" fmla="*/ 281 h 700"/>
                    <a:gd name="T24" fmla="*/ 570 w 607"/>
                    <a:gd name="T25" fmla="*/ 337 h 700"/>
                    <a:gd name="T26" fmla="*/ 537 w 607"/>
                    <a:gd name="T27" fmla="*/ 412 h 700"/>
                    <a:gd name="T28" fmla="*/ 472 w 607"/>
                    <a:gd name="T29" fmla="*/ 495 h 700"/>
                    <a:gd name="T30" fmla="*/ 428 w 607"/>
                    <a:gd name="T31" fmla="*/ 556 h 700"/>
                    <a:gd name="T32" fmla="*/ 398 w 607"/>
                    <a:gd name="T33" fmla="*/ 574 h 700"/>
                    <a:gd name="T34" fmla="*/ 363 w 607"/>
                    <a:gd name="T35" fmla="*/ 581 h 700"/>
                    <a:gd name="T36" fmla="*/ 342 w 607"/>
                    <a:gd name="T37" fmla="*/ 616 h 700"/>
                    <a:gd name="T38" fmla="*/ 211 w 607"/>
                    <a:gd name="T39" fmla="*/ 646 h 700"/>
                    <a:gd name="T40" fmla="*/ 239 w 607"/>
                    <a:gd name="T41" fmla="*/ 653 h 700"/>
                    <a:gd name="T42" fmla="*/ 256 w 607"/>
                    <a:gd name="T43" fmla="*/ 674 h 700"/>
                    <a:gd name="T44" fmla="*/ 260 w 607"/>
                    <a:gd name="T45" fmla="*/ 679 h 700"/>
                    <a:gd name="T46" fmla="*/ 223 w 607"/>
                    <a:gd name="T47" fmla="*/ 700 h 700"/>
                    <a:gd name="T48" fmla="*/ 207 w 607"/>
                    <a:gd name="T49" fmla="*/ 681 h 700"/>
                    <a:gd name="T50" fmla="*/ 193 w 607"/>
                    <a:gd name="T51" fmla="*/ 676 h 700"/>
                    <a:gd name="T52" fmla="*/ 179 w 607"/>
                    <a:gd name="T53" fmla="*/ 695 h 700"/>
                    <a:gd name="T54" fmla="*/ 174 w 607"/>
                    <a:gd name="T55" fmla="*/ 679 h 700"/>
                    <a:gd name="T56" fmla="*/ 135 w 607"/>
                    <a:gd name="T57" fmla="*/ 667 h 700"/>
                    <a:gd name="T58" fmla="*/ 128 w 607"/>
                    <a:gd name="T59" fmla="*/ 656 h 700"/>
                    <a:gd name="T60" fmla="*/ 123 w 607"/>
                    <a:gd name="T61" fmla="*/ 639 h 700"/>
                    <a:gd name="T62" fmla="*/ 123 w 607"/>
                    <a:gd name="T63" fmla="*/ 630 h 700"/>
                    <a:gd name="T64" fmla="*/ 125 w 607"/>
                    <a:gd name="T65" fmla="*/ 618 h 700"/>
                    <a:gd name="T66" fmla="*/ 125 w 607"/>
                    <a:gd name="T67" fmla="*/ 604 h 700"/>
                    <a:gd name="T68" fmla="*/ 142 w 607"/>
                    <a:gd name="T69" fmla="*/ 583 h 700"/>
                    <a:gd name="T70" fmla="*/ 116 w 607"/>
                    <a:gd name="T71" fmla="*/ 549 h 700"/>
                    <a:gd name="T72" fmla="*/ 109 w 607"/>
                    <a:gd name="T73" fmla="*/ 528 h 700"/>
                    <a:gd name="T74" fmla="*/ 102 w 607"/>
                    <a:gd name="T75" fmla="*/ 465 h 700"/>
                    <a:gd name="T76" fmla="*/ 109 w 607"/>
                    <a:gd name="T77" fmla="*/ 460 h 700"/>
                    <a:gd name="T78" fmla="*/ 116 w 607"/>
                    <a:gd name="T79" fmla="*/ 456 h 700"/>
                    <a:gd name="T80" fmla="*/ 123 w 607"/>
                    <a:gd name="T81" fmla="*/ 453 h 700"/>
                    <a:gd name="T82" fmla="*/ 125 w 607"/>
                    <a:gd name="T83" fmla="*/ 439 h 700"/>
                    <a:gd name="T84" fmla="*/ 128 w 607"/>
                    <a:gd name="T85" fmla="*/ 430 h 700"/>
                    <a:gd name="T86" fmla="*/ 121 w 607"/>
                    <a:gd name="T87" fmla="*/ 412 h 700"/>
                    <a:gd name="T88" fmla="*/ 100 w 607"/>
                    <a:gd name="T89" fmla="*/ 379 h 700"/>
                    <a:gd name="T90" fmla="*/ 100 w 607"/>
                    <a:gd name="T91" fmla="*/ 367 h 700"/>
                    <a:gd name="T92" fmla="*/ 79 w 607"/>
                    <a:gd name="T93" fmla="*/ 337 h 700"/>
                    <a:gd name="T94" fmla="*/ 41 w 607"/>
                    <a:gd name="T95" fmla="*/ 328 h 700"/>
                    <a:gd name="T96" fmla="*/ 25 w 607"/>
                    <a:gd name="T97" fmla="*/ 309 h 700"/>
                    <a:gd name="T98" fmla="*/ 51 w 607"/>
                    <a:gd name="T99" fmla="*/ 293 h 700"/>
                    <a:gd name="T100" fmla="*/ 41 w 607"/>
                    <a:gd name="T101" fmla="*/ 279 h 700"/>
                    <a:gd name="T102" fmla="*/ 23 w 607"/>
                    <a:gd name="T103" fmla="*/ 249 h 700"/>
                    <a:gd name="T104" fmla="*/ 9 w 607"/>
                    <a:gd name="T105" fmla="*/ 214 h 700"/>
                    <a:gd name="T106" fmla="*/ 7 w 607"/>
                    <a:gd name="T107" fmla="*/ 186 h 700"/>
                    <a:gd name="T108" fmla="*/ 11 w 607"/>
                    <a:gd name="T109" fmla="*/ 154 h 700"/>
                    <a:gd name="T110" fmla="*/ 53 w 607"/>
                    <a:gd name="T111" fmla="*/ 3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7" h="700">
                      <a:moveTo>
                        <a:pt x="116" y="40"/>
                      </a:moveTo>
                      <a:lnTo>
                        <a:pt x="118" y="40"/>
                      </a:lnTo>
                      <a:lnTo>
                        <a:pt x="121" y="40"/>
                      </a:lnTo>
                      <a:lnTo>
                        <a:pt x="121" y="37"/>
                      </a:lnTo>
                      <a:lnTo>
                        <a:pt x="121" y="37"/>
                      </a:lnTo>
                      <a:lnTo>
                        <a:pt x="121" y="37"/>
                      </a:lnTo>
                      <a:lnTo>
                        <a:pt x="123" y="35"/>
                      </a:lnTo>
                      <a:lnTo>
                        <a:pt x="125" y="35"/>
                      </a:lnTo>
                      <a:lnTo>
                        <a:pt x="137" y="40"/>
                      </a:lnTo>
                      <a:lnTo>
                        <a:pt x="149" y="42"/>
                      </a:lnTo>
                      <a:lnTo>
                        <a:pt x="181" y="61"/>
                      </a:lnTo>
                      <a:lnTo>
                        <a:pt x="186" y="61"/>
                      </a:lnTo>
                      <a:lnTo>
                        <a:pt x="190" y="63"/>
                      </a:lnTo>
                      <a:lnTo>
                        <a:pt x="202" y="75"/>
                      </a:lnTo>
                      <a:lnTo>
                        <a:pt x="211" y="77"/>
                      </a:lnTo>
                      <a:lnTo>
                        <a:pt x="214" y="79"/>
                      </a:lnTo>
                      <a:lnTo>
                        <a:pt x="216" y="82"/>
                      </a:lnTo>
                      <a:lnTo>
                        <a:pt x="218" y="79"/>
                      </a:lnTo>
                      <a:lnTo>
                        <a:pt x="218" y="77"/>
                      </a:lnTo>
                      <a:lnTo>
                        <a:pt x="221" y="72"/>
                      </a:lnTo>
                      <a:lnTo>
                        <a:pt x="221" y="68"/>
                      </a:lnTo>
                      <a:lnTo>
                        <a:pt x="221" y="63"/>
                      </a:lnTo>
                      <a:lnTo>
                        <a:pt x="225" y="42"/>
                      </a:lnTo>
                      <a:lnTo>
                        <a:pt x="225" y="40"/>
                      </a:lnTo>
                      <a:lnTo>
                        <a:pt x="225" y="35"/>
                      </a:lnTo>
                      <a:lnTo>
                        <a:pt x="225" y="33"/>
                      </a:lnTo>
                      <a:lnTo>
                        <a:pt x="225" y="33"/>
                      </a:lnTo>
                      <a:lnTo>
                        <a:pt x="230" y="28"/>
                      </a:lnTo>
                      <a:lnTo>
                        <a:pt x="235" y="26"/>
                      </a:lnTo>
                      <a:lnTo>
                        <a:pt x="274" y="26"/>
                      </a:lnTo>
                      <a:lnTo>
                        <a:pt x="346" y="0"/>
                      </a:lnTo>
                      <a:lnTo>
                        <a:pt x="349" y="0"/>
                      </a:lnTo>
                      <a:lnTo>
                        <a:pt x="351" y="3"/>
                      </a:lnTo>
                      <a:lnTo>
                        <a:pt x="363" y="30"/>
                      </a:lnTo>
                      <a:lnTo>
                        <a:pt x="365" y="30"/>
                      </a:lnTo>
                      <a:lnTo>
                        <a:pt x="367" y="33"/>
                      </a:lnTo>
                      <a:lnTo>
                        <a:pt x="367" y="33"/>
                      </a:lnTo>
                      <a:lnTo>
                        <a:pt x="370" y="33"/>
                      </a:lnTo>
                      <a:lnTo>
                        <a:pt x="381" y="21"/>
                      </a:lnTo>
                      <a:lnTo>
                        <a:pt x="388" y="19"/>
                      </a:lnTo>
                      <a:lnTo>
                        <a:pt x="388" y="19"/>
                      </a:lnTo>
                      <a:lnTo>
                        <a:pt x="391" y="19"/>
                      </a:lnTo>
                      <a:lnTo>
                        <a:pt x="388" y="21"/>
                      </a:lnTo>
                      <a:lnTo>
                        <a:pt x="393" y="26"/>
                      </a:lnTo>
                      <a:lnTo>
                        <a:pt x="425" y="49"/>
                      </a:lnTo>
                      <a:lnTo>
                        <a:pt x="442" y="58"/>
                      </a:lnTo>
                      <a:lnTo>
                        <a:pt x="451" y="65"/>
                      </a:lnTo>
                      <a:lnTo>
                        <a:pt x="456" y="68"/>
                      </a:lnTo>
                      <a:lnTo>
                        <a:pt x="458" y="70"/>
                      </a:lnTo>
                      <a:lnTo>
                        <a:pt x="498" y="79"/>
                      </a:lnTo>
                      <a:lnTo>
                        <a:pt x="521" y="95"/>
                      </a:lnTo>
                      <a:lnTo>
                        <a:pt x="544" y="105"/>
                      </a:lnTo>
                      <a:lnTo>
                        <a:pt x="549" y="107"/>
                      </a:lnTo>
                      <a:lnTo>
                        <a:pt x="551" y="109"/>
                      </a:lnTo>
                      <a:lnTo>
                        <a:pt x="553" y="114"/>
                      </a:lnTo>
                      <a:lnTo>
                        <a:pt x="556" y="119"/>
                      </a:lnTo>
                      <a:lnTo>
                        <a:pt x="558" y="123"/>
                      </a:lnTo>
                      <a:lnTo>
                        <a:pt x="560" y="128"/>
                      </a:lnTo>
                      <a:lnTo>
                        <a:pt x="563" y="130"/>
                      </a:lnTo>
                      <a:lnTo>
                        <a:pt x="565" y="133"/>
                      </a:lnTo>
                      <a:lnTo>
                        <a:pt x="574" y="135"/>
                      </a:lnTo>
                      <a:lnTo>
                        <a:pt x="579" y="137"/>
                      </a:lnTo>
                      <a:lnTo>
                        <a:pt x="588" y="147"/>
                      </a:lnTo>
                      <a:lnTo>
                        <a:pt x="591" y="149"/>
                      </a:lnTo>
                      <a:lnTo>
                        <a:pt x="593" y="149"/>
                      </a:lnTo>
                      <a:lnTo>
                        <a:pt x="598" y="154"/>
                      </a:lnTo>
                      <a:lnTo>
                        <a:pt x="600" y="158"/>
                      </a:lnTo>
                      <a:lnTo>
                        <a:pt x="602" y="163"/>
                      </a:lnTo>
                      <a:lnTo>
                        <a:pt x="607" y="165"/>
                      </a:lnTo>
                      <a:lnTo>
                        <a:pt x="605" y="186"/>
                      </a:lnTo>
                      <a:lnTo>
                        <a:pt x="602" y="195"/>
                      </a:lnTo>
                      <a:lnTo>
                        <a:pt x="602" y="207"/>
                      </a:lnTo>
                      <a:lnTo>
                        <a:pt x="602" y="230"/>
                      </a:lnTo>
                      <a:lnTo>
                        <a:pt x="602" y="235"/>
                      </a:lnTo>
                      <a:lnTo>
                        <a:pt x="600" y="244"/>
                      </a:lnTo>
                      <a:lnTo>
                        <a:pt x="600" y="249"/>
                      </a:lnTo>
                      <a:lnTo>
                        <a:pt x="600" y="260"/>
                      </a:lnTo>
                      <a:lnTo>
                        <a:pt x="600" y="267"/>
                      </a:lnTo>
                      <a:lnTo>
                        <a:pt x="600" y="270"/>
                      </a:lnTo>
                      <a:lnTo>
                        <a:pt x="600" y="270"/>
                      </a:lnTo>
                      <a:lnTo>
                        <a:pt x="600" y="270"/>
                      </a:lnTo>
                      <a:lnTo>
                        <a:pt x="595" y="277"/>
                      </a:lnTo>
                      <a:lnTo>
                        <a:pt x="593" y="279"/>
                      </a:lnTo>
                      <a:lnTo>
                        <a:pt x="593" y="281"/>
                      </a:lnTo>
                      <a:lnTo>
                        <a:pt x="593" y="286"/>
                      </a:lnTo>
                      <a:lnTo>
                        <a:pt x="584" y="309"/>
                      </a:lnTo>
                      <a:lnTo>
                        <a:pt x="581" y="312"/>
                      </a:lnTo>
                      <a:lnTo>
                        <a:pt x="581" y="319"/>
                      </a:lnTo>
                      <a:lnTo>
                        <a:pt x="581" y="323"/>
                      </a:lnTo>
                      <a:lnTo>
                        <a:pt x="579" y="326"/>
                      </a:lnTo>
                      <a:lnTo>
                        <a:pt x="570" y="337"/>
                      </a:lnTo>
                      <a:lnTo>
                        <a:pt x="563" y="351"/>
                      </a:lnTo>
                      <a:lnTo>
                        <a:pt x="560" y="353"/>
                      </a:lnTo>
                      <a:lnTo>
                        <a:pt x="558" y="356"/>
                      </a:lnTo>
                      <a:lnTo>
                        <a:pt x="558" y="358"/>
                      </a:lnTo>
                      <a:lnTo>
                        <a:pt x="556" y="367"/>
                      </a:lnTo>
                      <a:lnTo>
                        <a:pt x="549" y="391"/>
                      </a:lnTo>
                      <a:lnTo>
                        <a:pt x="537" y="412"/>
                      </a:lnTo>
                      <a:lnTo>
                        <a:pt x="537" y="412"/>
                      </a:lnTo>
                      <a:lnTo>
                        <a:pt x="537" y="412"/>
                      </a:lnTo>
                      <a:lnTo>
                        <a:pt x="526" y="449"/>
                      </a:lnTo>
                      <a:lnTo>
                        <a:pt x="526" y="449"/>
                      </a:lnTo>
                      <a:lnTo>
                        <a:pt x="526" y="449"/>
                      </a:lnTo>
                      <a:lnTo>
                        <a:pt x="516" y="453"/>
                      </a:lnTo>
                      <a:lnTo>
                        <a:pt x="472" y="495"/>
                      </a:lnTo>
                      <a:lnTo>
                        <a:pt x="470" y="507"/>
                      </a:lnTo>
                      <a:lnTo>
                        <a:pt x="465" y="514"/>
                      </a:lnTo>
                      <a:lnTo>
                        <a:pt x="453" y="525"/>
                      </a:lnTo>
                      <a:lnTo>
                        <a:pt x="449" y="539"/>
                      </a:lnTo>
                      <a:lnTo>
                        <a:pt x="446" y="544"/>
                      </a:lnTo>
                      <a:lnTo>
                        <a:pt x="442" y="546"/>
                      </a:lnTo>
                      <a:lnTo>
                        <a:pt x="428" y="556"/>
                      </a:lnTo>
                      <a:lnTo>
                        <a:pt x="409" y="560"/>
                      </a:lnTo>
                      <a:lnTo>
                        <a:pt x="402" y="560"/>
                      </a:lnTo>
                      <a:lnTo>
                        <a:pt x="402" y="560"/>
                      </a:lnTo>
                      <a:lnTo>
                        <a:pt x="402" y="563"/>
                      </a:lnTo>
                      <a:lnTo>
                        <a:pt x="402" y="567"/>
                      </a:lnTo>
                      <a:lnTo>
                        <a:pt x="402" y="570"/>
                      </a:lnTo>
                      <a:lnTo>
                        <a:pt x="398" y="574"/>
                      </a:lnTo>
                      <a:lnTo>
                        <a:pt x="388" y="581"/>
                      </a:lnTo>
                      <a:lnTo>
                        <a:pt x="377" y="583"/>
                      </a:lnTo>
                      <a:lnTo>
                        <a:pt x="374" y="581"/>
                      </a:lnTo>
                      <a:lnTo>
                        <a:pt x="370" y="576"/>
                      </a:lnTo>
                      <a:lnTo>
                        <a:pt x="367" y="576"/>
                      </a:lnTo>
                      <a:lnTo>
                        <a:pt x="365" y="576"/>
                      </a:lnTo>
                      <a:lnTo>
                        <a:pt x="363" y="581"/>
                      </a:lnTo>
                      <a:lnTo>
                        <a:pt x="360" y="583"/>
                      </a:lnTo>
                      <a:lnTo>
                        <a:pt x="360" y="586"/>
                      </a:lnTo>
                      <a:lnTo>
                        <a:pt x="360" y="588"/>
                      </a:lnTo>
                      <a:lnTo>
                        <a:pt x="360" y="590"/>
                      </a:lnTo>
                      <a:lnTo>
                        <a:pt x="360" y="593"/>
                      </a:lnTo>
                      <a:lnTo>
                        <a:pt x="356" y="602"/>
                      </a:lnTo>
                      <a:lnTo>
                        <a:pt x="342" y="616"/>
                      </a:lnTo>
                      <a:lnTo>
                        <a:pt x="270" y="637"/>
                      </a:lnTo>
                      <a:lnTo>
                        <a:pt x="242" y="635"/>
                      </a:lnTo>
                      <a:lnTo>
                        <a:pt x="237" y="635"/>
                      </a:lnTo>
                      <a:lnTo>
                        <a:pt x="230" y="637"/>
                      </a:lnTo>
                      <a:lnTo>
                        <a:pt x="223" y="644"/>
                      </a:lnTo>
                      <a:lnTo>
                        <a:pt x="221" y="646"/>
                      </a:lnTo>
                      <a:lnTo>
                        <a:pt x="211" y="646"/>
                      </a:lnTo>
                      <a:lnTo>
                        <a:pt x="209" y="649"/>
                      </a:lnTo>
                      <a:lnTo>
                        <a:pt x="207" y="651"/>
                      </a:lnTo>
                      <a:lnTo>
                        <a:pt x="209" y="656"/>
                      </a:lnTo>
                      <a:lnTo>
                        <a:pt x="228" y="656"/>
                      </a:lnTo>
                      <a:lnTo>
                        <a:pt x="239" y="651"/>
                      </a:lnTo>
                      <a:lnTo>
                        <a:pt x="242" y="653"/>
                      </a:lnTo>
                      <a:lnTo>
                        <a:pt x="239" y="653"/>
                      </a:lnTo>
                      <a:lnTo>
                        <a:pt x="239" y="656"/>
                      </a:lnTo>
                      <a:lnTo>
                        <a:pt x="242" y="658"/>
                      </a:lnTo>
                      <a:lnTo>
                        <a:pt x="246" y="660"/>
                      </a:lnTo>
                      <a:lnTo>
                        <a:pt x="253" y="667"/>
                      </a:lnTo>
                      <a:lnTo>
                        <a:pt x="256" y="669"/>
                      </a:lnTo>
                      <a:lnTo>
                        <a:pt x="253" y="672"/>
                      </a:lnTo>
                      <a:lnTo>
                        <a:pt x="256" y="674"/>
                      </a:lnTo>
                      <a:lnTo>
                        <a:pt x="258" y="676"/>
                      </a:lnTo>
                      <a:lnTo>
                        <a:pt x="263" y="674"/>
                      </a:lnTo>
                      <a:lnTo>
                        <a:pt x="263" y="674"/>
                      </a:lnTo>
                      <a:lnTo>
                        <a:pt x="263" y="676"/>
                      </a:lnTo>
                      <a:lnTo>
                        <a:pt x="263" y="676"/>
                      </a:lnTo>
                      <a:lnTo>
                        <a:pt x="263" y="679"/>
                      </a:lnTo>
                      <a:lnTo>
                        <a:pt x="260" y="679"/>
                      </a:lnTo>
                      <a:lnTo>
                        <a:pt x="260" y="679"/>
                      </a:lnTo>
                      <a:lnTo>
                        <a:pt x="260" y="681"/>
                      </a:lnTo>
                      <a:lnTo>
                        <a:pt x="260" y="683"/>
                      </a:lnTo>
                      <a:lnTo>
                        <a:pt x="260" y="686"/>
                      </a:lnTo>
                      <a:lnTo>
                        <a:pt x="258" y="686"/>
                      </a:lnTo>
                      <a:lnTo>
                        <a:pt x="246" y="690"/>
                      </a:lnTo>
                      <a:lnTo>
                        <a:pt x="223" y="700"/>
                      </a:lnTo>
                      <a:lnTo>
                        <a:pt x="214" y="695"/>
                      </a:lnTo>
                      <a:lnTo>
                        <a:pt x="211" y="693"/>
                      </a:lnTo>
                      <a:lnTo>
                        <a:pt x="211" y="693"/>
                      </a:lnTo>
                      <a:lnTo>
                        <a:pt x="211" y="688"/>
                      </a:lnTo>
                      <a:lnTo>
                        <a:pt x="209" y="688"/>
                      </a:lnTo>
                      <a:lnTo>
                        <a:pt x="209" y="683"/>
                      </a:lnTo>
                      <a:lnTo>
                        <a:pt x="207" y="681"/>
                      </a:lnTo>
                      <a:lnTo>
                        <a:pt x="204" y="679"/>
                      </a:lnTo>
                      <a:lnTo>
                        <a:pt x="204" y="676"/>
                      </a:lnTo>
                      <a:lnTo>
                        <a:pt x="202" y="674"/>
                      </a:lnTo>
                      <a:lnTo>
                        <a:pt x="200" y="672"/>
                      </a:lnTo>
                      <a:lnTo>
                        <a:pt x="197" y="672"/>
                      </a:lnTo>
                      <a:lnTo>
                        <a:pt x="195" y="674"/>
                      </a:lnTo>
                      <a:lnTo>
                        <a:pt x="193" y="676"/>
                      </a:lnTo>
                      <a:lnTo>
                        <a:pt x="193" y="679"/>
                      </a:lnTo>
                      <a:lnTo>
                        <a:pt x="190" y="683"/>
                      </a:lnTo>
                      <a:lnTo>
                        <a:pt x="190" y="686"/>
                      </a:lnTo>
                      <a:lnTo>
                        <a:pt x="188" y="688"/>
                      </a:lnTo>
                      <a:lnTo>
                        <a:pt x="186" y="693"/>
                      </a:lnTo>
                      <a:lnTo>
                        <a:pt x="181" y="695"/>
                      </a:lnTo>
                      <a:lnTo>
                        <a:pt x="179" y="695"/>
                      </a:lnTo>
                      <a:lnTo>
                        <a:pt x="179" y="693"/>
                      </a:lnTo>
                      <a:lnTo>
                        <a:pt x="179" y="690"/>
                      </a:lnTo>
                      <a:lnTo>
                        <a:pt x="179" y="686"/>
                      </a:lnTo>
                      <a:lnTo>
                        <a:pt x="179" y="683"/>
                      </a:lnTo>
                      <a:lnTo>
                        <a:pt x="176" y="681"/>
                      </a:lnTo>
                      <a:lnTo>
                        <a:pt x="176" y="679"/>
                      </a:lnTo>
                      <a:lnTo>
                        <a:pt x="174" y="679"/>
                      </a:lnTo>
                      <a:lnTo>
                        <a:pt x="172" y="679"/>
                      </a:lnTo>
                      <a:lnTo>
                        <a:pt x="162" y="683"/>
                      </a:lnTo>
                      <a:lnTo>
                        <a:pt x="158" y="676"/>
                      </a:lnTo>
                      <a:lnTo>
                        <a:pt x="156" y="676"/>
                      </a:lnTo>
                      <a:lnTo>
                        <a:pt x="146" y="674"/>
                      </a:lnTo>
                      <a:lnTo>
                        <a:pt x="142" y="672"/>
                      </a:lnTo>
                      <a:lnTo>
                        <a:pt x="135" y="667"/>
                      </a:lnTo>
                      <a:lnTo>
                        <a:pt x="132" y="667"/>
                      </a:lnTo>
                      <a:lnTo>
                        <a:pt x="132" y="667"/>
                      </a:lnTo>
                      <a:lnTo>
                        <a:pt x="132" y="662"/>
                      </a:lnTo>
                      <a:lnTo>
                        <a:pt x="132" y="660"/>
                      </a:lnTo>
                      <a:lnTo>
                        <a:pt x="132" y="660"/>
                      </a:lnTo>
                      <a:lnTo>
                        <a:pt x="132" y="658"/>
                      </a:lnTo>
                      <a:lnTo>
                        <a:pt x="128" y="656"/>
                      </a:lnTo>
                      <a:lnTo>
                        <a:pt x="125" y="656"/>
                      </a:lnTo>
                      <a:lnTo>
                        <a:pt x="125" y="651"/>
                      </a:lnTo>
                      <a:lnTo>
                        <a:pt x="125" y="651"/>
                      </a:lnTo>
                      <a:lnTo>
                        <a:pt x="125" y="644"/>
                      </a:lnTo>
                      <a:lnTo>
                        <a:pt x="125" y="642"/>
                      </a:lnTo>
                      <a:lnTo>
                        <a:pt x="125" y="639"/>
                      </a:lnTo>
                      <a:lnTo>
                        <a:pt x="123" y="639"/>
                      </a:lnTo>
                      <a:lnTo>
                        <a:pt x="123" y="637"/>
                      </a:lnTo>
                      <a:lnTo>
                        <a:pt x="121" y="637"/>
                      </a:lnTo>
                      <a:lnTo>
                        <a:pt x="121" y="635"/>
                      </a:lnTo>
                      <a:lnTo>
                        <a:pt x="123" y="632"/>
                      </a:lnTo>
                      <a:lnTo>
                        <a:pt x="123" y="630"/>
                      </a:lnTo>
                      <a:lnTo>
                        <a:pt x="123" y="630"/>
                      </a:lnTo>
                      <a:lnTo>
                        <a:pt x="123" y="630"/>
                      </a:lnTo>
                      <a:lnTo>
                        <a:pt x="123" y="628"/>
                      </a:lnTo>
                      <a:lnTo>
                        <a:pt x="121" y="623"/>
                      </a:lnTo>
                      <a:lnTo>
                        <a:pt x="121" y="621"/>
                      </a:lnTo>
                      <a:lnTo>
                        <a:pt x="121" y="621"/>
                      </a:lnTo>
                      <a:lnTo>
                        <a:pt x="121" y="618"/>
                      </a:lnTo>
                      <a:lnTo>
                        <a:pt x="123" y="618"/>
                      </a:lnTo>
                      <a:lnTo>
                        <a:pt x="125" y="618"/>
                      </a:lnTo>
                      <a:lnTo>
                        <a:pt x="123" y="616"/>
                      </a:lnTo>
                      <a:lnTo>
                        <a:pt x="123" y="614"/>
                      </a:lnTo>
                      <a:lnTo>
                        <a:pt x="123" y="611"/>
                      </a:lnTo>
                      <a:lnTo>
                        <a:pt x="123" y="609"/>
                      </a:lnTo>
                      <a:lnTo>
                        <a:pt x="125" y="607"/>
                      </a:lnTo>
                      <a:lnTo>
                        <a:pt x="125" y="607"/>
                      </a:lnTo>
                      <a:lnTo>
                        <a:pt x="125" y="604"/>
                      </a:lnTo>
                      <a:lnTo>
                        <a:pt x="125" y="602"/>
                      </a:lnTo>
                      <a:lnTo>
                        <a:pt x="125" y="600"/>
                      </a:lnTo>
                      <a:lnTo>
                        <a:pt x="128" y="597"/>
                      </a:lnTo>
                      <a:lnTo>
                        <a:pt x="142" y="602"/>
                      </a:lnTo>
                      <a:lnTo>
                        <a:pt x="142" y="600"/>
                      </a:lnTo>
                      <a:lnTo>
                        <a:pt x="142" y="588"/>
                      </a:lnTo>
                      <a:lnTo>
                        <a:pt x="142" y="583"/>
                      </a:lnTo>
                      <a:lnTo>
                        <a:pt x="139" y="581"/>
                      </a:lnTo>
                      <a:lnTo>
                        <a:pt x="135" y="574"/>
                      </a:lnTo>
                      <a:lnTo>
                        <a:pt x="132" y="572"/>
                      </a:lnTo>
                      <a:lnTo>
                        <a:pt x="121" y="563"/>
                      </a:lnTo>
                      <a:lnTo>
                        <a:pt x="118" y="563"/>
                      </a:lnTo>
                      <a:lnTo>
                        <a:pt x="116" y="558"/>
                      </a:lnTo>
                      <a:lnTo>
                        <a:pt x="116" y="549"/>
                      </a:lnTo>
                      <a:lnTo>
                        <a:pt x="116" y="546"/>
                      </a:lnTo>
                      <a:lnTo>
                        <a:pt x="114" y="546"/>
                      </a:lnTo>
                      <a:lnTo>
                        <a:pt x="111" y="546"/>
                      </a:lnTo>
                      <a:lnTo>
                        <a:pt x="109" y="546"/>
                      </a:lnTo>
                      <a:lnTo>
                        <a:pt x="109" y="539"/>
                      </a:lnTo>
                      <a:lnTo>
                        <a:pt x="109" y="532"/>
                      </a:lnTo>
                      <a:lnTo>
                        <a:pt x="109" y="528"/>
                      </a:lnTo>
                      <a:lnTo>
                        <a:pt x="111" y="525"/>
                      </a:lnTo>
                      <a:lnTo>
                        <a:pt x="111" y="521"/>
                      </a:lnTo>
                      <a:lnTo>
                        <a:pt x="88" y="497"/>
                      </a:lnTo>
                      <a:lnTo>
                        <a:pt x="86" y="491"/>
                      </a:lnTo>
                      <a:lnTo>
                        <a:pt x="93" y="474"/>
                      </a:lnTo>
                      <a:lnTo>
                        <a:pt x="100" y="467"/>
                      </a:lnTo>
                      <a:lnTo>
                        <a:pt x="102" y="465"/>
                      </a:lnTo>
                      <a:lnTo>
                        <a:pt x="104" y="467"/>
                      </a:lnTo>
                      <a:lnTo>
                        <a:pt x="107" y="467"/>
                      </a:lnTo>
                      <a:lnTo>
                        <a:pt x="107" y="465"/>
                      </a:lnTo>
                      <a:lnTo>
                        <a:pt x="109" y="463"/>
                      </a:lnTo>
                      <a:lnTo>
                        <a:pt x="109" y="463"/>
                      </a:lnTo>
                      <a:lnTo>
                        <a:pt x="109" y="460"/>
                      </a:lnTo>
                      <a:lnTo>
                        <a:pt x="109" y="460"/>
                      </a:lnTo>
                      <a:lnTo>
                        <a:pt x="107" y="460"/>
                      </a:lnTo>
                      <a:lnTo>
                        <a:pt x="107" y="460"/>
                      </a:lnTo>
                      <a:lnTo>
                        <a:pt x="109" y="458"/>
                      </a:lnTo>
                      <a:lnTo>
                        <a:pt x="111" y="456"/>
                      </a:lnTo>
                      <a:lnTo>
                        <a:pt x="111" y="456"/>
                      </a:lnTo>
                      <a:lnTo>
                        <a:pt x="114" y="456"/>
                      </a:lnTo>
                      <a:lnTo>
                        <a:pt x="116" y="456"/>
                      </a:lnTo>
                      <a:lnTo>
                        <a:pt x="121" y="458"/>
                      </a:lnTo>
                      <a:lnTo>
                        <a:pt x="123" y="460"/>
                      </a:lnTo>
                      <a:lnTo>
                        <a:pt x="125" y="460"/>
                      </a:lnTo>
                      <a:lnTo>
                        <a:pt x="128" y="458"/>
                      </a:lnTo>
                      <a:lnTo>
                        <a:pt x="125" y="458"/>
                      </a:lnTo>
                      <a:lnTo>
                        <a:pt x="123" y="456"/>
                      </a:lnTo>
                      <a:lnTo>
                        <a:pt x="123" y="453"/>
                      </a:lnTo>
                      <a:lnTo>
                        <a:pt x="123" y="451"/>
                      </a:lnTo>
                      <a:lnTo>
                        <a:pt x="121" y="449"/>
                      </a:lnTo>
                      <a:lnTo>
                        <a:pt x="121" y="446"/>
                      </a:lnTo>
                      <a:lnTo>
                        <a:pt x="121" y="444"/>
                      </a:lnTo>
                      <a:lnTo>
                        <a:pt x="123" y="442"/>
                      </a:lnTo>
                      <a:lnTo>
                        <a:pt x="123" y="439"/>
                      </a:lnTo>
                      <a:lnTo>
                        <a:pt x="125" y="439"/>
                      </a:lnTo>
                      <a:lnTo>
                        <a:pt x="125" y="437"/>
                      </a:lnTo>
                      <a:lnTo>
                        <a:pt x="123" y="437"/>
                      </a:lnTo>
                      <a:lnTo>
                        <a:pt x="123" y="437"/>
                      </a:lnTo>
                      <a:lnTo>
                        <a:pt x="123" y="437"/>
                      </a:lnTo>
                      <a:lnTo>
                        <a:pt x="123" y="435"/>
                      </a:lnTo>
                      <a:lnTo>
                        <a:pt x="123" y="432"/>
                      </a:lnTo>
                      <a:lnTo>
                        <a:pt x="128" y="430"/>
                      </a:lnTo>
                      <a:lnTo>
                        <a:pt x="132" y="428"/>
                      </a:lnTo>
                      <a:lnTo>
                        <a:pt x="132" y="425"/>
                      </a:lnTo>
                      <a:lnTo>
                        <a:pt x="121" y="418"/>
                      </a:lnTo>
                      <a:lnTo>
                        <a:pt x="121" y="416"/>
                      </a:lnTo>
                      <a:lnTo>
                        <a:pt x="121" y="416"/>
                      </a:lnTo>
                      <a:lnTo>
                        <a:pt x="121" y="414"/>
                      </a:lnTo>
                      <a:lnTo>
                        <a:pt x="121" y="412"/>
                      </a:lnTo>
                      <a:lnTo>
                        <a:pt x="121" y="407"/>
                      </a:lnTo>
                      <a:lnTo>
                        <a:pt x="118" y="405"/>
                      </a:lnTo>
                      <a:lnTo>
                        <a:pt x="109" y="405"/>
                      </a:lnTo>
                      <a:lnTo>
                        <a:pt x="107" y="405"/>
                      </a:lnTo>
                      <a:lnTo>
                        <a:pt x="93" y="398"/>
                      </a:lnTo>
                      <a:lnTo>
                        <a:pt x="93" y="395"/>
                      </a:lnTo>
                      <a:lnTo>
                        <a:pt x="100" y="379"/>
                      </a:lnTo>
                      <a:lnTo>
                        <a:pt x="100" y="377"/>
                      </a:lnTo>
                      <a:lnTo>
                        <a:pt x="100" y="374"/>
                      </a:lnTo>
                      <a:lnTo>
                        <a:pt x="100" y="374"/>
                      </a:lnTo>
                      <a:lnTo>
                        <a:pt x="100" y="374"/>
                      </a:lnTo>
                      <a:lnTo>
                        <a:pt x="100" y="374"/>
                      </a:lnTo>
                      <a:lnTo>
                        <a:pt x="100" y="372"/>
                      </a:lnTo>
                      <a:lnTo>
                        <a:pt x="100" y="367"/>
                      </a:lnTo>
                      <a:lnTo>
                        <a:pt x="95" y="360"/>
                      </a:lnTo>
                      <a:lnTo>
                        <a:pt x="93" y="353"/>
                      </a:lnTo>
                      <a:lnTo>
                        <a:pt x="88" y="351"/>
                      </a:lnTo>
                      <a:lnTo>
                        <a:pt x="86" y="346"/>
                      </a:lnTo>
                      <a:lnTo>
                        <a:pt x="86" y="344"/>
                      </a:lnTo>
                      <a:lnTo>
                        <a:pt x="83" y="342"/>
                      </a:lnTo>
                      <a:lnTo>
                        <a:pt x="79" y="337"/>
                      </a:lnTo>
                      <a:lnTo>
                        <a:pt x="74" y="337"/>
                      </a:lnTo>
                      <a:lnTo>
                        <a:pt x="72" y="337"/>
                      </a:lnTo>
                      <a:lnTo>
                        <a:pt x="69" y="339"/>
                      </a:lnTo>
                      <a:lnTo>
                        <a:pt x="69" y="344"/>
                      </a:lnTo>
                      <a:lnTo>
                        <a:pt x="67" y="344"/>
                      </a:lnTo>
                      <a:lnTo>
                        <a:pt x="44" y="330"/>
                      </a:lnTo>
                      <a:lnTo>
                        <a:pt x="41" y="328"/>
                      </a:lnTo>
                      <a:lnTo>
                        <a:pt x="41" y="323"/>
                      </a:lnTo>
                      <a:lnTo>
                        <a:pt x="44" y="323"/>
                      </a:lnTo>
                      <a:lnTo>
                        <a:pt x="39" y="321"/>
                      </a:lnTo>
                      <a:lnTo>
                        <a:pt x="32" y="319"/>
                      </a:lnTo>
                      <a:lnTo>
                        <a:pt x="28" y="316"/>
                      </a:lnTo>
                      <a:lnTo>
                        <a:pt x="25" y="312"/>
                      </a:lnTo>
                      <a:lnTo>
                        <a:pt x="25" y="309"/>
                      </a:lnTo>
                      <a:lnTo>
                        <a:pt x="37" y="302"/>
                      </a:lnTo>
                      <a:lnTo>
                        <a:pt x="44" y="300"/>
                      </a:lnTo>
                      <a:lnTo>
                        <a:pt x="48" y="302"/>
                      </a:lnTo>
                      <a:lnTo>
                        <a:pt x="48" y="302"/>
                      </a:lnTo>
                      <a:lnTo>
                        <a:pt x="51" y="298"/>
                      </a:lnTo>
                      <a:lnTo>
                        <a:pt x="51" y="295"/>
                      </a:lnTo>
                      <a:lnTo>
                        <a:pt x="51" y="293"/>
                      </a:lnTo>
                      <a:lnTo>
                        <a:pt x="48" y="293"/>
                      </a:lnTo>
                      <a:lnTo>
                        <a:pt x="46" y="291"/>
                      </a:lnTo>
                      <a:lnTo>
                        <a:pt x="41" y="288"/>
                      </a:lnTo>
                      <a:lnTo>
                        <a:pt x="39" y="286"/>
                      </a:lnTo>
                      <a:lnTo>
                        <a:pt x="39" y="281"/>
                      </a:lnTo>
                      <a:lnTo>
                        <a:pt x="39" y="281"/>
                      </a:lnTo>
                      <a:lnTo>
                        <a:pt x="41" y="279"/>
                      </a:lnTo>
                      <a:lnTo>
                        <a:pt x="46" y="279"/>
                      </a:lnTo>
                      <a:lnTo>
                        <a:pt x="46" y="277"/>
                      </a:lnTo>
                      <a:lnTo>
                        <a:pt x="41" y="274"/>
                      </a:lnTo>
                      <a:lnTo>
                        <a:pt x="37" y="267"/>
                      </a:lnTo>
                      <a:lnTo>
                        <a:pt x="30" y="260"/>
                      </a:lnTo>
                      <a:lnTo>
                        <a:pt x="25" y="256"/>
                      </a:lnTo>
                      <a:lnTo>
                        <a:pt x="23" y="249"/>
                      </a:lnTo>
                      <a:lnTo>
                        <a:pt x="23" y="244"/>
                      </a:lnTo>
                      <a:lnTo>
                        <a:pt x="23" y="242"/>
                      </a:lnTo>
                      <a:lnTo>
                        <a:pt x="25" y="242"/>
                      </a:lnTo>
                      <a:lnTo>
                        <a:pt x="23" y="237"/>
                      </a:lnTo>
                      <a:lnTo>
                        <a:pt x="21" y="233"/>
                      </a:lnTo>
                      <a:lnTo>
                        <a:pt x="14" y="219"/>
                      </a:lnTo>
                      <a:lnTo>
                        <a:pt x="9" y="214"/>
                      </a:lnTo>
                      <a:lnTo>
                        <a:pt x="7" y="212"/>
                      </a:lnTo>
                      <a:lnTo>
                        <a:pt x="7" y="207"/>
                      </a:lnTo>
                      <a:lnTo>
                        <a:pt x="7" y="205"/>
                      </a:lnTo>
                      <a:lnTo>
                        <a:pt x="11" y="191"/>
                      </a:lnTo>
                      <a:lnTo>
                        <a:pt x="11" y="188"/>
                      </a:lnTo>
                      <a:lnTo>
                        <a:pt x="9" y="186"/>
                      </a:lnTo>
                      <a:lnTo>
                        <a:pt x="7" y="186"/>
                      </a:lnTo>
                      <a:lnTo>
                        <a:pt x="9" y="179"/>
                      </a:lnTo>
                      <a:lnTo>
                        <a:pt x="9" y="177"/>
                      </a:lnTo>
                      <a:lnTo>
                        <a:pt x="9" y="174"/>
                      </a:lnTo>
                      <a:lnTo>
                        <a:pt x="9" y="165"/>
                      </a:lnTo>
                      <a:lnTo>
                        <a:pt x="9" y="163"/>
                      </a:lnTo>
                      <a:lnTo>
                        <a:pt x="9" y="156"/>
                      </a:lnTo>
                      <a:lnTo>
                        <a:pt x="11" y="154"/>
                      </a:lnTo>
                      <a:lnTo>
                        <a:pt x="16" y="151"/>
                      </a:lnTo>
                      <a:lnTo>
                        <a:pt x="14" y="144"/>
                      </a:lnTo>
                      <a:lnTo>
                        <a:pt x="2" y="107"/>
                      </a:lnTo>
                      <a:lnTo>
                        <a:pt x="0" y="102"/>
                      </a:lnTo>
                      <a:lnTo>
                        <a:pt x="2" y="89"/>
                      </a:lnTo>
                      <a:lnTo>
                        <a:pt x="34" y="44"/>
                      </a:lnTo>
                      <a:lnTo>
                        <a:pt x="53" y="33"/>
                      </a:lnTo>
                      <a:lnTo>
                        <a:pt x="109" y="35"/>
                      </a:lnTo>
                      <a:lnTo>
                        <a:pt x="111" y="37"/>
                      </a:lnTo>
                      <a:lnTo>
                        <a:pt x="116" y="40"/>
                      </a:lnTo>
                      <a:lnTo>
                        <a:pt x="116" y="40"/>
                      </a:lnTo>
                      <a:close/>
                    </a:path>
                  </a:pathLst>
                </a:custGeom>
                <a:solidFill>
                  <a:schemeClr val="bg1"/>
                </a:solidFill>
                <a:ln w="3175">
                  <a:solidFill>
                    <a:schemeClr val="accent1">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59" name="Freeform 29">
                  <a:extLst>
                    <a:ext uri="{FF2B5EF4-FFF2-40B4-BE49-F238E27FC236}">
                      <a16:creationId xmlns:a16="http://schemas.microsoft.com/office/drawing/2014/main" id="{73BAC7AB-02FB-6385-AC57-325655F9CCDA}"/>
                    </a:ext>
                  </a:extLst>
                </p:cNvPr>
                <p:cNvSpPr>
                  <a:spLocks noEditPoints="1"/>
                </p:cNvSpPr>
                <p:nvPr/>
              </p:nvSpPr>
              <p:spPr bwMode="auto">
                <a:xfrm>
                  <a:off x="5391150" y="4467225"/>
                  <a:ext cx="1049338" cy="1644650"/>
                </a:xfrm>
                <a:custGeom>
                  <a:avLst/>
                  <a:gdLst>
                    <a:gd name="T0" fmla="*/ 325 w 661"/>
                    <a:gd name="T1" fmla="*/ 990 h 1036"/>
                    <a:gd name="T2" fmla="*/ 328 w 661"/>
                    <a:gd name="T3" fmla="*/ 969 h 1036"/>
                    <a:gd name="T4" fmla="*/ 174 w 661"/>
                    <a:gd name="T5" fmla="*/ 985 h 1036"/>
                    <a:gd name="T6" fmla="*/ 193 w 661"/>
                    <a:gd name="T7" fmla="*/ 976 h 1036"/>
                    <a:gd name="T8" fmla="*/ 258 w 661"/>
                    <a:gd name="T9" fmla="*/ 962 h 1036"/>
                    <a:gd name="T10" fmla="*/ 218 w 661"/>
                    <a:gd name="T11" fmla="*/ 960 h 1036"/>
                    <a:gd name="T12" fmla="*/ 167 w 661"/>
                    <a:gd name="T13" fmla="*/ 955 h 1036"/>
                    <a:gd name="T14" fmla="*/ 293 w 661"/>
                    <a:gd name="T15" fmla="*/ 994 h 1036"/>
                    <a:gd name="T16" fmla="*/ 267 w 661"/>
                    <a:gd name="T17" fmla="*/ 948 h 1036"/>
                    <a:gd name="T18" fmla="*/ 211 w 661"/>
                    <a:gd name="T19" fmla="*/ 941 h 1036"/>
                    <a:gd name="T20" fmla="*/ 235 w 661"/>
                    <a:gd name="T21" fmla="*/ 941 h 1036"/>
                    <a:gd name="T22" fmla="*/ 253 w 661"/>
                    <a:gd name="T23" fmla="*/ 920 h 1036"/>
                    <a:gd name="T24" fmla="*/ 128 w 661"/>
                    <a:gd name="T25" fmla="*/ 934 h 1036"/>
                    <a:gd name="T26" fmla="*/ 188 w 661"/>
                    <a:gd name="T27" fmla="*/ 927 h 1036"/>
                    <a:gd name="T28" fmla="*/ 174 w 661"/>
                    <a:gd name="T29" fmla="*/ 902 h 1036"/>
                    <a:gd name="T30" fmla="*/ 130 w 661"/>
                    <a:gd name="T31" fmla="*/ 897 h 1036"/>
                    <a:gd name="T32" fmla="*/ 121 w 661"/>
                    <a:gd name="T33" fmla="*/ 890 h 1036"/>
                    <a:gd name="T34" fmla="*/ 109 w 661"/>
                    <a:gd name="T35" fmla="*/ 809 h 1036"/>
                    <a:gd name="T36" fmla="*/ 100 w 661"/>
                    <a:gd name="T37" fmla="*/ 639 h 1036"/>
                    <a:gd name="T38" fmla="*/ 9 w 661"/>
                    <a:gd name="T39" fmla="*/ 256 h 1036"/>
                    <a:gd name="T40" fmla="*/ 34 w 661"/>
                    <a:gd name="T41" fmla="*/ 269 h 1036"/>
                    <a:gd name="T42" fmla="*/ 97 w 661"/>
                    <a:gd name="T43" fmla="*/ 242 h 1036"/>
                    <a:gd name="T44" fmla="*/ 107 w 661"/>
                    <a:gd name="T45" fmla="*/ 242 h 1036"/>
                    <a:gd name="T46" fmla="*/ 25 w 661"/>
                    <a:gd name="T47" fmla="*/ 232 h 1036"/>
                    <a:gd name="T48" fmla="*/ 100 w 661"/>
                    <a:gd name="T49" fmla="*/ 216 h 1036"/>
                    <a:gd name="T50" fmla="*/ 293 w 661"/>
                    <a:gd name="T51" fmla="*/ 42 h 1036"/>
                    <a:gd name="T52" fmla="*/ 509 w 661"/>
                    <a:gd name="T53" fmla="*/ 125 h 1036"/>
                    <a:gd name="T54" fmla="*/ 567 w 661"/>
                    <a:gd name="T55" fmla="*/ 223 h 1036"/>
                    <a:gd name="T56" fmla="*/ 619 w 661"/>
                    <a:gd name="T57" fmla="*/ 297 h 1036"/>
                    <a:gd name="T58" fmla="*/ 642 w 661"/>
                    <a:gd name="T59" fmla="*/ 381 h 1036"/>
                    <a:gd name="T60" fmla="*/ 628 w 661"/>
                    <a:gd name="T61" fmla="*/ 476 h 1036"/>
                    <a:gd name="T62" fmla="*/ 623 w 661"/>
                    <a:gd name="T63" fmla="*/ 539 h 1036"/>
                    <a:gd name="T64" fmla="*/ 581 w 661"/>
                    <a:gd name="T65" fmla="*/ 513 h 1036"/>
                    <a:gd name="T66" fmla="*/ 495 w 661"/>
                    <a:gd name="T67" fmla="*/ 625 h 1036"/>
                    <a:gd name="T68" fmla="*/ 430 w 661"/>
                    <a:gd name="T69" fmla="*/ 695 h 1036"/>
                    <a:gd name="T70" fmla="*/ 381 w 661"/>
                    <a:gd name="T71" fmla="*/ 741 h 1036"/>
                    <a:gd name="T72" fmla="*/ 330 w 661"/>
                    <a:gd name="T73" fmla="*/ 795 h 1036"/>
                    <a:gd name="T74" fmla="*/ 419 w 661"/>
                    <a:gd name="T75" fmla="*/ 853 h 1036"/>
                    <a:gd name="T76" fmla="*/ 384 w 661"/>
                    <a:gd name="T77" fmla="*/ 941 h 1036"/>
                    <a:gd name="T78" fmla="*/ 321 w 661"/>
                    <a:gd name="T79" fmla="*/ 953 h 1036"/>
                    <a:gd name="T80" fmla="*/ 284 w 661"/>
                    <a:gd name="T81" fmla="*/ 934 h 1036"/>
                    <a:gd name="T82" fmla="*/ 218 w 661"/>
                    <a:gd name="T83" fmla="*/ 904 h 1036"/>
                    <a:gd name="T84" fmla="*/ 179 w 661"/>
                    <a:gd name="T85" fmla="*/ 878 h 1036"/>
                    <a:gd name="T86" fmla="*/ 142 w 661"/>
                    <a:gd name="T87" fmla="*/ 885 h 1036"/>
                    <a:gd name="T88" fmla="*/ 128 w 661"/>
                    <a:gd name="T89" fmla="*/ 846 h 1036"/>
                    <a:gd name="T90" fmla="*/ 123 w 661"/>
                    <a:gd name="T91" fmla="*/ 806 h 1036"/>
                    <a:gd name="T92" fmla="*/ 118 w 661"/>
                    <a:gd name="T93" fmla="*/ 755 h 1036"/>
                    <a:gd name="T94" fmla="*/ 114 w 661"/>
                    <a:gd name="T95" fmla="*/ 695 h 1036"/>
                    <a:gd name="T96" fmla="*/ 116 w 661"/>
                    <a:gd name="T97" fmla="*/ 637 h 1036"/>
                    <a:gd name="T98" fmla="*/ 83 w 661"/>
                    <a:gd name="T99" fmla="*/ 574 h 1036"/>
                    <a:gd name="T100" fmla="*/ 65 w 661"/>
                    <a:gd name="T101" fmla="*/ 497 h 1036"/>
                    <a:gd name="T102" fmla="*/ 37 w 661"/>
                    <a:gd name="T103" fmla="*/ 462 h 1036"/>
                    <a:gd name="T104" fmla="*/ 28 w 661"/>
                    <a:gd name="T105" fmla="*/ 390 h 1036"/>
                    <a:gd name="T106" fmla="*/ 48 w 661"/>
                    <a:gd name="T107" fmla="*/ 332 h 1036"/>
                    <a:gd name="T108" fmla="*/ 48 w 661"/>
                    <a:gd name="T109" fmla="*/ 279 h 1036"/>
                    <a:gd name="T110" fmla="*/ 86 w 661"/>
                    <a:gd name="T111" fmla="*/ 251 h 1036"/>
                    <a:gd name="T112" fmla="*/ 128 w 661"/>
                    <a:gd name="T113" fmla="*/ 230 h 1036"/>
                    <a:gd name="T114" fmla="*/ 118 w 661"/>
                    <a:gd name="T115" fmla="*/ 177 h 1036"/>
                    <a:gd name="T116" fmla="*/ 139 w 661"/>
                    <a:gd name="T117" fmla="*/ 146 h 1036"/>
                    <a:gd name="T118" fmla="*/ 172 w 661"/>
                    <a:gd name="T119" fmla="*/ 130 h 1036"/>
                    <a:gd name="T120" fmla="*/ 195 w 661"/>
                    <a:gd name="T121" fmla="*/ 81 h 1036"/>
                    <a:gd name="T122" fmla="*/ 228 w 661"/>
                    <a:gd name="T123" fmla="*/ 3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1036">
                      <a:moveTo>
                        <a:pt x="281" y="1034"/>
                      </a:moveTo>
                      <a:lnTo>
                        <a:pt x="279" y="1036"/>
                      </a:lnTo>
                      <a:lnTo>
                        <a:pt x="279" y="1034"/>
                      </a:lnTo>
                      <a:lnTo>
                        <a:pt x="277" y="1034"/>
                      </a:lnTo>
                      <a:lnTo>
                        <a:pt x="279" y="1032"/>
                      </a:lnTo>
                      <a:lnTo>
                        <a:pt x="281" y="1029"/>
                      </a:lnTo>
                      <a:lnTo>
                        <a:pt x="284" y="1029"/>
                      </a:lnTo>
                      <a:lnTo>
                        <a:pt x="286" y="1027"/>
                      </a:lnTo>
                      <a:lnTo>
                        <a:pt x="288" y="1027"/>
                      </a:lnTo>
                      <a:lnTo>
                        <a:pt x="288" y="1029"/>
                      </a:lnTo>
                      <a:lnTo>
                        <a:pt x="281" y="1034"/>
                      </a:lnTo>
                      <a:close/>
                      <a:moveTo>
                        <a:pt x="325" y="990"/>
                      </a:moveTo>
                      <a:lnTo>
                        <a:pt x="323" y="990"/>
                      </a:lnTo>
                      <a:lnTo>
                        <a:pt x="321" y="985"/>
                      </a:lnTo>
                      <a:lnTo>
                        <a:pt x="321" y="983"/>
                      </a:lnTo>
                      <a:lnTo>
                        <a:pt x="325" y="981"/>
                      </a:lnTo>
                      <a:lnTo>
                        <a:pt x="323" y="981"/>
                      </a:lnTo>
                      <a:lnTo>
                        <a:pt x="321" y="981"/>
                      </a:lnTo>
                      <a:lnTo>
                        <a:pt x="321" y="978"/>
                      </a:lnTo>
                      <a:lnTo>
                        <a:pt x="323" y="976"/>
                      </a:lnTo>
                      <a:lnTo>
                        <a:pt x="328" y="974"/>
                      </a:lnTo>
                      <a:lnTo>
                        <a:pt x="328" y="976"/>
                      </a:lnTo>
                      <a:lnTo>
                        <a:pt x="328" y="978"/>
                      </a:lnTo>
                      <a:lnTo>
                        <a:pt x="328" y="981"/>
                      </a:lnTo>
                      <a:lnTo>
                        <a:pt x="328" y="983"/>
                      </a:lnTo>
                      <a:lnTo>
                        <a:pt x="325" y="983"/>
                      </a:lnTo>
                      <a:lnTo>
                        <a:pt x="325" y="988"/>
                      </a:lnTo>
                      <a:lnTo>
                        <a:pt x="325" y="990"/>
                      </a:lnTo>
                      <a:close/>
                      <a:moveTo>
                        <a:pt x="274" y="985"/>
                      </a:moveTo>
                      <a:lnTo>
                        <a:pt x="274" y="992"/>
                      </a:lnTo>
                      <a:lnTo>
                        <a:pt x="274" y="997"/>
                      </a:lnTo>
                      <a:lnTo>
                        <a:pt x="274" y="1001"/>
                      </a:lnTo>
                      <a:lnTo>
                        <a:pt x="272" y="999"/>
                      </a:lnTo>
                      <a:lnTo>
                        <a:pt x="270" y="999"/>
                      </a:lnTo>
                      <a:lnTo>
                        <a:pt x="270" y="1001"/>
                      </a:lnTo>
                      <a:lnTo>
                        <a:pt x="267" y="1004"/>
                      </a:lnTo>
                      <a:lnTo>
                        <a:pt x="267" y="1001"/>
                      </a:lnTo>
                      <a:lnTo>
                        <a:pt x="265" y="997"/>
                      </a:lnTo>
                      <a:lnTo>
                        <a:pt x="263" y="994"/>
                      </a:lnTo>
                      <a:lnTo>
                        <a:pt x="263" y="990"/>
                      </a:lnTo>
                      <a:lnTo>
                        <a:pt x="263" y="988"/>
                      </a:lnTo>
                      <a:lnTo>
                        <a:pt x="263" y="985"/>
                      </a:lnTo>
                      <a:lnTo>
                        <a:pt x="263" y="983"/>
                      </a:lnTo>
                      <a:lnTo>
                        <a:pt x="265" y="983"/>
                      </a:lnTo>
                      <a:lnTo>
                        <a:pt x="265" y="988"/>
                      </a:lnTo>
                      <a:lnTo>
                        <a:pt x="267" y="990"/>
                      </a:lnTo>
                      <a:lnTo>
                        <a:pt x="270" y="988"/>
                      </a:lnTo>
                      <a:lnTo>
                        <a:pt x="267" y="983"/>
                      </a:lnTo>
                      <a:lnTo>
                        <a:pt x="267" y="981"/>
                      </a:lnTo>
                      <a:lnTo>
                        <a:pt x="270" y="981"/>
                      </a:lnTo>
                      <a:lnTo>
                        <a:pt x="274" y="985"/>
                      </a:lnTo>
                      <a:close/>
                      <a:moveTo>
                        <a:pt x="332" y="967"/>
                      </a:moveTo>
                      <a:lnTo>
                        <a:pt x="332" y="969"/>
                      </a:lnTo>
                      <a:lnTo>
                        <a:pt x="330" y="971"/>
                      </a:lnTo>
                      <a:lnTo>
                        <a:pt x="328" y="971"/>
                      </a:lnTo>
                      <a:lnTo>
                        <a:pt x="328" y="969"/>
                      </a:lnTo>
                      <a:lnTo>
                        <a:pt x="328" y="971"/>
                      </a:lnTo>
                      <a:lnTo>
                        <a:pt x="325" y="971"/>
                      </a:lnTo>
                      <a:lnTo>
                        <a:pt x="321" y="974"/>
                      </a:lnTo>
                      <a:lnTo>
                        <a:pt x="318" y="974"/>
                      </a:lnTo>
                      <a:lnTo>
                        <a:pt x="318" y="971"/>
                      </a:lnTo>
                      <a:lnTo>
                        <a:pt x="321" y="969"/>
                      </a:lnTo>
                      <a:lnTo>
                        <a:pt x="321" y="967"/>
                      </a:lnTo>
                      <a:lnTo>
                        <a:pt x="321" y="964"/>
                      </a:lnTo>
                      <a:lnTo>
                        <a:pt x="323" y="964"/>
                      </a:lnTo>
                      <a:lnTo>
                        <a:pt x="325" y="962"/>
                      </a:lnTo>
                      <a:lnTo>
                        <a:pt x="328" y="962"/>
                      </a:lnTo>
                      <a:lnTo>
                        <a:pt x="330" y="962"/>
                      </a:lnTo>
                      <a:lnTo>
                        <a:pt x="330" y="964"/>
                      </a:lnTo>
                      <a:lnTo>
                        <a:pt x="332" y="967"/>
                      </a:lnTo>
                      <a:close/>
                      <a:moveTo>
                        <a:pt x="218" y="983"/>
                      </a:moveTo>
                      <a:lnTo>
                        <a:pt x="216" y="983"/>
                      </a:lnTo>
                      <a:lnTo>
                        <a:pt x="214" y="983"/>
                      </a:lnTo>
                      <a:lnTo>
                        <a:pt x="211" y="983"/>
                      </a:lnTo>
                      <a:lnTo>
                        <a:pt x="211" y="981"/>
                      </a:lnTo>
                      <a:lnTo>
                        <a:pt x="211" y="978"/>
                      </a:lnTo>
                      <a:lnTo>
                        <a:pt x="214" y="978"/>
                      </a:lnTo>
                      <a:lnTo>
                        <a:pt x="216" y="978"/>
                      </a:lnTo>
                      <a:lnTo>
                        <a:pt x="218" y="978"/>
                      </a:lnTo>
                      <a:lnTo>
                        <a:pt x="221" y="981"/>
                      </a:lnTo>
                      <a:lnTo>
                        <a:pt x="221" y="983"/>
                      </a:lnTo>
                      <a:lnTo>
                        <a:pt x="218" y="983"/>
                      </a:lnTo>
                      <a:close/>
                      <a:moveTo>
                        <a:pt x="176" y="983"/>
                      </a:moveTo>
                      <a:lnTo>
                        <a:pt x="174" y="985"/>
                      </a:lnTo>
                      <a:lnTo>
                        <a:pt x="176" y="985"/>
                      </a:lnTo>
                      <a:lnTo>
                        <a:pt x="176" y="988"/>
                      </a:lnTo>
                      <a:lnTo>
                        <a:pt x="176" y="990"/>
                      </a:lnTo>
                      <a:lnTo>
                        <a:pt x="174" y="992"/>
                      </a:lnTo>
                      <a:lnTo>
                        <a:pt x="172" y="992"/>
                      </a:lnTo>
                      <a:lnTo>
                        <a:pt x="169" y="992"/>
                      </a:lnTo>
                      <a:lnTo>
                        <a:pt x="165" y="994"/>
                      </a:lnTo>
                      <a:lnTo>
                        <a:pt x="162" y="994"/>
                      </a:lnTo>
                      <a:lnTo>
                        <a:pt x="160" y="992"/>
                      </a:lnTo>
                      <a:lnTo>
                        <a:pt x="158" y="992"/>
                      </a:lnTo>
                      <a:lnTo>
                        <a:pt x="160" y="990"/>
                      </a:lnTo>
                      <a:lnTo>
                        <a:pt x="162" y="990"/>
                      </a:lnTo>
                      <a:lnTo>
                        <a:pt x="167" y="990"/>
                      </a:lnTo>
                      <a:lnTo>
                        <a:pt x="165" y="985"/>
                      </a:lnTo>
                      <a:lnTo>
                        <a:pt x="160" y="988"/>
                      </a:lnTo>
                      <a:lnTo>
                        <a:pt x="162" y="981"/>
                      </a:lnTo>
                      <a:lnTo>
                        <a:pt x="167" y="978"/>
                      </a:lnTo>
                      <a:lnTo>
                        <a:pt x="172" y="976"/>
                      </a:lnTo>
                      <a:lnTo>
                        <a:pt x="176" y="978"/>
                      </a:lnTo>
                      <a:lnTo>
                        <a:pt x="176" y="981"/>
                      </a:lnTo>
                      <a:lnTo>
                        <a:pt x="176" y="983"/>
                      </a:lnTo>
                      <a:close/>
                      <a:moveTo>
                        <a:pt x="204" y="969"/>
                      </a:moveTo>
                      <a:lnTo>
                        <a:pt x="202" y="969"/>
                      </a:lnTo>
                      <a:lnTo>
                        <a:pt x="202" y="971"/>
                      </a:lnTo>
                      <a:lnTo>
                        <a:pt x="200" y="971"/>
                      </a:lnTo>
                      <a:lnTo>
                        <a:pt x="200" y="974"/>
                      </a:lnTo>
                      <a:lnTo>
                        <a:pt x="202" y="976"/>
                      </a:lnTo>
                      <a:lnTo>
                        <a:pt x="193" y="976"/>
                      </a:lnTo>
                      <a:lnTo>
                        <a:pt x="197" y="978"/>
                      </a:lnTo>
                      <a:lnTo>
                        <a:pt x="195" y="978"/>
                      </a:lnTo>
                      <a:lnTo>
                        <a:pt x="195" y="981"/>
                      </a:lnTo>
                      <a:lnTo>
                        <a:pt x="193" y="985"/>
                      </a:lnTo>
                      <a:lnTo>
                        <a:pt x="190" y="988"/>
                      </a:lnTo>
                      <a:lnTo>
                        <a:pt x="186" y="988"/>
                      </a:lnTo>
                      <a:lnTo>
                        <a:pt x="183" y="985"/>
                      </a:lnTo>
                      <a:lnTo>
                        <a:pt x="183" y="981"/>
                      </a:lnTo>
                      <a:lnTo>
                        <a:pt x="186" y="981"/>
                      </a:lnTo>
                      <a:lnTo>
                        <a:pt x="186" y="978"/>
                      </a:lnTo>
                      <a:lnTo>
                        <a:pt x="183" y="976"/>
                      </a:lnTo>
                      <a:lnTo>
                        <a:pt x="183" y="974"/>
                      </a:lnTo>
                      <a:lnTo>
                        <a:pt x="183" y="971"/>
                      </a:lnTo>
                      <a:lnTo>
                        <a:pt x="186" y="969"/>
                      </a:lnTo>
                      <a:lnTo>
                        <a:pt x="193" y="967"/>
                      </a:lnTo>
                      <a:lnTo>
                        <a:pt x="200" y="967"/>
                      </a:lnTo>
                      <a:lnTo>
                        <a:pt x="204" y="969"/>
                      </a:lnTo>
                      <a:close/>
                      <a:moveTo>
                        <a:pt x="256" y="969"/>
                      </a:moveTo>
                      <a:lnTo>
                        <a:pt x="253" y="969"/>
                      </a:lnTo>
                      <a:lnTo>
                        <a:pt x="251" y="969"/>
                      </a:lnTo>
                      <a:lnTo>
                        <a:pt x="251" y="967"/>
                      </a:lnTo>
                      <a:lnTo>
                        <a:pt x="251" y="964"/>
                      </a:lnTo>
                      <a:lnTo>
                        <a:pt x="251" y="962"/>
                      </a:lnTo>
                      <a:lnTo>
                        <a:pt x="251" y="960"/>
                      </a:lnTo>
                      <a:lnTo>
                        <a:pt x="253" y="957"/>
                      </a:lnTo>
                      <a:lnTo>
                        <a:pt x="260" y="955"/>
                      </a:lnTo>
                      <a:lnTo>
                        <a:pt x="260" y="960"/>
                      </a:lnTo>
                      <a:lnTo>
                        <a:pt x="258" y="962"/>
                      </a:lnTo>
                      <a:lnTo>
                        <a:pt x="253" y="964"/>
                      </a:lnTo>
                      <a:lnTo>
                        <a:pt x="256" y="967"/>
                      </a:lnTo>
                      <a:lnTo>
                        <a:pt x="258" y="967"/>
                      </a:lnTo>
                      <a:lnTo>
                        <a:pt x="256" y="969"/>
                      </a:lnTo>
                      <a:close/>
                      <a:moveTo>
                        <a:pt x="146" y="976"/>
                      </a:moveTo>
                      <a:lnTo>
                        <a:pt x="153" y="974"/>
                      </a:lnTo>
                      <a:lnTo>
                        <a:pt x="153" y="976"/>
                      </a:lnTo>
                      <a:lnTo>
                        <a:pt x="149" y="976"/>
                      </a:lnTo>
                      <a:lnTo>
                        <a:pt x="146" y="978"/>
                      </a:lnTo>
                      <a:lnTo>
                        <a:pt x="146" y="983"/>
                      </a:lnTo>
                      <a:lnTo>
                        <a:pt x="144" y="981"/>
                      </a:lnTo>
                      <a:lnTo>
                        <a:pt x="142" y="981"/>
                      </a:lnTo>
                      <a:lnTo>
                        <a:pt x="139" y="981"/>
                      </a:lnTo>
                      <a:lnTo>
                        <a:pt x="137" y="981"/>
                      </a:lnTo>
                      <a:lnTo>
                        <a:pt x="135" y="978"/>
                      </a:lnTo>
                      <a:lnTo>
                        <a:pt x="132" y="978"/>
                      </a:lnTo>
                      <a:lnTo>
                        <a:pt x="132" y="974"/>
                      </a:lnTo>
                      <a:lnTo>
                        <a:pt x="135" y="974"/>
                      </a:lnTo>
                      <a:lnTo>
                        <a:pt x="139" y="971"/>
                      </a:lnTo>
                      <a:lnTo>
                        <a:pt x="142" y="974"/>
                      </a:lnTo>
                      <a:lnTo>
                        <a:pt x="146" y="976"/>
                      </a:lnTo>
                      <a:close/>
                      <a:moveTo>
                        <a:pt x="218" y="976"/>
                      </a:moveTo>
                      <a:lnTo>
                        <a:pt x="216" y="978"/>
                      </a:lnTo>
                      <a:lnTo>
                        <a:pt x="211" y="976"/>
                      </a:lnTo>
                      <a:lnTo>
                        <a:pt x="209" y="969"/>
                      </a:lnTo>
                      <a:lnTo>
                        <a:pt x="211" y="967"/>
                      </a:lnTo>
                      <a:lnTo>
                        <a:pt x="216" y="964"/>
                      </a:lnTo>
                      <a:lnTo>
                        <a:pt x="218" y="960"/>
                      </a:lnTo>
                      <a:lnTo>
                        <a:pt x="221" y="960"/>
                      </a:lnTo>
                      <a:lnTo>
                        <a:pt x="223" y="960"/>
                      </a:lnTo>
                      <a:lnTo>
                        <a:pt x="225" y="962"/>
                      </a:lnTo>
                      <a:lnTo>
                        <a:pt x="218" y="969"/>
                      </a:lnTo>
                      <a:lnTo>
                        <a:pt x="221" y="971"/>
                      </a:lnTo>
                      <a:lnTo>
                        <a:pt x="223" y="971"/>
                      </a:lnTo>
                      <a:lnTo>
                        <a:pt x="218" y="976"/>
                      </a:lnTo>
                      <a:close/>
                      <a:moveTo>
                        <a:pt x="246" y="957"/>
                      </a:moveTo>
                      <a:lnTo>
                        <a:pt x="244" y="962"/>
                      </a:lnTo>
                      <a:lnTo>
                        <a:pt x="239" y="957"/>
                      </a:lnTo>
                      <a:lnTo>
                        <a:pt x="242" y="953"/>
                      </a:lnTo>
                      <a:lnTo>
                        <a:pt x="242" y="948"/>
                      </a:lnTo>
                      <a:lnTo>
                        <a:pt x="246" y="946"/>
                      </a:lnTo>
                      <a:lnTo>
                        <a:pt x="249" y="946"/>
                      </a:lnTo>
                      <a:lnTo>
                        <a:pt x="249" y="953"/>
                      </a:lnTo>
                      <a:lnTo>
                        <a:pt x="246" y="957"/>
                      </a:lnTo>
                      <a:close/>
                      <a:moveTo>
                        <a:pt x="167" y="957"/>
                      </a:moveTo>
                      <a:lnTo>
                        <a:pt x="169" y="957"/>
                      </a:lnTo>
                      <a:lnTo>
                        <a:pt x="169" y="960"/>
                      </a:lnTo>
                      <a:lnTo>
                        <a:pt x="169" y="962"/>
                      </a:lnTo>
                      <a:lnTo>
                        <a:pt x="169" y="964"/>
                      </a:lnTo>
                      <a:lnTo>
                        <a:pt x="167" y="964"/>
                      </a:lnTo>
                      <a:lnTo>
                        <a:pt x="165" y="964"/>
                      </a:lnTo>
                      <a:lnTo>
                        <a:pt x="162" y="962"/>
                      </a:lnTo>
                      <a:lnTo>
                        <a:pt x="165" y="957"/>
                      </a:lnTo>
                      <a:lnTo>
                        <a:pt x="165" y="953"/>
                      </a:lnTo>
                      <a:lnTo>
                        <a:pt x="167" y="953"/>
                      </a:lnTo>
                      <a:lnTo>
                        <a:pt x="167" y="955"/>
                      </a:lnTo>
                      <a:lnTo>
                        <a:pt x="167" y="957"/>
                      </a:lnTo>
                      <a:close/>
                      <a:moveTo>
                        <a:pt x="314" y="948"/>
                      </a:moveTo>
                      <a:lnTo>
                        <a:pt x="314" y="950"/>
                      </a:lnTo>
                      <a:lnTo>
                        <a:pt x="314" y="953"/>
                      </a:lnTo>
                      <a:lnTo>
                        <a:pt x="314" y="955"/>
                      </a:lnTo>
                      <a:lnTo>
                        <a:pt x="311" y="955"/>
                      </a:lnTo>
                      <a:lnTo>
                        <a:pt x="314" y="955"/>
                      </a:lnTo>
                      <a:lnTo>
                        <a:pt x="316" y="955"/>
                      </a:lnTo>
                      <a:lnTo>
                        <a:pt x="314" y="957"/>
                      </a:lnTo>
                      <a:lnTo>
                        <a:pt x="314" y="960"/>
                      </a:lnTo>
                      <a:lnTo>
                        <a:pt x="318" y="967"/>
                      </a:lnTo>
                      <a:lnTo>
                        <a:pt x="314" y="974"/>
                      </a:lnTo>
                      <a:lnTo>
                        <a:pt x="307" y="983"/>
                      </a:lnTo>
                      <a:lnTo>
                        <a:pt x="307" y="985"/>
                      </a:lnTo>
                      <a:lnTo>
                        <a:pt x="309" y="985"/>
                      </a:lnTo>
                      <a:lnTo>
                        <a:pt x="311" y="985"/>
                      </a:lnTo>
                      <a:lnTo>
                        <a:pt x="309" y="988"/>
                      </a:lnTo>
                      <a:lnTo>
                        <a:pt x="309" y="992"/>
                      </a:lnTo>
                      <a:lnTo>
                        <a:pt x="304" y="992"/>
                      </a:lnTo>
                      <a:lnTo>
                        <a:pt x="304" y="994"/>
                      </a:lnTo>
                      <a:lnTo>
                        <a:pt x="302" y="997"/>
                      </a:lnTo>
                      <a:lnTo>
                        <a:pt x="300" y="992"/>
                      </a:lnTo>
                      <a:lnTo>
                        <a:pt x="297" y="988"/>
                      </a:lnTo>
                      <a:lnTo>
                        <a:pt x="297" y="990"/>
                      </a:lnTo>
                      <a:lnTo>
                        <a:pt x="295" y="997"/>
                      </a:lnTo>
                      <a:lnTo>
                        <a:pt x="295" y="1001"/>
                      </a:lnTo>
                      <a:lnTo>
                        <a:pt x="293" y="997"/>
                      </a:lnTo>
                      <a:lnTo>
                        <a:pt x="293" y="994"/>
                      </a:lnTo>
                      <a:lnTo>
                        <a:pt x="291" y="997"/>
                      </a:lnTo>
                      <a:lnTo>
                        <a:pt x="291" y="994"/>
                      </a:lnTo>
                      <a:lnTo>
                        <a:pt x="291" y="992"/>
                      </a:lnTo>
                      <a:lnTo>
                        <a:pt x="291" y="990"/>
                      </a:lnTo>
                      <a:lnTo>
                        <a:pt x="291" y="985"/>
                      </a:lnTo>
                      <a:lnTo>
                        <a:pt x="291" y="988"/>
                      </a:lnTo>
                      <a:lnTo>
                        <a:pt x="286" y="992"/>
                      </a:lnTo>
                      <a:lnTo>
                        <a:pt x="286" y="997"/>
                      </a:lnTo>
                      <a:lnTo>
                        <a:pt x="281" y="999"/>
                      </a:lnTo>
                      <a:lnTo>
                        <a:pt x="279" y="999"/>
                      </a:lnTo>
                      <a:lnTo>
                        <a:pt x="277" y="994"/>
                      </a:lnTo>
                      <a:lnTo>
                        <a:pt x="277" y="992"/>
                      </a:lnTo>
                      <a:lnTo>
                        <a:pt x="277" y="988"/>
                      </a:lnTo>
                      <a:lnTo>
                        <a:pt x="277" y="985"/>
                      </a:lnTo>
                      <a:lnTo>
                        <a:pt x="277" y="983"/>
                      </a:lnTo>
                      <a:lnTo>
                        <a:pt x="277" y="981"/>
                      </a:lnTo>
                      <a:lnTo>
                        <a:pt x="274" y="978"/>
                      </a:lnTo>
                      <a:lnTo>
                        <a:pt x="270" y="976"/>
                      </a:lnTo>
                      <a:lnTo>
                        <a:pt x="267" y="974"/>
                      </a:lnTo>
                      <a:lnTo>
                        <a:pt x="270" y="974"/>
                      </a:lnTo>
                      <a:lnTo>
                        <a:pt x="274" y="969"/>
                      </a:lnTo>
                      <a:lnTo>
                        <a:pt x="277" y="967"/>
                      </a:lnTo>
                      <a:lnTo>
                        <a:pt x="288" y="967"/>
                      </a:lnTo>
                      <a:lnTo>
                        <a:pt x="288" y="964"/>
                      </a:lnTo>
                      <a:lnTo>
                        <a:pt x="265" y="967"/>
                      </a:lnTo>
                      <a:lnTo>
                        <a:pt x="267" y="960"/>
                      </a:lnTo>
                      <a:lnTo>
                        <a:pt x="267" y="955"/>
                      </a:lnTo>
                      <a:lnTo>
                        <a:pt x="267" y="948"/>
                      </a:lnTo>
                      <a:lnTo>
                        <a:pt x="270" y="948"/>
                      </a:lnTo>
                      <a:lnTo>
                        <a:pt x="270" y="953"/>
                      </a:lnTo>
                      <a:lnTo>
                        <a:pt x="270" y="957"/>
                      </a:lnTo>
                      <a:lnTo>
                        <a:pt x="281" y="953"/>
                      </a:lnTo>
                      <a:lnTo>
                        <a:pt x="286" y="948"/>
                      </a:lnTo>
                      <a:lnTo>
                        <a:pt x="288" y="948"/>
                      </a:lnTo>
                      <a:lnTo>
                        <a:pt x="309" y="941"/>
                      </a:lnTo>
                      <a:lnTo>
                        <a:pt x="311" y="936"/>
                      </a:lnTo>
                      <a:lnTo>
                        <a:pt x="314" y="929"/>
                      </a:lnTo>
                      <a:lnTo>
                        <a:pt x="316" y="925"/>
                      </a:lnTo>
                      <a:lnTo>
                        <a:pt x="318" y="922"/>
                      </a:lnTo>
                      <a:lnTo>
                        <a:pt x="323" y="922"/>
                      </a:lnTo>
                      <a:lnTo>
                        <a:pt x="323" y="927"/>
                      </a:lnTo>
                      <a:lnTo>
                        <a:pt x="321" y="929"/>
                      </a:lnTo>
                      <a:lnTo>
                        <a:pt x="318" y="934"/>
                      </a:lnTo>
                      <a:lnTo>
                        <a:pt x="316" y="936"/>
                      </a:lnTo>
                      <a:lnTo>
                        <a:pt x="316" y="939"/>
                      </a:lnTo>
                      <a:lnTo>
                        <a:pt x="316" y="941"/>
                      </a:lnTo>
                      <a:lnTo>
                        <a:pt x="316" y="943"/>
                      </a:lnTo>
                      <a:lnTo>
                        <a:pt x="314" y="946"/>
                      </a:lnTo>
                      <a:lnTo>
                        <a:pt x="314" y="948"/>
                      </a:lnTo>
                      <a:close/>
                      <a:moveTo>
                        <a:pt x="211" y="943"/>
                      </a:moveTo>
                      <a:lnTo>
                        <a:pt x="209" y="943"/>
                      </a:lnTo>
                      <a:lnTo>
                        <a:pt x="209" y="941"/>
                      </a:lnTo>
                      <a:lnTo>
                        <a:pt x="211" y="941"/>
                      </a:lnTo>
                      <a:lnTo>
                        <a:pt x="214" y="939"/>
                      </a:lnTo>
                      <a:lnTo>
                        <a:pt x="214" y="941"/>
                      </a:lnTo>
                      <a:lnTo>
                        <a:pt x="211" y="941"/>
                      </a:lnTo>
                      <a:lnTo>
                        <a:pt x="211" y="943"/>
                      </a:lnTo>
                      <a:close/>
                      <a:moveTo>
                        <a:pt x="207" y="936"/>
                      </a:moveTo>
                      <a:lnTo>
                        <a:pt x="209" y="936"/>
                      </a:lnTo>
                      <a:lnTo>
                        <a:pt x="209" y="939"/>
                      </a:lnTo>
                      <a:lnTo>
                        <a:pt x="207" y="943"/>
                      </a:lnTo>
                      <a:lnTo>
                        <a:pt x="207" y="946"/>
                      </a:lnTo>
                      <a:lnTo>
                        <a:pt x="204" y="946"/>
                      </a:lnTo>
                      <a:lnTo>
                        <a:pt x="202" y="946"/>
                      </a:lnTo>
                      <a:lnTo>
                        <a:pt x="200" y="943"/>
                      </a:lnTo>
                      <a:lnTo>
                        <a:pt x="197" y="941"/>
                      </a:lnTo>
                      <a:lnTo>
                        <a:pt x="197" y="939"/>
                      </a:lnTo>
                      <a:lnTo>
                        <a:pt x="200" y="939"/>
                      </a:lnTo>
                      <a:lnTo>
                        <a:pt x="202" y="939"/>
                      </a:lnTo>
                      <a:lnTo>
                        <a:pt x="202" y="936"/>
                      </a:lnTo>
                      <a:lnTo>
                        <a:pt x="207" y="936"/>
                      </a:lnTo>
                      <a:close/>
                      <a:moveTo>
                        <a:pt x="251" y="936"/>
                      </a:moveTo>
                      <a:lnTo>
                        <a:pt x="251" y="939"/>
                      </a:lnTo>
                      <a:lnTo>
                        <a:pt x="249" y="941"/>
                      </a:lnTo>
                      <a:lnTo>
                        <a:pt x="246" y="939"/>
                      </a:lnTo>
                      <a:lnTo>
                        <a:pt x="246" y="941"/>
                      </a:lnTo>
                      <a:lnTo>
                        <a:pt x="244" y="943"/>
                      </a:lnTo>
                      <a:lnTo>
                        <a:pt x="239" y="946"/>
                      </a:lnTo>
                      <a:lnTo>
                        <a:pt x="237" y="946"/>
                      </a:lnTo>
                      <a:lnTo>
                        <a:pt x="239" y="943"/>
                      </a:lnTo>
                      <a:lnTo>
                        <a:pt x="237" y="941"/>
                      </a:lnTo>
                      <a:lnTo>
                        <a:pt x="235" y="939"/>
                      </a:lnTo>
                      <a:lnTo>
                        <a:pt x="230" y="941"/>
                      </a:lnTo>
                      <a:lnTo>
                        <a:pt x="235" y="941"/>
                      </a:lnTo>
                      <a:lnTo>
                        <a:pt x="232" y="946"/>
                      </a:lnTo>
                      <a:lnTo>
                        <a:pt x="230" y="946"/>
                      </a:lnTo>
                      <a:lnTo>
                        <a:pt x="225" y="943"/>
                      </a:lnTo>
                      <a:lnTo>
                        <a:pt x="223" y="943"/>
                      </a:lnTo>
                      <a:lnTo>
                        <a:pt x="221" y="941"/>
                      </a:lnTo>
                      <a:lnTo>
                        <a:pt x="221" y="936"/>
                      </a:lnTo>
                      <a:lnTo>
                        <a:pt x="223" y="934"/>
                      </a:lnTo>
                      <a:lnTo>
                        <a:pt x="228" y="932"/>
                      </a:lnTo>
                      <a:lnTo>
                        <a:pt x="239" y="932"/>
                      </a:lnTo>
                      <a:lnTo>
                        <a:pt x="249" y="934"/>
                      </a:lnTo>
                      <a:lnTo>
                        <a:pt x="251" y="936"/>
                      </a:lnTo>
                      <a:close/>
                      <a:moveTo>
                        <a:pt x="260" y="922"/>
                      </a:moveTo>
                      <a:lnTo>
                        <a:pt x="263" y="922"/>
                      </a:lnTo>
                      <a:lnTo>
                        <a:pt x="265" y="922"/>
                      </a:lnTo>
                      <a:lnTo>
                        <a:pt x="267" y="925"/>
                      </a:lnTo>
                      <a:lnTo>
                        <a:pt x="265" y="927"/>
                      </a:lnTo>
                      <a:lnTo>
                        <a:pt x="260" y="932"/>
                      </a:lnTo>
                      <a:lnTo>
                        <a:pt x="258" y="934"/>
                      </a:lnTo>
                      <a:lnTo>
                        <a:pt x="256" y="934"/>
                      </a:lnTo>
                      <a:lnTo>
                        <a:pt x="256" y="932"/>
                      </a:lnTo>
                      <a:lnTo>
                        <a:pt x="256" y="929"/>
                      </a:lnTo>
                      <a:lnTo>
                        <a:pt x="256" y="927"/>
                      </a:lnTo>
                      <a:lnTo>
                        <a:pt x="253" y="929"/>
                      </a:lnTo>
                      <a:lnTo>
                        <a:pt x="251" y="929"/>
                      </a:lnTo>
                      <a:lnTo>
                        <a:pt x="246" y="927"/>
                      </a:lnTo>
                      <a:lnTo>
                        <a:pt x="249" y="925"/>
                      </a:lnTo>
                      <a:lnTo>
                        <a:pt x="251" y="920"/>
                      </a:lnTo>
                      <a:lnTo>
                        <a:pt x="253" y="920"/>
                      </a:lnTo>
                      <a:lnTo>
                        <a:pt x="256" y="918"/>
                      </a:lnTo>
                      <a:lnTo>
                        <a:pt x="256" y="920"/>
                      </a:lnTo>
                      <a:lnTo>
                        <a:pt x="258" y="922"/>
                      </a:lnTo>
                      <a:lnTo>
                        <a:pt x="260" y="922"/>
                      </a:lnTo>
                      <a:close/>
                      <a:moveTo>
                        <a:pt x="235" y="925"/>
                      </a:moveTo>
                      <a:lnTo>
                        <a:pt x="232" y="925"/>
                      </a:lnTo>
                      <a:lnTo>
                        <a:pt x="230" y="925"/>
                      </a:lnTo>
                      <a:lnTo>
                        <a:pt x="228" y="925"/>
                      </a:lnTo>
                      <a:lnTo>
                        <a:pt x="228" y="922"/>
                      </a:lnTo>
                      <a:lnTo>
                        <a:pt x="239" y="918"/>
                      </a:lnTo>
                      <a:lnTo>
                        <a:pt x="242" y="915"/>
                      </a:lnTo>
                      <a:lnTo>
                        <a:pt x="244" y="918"/>
                      </a:lnTo>
                      <a:lnTo>
                        <a:pt x="244" y="920"/>
                      </a:lnTo>
                      <a:lnTo>
                        <a:pt x="235" y="925"/>
                      </a:lnTo>
                      <a:close/>
                      <a:moveTo>
                        <a:pt x="232" y="918"/>
                      </a:moveTo>
                      <a:lnTo>
                        <a:pt x="223" y="925"/>
                      </a:lnTo>
                      <a:lnTo>
                        <a:pt x="223" y="920"/>
                      </a:lnTo>
                      <a:lnTo>
                        <a:pt x="225" y="918"/>
                      </a:lnTo>
                      <a:lnTo>
                        <a:pt x="232" y="915"/>
                      </a:lnTo>
                      <a:lnTo>
                        <a:pt x="232" y="918"/>
                      </a:lnTo>
                      <a:close/>
                      <a:moveTo>
                        <a:pt x="135" y="934"/>
                      </a:moveTo>
                      <a:lnTo>
                        <a:pt x="135" y="936"/>
                      </a:lnTo>
                      <a:lnTo>
                        <a:pt x="135" y="939"/>
                      </a:lnTo>
                      <a:lnTo>
                        <a:pt x="132" y="939"/>
                      </a:lnTo>
                      <a:lnTo>
                        <a:pt x="132" y="936"/>
                      </a:lnTo>
                      <a:lnTo>
                        <a:pt x="130" y="936"/>
                      </a:lnTo>
                      <a:lnTo>
                        <a:pt x="128" y="936"/>
                      </a:lnTo>
                      <a:lnTo>
                        <a:pt x="128" y="934"/>
                      </a:lnTo>
                      <a:lnTo>
                        <a:pt x="128" y="932"/>
                      </a:lnTo>
                      <a:lnTo>
                        <a:pt x="130" y="929"/>
                      </a:lnTo>
                      <a:lnTo>
                        <a:pt x="132" y="932"/>
                      </a:lnTo>
                      <a:lnTo>
                        <a:pt x="135" y="934"/>
                      </a:lnTo>
                      <a:close/>
                      <a:moveTo>
                        <a:pt x="202" y="915"/>
                      </a:moveTo>
                      <a:lnTo>
                        <a:pt x="202" y="918"/>
                      </a:lnTo>
                      <a:lnTo>
                        <a:pt x="200" y="918"/>
                      </a:lnTo>
                      <a:lnTo>
                        <a:pt x="197" y="918"/>
                      </a:lnTo>
                      <a:lnTo>
                        <a:pt x="195" y="918"/>
                      </a:lnTo>
                      <a:lnTo>
                        <a:pt x="197" y="920"/>
                      </a:lnTo>
                      <a:lnTo>
                        <a:pt x="202" y="920"/>
                      </a:lnTo>
                      <a:lnTo>
                        <a:pt x="204" y="922"/>
                      </a:lnTo>
                      <a:lnTo>
                        <a:pt x="202" y="925"/>
                      </a:lnTo>
                      <a:lnTo>
                        <a:pt x="207" y="922"/>
                      </a:lnTo>
                      <a:lnTo>
                        <a:pt x="209" y="925"/>
                      </a:lnTo>
                      <a:lnTo>
                        <a:pt x="209" y="927"/>
                      </a:lnTo>
                      <a:lnTo>
                        <a:pt x="207" y="929"/>
                      </a:lnTo>
                      <a:lnTo>
                        <a:pt x="209" y="929"/>
                      </a:lnTo>
                      <a:lnTo>
                        <a:pt x="211" y="932"/>
                      </a:lnTo>
                      <a:lnTo>
                        <a:pt x="209" y="932"/>
                      </a:lnTo>
                      <a:lnTo>
                        <a:pt x="207" y="934"/>
                      </a:lnTo>
                      <a:lnTo>
                        <a:pt x="204" y="934"/>
                      </a:lnTo>
                      <a:lnTo>
                        <a:pt x="202" y="932"/>
                      </a:lnTo>
                      <a:lnTo>
                        <a:pt x="200" y="934"/>
                      </a:lnTo>
                      <a:lnTo>
                        <a:pt x="200" y="932"/>
                      </a:lnTo>
                      <a:lnTo>
                        <a:pt x="195" y="929"/>
                      </a:lnTo>
                      <a:lnTo>
                        <a:pt x="190" y="929"/>
                      </a:lnTo>
                      <a:lnTo>
                        <a:pt x="188" y="927"/>
                      </a:lnTo>
                      <a:lnTo>
                        <a:pt x="186" y="925"/>
                      </a:lnTo>
                      <a:lnTo>
                        <a:pt x="183" y="922"/>
                      </a:lnTo>
                      <a:lnTo>
                        <a:pt x="183" y="920"/>
                      </a:lnTo>
                      <a:lnTo>
                        <a:pt x="186" y="918"/>
                      </a:lnTo>
                      <a:lnTo>
                        <a:pt x="188" y="915"/>
                      </a:lnTo>
                      <a:lnTo>
                        <a:pt x="190" y="915"/>
                      </a:lnTo>
                      <a:lnTo>
                        <a:pt x="183" y="909"/>
                      </a:lnTo>
                      <a:lnTo>
                        <a:pt x="183" y="906"/>
                      </a:lnTo>
                      <a:lnTo>
                        <a:pt x="183" y="904"/>
                      </a:lnTo>
                      <a:lnTo>
                        <a:pt x="183" y="902"/>
                      </a:lnTo>
                      <a:lnTo>
                        <a:pt x="186" y="902"/>
                      </a:lnTo>
                      <a:lnTo>
                        <a:pt x="188" y="904"/>
                      </a:lnTo>
                      <a:lnTo>
                        <a:pt x="193" y="906"/>
                      </a:lnTo>
                      <a:lnTo>
                        <a:pt x="195" y="909"/>
                      </a:lnTo>
                      <a:lnTo>
                        <a:pt x="195" y="911"/>
                      </a:lnTo>
                      <a:lnTo>
                        <a:pt x="197" y="911"/>
                      </a:lnTo>
                      <a:lnTo>
                        <a:pt x="200" y="911"/>
                      </a:lnTo>
                      <a:lnTo>
                        <a:pt x="202" y="915"/>
                      </a:lnTo>
                      <a:close/>
                      <a:moveTo>
                        <a:pt x="172" y="906"/>
                      </a:moveTo>
                      <a:lnTo>
                        <a:pt x="169" y="909"/>
                      </a:lnTo>
                      <a:lnTo>
                        <a:pt x="169" y="906"/>
                      </a:lnTo>
                      <a:lnTo>
                        <a:pt x="169" y="902"/>
                      </a:lnTo>
                      <a:lnTo>
                        <a:pt x="172" y="895"/>
                      </a:lnTo>
                      <a:lnTo>
                        <a:pt x="174" y="890"/>
                      </a:lnTo>
                      <a:lnTo>
                        <a:pt x="176" y="890"/>
                      </a:lnTo>
                      <a:lnTo>
                        <a:pt x="176" y="895"/>
                      </a:lnTo>
                      <a:lnTo>
                        <a:pt x="176" y="897"/>
                      </a:lnTo>
                      <a:lnTo>
                        <a:pt x="174" y="902"/>
                      </a:lnTo>
                      <a:lnTo>
                        <a:pt x="172" y="904"/>
                      </a:lnTo>
                      <a:lnTo>
                        <a:pt x="172" y="906"/>
                      </a:lnTo>
                      <a:close/>
                      <a:moveTo>
                        <a:pt x="128" y="909"/>
                      </a:moveTo>
                      <a:lnTo>
                        <a:pt x="125" y="909"/>
                      </a:lnTo>
                      <a:lnTo>
                        <a:pt x="121" y="909"/>
                      </a:lnTo>
                      <a:lnTo>
                        <a:pt x="118" y="906"/>
                      </a:lnTo>
                      <a:lnTo>
                        <a:pt x="118" y="902"/>
                      </a:lnTo>
                      <a:lnTo>
                        <a:pt x="116" y="899"/>
                      </a:lnTo>
                      <a:lnTo>
                        <a:pt x="116" y="897"/>
                      </a:lnTo>
                      <a:lnTo>
                        <a:pt x="114" y="892"/>
                      </a:lnTo>
                      <a:lnTo>
                        <a:pt x="116" y="892"/>
                      </a:lnTo>
                      <a:lnTo>
                        <a:pt x="121" y="895"/>
                      </a:lnTo>
                      <a:lnTo>
                        <a:pt x="123" y="902"/>
                      </a:lnTo>
                      <a:lnTo>
                        <a:pt x="125" y="904"/>
                      </a:lnTo>
                      <a:lnTo>
                        <a:pt x="128" y="909"/>
                      </a:lnTo>
                      <a:close/>
                      <a:moveTo>
                        <a:pt x="142" y="892"/>
                      </a:moveTo>
                      <a:lnTo>
                        <a:pt x="144" y="897"/>
                      </a:lnTo>
                      <a:lnTo>
                        <a:pt x="142" y="897"/>
                      </a:lnTo>
                      <a:lnTo>
                        <a:pt x="142" y="899"/>
                      </a:lnTo>
                      <a:lnTo>
                        <a:pt x="142" y="902"/>
                      </a:lnTo>
                      <a:lnTo>
                        <a:pt x="144" y="904"/>
                      </a:lnTo>
                      <a:lnTo>
                        <a:pt x="142" y="904"/>
                      </a:lnTo>
                      <a:lnTo>
                        <a:pt x="139" y="906"/>
                      </a:lnTo>
                      <a:lnTo>
                        <a:pt x="142" y="909"/>
                      </a:lnTo>
                      <a:lnTo>
                        <a:pt x="137" y="909"/>
                      </a:lnTo>
                      <a:lnTo>
                        <a:pt x="135" y="906"/>
                      </a:lnTo>
                      <a:lnTo>
                        <a:pt x="132" y="902"/>
                      </a:lnTo>
                      <a:lnTo>
                        <a:pt x="130" y="897"/>
                      </a:lnTo>
                      <a:lnTo>
                        <a:pt x="128" y="899"/>
                      </a:lnTo>
                      <a:lnTo>
                        <a:pt x="125" y="899"/>
                      </a:lnTo>
                      <a:lnTo>
                        <a:pt x="125" y="895"/>
                      </a:lnTo>
                      <a:lnTo>
                        <a:pt x="125" y="892"/>
                      </a:lnTo>
                      <a:lnTo>
                        <a:pt x="128" y="890"/>
                      </a:lnTo>
                      <a:lnTo>
                        <a:pt x="132" y="890"/>
                      </a:lnTo>
                      <a:lnTo>
                        <a:pt x="135" y="892"/>
                      </a:lnTo>
                      <a:lnTo>
                        <a:pt x="142" y="892"/>
                      </a:lnTo>
                      <a:close/>
                      <a:moveTo>
                        <a:pt x="121" y="890"/>
                      </a:moveTo>
                      <a:lnTo>
                        <a:pt x="118" y="890"/>
                      </a:lnTo>
                      <a:lnTo>
                        <a:pt x="118" y="888"/>
                      </a:lnTo>
                      <a:lnTo>
                        <a:pt x="116" y="885"/>
                      </a:lnTo>
                      <a:lnTo>
                        <a:pt x="114" y="885"/>
                      </a:lnTo>
                      <a:lnTo>
                        <a:pt x="111" y="883"/>
                      </a:lnTo>
                      <a:lnTo>
                        <a:pt x="109" y="881"/>
                      </a:lnTo>
                      <a:lnTo>
                        <a:pt x="109" y="878"/>
                      </a:lnTo>
                      <a:lnTo>
                        <a:pt x="114" y="876"/>
                      </a:lnTo>
                      <a:lnTo>
                        <a:pt x="114" y="874"/>
                      </a:lnTo>
                      <a:lnTo>
                        <a:pt x="114" y="871"/>
                      </a:lnTo>
                      <a:lnTo>
                        <a:pt x="116" y="871"/>
                      </a:lnTo>
                      <a:lnTo>
                        <a:pt x="116" y="874"/>
                      </a:lnTo>
                      <a:lnTo>
                        <a:pt x="116" y="876"/>
                      </a:lnTo>
                      <a:lnTo>
                        <a:pt x="118" y="878"/>
                      </a:lnTo>
                      <a:lnTo>
                        <a:pt x="118" y="883"/>
                      </a:lnTo>
                      <a:lnTo>
                        <a:pt x="118" y="885"/>
                      </a:lnTo>
                      <a:lnTo>
                        <a:pt x="118" y="888"/>
                      </a:lnTo>
                      <a:lnTo>
                        <a:pt x="121" y="888"/>
                      </a:lnTo>
                      <a:lnTo>
                        <a:pt x="121" y="890"/>
                      </a:lnTo>
                      <a:close/>
                      <a:moveTo>
                        <a:pt x="102" y="825"/>
                      </a:moveTo>
                      <a:lnTo>
                        <a:pt x="104" y="825"/>
                      </a:lnTo>
                      <a:lnTo>
                        <a:pt x="107" y="825"/>
                      </a:lnTo>
                      <a:lnTo>
                        <a:pt x="107" y="823"/>
                      </a:lnTo>
                      <a:lnTo>
                        <a:pt x="107" y="825"/>
                      </a:lnTo>
                      <a:lnTo>
                        <a:pt x="107" y="827"/>
                      </a:lnTo>
                      <a:lnTo>
                        <a:pt x="107" y="829"/>
                      </a:lnTo>
                      <a:lnTo>
                        <a:pt x="107" y="827"/>
                      </a:lnTo>
                      <a:lnTo>
                        <a:pt x="102" y="827"/>
                      </a:lnTo>
                      <a:lnTo>
                        <a:pt x="100" y="827"/>
                      </a:lnTo>
                      <a:lnTo>
                        <a:pt x="100" y="825"/>
                      </a:lnTo>
                      <a:lnTo>
                        <a:pt x="97" y="825"/>
                      </a:lnTo>
                      <a:lnTo>
                        <a:pt x="97" y="823"/>
                      </a:lnTo>
                      <a:lnTo>
                        <a:pt x="100" y="823"/>
                      </a:lnTo>
                      <a:lnTo>
                        <a:pt x="102" y="823"/>
                      </a:lnTo>
                      <a:lnTo>
                        <a:pt x="102" y="825"/>
                      </a:lnTo>
                      <a:close/>
                      <a:moveTo>
                        <a:pt x="114" y="813"/>
                      </a:moveTo>
                      <a:lnTo>
                        <a:pt x="111" y="816"/>
                      </a:lnTo>
                      <a:lnTo>
                        <a:pt x="109" y="816"/>
                      </a:lnTo>
                      <a:lnTo>
                        <a:pt x="107" y="816"/>
                      </a:lnTo>
                      <a:lnTo>
                        <a:pt x="102" y="818"/>
                      </a:lnTo>
                      <a:lnTo>
                        <a:pt x="100" y="818"/>
                      </a:lnTo>
                      <a:lnTo>
                        <a:pt x="97" y="816"/>
                      </a:lnTo>
                      <a:lnTo>
                        <a:pt x="102" y="813"/>
                      </a:lnTo>
                      <a:lnTo>
                        <a:pt x="107" y="816"/>
                      </a:lnTo>
                      <a:lnTo>
                        <a:pt x="109" y="813"/>
                      </a:lnTo>
                      <a:lnTo>
                        <a:pt x="109" y="811"/>
                      </a:lnTo>
                      <a:lnTo>
                        <a:pt x="109" y="809"/>
                      </a:lnTo>
                      <a:lnTo>
                        <a:pt x="109" y="806"/>
                      </a:lnTo>
                      <a:lnTo>
                        <a:pt x="107" y="802"/>
                      </a:lnTo>
                      <a:lnTo>
                        <a:pt x="104" y="802"/>
                      </a:lnTo>
                      <a:lnTo>
                        <a:pt x="102" y="802"/>
                      </a:lnTo>
                      <a:lnTo>
                        <a:pt x="104" y="797"/>
                      </a:lnTo>
                      <a:lnTo>
                        <a:pt x="104" y="795"/>
                      </a:lnTo>
                      <a:lnTo>
                        <a:pt x="107" y="795"/>
                      </a:lnTo>
                      <a:lnTo>
                        <a:pt x="109" y="799"/>
                      </a:lnTo>
                      <a:lnTo>
                        <a:pt x="111" y="799"/>
                      </a:lnTo>
                      <a:lnTo>
                        <a:pt x="116" y="804"/>
                      </a:lnTo>
                      <a:lnTo>
                        <a:pt x="114" y="806"/>
                      </a:lnTo>
                      <a:lnTo>
                        <a:pt x="111" y="809"/>
                      </a:lnTo>
                      <a:lnTo>
                        <a:pt x="114" y="813"/>
                      </a:lnTo>
                      <a:close/>
                      <a:moveTo>
                        <a:pt x="109" y="741"/>
                      </a:moveTo>
                      <a:lnTo>
                        <a:pt x="114" y="746"/>
                      </a:lnTo>
                      <a:lnTo>
                        <a:pt x="109" y="744"/>
                      </a:lnTo>
                      <a:lnTo>
                        <a:pt x="107" y="746"/>
                      </a:lnTo>
                      <a:lnTo>
                        <a:pt x="104" y="746"/>
                      </a:lnTo>
                      <a:lnTo>
                        <a:pt x="104" y="744"/>
                      </a:lnTo>
                      <a:lnTo>
                        <a:pt x="104" y="741"/>
                      </a:lnTo>
                      <a:lnTo>
                        <a:pt x="104" y="739"/>
                      </a:lnTo>
                      <a:lnTo>
                        <a:pt x="107" y="737"/>
                      </a:lnTo>
                      <a:lnTo>
                        <a:pt x="109" y="739"/>
                      </a:lnTo>
                      <a:lnTo>
                        <a:pt x="109" y="741"/>
                      </a:lnTo>
                      <a:close/>
                      <a:moveTo>
                        <a:pt x="107" y="639"/>
                      </a:moveTo>
                      <a:lnTo>
                        <a:pt x="107" y="641"/>
                      </a:lnTo>
                      <a:lnTo>
                        <a:pt x="102" y="639"/>
                      </a:lnTo>
                      <a:lnTo>
                        <a:pt x="100" y="639"/>
                      </a:lnTo>
                      <a:lnTo>
                        <a:pt x="102" y="639"/>
                      </a:lnTo>
                      <a:lnTo>
                        <a:pt x="102" y="634"/>
                      </a:lnTo>
                      <a:lnTo>
                        <a:pt x="107" y="637"/>
                      </a:lnTo>
                      <a:lnTo>
                        <a:pt x="109" y="637"/>
                      </a:lnTo>
                      <a:lnTo>
                        <a:pt x="109" y="639"/>
                      </a:lnTo>
                      <a:lnTo>
                        <a:pt x="107" y="639"/>
                      </a:lnTo>
                      <a:close/>
                      <a:moveTo>
                        <a:pt x="25" y="325"/>
                      </a:moveTo>
                      <a:lnTo>
                        <a:pt x="25" y="330"/>
                      </a:lnTo>
                      <a:lnTo>
                        <a:pt x="28" y="332"/>
                      </a:lnTo>
                      <a:lnTo>
                        <a:pt x="25" y="332"/>
                      </a:lnTo>
                      <a:lnTo>
                        <a:pt x="23" y="332"/>
                      </a:lnTo>
                      <a:lnTo>
                        <a:pt x="21" y="335"/>
                      </a:lnTo>
                      <a:lnTo>
                        <a:pt x="18" y="332"/>
                      </a:lnTo>
                      <a:lnTo>
                        <a:pt x="16" y="330"/>
                      </a:lnTo>
                      <a:lnTo>
                        <a:pt x="18" y="330"/>
                      </a:lnTo>
                      <a:lnTo>
                        <a:pt x="18" y="328"/>
                      </a:lnTo>
                      <a:lnTo>
                        <a:pt x="18" y="325"/>
                      </a:lnTo>
                      <a:lnTo>
                        <a:pt x="16" y="325"/>
                      </a:lnTo>
                      <a:lnTo>
                        <a:pt x="16" y="323"/>
                      </a:lnTo>
                      <a:lnTo>
                        <a:pt x="16" y="321"/>
                      </a:lnTo>
                      <a:lnTo>
                        <a:pt x="16" y="318"/>
                      </a:lnTo>
                      <a:lnTo>
                        <a:pt x="18" y="321"/>
                      </a:lnTo>
                      <a:lnTo>
                        <a:pt x="21" y="321"/>
                      </a:lnTo>
                      <a:lnTo>
                        <a:pt x="23" y="323"/>
                      </a:lnTo>
                      <a:lnTo>
                        <a:pt x="25" y="325"/>
                      </a:lnTo>
                      <a:close/>
                      <a:moveTo>
                        <a:pt x="0" y="256"/>
                      </a:moveTo>
                      <a:lnTo>
                        <a:pt x="4" y="258"/>
                      </a:lnTo>
                      <a:lnTo>
                        <a:pt x="9" y="256"/>
                      </a:lnTo>
                      <a:lnTo>
                        <a:pt x="11" y="253"/>
                      </a:lnTo>
                      <a:lnTo>
                        <a:pt x="16" y="253"/>
                      </a:lnTo>
                      <a:lnTo>
                        <a:pt x="18" y="256"/>
                      </a:lnTo>
                      <a:lnTo>
                        <a:pt x="16" y="256"/>
                      </a:lnTo>
                      <a:lnTo>
                        <a:pt x="14" y="258"/>
                      </a:lnTo>
                      <a:lnTo>
                        <a:pt x="14" y="265"/>
                      </a:lnTo>
                      <a:lnTo>
                        <a:pt x="14" y="267"/>
                      </a:lnTo>
                      <a:lnTo>
                        <a:pt x="16" y="267"/>
                      </a:lnTo>
                      <a:lnTo>
                        <a:pt x="21" y="267"/>
                      </a:lnTo>
                      <a:lnTo>
                        <a:pt x="23" y="267"/>
                      </a:lnTo>
                      <a:lnTo>
                        <a:pt x="23" y="269"/>
                      </a:lnTo>
                      <a:lnTo>
                        <a:pt x="25" y="269"/>
                      </a:lnTo>
                      <a:lnTo>
                        <a:pt x="25" y="267"/>
                      </a:lnTo>
                      <a:lnTo>
                        <a:pt x="25" y="265"/>
                      </a:lnTo>
                      <a:lnTo>
                        <a:pt x="23" y="265"/>
                      </a:lnTo>
                      <a:lnTo>
                        <a:pt x="23" y="262"/>
                      </a:lnTo>
                      <a:lnTo>
                        <a:pt x="25" y="260"/>
                      </a:lnTo>
                      <a:lnTo>
                        <a:pt x="30" y="256"/>
                      </a:lnTo>
                      <a:lnTo>
                        <a:pt x="34" y="256"/>
                      </a:lnTo>
                      <a:lnTo>
                        <a:pt x="37" y="258"/>
                      </a:lnTo>
                      <a:lnTo>
                        <a:pt x="37" y="262"/>
                      </a:lnTo>
                      <a:lnTo>
                        <a:pt x="37" y="265"/>
                      </a:lnTo>
                      <a:lnTo>
                        <a:pt x="39" y="267"/>
                      </a:lnTo>
                      <a:lnTo>
                        <a:pt x="39" y="269"/>
                      </a:lnTo>
                      <a:lnTo>
                        <a:pt x="37" y="272"/>
                      </a:lnTo>
                      <a:lnTo>
                        <a:pt x="34" y="272"/>
                      </a:lnTo>
                      <a:lnTo>
                        <a:pt x="32" y="272"/>
                      </a:lnTo>
                      <a:lnTo>
                        <a:pt x="34" y="269"/>
                      </a:lnTo>
                      <a:lnTo>
                        <a:pt x="32" y="269"/>
                      </a:lnTo>
                      <a:lnTo>
                        <a:pt x="25" y="276"/>
                      </a:lnTo>
                      <a:lnTo>
                        <a:pt x="25" y="279"/>
                      </a:lnTo>
                      <a:lnTo>
                        <a:pt x="28" y="279"/>
                      </a:lnTo>
                      <a:lnTo>
                        <a:pt x="30" y="279"/>
                      </a:lnTo>
                      <a:lnTo>
                        <a:pt x="28" y="281"/>
                      </a:lnTo>
                      <a:lnTo>
                        <a:pt x="25" y="283"/>
                      </a:lnTo>
                      <a:lnTo>
                        <a:pt x="21" y="283"/>
                      </a:lnTo>
                      <a:lnTo>
                        <a:pt x="18" y="281"/>
                      </a:lnTo>
                      <a:lnTo>
                        <a:pt x="16" y="276"/>
                      </a:lnTo>
                      <a:lnTo>
                        <a:pt x="14" y="276"/>
                      </a:lnTo>
                      <a:lnTo>
                        <a:pt x="11" y="279"/>
                      </a:lnTo>
                      <a:lnTo>
                        <a:pt x="9" y="274"/>
                      </a:lnTo>
                      <a:lnTo>
                        <a:pt x="11" y="274"/>
                      </a:lnTo>
                      <a:lnTo>
                        <a:pt x="11" y="272"/>
                      </a:lnTo>
                      <a:lnTo>
                        <a:pt x="9" y="272"/>
                      </a:lnTo>
                      <a:lnTo>
                        <a:pt x="4" y="267"/>
                      </a:lnTo>
                      <a:lnTo>
                        <a:pt x="2" y="265"/>
                      </a:lnTo>
                      <a:lnTo>
                        <a:pt x="0" y="258"/>
                      </a:lnTo>
                      <a:lnTo>
                        <a:pt x="0" y="256"/>
                      </a:lnTo>
                      <a:close/>
                      <a:moveTo>
                        <a:pt x="100" y="230"/>
                      </a:moveTo>
                      <a:lnTo>
                        <a:pt x="102" y="235"/>
                      </a:lnTo>
                      <a:lnTo>
                        <a:pt x="102" y="237"/>
                      </a:lnTo>
                      <a:lnTo>
                        <a:pt x="102" y="239"/>
                      </a:lnTo>
                      <a:lnTo>
                        <a:pt x="100" y="242"/>
                      </a:lnTo>
                      <a:lnTo>
                        <a:pt x="97" y="242"/>
                      </a:lnTo>
                      <a:lnTo>
                        <a:pt x="97" y="239"/>
                      </a:lnTo>
                      <a:lnTo>
                        <a:pt x="97" y="242"/>
                      </a:lnTo>
                      <a:lnTo>
                        <a:pt x="95" y="242"/>
                      </a:lnTo>
                      <a:lnTo>
                        <a:pt x="95" y="239"/>
                      </a:lnTo>
                      <a:lnTo>
                        <a:pt x="95" y="237"/>
                      </a:lnTo>
                      <a:lnTo>
                        <a:pt x="95" y="235"/>
                      </a:lnTo>
                      <a:lnTo>
                        <a:pt x="97" y="232"/>
                      </a:lnTo>
                      <a:lnTo>
                        <a:pt x="100" y="235"/>
                      </a:lnTo>
                      <a:lnTo>
                        <a:pt x="100" y="232"/>
                      </a:lnTo>
                      <a:lnTo>
                        <a:pt x="97" y="232"/>
                      </a:lnTo>
                      <a:lnTo>
                        <a:pt x="97" y="230"/>
                      </a:lnTo>
                      <a:lnTo>
                        <a:pt x="100" y="230"/>
                      </a:lnTo>
                      <a:close/>
                      <a:moveTo>
                        <a:pt x="121" y="230"/>
                      </a:moveTo>
                      <a:lnTo>
                        <a:pt x="123" y="230"/>
                      </a:lnTo>
                      <a:lnTo>
                        <a:pt x="123" y="232"/>
                      </a:lnTo>
                      <a:lnTo>
                        <a:pt x="123" y="235"/>
                      </a:lnTo>
                      <a:lnTo>
                        <a:pt x="121" y="237"/>
                      </a:lnTo>
                      <a:lnTo>
                        <a:pt x="121" y="239"/>
                      </a:lnTo>
                      <a:lnTo>
                        <a:pt x="118" y="239"/>
                      </a:lnTo>
                      <a:lnTo>
                        <a:pt x="114" y="237"/>
                      </a:lnTo>
                      <a:lnTo>
                        <a:pt x="109" y="237"/>
                      </a:lnTo>
                      <a:lnTo>
                        <a:pt x="109" y="239"/>
                      </a:lnTo>
                      <a:lnTo>
                        <a:pt x="111" y="239"/>
                      </a:lnTo>
                      <a:lnTo>
                        <a:pt x="114" y="239"/>
                      </a:lnTo>
                      <a:lnTo>
                        <a:pt x="116" y="242"/>
                      </a:lnTo>
                      <a:lnTo>
                        <a:pt x="116" y="244"/>
                      </a:lnTo>
                      <a:lnTo>
                        <a:pt x="114" y="244"/>
                      </a:lnTo>
                      <a:lnTo>
                        <a:pt x="114" y="246"/>
                      </a:lnTo>
                      <a:lnTo>
                        <a:pt x="107" y="244"/>
                      </a:lnTo>
                      <a:lnTo>
                        <a:pt x="107" y="242"/>
                      </a:lnTo>
                      <a:lnTo>
                        <a:pt x="104" y="239"/>
                      </a:lnTo>
                      <a:lnTo>
                        <a:pt x="107" y="237"/>
                      </a:lnTo>
                      <a:lnTo>
                        <a:pt x="104" y="235"/>
                      </a:lnTo>
                      <a:lnTo>
                        <a:pt x="104" y="232"/>
                      </a:lnTo>
                      <a:lnTo>
                        <a:pt x="104" y="230"/>
                      </a:lnTo>
                      <a:lnTo>
                        <a:pt x="107" y="230"/>
                      </a:lnTo>
                      <a:lnTo>
                        <a:pt x="107" y="228"/>
                      </a:lnTo>
                      <a:lnTo>
                        <a:pt x="109" y="228"/>
                      </a:lnTo>
                      <a:lnTo>
                        <a:pt x="111" y="228"/>
                      </a:lnTo>
                      <a:lnTo>
                        <a:pt x="111" y="230"/>
                      </a:lnTo>
                      <a:lnTo>
                        <a:pt x="114" y="230"/>
                      </a:lnTo>
                      <a:lnTo>
                        <a:pt x="116" y="230"/>
                      </a:lnTo>
                      <a:lnTo>
                        <a:pt x="118" y="230"/>
                      </a:lnTo>
                      <a:lnTo>
                        <a:pt x="118" y="228"/>
                      </a:lnTo>
                      <a:lnTo>
                        <a:pt x="118" y="225"/>
                      </a:lnTo>
                      <a:lnTo>
                        <a:pt x="118" y="223"/>
                      </a:lnTo>
                      <a:lnTo>
                        <a:pt x="121" y="223"/>
                      </a:lnTo>
                      <a:lnTo>
                        <a:pt x="121" y="225"/>
                      </a:lnTo>
                      <a:lnTo>
                        <a:pt x="121" y="230"/>
                      </a:lnTo>
                      <a:close/>
                      <a:moveTo>
                        <a:pt x="28" y="244"/>
                      </a:moveTo>
                      <a:lnTo>
                        <a:pt x="25" y="251"/>
                      </a:lnTo>
                      <a:lnTo>
                        <a:pt x="23" y="246"/>
                      </a:lnTo>
                      <a:lnTo>
                        <a:pt x="21" y="249"/>
                      </a:lnTo>
                      <a:lnTo>
                        <a:pt x="14" y="242"/>
                      </a:lnTo>
                      <a:lnTo>
                        <a:pt x="16" y="242"/>
                      </a:lnTo>
                      <a:lnTo>
                        <a:pt x="18" y="239"/>
                      </a:lnTo>
                      <a:lnTo>
                        <a:pt x="21" y="235"/>
                      </a:lnTo>
                      <a:lnTo>
                        <a:pt x="25" y="232"/>
                      </a:lnTo>
                      <a:lnTo>
                        <a:pt x="28" y="235"/>
                      </a:lnTo>
                      <a:lnTo>
                        <a:pt x="30" y="239"/>
                      </a:lnTo>
                      <a:lnTo>
                        <a:pt x="28" y="244"/>
                      </a:lnTo>
                      <a:close/>
                      <a:moveTo>
                        <a:pt x="100" y="216"/>
                      </a:moveTo>
                      <a:lnTo>
                        <a:pt x="102" y="216"/>
                      </a:lnTo>
                      <a:lnTo>
                        <a:pt x="104" y="216"/>
                      </a:lnTo>
                      <a:lnTo>
                        <a:pt x="102" y="216"/>
                      </a:lnTo>
                      <a:lnTo>
                        <a:pt x="102" y="218"/>
                      </a:lnTo>
                      <a:lnTo>
                        <a:pt x="102" y="221"/>
                      </a:lnTo>
                      <a:lnTo>
                        <a:pt x="100" y="221"/>
                      </a:lnTo>
                      <a:lnTo>
                        <a:pt x="97" y="221"/>
                      </a:lnTo>
                      <a:lnTo>
                        <a:pt x="95" y="221"/>
                      </a:lnTo>
                      <a:lnTo>
                        <a:pt x="95" y="223"/>
                      </a:lnTo>
                      <a:lnTo>
                        <a:pt x="95" y="225"/>
                      </a:lnTo>
                      <a:lnTo>
                        <a:pt x="93" y="228"/>
                      </a:lnTo>
                      <a:lnTo>
                        <a:pt x="93" y="230"/>
                      </a:lnTo>
                      <a:lnTo>
                        <a:pt x="90" y="230"/>
                      </a:lnTo>
                      <a:lnTo>
                        <a:pt x="90" y="228"/>
                      </a:lnTo>
                      <a:lnTo>
                        <a:pt x="90" y="225"/>
                      </a:lnTo>
                      <a:lnTo>
                        <a:pt x="90" y="223"/>
                      </a:lnTo>
                      <a:lnTo>
                        <a:pt x="90" y="221"/>
                      </a:lnTo>
                      <a:lnTo>
                        <a:pt x="93" y="221"/>
                      </a:lnTo>
                      <a:lnTo>
                        <a:pt x="93" y="218"/>
                      </a:lnTo>
                      <a:lnTo>
                        <a:pt x="93" y="216"/>
                      </a:lnTo>
                      <a:lnTo>
                        <a:pt x="95" y="216"/>
                      </a:lnTo>
                      <a:lnTo>
                        <a:pt x="97" y="216"/>
                      </a:lnTo>
                      <a:lnTo>
                        <a:pt x="100" y="214"/>
                      </a:lnTo>
                      <a:lnTo>
                        <a:pt x="100" y="216"/>
                      </a:lnTo>
                      <a:close/>
                      <a:moveTo>
                        <a:pt x="162" y="109"/>
                      </a:moveTo>
                      <a:lnTo>
                        <a:pt x="165" y="109"/>
                      </a:lnTo>
                      <a:lnTo>
                        <a:pt x="165" y="111"/>
                      </a:lnTo>
                      <a:lnTo>
                        <a:pt x="165" y="114"/>
                      </a:lnTo>
                      <a:lnTo>
                        <a:pt x="165" y="116"/>
                      </a:lnTo>
                      <a:lnTo>
                        <a:pt x="165" y="118"/>
                      </a:lnTo>
                      <a:lnTo>
                        <a:pt x="162" y="118"/>
                      </a:lnTo>
                      <a:lnTo>
                        <a:pt x="160" y="118"/>
                      </a:lnTo>
                      <a:lnTo>
                        <a:pt x="162" y="121"/>
                      </a:lnTo>
                      <a:lnTo>
                        <a:pt x="160" y="123"/>
                      </a:lnTo>
                      <a:lnTo>
                        <a:pt x="158" y="123"/>
                      </a:lnTo>
                      <a:lnTo>
                        <a:pt x="156" y="123"/>
                      </a:lnTo>
                      <a:lnTo>
                        <a:pt x="153" y="121"/>
                      </a:lnTo>
                      <a:lnTo>
                        <a:pt x="151" y="118"/>
                      </a:lnTo>
                      <a:lnTo>
                        <a:pt x="151" y="116"/>
                      </a:lnTo>
                      <a:lnTo>
                        <a:pt x="151" y="114"/>
                      </a:lnTo>
                      <a:lnTo>
                        <a:pt x="153" y="111"/>
                      </a:lnTo>
                      <a:lnTo>
                        <a:pt x="156" y="109"/>
                      </a:lnTo>
                      <a:lnTo>
                        <a:pt x="158" y="107"/>
                      </a:lnTo>
                      <a:lnTo>
                        <a:pt x="160" y="107"/>
                      </a:lnTo>
                      <a:lnTo>
                        <a:pt x="160" y="109"/>
                      </a:lnTo>
                      <a:lnTo>
                        <a:pt x="162" y="109"/>
                      </a:lnTo>
                      <a:close/>
                      <a:moveTo>
                        <a:pt x="260" y="12"/>
                      </a:moveTo>
                      <a:lnTo>
                        <a:pt x="277" y="16"/>
                      </a:lnTo>
                      <a:lnTo>
                        <a:pt x="284" y="21"/>
                      </a:lnTo>
                      <a:lnTo>
                        <a:pt x="286" y="25"/>
                      </a:lnTo>
                      <a:lnTo>
                        <a:pt x="291" y="37"/>
                      </a:lnTo>
                      <a:lnTo>
                        <a:pt x="293" y="42"/>
                      </a:lnTo>
                      <a:lnTo>
                        <a:pt x="300" y="46"/>
                      </a:lnTo>
                      <a:lnTo>
                        <a:pt x="304" y="46"/>
                      </a:lnTo>
                      <a:lnTo>
                        <a:pt x="304" y="49"/>
                      </a:lnTo>
                      <a:lnTo>
                        <a:pt x="307" y="56"/>
                      </a:lnTo>
                      <a:lnTo>
                        <a:pt x="311" y="60"/>
                      </a:lnTo>
                      <a:lnTo>
                        <a:pt x="321" y="63"/>
                      </a:lnTo>
                      <a:lnTo>
                        <a:pt x="328" y="65"/>
                      </a:lnTo>
                      <a:lnTo>
                        <a:pt x="332" y="70"/>
                      </a:lnTo>
                      <a:lnTo>
                        <a:pt x="349" y="93"/>
                      </a:lnTo>
                      <a:lnTo>
                        <a:pt x="358" y="102"/>
                      </a:lnTo>
                      <a:lnTo>
                        <a:pt x="374" y="111"/>
                      </a:lnTo>
                      <a:lnTo>
                        <a:pt x="405" y="135"/>
                      </a:lnTo>
                      <a:lnTo>
                        <a:pt x="409" y="139"/>
                      </a:lnTo>
                      <a:lnTo>
                        <a:pt x="414" y="137"/>
                      </a:lnTo>
                      <a:lnTo>
                        <a:pt x="416" y="128"/>
                      </a:lnTo>
                      <a:lnTo>
                        <a:pt x="416" y="118"/>
                      </a:lnTo>
                      <a:lnTo>
                        <a:pt x="416" y="109"/>
                      </a:lnTo>
                      <a:lnTo>
                        <a:pt x="421" y="104"/>
                      </a:lnTo>
                      <a:lnTo>
                        <a:pt x="423" y="102"/>
                      </a:lnTo>
                      <a:lnTo>
                        <a:pt x="432" y="102"/>
                      </a:lnTo>
                      <a:lnTo>
                        <a:pt x="437" y="104"/>
                      </a:lnTo>
                      <a:lnTo>
                        <a:pt x="449" y="111"/>
                      </a:lnTo>
                      <a:lnTo>
                        <a:pt x="453" y="114"/>
                      </a:lnTo>
                      <a:lnTo>
                        <a:pt x="481" y="111"/>
                      </a:lnTo>
                      <a:lnTo>
                        <a:pt x="486" y="114"/>
                      </a:lnTo>
                      <a:lnTo>
                        <a:pt x="498" y="121"/>
                      </a:lnTo>
                      <a:lnTo>
                        <a:pt x="502" y="125"/>
                      </a:lnTo>
                      <a:lnTo>
                        <a:pt x="509" y="125"/>
                      </a:lnTo>
                      <a:lnTo>
                        <a:pt x="516" y="123"/>
                      </a:lnTo>
                      <a:lnTo>
                        <a:pt x="526" y="116"/>
                      </a:lnTo>
                      <a:lnTo>
                        <a:pt x="528" y="116"/>
                      </a:lnTo>
                      <a:lnTo>
                        <a:pt x="530" y="118"/>
                      </a:lnTo>
                      <a:lnTo>
                        <a:pt x="530" y="121"/>
                      </a:lnTo>
                      <a:lnTo>
                        <a:pt x="526" y="135"/>
                      </a:lnTo>
                      <a:lnTo>
                        <a:pt x="526" y="137"/>
                      </a:lnTo>
                      <a:lnTo>
                        <a:pt x="526" y="142"/>
                      </a:lnTo>
                      <a:lnTo>
                        <a:pt x="528" y="144"/>
                      </a:lnTo>
                      <a:lnTo>
                        <a:pt x="533" y="149"/>
                      </a:lnTo>
                      <a:lnTo>
                        <a:pt x="540" y="163"/>
                      </a:lnTo>
                      <a:lnTo>
                        <a:pt x="542" y="167"/>
                      </a:lnTo>
                      <a:lnTo>
                        <a:pt x="544" y="172"/>
                      </a:lnTo>
                      <a:lnTo>
                        <a:pt x="542" y="172"/>
                      </a:lnTo>
                      <a:lnTo>
                        <a:pt x="542" y="174"/>
                      </a:lnTo>
                      <a:lnTo>
                        <a:pt x="542" y="179"/>
                      </a:lnTo>
                      <a:lnTo>
                        <a:pt x="544" y="186"/>
                      </a:lnTo>
                      <a:lnTo>
                        <a:pt x="549" y="190"/>
                      </a:lnTo>
                      <a:lnTo>
                        <a:pt x="556" y="197"/>
                      </a:lnTo>
                      <a:lnTo>
                        <a:pt x="560" y="204"/>
                      </a:lnTo>
                      <a:lnTo>
                        <a:pt x="565" y="207"/>
                      </a:lnTo>
                      <a:lnTo>
                        <a:pt x="565" y="209"/>
                      </a:lnTo>
                      <a:lnTo>
                        <a:pt x="560" y="209"/>
                      </a:lnTo>
                      <a:lnTo>
                        <a:pt x="558" y="211"/>
                      </a:lnTo>
                      <a:lnTo>
                        <a:pt x="558" y="216"/>
                      </a:lnTo>
                      <a:lnTo>
                        <a:pt x="560" y="218"/>
                      </a:lnTo>
                      <a:lnTo>
                        <a:pt x="565" y="221"/>
                      </a:lnTo>
                      <a:lnTo>
                        <a:pt x="567" y="223"/>
                      </a:lnTo>
                      <a:lnTo>
                        <a:pt x="570" y="223"/>
                      </a:lnTo>
                      <a:lnTo>
                        <a:pt x="570" y="225"/>
                      </a:lnTo>
                      <a:lnTo>
                        <a:pt x="570" y="228"/>
                      </a:lnTo>
                      <a:lnTo>
                        <a:pt x="567" y="232"/>
                      </a:lnTo>
                      <a:lnTo>
                        <a:pt x="563" y="230"/>
                      </a:lnTo>
                      <a:lnTo>
                        <a:pt x="556" y="232"/>
                      </a:lnTo>
                      <a:lnTo>
                        <a:pt x="544" y="239"/>
                      </a:lnTo>
                      <a:lnTo>
                        <a:pt x="544" y="242"/>
                      </a:lnTo>
                      <a:lnTo>
                        <a:pt x="547" y="246"/>
                      </a:lnTo>
                      <a:lnTo>
                        <a:pt x="551" y="249"/>
                      </a:lnTo>
                      <a:lnTo>
                        <a:pt x="558" y="251"/>
                      </a:lnTo>
                      <a:lnTo>
                        <a:pt x="563" y="253"/>
                      </a:lnTo>
                      <a:lnTo>
                        <a:pt x="560" y="253"/>
                      </a:lnTo>
                      <a:lnTo>
                        <a:pt x="560" y="258"/>
                      </a:lnTo>
                      <a:lnTo>
                        <a:pt x="563" y="260"/>
                      </a:lnTo>
                      <a:lnTo>
                        <a:pt x="586" y="274"/>
                      </a:lnTo>
                      <a:lnTo>
                        <a:pt x="588" y="274"/>
                      </a:lnTo>
                      <a:lnTo>
                        <a:pt x="588" y="269"/>
                      </a:lnTo>
                      <a:lnTo>
                        <a:pt x="591" y="267"/>
                      </a:lnTo>
                      <a:lnTo>
                        <a:pt x="593" y="267"/>
                      </a:lnTo>
                      <a:lnTo>
                        <a:pt x="598" y="267"/>
                      </a:lnTo>
                      <a:lnTo>
                        <a:pt x="602" y="272"/>
                      </a:lnTo>
                      <a:lnTo>
                        <a:pt x="605" y="274"/>
                      </a:lnTo>
                      <a:lnTo>
                        <a:pt x="605" y="276"/>
                      </a:lnTo>
                      <a:lnTo>
                        <a:pt x="607" y="281"/>
                      </a:lnTo>
                      <a:lnTo>
                        <a:pt x="612" y="283"/>
                      </a:lnTo>
                      <a:lnTo>
                        <a:pt x="614" y="290"/>
                      </a:lnTo>
                      <a:lnTo>
                        <a:pt x="619" y="297"/>
                      </a:lnTo>
                      <a:lnTo>
                        <a:pt x="619" y="302"/>
                      </a:lnTo>
                      <a:lnTo>
                        <a:pt x="619" y="304"/>
                      </a:lnTo>
                      <a:lnTo>
                        <a:pt x="619" y="307"/>
                      </a:lnTo>
                      <a:lnTo>
                        <a:pt x="619" y="309"/>
                      </a:lnTo>
                      <a:lnTo>
                        <a:pt x="612" y="325"/>
                      </a:lnTo>
                      <a:lnTo>
                        <a:pt x="612" y="328"/>
                      </a:lnTo>
                      <a:lnTo>
                        <a:pt x="626" y="335"/>
                      </a:lnTo>
                      <a:lnTo>
                        <a:pt x="628" y="335"/>
                      </a:lnTo>
                      <a:lnTo>
                        <a:pt x="637" y="335"/>
                      </a:lnTo>
                      <a:lnTo>
                        <a:pt x="640" y="337"/>
                      </a:lnTo>
                      <a:lnTo>
                        <a:pt x="640" y="342"/>
                      </a:lnTo>
                      <a:lnTo>
                        <a:pt x="640" y="344"/>
                      </a:lnTo>
                      <a:lnTo>
                        <a:pt x="640" y="346"/>
                      </a:lnTo>
                      <a:lnTo>
                        <a:pt x="640" y="348"/>
                      </a:lnTo>
                      <a:lnTo>
                        <a:pt x="651" y="355"/>
                      </a:lnTo>
                      <a:lnTo>
                        <a:pt x="651" y="358"/>
                      </a:lnTo>
                      <a:lnTo>
                        <a:pt x="647" y="360"/>
                      </a:lnTo>
                      <a:lnTo>
                        <a:pt x="642" y="362"/>
                      </a:lnTo>
                      <a:lnTo>
                        <a:pt x="642" y="365"/>
                      </a:lnTo>
                      <a:lnTo>
                        <a:pt x="642" y="367"/>
                      </a:lnTo>
                      <a:lnTo>
                        <a:pt x="644" y="367"/>
                      </a:lnTo>
                      <a:lnTo>
                        <a:pt x="644" y="369"/>
                      </a:lnTo>
                      <a:lnTo>
                        <a:pt x="642" y="369"/>
                      </a:lnTo>
                      <a:lnTo>
                        <a:pt x="642" y="372"/>
                      </a:lnTo>
                      <a:lnTo>
                        <a:pt x="640" y="374"/>
                      </a:lnTo>
                      <a:lnTo>
                        <a:pt x="640" y="376"/>
                      </a:lnTo>
                      <a:lnTo>
                        <a:pt x="640" y="379"/>
                      </a:lnTo>
                      <a:lnTo>
                        <a:pt x="642" y="381"/>
                      </a:lnTo>
                      <a:lnTo>
                        <a:pt x="642" y="383"/>
                      </a:lnTo>
                      <a:lnTo>
                        <a:pt x="642" y="386"/>
                      </a:lnTo>
                      <a:lnTo>
                        <a:pt x="644" y="388"/>
                      </a:lnTo>
                      <a:lnTo>
                        <a:pt x="647" y="388"/>
                      </a:lnTo>
                      <a:lnTo>
                        <a:pt x="644" y="390"/>
                      </a:lnTo>
                      <a:lnTo>
                        <a:pt x="642" y="390"/>
                      </a:lnTo>
                      <a:lnTo>
                        <a:pt x="640" y="388"/>
                      </a:lnTo>
                      <a:lnTo>
                        <a:pt x="635" y="386"/>
                      </a:lnTo>
                      <a:lnTo>
                        <a:pt x="633" y="386"/>
                      </a:lnTo>
                      <a:lnTo>
                        <a:pt x="630" y="386"/>
                      </a:lnTo>
                      <a:lnTo>
                        <a:pt x="628" y="388"/>
                      </a:lnTo>
                      <a:lnTo>
                        <a:pt x="626" y="390"/>
                      </a:lnTo>
                      <a:lnTo>
                        <a:pt x="628" y="390"/>
                      </a:lnTo>
                      <a:lnTo>
                        <a:pt x="628" y="393"/>
                      </a:lnTo>
                      <a:lnTo>
                        <a:pt x="626" y="395"/>
                      </a:lnTo>
                      <a:lnTo>
                        <a:pt x="626" y="397"/>
                      </a:lnTo>
                      <a:lnTo>
                        <a:pt x="623" y="397"/>
                      </a:lnTo>
                      <a:lnTo>
                        <a:pt x="621" y="395"/>
                      </a:lnTo>
                      <a:lnTo>
                        <a:pt x="619" y="397"/>
                      </a:lnTo>
                      <a:lnTo>
                        <a:pt x="612" y="404"/>
                      </a:lnTo>
                      <a:lnTo>
                        <a:pt x="605" y="421"/>
                      </a:lnTo>
                      <a:lnTo>
                        <a:pt x="607" y="427"/>
                      </a:lnTo>
                      <a:lnTo>
                        <a:pt x="630" y="451"/>
                      </a:lnTo>
                      <a:lnTo>
                        <a:pt x="630" y="455"/>
                      </a:lnTo>
                      <a:lnTo>
                        <a:pt x="628" y="458"/>
                      </a:lnTo>
                      <a:lnTo>
                        <a:pt x="628" y="462"/>
                      </a:lnTo>
                      <a:lnTo>
                        <a:pt x="628" y="469"/>
                      </a:lnTo>
                      <a:lnTo>
                        <a:pt x="628" y="476"/>
                      </a:lnTo>
                      <a:lnTo>
                        <a:pt x="630" y="476"/>
                      </a:lnTo>
                      <a:lnTo>
                        <a:pt x="633" y="476"/>
                      </a:lnTo>
                      <a:lnTo>
                        <a:pt x="635" y="476"/>
                      </a:lnTo>
                      <a:lnTo>
                        <a:pt x="635" y="479"/>
                      </a:lnTo>
                      <a:lnTo>
                        <a:pt x="635" y="488"/>
                      </a:lnTo>
                      <a:lnTo>
                        <a:pt x="637" y="493"/>
                      </a:lnTo>
                      <a:lnTo>
                        <a:pt x="640" y="493"/>
                      </a:lnTo>
                      <a:lnTo>
                        <a:pt x="651" y="502"/>
                      </a:lnTo>
                      <a:lnTo>
                        <a:pt x="654" y="504"/>
                      </a:lnTo>
                      <a:lnTo>
                        <a:pt x="658" y="511"/>
                      </a:lnTo>
                      <a:lnTo>
                        <a:pt x="661" y="513"/>
                      </a:lnTo>
                      <a:lnTo>
                        <a:pt x="661" y="518"/>
                      </a:lnTo>
                      <a:lnTo>
                        <a:pt x="661" y="530"/>
                      </a:lnTo>
                      <a:lnTo>
                        <a:pt x="661" y="532"/>
                      </a:lnTo>
                      <a:lnTo>
                        <a:pt x="647" y="527"/>
                      </a:lnTo>
                      <a:lnTo>
                        <a:pt x="644" y="530"/>
                      </a:lnTo>
                      <a:lnTo>
                        <a:pt x="644" y="532"/>
                      </a:lnTo>
                      <a:lnTo>
                        <a:pt x="644" y="534"/>
                      </a:lnTo>
                      <a:lnTo>
                        <a:pt x="644" y="537"/>
                      </a:lnTo>
                      <a:lnTo>
                        <a:pt x="642" y="539"/>
                      </a:lnTo>
                      <a:lnTo>
                        <a:pt x="642" y="541"/>
                      </a:lnTo>
                      <a:lnTo>
                        <a:pt x="640" y="539"/>
                      </a:lnTo>
                      <a:lnTo>
                        <a:pt x="640" y="537"/>
                      </a:lnTo>
                      <a:lnTo>
                        <a:pt x="640" y="534"/>
                      </a:lnTo>
                      <a:lnTo>
                        <a:pt x="637" y="532"/>
                      </a:lnTo>
                      <a:lnTo>
                        <a:pt x="635" y="532"/>
                      </a:lnTo>
                      <a:lnTo>
                        <a:pt x="633" y="532"/>
                      </a:lnTo>
                      <a:lnTo>
                        <a:pt x="623" y="539"/>
                      </a:lnTo>
                      <a:lnTo>
                        <a:pt x="623" y="541"/>
                      </a:lnTo>
                      <a:lnTo>
                        <a:pt x="621" y="541"/>
                      </a:lnTo>
                      <a:lnTo>
                        <a:pt x="616" y="537"/>
                      </a:lnTo>
                      <a:lnTo>
                        <a:pt x="612" y="537"/>
                      </a:lnTo>
                      <a:lnTo>
                        <a:pt x="609" y="534"/>
                      </a:lnTo>
                      <a:lnTo>
                        <a:pt x="609" y="532"/>
                      </a:lnTo>
                      <a:lnTo>
                        <a:pt x="609" y="530"/>
                      </a:lnTo>
                      <a:lnTo>
                        <a:pt x="609" y="525"/>
                      </a:lnTo>
                      <a:lnTo>
                        <a:pt x="609" y="523"/>
                      </a:lnTo>
                      <a:lnTo>
                        <a:pt x="607" y="520"/>
                      </a:lnTo>
                      <a:lnTo>
                        <a:pt x="605" y="520"/>
                      </a:lnTo>
                      <a:lnTo>
                        <a:pt x="605" y="523"/>
                      </a:lnTo>
                      <a:lnTo>
                        <a:pt x="602" y="523"/>
                      </a:lnTo>
                      <a:lnTo>
                        <a:pt x="600" y="520"/>
                      </a:lnTo>
                      <a:lnTo>
                        <a:pt x="598" y="516"/>
                      </a:lnTo>
                      <a:lnTo>
                        <a:pt x="595" y="513"/>
                      </a:lnTo>
                      <a:lnTo>
                        <a:pt x="593" y="513"/>
                      </a:lnTo>
                      <a:lnTo>
                        <a:pt x="588" y="509"/>
                      </a:lnTo>
                      <a:lnTo>
                        <a:pt x="588" y="511"/>
                      </a:lnTo>
                      <a:lnTo>
                        <a:pt x="588" y="513"/>
                      </a:lnTo>
                      <a:lnTo>
                        <a:pt x="588" y="516"/>
                      </a:lnTo>
                      <a:lnTo>
                        <a:pt x="586" y="516"/>
                      </a:lnTo>
                      <a:lnTo>
                        <a:pt x="584" y="516"/>
                      </a:lnTo>
                      <a:lnTo>
                        <a:pt x="584" y="513"/>
                      </a:lnTo>
                      <a:lnTo>
                        <a:pt x="584" y="511"/>
                      </a:lnTo>
                      <a:lnTo>
                        <a:pt x="581" y="509"/>
                      </a:lnTo>
                      <a:lnTo>
                        <a:pt x="581" y="511"/>
                      </a:lnTo>
                      <a:lnTo>
                        <a:pt x="581" y="513"/>
                      </a:lnTo>
                      <a:lnTo>
                        <a:pt x="579" y="523"/>
                      </a:lnTo>
                      <a:lnTo>
                        <a:pt x="577" y="532"/>
                      </a:lnTo>
                      <a:lnTo>
                        <a:pt x="577" y="534"/>
                      </a:lnTo>
                      <a:lnTo>
                        <a:pt x="574" y="534"/>
                      </a:lnTo>
                      <a:lnTo>
                        <a:pt x="574" y="532"/>
                      </a:lnTo>
                      <a:lnTo>
                        <a:pt x="572" y="532"/>
                      </a:lnTo>
                      <a:lnTo>
                        <a:pt x="567" y="534"/>
                      </a:lnTo>
                      <a:lnTo>
                        <a:pt x="565" y="534"/>
                      </a:lnTo>
                      <a:lnTo>
                        <a:pt x="560" y="537"/>
                      </a:lnTo>
                      <a:lnTo>
                        <a:pt x="558" y="541"/>
                      </a:lnTo>
                      <a:lnTo>
                        <a:pt x="556" y="544"/>
                      </a:lnTo>
                      <a:lnTo>
                        <a:pt x="551" y="544"/>
                      </a:lnTo>
                      <a:lnTo>
                        <a:pt x="549" y="544"/>
                      </a:lnTo>
                      <a:lnTo>
                        <a:pt x="549" y="551"/>
                      </a:lnTo>
                      <a:lnTo>
                        <a:pt x="551" y="572"/>
                      </a:lnTo>
                      <a:lnTo>
                        <a:pt x="551" y="581"/>
                      </a:lnTo>
                      <a:lnTo>
                        <a:pt x="549" y="586"/>
                      </a:lnTo>
                      <a:lnTo>
                        <a:pt x="549" y="590"/>
                      </a:lnTo>
                      <a:lnTo>
                        <a:pt x="547" y="592"/>
                      </a:lnTo>
                      <a:lnTo>
                        <a:pt x="500" y="609"/>
                      </a:lnTo>
                      <a:lnTo>
                        <a:pt x="498" y="609"/>
                      </a:lnTo>
                      <a:lnTo>
                        <a:pt x="488" y="606"/>
                      </a:lnTo>
                      <a:lnTo>
                        <a:pt x="486" y="609"/>
                      </a:lnTo>
                      <a:lnTo>
                        <a:pt x="488" y="611"/>
                      </a:lnTo>
                      <a:lnTo>
                        <a:pt x="491" y="616"/>
                      </a:lnTo>
                      <a:lnTo>
                        <a:pt x="493" y="618"/>
                      </a:lnTo>
                      <a:lnTo>
                        <a:pt x="495" y="620"/>
                      </a:lnTo>
                      <a:lnTo>
                        <a:pt x="495" y="625"/>
                      </a:lnTo>
                      <a:lnTo>
                        <a:pt x="495" y="632"/>
                      </a:lnTo>
                      <a:lnTo>
                        <a:pt x="498" y="637"/>
                      </a:lnTo>
                      <a:lnTo>
                        <a:pt x="500" y="641"/>
                      </a:lnTo>
                      <a:lnTo>
                        <a:pt x="498" y="641"/>
                      </a:lnTo>
                      <a:lnTo>
                        <a:pt x="498" y="644"/>
                      </a:lnTo>
                      <a:lnTo>
                        <a:pt x="498" y="646"/>
                      </a:lnTo>
                      <a:lnTo>
                        <a:pt x="498" y="648"/>
                      </a:lnTo>
                      <a:lnTo>
                        <a:pt x="498" y="651"/>
                      </a:lnTo>
                      <a:lnTo>
                        <a:pt x="491" y="655"/>
                      </a:lnTo>
                      <a:lnTo>
                        <a:pt x="486" y="655"/>
                      </a:lnTo>
                      <a:lnTo>
                        <a:pt x="481" y="648"/>
                      </a:lnTo>
                      <a:lnTo>
                        <a:pt x="479" y="651"/>
                      </a:lnTo>
                      <a:lnTo>
                        <a:pt x="479" y="653"/>
                      </a:lnTo>
                      <a:lnTo>
                        <a:pt x="477" y="658"/>
                      </a:lnTo>
                      <a:lnTo>
                        <a:pt x="472" y="655"/>
                      </a:lnTo>
                      <a:lnTo>
                        <a:pt x="465" y="655"/>
                      </a:lnTo>
                      <a:lnTo>
                        <a:pt x="460" y="655"/>
                      </a:lnTo>
                      <a:lnTo>
                        <a:pt x="456" y="658"/>
                      </a:lnTo>
                      <a:lnTo>
                        <a:pt x="444" y="671"/>
                      </a:lnTo>
                      <a:lnTo>
                        <a:pt x="439" y="674"/>
                      </a:lnTo>
                      <a:lnTo>
                        <a:pt x="432" y="674"/>
                      </a:lnTo>
                      <a:lnTo>
                        <a:pt x="432" y="676"/>
                      </a:lnTo>
                      <a:lnTo>
                        <a:pt x="432" y="681"/>
                      </a:lnTo>
                      <a:lnTo>
                        <a:pt x="432" y="683"/>
                      </a:lnTo>
                      <a:lnTo>
                        <a:pt x="435" y="683"/>
                      </a:lnTo>
                      <a:lnTo>
                        <a:pt x="437" y="683"/>
                      </a:lnTo>
                      <a:lnTo>
                        <a:pt x="435" y="688"/>
                      </a:lnTo>
                      <a:lnTo>
                        <a:pt x="430" y="695"/>
                      </a:lnTo>
                      <a:lnTo>
                        <a:pt x="425" y="697"/>
                      </a:lnTo>
                      <a:lnTo>
                        <a:pt x="421" y="699"/>
                      </a:lnTo>
                      <a:lnTo>
                        <a:pt x="421" y="702"/>
                      </a:lnTo>
                      <a:lnTo>
                        <a:pt x="421" y="704"/>
                      </a:lnTo>
                      <a:lnTo>
                        <a:pt x="416" y="704"/>
                      </a:lnTo>
                      <a:lnTo>
                        <a:pt x="409" y="706"/>
                      </a:lnTo>
                      <a:lnTo>
                        <a:pt x="400" y="716"/>
                      </a:lnTo>
                      <a:lnTo>
                        <a:pt x="386" y="723"/>
                      </a:lnTo>
                      <a:lnTo>
                        <a:pt x="384" y="725"/>
                      </a:lnTo>
                      <a:lnTo>
                        <a:pt x="384" y="727"/>
                      </a:lnTo>
                      <a:lnTo>
                        <a:pt x="386" y="727"/>
                      </a:lnTo>
                      <a:lnTo>
                        <a:pt x="388" y="730"/>
                      </a:lnTo>
                      <a:lnTo>
                        <a:pt x="388" y="732"/>
                      </a:lnTo>
                      <a:lnTo>
                        <a:pt x="388" y="734"/>
                      </a:lnTo>
                      <a:lnTo>
                        <a:pt x="393" y="730"/>
                      </a:lnTo>
                      <a:lnTo>
                        <a:pt x="395" y="730"/>
                      </a:lnTo>
                      <a:lnTo>
                        <a:pt x="398" y="732"/>
                      </a:lnTo>
                      <a:lnTo>
                        <a:pt x="395" y="734"/>
                      </a:lnTo>
                      <a:lnTo>
                        <a:pt x="395" y="737"/>
                      </a:lnTo>
                      <a:lnTo>
                        <a:pt x="393" y="739"/>
                      </a:lnTo>
                      <a:lnTo>
                        <a:pt x="393" y="741"/>
                      </a:lnTo>
                      <a:lnTo>
                        <a:pt x="395" y="744"/>
                      </a:lnTo>
                      <a:lnTo>
                        <a:pt x="398" y="746"/>
                      </a:lnTo>
                      <a:lnTo>
                        <a:pt x="398" y="748"/>
                      </a:lnTo>
                      <a:lnTo>
                        <a:pt x="398" y="750"/>
                      </a:lnTo>
                      <a:lnTo>
                        <a:pt x="395" y="750"/>
                      </a:lnTo>
                      <a:lnTo>
                        <a:pt x="386" y="741"/>
                      </a:lnTo>
                      <a:lnTo>
                        <a:pt x="381" y="741"/>
                      </a:lnTo>
                      <a:lnTo>
                        <a:pt x="379" y="741"/>
                      </a:lnTo>
                      <a:lnTo>
                        <a:pt x="374" y="741"/>
                      </a:lnTo>
                      <a:lnTo>
                        <a:pt x="365" y="748"/>
                      </a:lnTo>
                      <a:lnTo>
                        <a:pt x="353" y="750"/>
                      </a:lnTo>
                      <a:lnTo>
                        <a:pt x="351" y="750"/>
                      </a:lnTo>
                      <a:lnTo>
                        <a:pt x="351" y="753"/>
                      </a:lnTo>
                      <a:lnTo>
                        <a:pt x="353" y="755"/>
                      </a:lnTo>
                      <a:lnTo>
                        <a:pt x="349" y="755"/>
                      </a:lnTo>
                      <a:lnTo>
                        <a:pt x="337" y="748"/>
                      </a:lnTo>
                      <a:lnTo>
                        <a:pt x="330" y="746"/>
                      </a:lnTo>
                      <a:lnTo>
                        <a:pt x="321" y="753"/>
                      </a:lnTo>
                      <a:lnTo>
                        <a:pt x="328" y="757"/>
                      </a:lnTo>
                      <a:lnTo>
                        <a:pt x="330" y="760"/>
                      </a:lnTo>
                      <a:lnTo>
                        <a:pt x="332" y="760"/>
                      </a:lnTo>
                      <a:lnTo>
                        <a:pt x="335" y="762"/>
                      </a:lnTo>
                      <a:lnTo>
                        <a:pt x="335" y="764"/>
                      </a:lnTo>
                      <a:lnTo>
                        <a:pt x="335" y="769"/>
                      </a:lnTo>
                      <a:lnTo>
                        <a:pt x="332" y="771"/>
                      </a:lnTo>
                      <a:lnTo>
                        <a:pt x="330" y="771"/>
                      </a:lnTo>
                      <a:lnTo>
                        <a:pt x="332" y="771"/>
                      </a:lnTo>
                      <a:lnTo>
                        <a:pt x="332" y="776"/>
                      </a:lnTo>
                      <a:lnTo>
                        <a:pt x="325" y="776"/>
                      </a:lnTo>
                      <a:lnTo>
                        <a:pt x="321" y="778"/>
                      </a:lnTo>
                      <a:lnTo>
                        <a:pt x="321" y="783"/>
                      </a:lnTo>
                      <a:lnTo>
                        <a:pt x="321" y="790"/>
                      </a:lnTo>
                      <a:lnTo>
                        <a:pt x="325" y="792"/>
                      </a:lnTo>
                      <a:lnTo>
                        <a:pt x="330" y="792"/>
                      </a:lnTo>
                      <a:lnTo>
                        <a:pt x="330" y="795"/>
                      </a:lnTo>
                      <a:lnTo>
                        <a:pt x="328" y="799"/>
                      </a:lnTo>
                      <a:lnTo>
                        <a:pt x="328" y="802"/>
                      </a:lnTo>
                      <a:lnTo>
                        <a:pt x="325" y="804"/>
                      </a:lnTo>
                      <a:lnTo>
                        <a:pt x="328" y="809"/>
                      </a:lnTo>
                      <a:lnTo>
                        <a:pt x="335" y="813"/>
                      </a:lnTo>
                      <a:lnTo>
                        <a:pt x="339" y="813"/>
                      </a:lnTo>
                      <a:lnTo>
                        <a:pt x="344" y="816"/>
                      </a:lnTo>
                      <a:lnTo>
                        <a:pt x="351" y="813"/>
                      </a:lnTo>
                      <a:lnTo>
                        <a:pt x="360" y="806"/>
                      </a:lnTo>
                      <a:lnTo>
                        <a:pt x="363" y="806"/>
                      </a:lnTo>
                      <a:lnTo>
                        <a:pt x="367" y="809"/>
                      </a:lnTo>
                      <a:lnTo>
                        <a:pt x="370" y="813"/>
                      </a:lnTo>
                      <a:lnTo>
                        <a:pt x="377" y="816"/>
                      </a:lnTo>
                      <a:lnTo>
                        <a:pt x="386" y="816"/>
                      </a:lnTo>
                      <a:lnTo>
                        <a:pt x="393" y="820"/>
                      </a:lnTo>
                      <a:lnTo>
                        <a:pt x="400" y="820"/>
                      </a:lnTo>
                      <a:lnTo>
                        <a:pt x="416" y="820"/>
                      </a:lnTo>
                      <a:lnTo>
                        <a:pt x="414" y="823"/>
                      </a:lnTo>
                      <a:lnTo>
                        <a:pt x="414" y="827"/>
                      </a:lnTo>
                      <a:lnTo>
                        <a:pt x="416" y="827"/>
                      </a:lnTo>
                      <a:lnTo>
                        <a:pt x="419" y="829"/>
                      </a:lnTo>
                      <a:lnTo>
                        <a:pt x="421" y="832"/>
                      </a:lnTo>
                      <a:lnTo>
                        <a:pt x="419" y="834"/>
                      </a:lnTo>
                      <a:lnTo>
                        <a:pt x="419" y="836"/>
                      </a:lnTo>
                      <a:lnTo>
                        <a:pt x="416" y="841"/>
                      </a:lnTo>
                      <a:lnTo>
                        <a:pt x="416" y="846"/>
                      </a:lnTo>
                      <a:lnTo>
                        <a:pt x="416" y="848"/>
                      </a:lnTo>
                      <a:lnTo>
                        <a:pt x="419" y="853"/>
                      </a:lnTo>
                      <a:lnTo>
                        <a:pt x="416" y="855"/>
                      </a:lnTo>
                      <a:lnTo>
                        <a:pt x="405" y="860"/>
                      </a:lnTo>
                      <a:lnTo>
                        <a:pt x="402" y="864"/>
                      </a:lnTo>
                      <a:lnTo>
                        <a:pt x="402" y="869"/>
                      </a:lnTo>
                      <a:lnTo>
                        <a:pt x="412" y="869"/>
                      </a:lnTo>
                      <a:lnTo>
                        <a:pt x="414" y="871"/>
                      </a:lnTo>
                      <a:lnTo>
                        <a:pt x="414" y="876"/>
                      </a:lnTo>
                      <a:lnTo>
                        <a:pt x="414" y="881"/>
                      </a:lnTo>
                      <a:lnTo>
                        <a:pt x="412" y="885"/>
                      </a:lnTo>
                      <a:lnTo>
                        <a:pt x="412" y="888"/>
                      </a:lnTo>
                      <a:lnTo>
                        <a:pt x="409" y="895"/>
                      </a:lnTo>
                      <a:lnTo>
                        <a:pt x="409" y="899"/>
                      </a:lnTo>
                      <a:lnTo>
                        <a:pt x="407" y="906"/>
                      </a:lnTo>
                      <a:lnTo>
                        <a:pt x="402" y="911"/>
                      </a:lnTo>
                      <a:lnTo>
                        <a:pt x="402" y="913"/>
                      </a:lnTo>
                      <a:lnTo>
                        <a:pt x="402" y="915"/>
                      </a:lnTo>
                      <a:lnTo>
                        <a:pt x="400" y="915"/>
                      </a:lnTo>
                      <a:lnTo>
                        <a:pt x="398" y="915"/>
                      </a:lnTo>
                      <a:lnTo>
                        <a:pt x="400" y="918"/>
                      </a:lnTo>
                      <a:lnTo>
                        <a:pt x="402" y="920"/>
                      </a:lnTo>
                      <a:lnTo>
                        <a:pt x="405" y="922"/>
                      </a:lnTo>
                      <a:lnTo>
                        <a:pt x="407" y="925"/>
                      </a:lnTo>
                      <a:lnTo>
                        <a:pt x="407" y="929"/>
                      </a:lnTo>
                      <a:lnTo>
                        <a:pt x="405" y="929"/>
                      </a:lnTo>
                      <a:lnTo>
                        <a:pt x="398" y="929"/>
                      </a:lnTo>
                      <a:lnTo>
                        <a:pt x="395" y="932"/>
                      </a:lnTo>
                      <a:lnTo>
                        <a:pt x="388" y="939"/>
                      </a:lnTo>
                      <a:lnTo>
                        <a:pt x="384" y="941"/>
                      </a:lnTo>
                      <a:lnTo>
                        <a:pt x="379" y="943"/>
                      </a:lnTo>
                      <a:lnTo>
                        <a:pt x="374" y="943"/>
                      </a:lnTo>
                      <a:lnTo>
                        <a:pt x="372" y="943"/>
                      </a:lnTo>
                      <a:lnTo>
                        <a:pt x="370" y="943"/>
                      </a:lnTo>
                      <a:lnTo>
                        <a:pt x="370" y="941"/>
                      </a:lnTo>
                      <a:lnTo>
                        <a:pt x="370" y="939"/>
                      </a:lnTo>
                      <a:lnTo>
                        <a:pt x="367" y="939"/>
                      </a:lnTo>
                      <a:lnTo>
                        <a:pt x="367" y="941"/>
                      </a:lnTo>
                      <a:lnTo>
                        <a:pt x="358" y="957"/>
                      </a:lnTo>
                      <a:lnTo>
                        <a:pt x="349" y="964"/>
                      </a:lnTo>
                      <a:lnTo>
                        <a:pt x="344" y="967"/>
                      </a:lnTo>
                      <a:lnTo>
                        <a:pt x="339" y="964"/>
                      </a:lnTo>
                      <a:lnTo>
                        <a:pt x="337" y="964"/>
                      </a:lnTo>
                      <a:lnTo>
                        <a:pt x="339" y="960"/>
                      </a:lnTo>
                      <a:lnTo>
                        <a:pt x="337" y="957"/>
                      </a:lnTo>
                      <a:lnTo>
                        <a:pt x="337" y="960"/>
                      </a:lnTo>
                      <a:lnTo>
                        <a:pt x="337" y="962"/>
                      </a:lnTo>
                      <a:lnTo>
                        <a:pt x="337" y="964"/>
                      </a:lnTo>
                      <a:lnTo>
                        <a:pt x="335" y="964"/>
                      </a:lnTo>
                      <a:lnTo>
                        <a:pt x="332" y="967"/>
                      </a:lnTo>
                      <a:lnTo>
                        <a:pt x="332" y="964"/>
                      </a:lnTo>
                      <a:lnTo>
                        <a:pt x="330" y="962"/>
                      </a:lnTo>
                      <a:lnTo>
                        <a:pt x="328" y="960"/>
                      </a:lnTo>
                      <a:lnTo>
                        <a:pt x="323" y="960"/>
                      </a:lnTo>
                      <a:lnTo>
                        <a:pt x="321" y="957"/>
                      </a:lnTo>
                      <a:lnTo>
                        <a:pt x="318" y="957"/>
                      </a:lnTo>
                      <a:lnTo>
                        <a:pt x="321" y="955"/>
                      </a:lnTo>
                      <a:lnTo>
                        <a:pt x="321" y="953"/>
                      </a:lnTo>
                      <a:lnTo>
                        <a:pt x="318" y="950"/>
                      </a:lnTo>
                      <a:lnTo>
                        <a:pt x="316" y="948"/>
                      </a:lnTo>
                      <a:lnTo>
                        <a:pt x="321" y="936"/>
                      </a:lnTo>
                      <a:lnTo>
                        <a:pt x="323" y="934"/>
                      </a:lnTo>
                      <a:lnTo>
                        <a:pt x="330" y="925"/>
                      </a:lnTo>
                      <a:lnTo>
                        <a:pt x="330" y="920"/>
                      </a:lnTo>
                      <a:lnTo>
                        <a:pt x="330" y="918"/>
                      </a:lnTo>
                      <a:lnTo>
                        <a:pt x="330" y="913"/>
                      </a:lnTo>
                      <a:lnTo>
                        <a:pt x="332" y="911"/>
                      </a:lnTo>
                      <a:lnTo>
                        <a:pt x="335" y="909"/>
                      </a:lnTo>
                      <a:lnTo>
                        <a:pt x="335" y="906"/>
                      </a:lnTo>
                      <a:lnTo>
                        <a:pt x="335" y="904"/>
                      </a:lnTo>
                      <a:lnTo>
                        <a:pt x="332" y="904"/>
                      </a:lnTo>
                      <a:lnTo>
                        <a:pt x="330" y="909"/>
                      </a:lnTo>
                      <a:lnTo>
                        <a:pt x="328" y="913"/>
                      </a:lnTo>
                      <a:lnTo>
                        <a:pt x="328" y="918"/>
                      </a:lnTo>
                      <a:lnTo>
                        <a:pt x="321" y="915"/>
                      </a:lnTo>
                      <a:lnTo>
                        <a:pt x="314" y="922"/>
                      </a:lnTo>
                      <a:lnTo>
                        <a:pt x="300" y="939"/>
                      </a:lnTo>
                      <a:lnTo>
                        <a:pt x="286" y="946"/>
                      </a:lnTo>
                      <a:lnTo>
                        <a:pt x="279" y="950"/>
                      </a:lnTo>
                      <a:lnTo>
                        <a:pt x="277" y="950"/>
                      </a:lnTo>
                      <a:lnTo>
                        <a:pt x="279" y="948"/>
                      </a:lnTo>
                      <a:lnTo>
                        <a:pt x="284" y="943"/>
                      </a:lnTo>
                      <a:lnTo>
                        <a:pt x="281" y="943"/>
                      </a:lnTo>
                      <a:lnTo>
                        <a:pt x="281" y="941"/>
                      </a:lnTo>
                      <a:lnTo>
                        <a:pt x="281" y="936"/>
                      </a:lnTo>
                      <a:lnTo>
                        <a:pt x="284" y="934"/>
                      </a:lnTo>
                      <a:lnTo>
                        <a:pt x="288" y="932"/>
                      </a:lnTo>
                      <a:lnTo>
                        <a:pt x="281" y="934"/>
                      </a:lnTo>
                      <a:lnTo>
                        <a:pt x="279" y="934"/>
                      </a:lnTo>
                      <a:lnTo>
                        <a:pt x="274" y="939"/>
                      </a:lnTo>
                      <a:lnTo>
                        <a:pt x="272" y="941"/>
                      </a:lnTo>
                      <a:lnTo>
                        <a:pt x="267" y="943"/>
                      </a:lnTo>
                      <a:lnTo>
                        <a:pt x="267" y="941"/>
                      </a:lnTo>
                      <a:lnTo>
                        <a:pt x="267" y="939"/>
                      </a:lnTo>
                      <a:lnTo>
                        <a:pt x="267" y="936"/>
                      </a:lnTo>
                      <a:lnTo>
                        <a:pt x="270" y="934"/>
                      </a:lnTo>
                      <a:lnTo>
                        <a:pt x="272" y="929"/>
                      </a:lnTo>
                      <a:lnTo>
                        <a:pt x="274" y="925"/>
                      </a:lnTo>
                      <a:lnTo>
                        <a:pt x="274" y="920"/>
                      </a:lnTo>
                      <a:lnTo>
                        <a:pt x="279" y="913"/>
                      </a:lnTo>
                      <a:lnTo>
                        <a:pt x="281" y="909"/>
                      </a:lnTo>
                      <a:lnTo>
                        <a:pt x="281" y="906"/>
                      </a:lnTo>
                      <a:lnTo>
                        <a:pt x="281" y="904"/>
                      </a:lnTo>
                      <a:lnTo>
                        <a:pt x="277" y="911"/>
                      </a:lnTo>
                      <a:lnTo>
                        <a:pt x="272" y="911"/>
                      </a:lnTo>
                      <a:lnTo>
                        <a:pt x="263" y="913"/>
                      </a:lnTo>
                      <a:lnTo>
                        <a:pt x="265" y="906"/>
                      </a:lnTo>
                      <a:lnTo>
                        <a:pt x="246" y="913"/>
                      </a:lnTo>
                      <a:lnTo>
                        <a:pt x="242" y="913"/>
                      </a:lnTo>
                      <a:lnTo>
                        <a:pt x="237" y="911"/>
                      </a:lnTo>
                      <a:lnTo>
                        <a:pt x="228" y="906"/>
                      </a:lnTo>
                      <a:lnTo>
                        <a:pt x="225" y="904"/>
                      </a:lnTo>
                      <a:lnTo>
                        <a:pt x="221" y="904"/>
                      </a:lnTo>
                      <a:lnTo>
                        <a:pt x="218" y="904"/>
                      </a:lnTo>
                      <a:lnTo>
                        <a:pt x="218" y="899"/>
                      </a:lnTo>
                      <a:lnTo>
                        <a:pt x="216" y="904"/>
                      </a:lnTo>
                      <a:lnTo>
                        <a:pt x="214" y="906"/>
                      </a:lnTo>
                      <a:lnTo>
                        <a:pt x="211" y="906"/>
                      </a:lnTo>
                      <a:lnTo>
                        <a:pt x="209" y="902"/>
                      </a:lnTo>
                      <a:lnTo>
                        <a:pt x="207" y="902"/>
                      </a:lnTo>
                      <a:lnTo>
                        <a:pt x="207" y="899"/>
                      </a:lnTo>
                      <a:lnTo>
                        <a:pt x="204" y="899"/>
                      </a:lnTo>
                      <a:lnTo>
                        <a:pt x="202" y="899"/>
                      </a:lnTo>
                      <a:lnTo>
                        <a:pt x="202" y="897"/>
                      </a:lnTo>
                      <a:lnTo>
                        <a:pt x="202" y="895"/>
                      </a:lnTo>
                      <a:lnTo>
                        <a:pt x="197" y="895"/>
                      </a:lnTo>
                      <a:lnTo>
                        <a:pt x="197" y="890"/>
                      </a:lnTo>
                      <a:lnTo>
                        <a:pt x="195" y="888"/>
                      </a:lnTo>
                      <a:lnTo>
                        <a:pt x="193" y="888"/>
                      </a:lnTo>
                      <a:lnTo>
                        <a:pt x="188" y="888"/>
                      </a:lnTo>
                      <a:lnTo>
                        <a:pt x="186" y="890"/>
                      </a:lnTo>
                      <a:lnTo>
                        <a:pt x="186" y="892"/>
                      </a:lnTo>
                      <a:lnTo>
                        <a:pt x="186" y="895"/>
                      </a:lnTo>
                      <a:lnTo>
                        <a:pt x="190" y="899"/>
                      </a:lnTo>
                      <a:lnTo>
                        <a:pt x="186" y="899"/>
                      </a:lnTo>
                      <a:lnTo>
                        <a:pt x="183" y="899"/>
                      </a:lnTo>
                      <a:lnTo>
                        <a:pt x="181" y="902"/>
                      </a:lnTo>
                      <a:lnTo>
                        <a:pt x="181" y="897"/>
                      </a:lnTo>
                      <a:lnTo>
                        <a:pt x="181" y="890"/>
                      </a:lnTo>
                      <a:lnTo>
                        <a:pt x="181" y="885"/>
                      </a:lnTo>
                      <a:lnTo>
                        <a:pt x="179" y="881"/>
                      </a:lnTo>
                      <a:lnTo>
                        <a:pt x="179" y="878"/>
                      </a:lnTo>
                      <a:lnTo>
                        <a:pt x="181" y="876"/>
                      </a:lnTo>
                      <a:lnTo>
                        <a:pt x="183" y="874"/>
                      </a:lnTo>
                      <a:lnTo>
                        <a:pt x="181" y="874"/>
                      </a:lnTo>
                      <a:lnTo>
                        <a:pt x="181" y="871"/>
                      </a:lnTo>
                      <a:lnTo>
                        <a:pt x="181" y="869"/>
                      </a:lnTo>
                      <a:lnTo>
                        <a:pt x="181" y="864"/>
                      </a:lnTo>
                      <a:lnTo>
                        <a:pt x="174" y="871"/>
                      </a:lnTo>
                      <a:lnTo>
                        <a:pt x="172" y="876"/>
                      </a:lnTo>
                      <a:lnTo>
                        <a:pt x="169" y="878"/>
                      </a:lnTo>
                      <a:lnTo>
                        <a:pt x="165" y="881"/>
                      </a:lnTo>
                      <a:lnTo>
                        <a:pt x="162" y="883"/>
                      </a:lnTo>
                      <a:lnTo>
                        <a:pt x="162" y="885"/>
                      </a:lnTo>
                      <a:lnTo>
                        <a:pt x="165" y="888"/>
                      </a:lnTo>
                      <a:lnTo>
                        <a:pt x="165" y="890"/>
                      </a:lnTo>
                      <a:lnTo>
                        <a:pt x="165" y="892"/>
                      </a:lnTo>
                      <a:lnTo>
                        <a:pt x="165" y="895"/>
                      </a:lnTo>
                      <a:lnTo>
                        <a:pt x="165" y="897"/>
                      </a:lnTo>
                      <a:lnTo>
                        <a:pt x="162" y="899"/>
                      </a:lnTo>
                      <a:lnTo>
                        <a:pt x="160" y="902"/>
                      </a:lnTo>
                      <a:lnTo>
                        <a:pt x="156" y="904"/>
                      </a:lnTo>
                      <a:lnTo>
                        <a:pt x="153" y="902"/>
                      </a:lnTo>
                      <a:lnTo>
                        <a:pt x="156" y="899"/>
                      </a:lnTo>
                      <a:lnTo>
                        <a:pt x="153" y="895"/>
                      </a:lnTo>
                      <a:lnTo>
                        <a:pt x="146" y="885"/>
                      </a:lnTo>
                      <a:lnTo>
                        <a:pt x="149" y="885"/>
                      </a:lnTo>
                      <a:lnTo>
                        <a:pt x="153" y="885"/>
                      </a:lnTo>
                      <a:lnTo>
                        <a:pt x="151" y="883"/>
                      </a:lnTo>
                      <a:lnTo>
                        <a:pt x="142" y="885"/>
                      </a:lnTo>
                      <a:lnTo>
                        <a:pt x="139" y="888"/>
                      </a:lnTo>
                      <a:lnTo>
                        <a:pt x="137" y="888"/>
                      </a:lnTo>
                      <a:lnTo>
                        <a:pt x="135" y="885"/>
                      </a:lnTo>
                      <a:lnTo>
                        <a:pt x="132" y="885"/>
                      </a:lnTo>
                      <a:lnTo>
                        <a:pt x="132" y="883"/>
                      </a:lnTo>
                      <a:lnTo>
                        <a:pt x="135" y="883"/>
                      </a:lnTo>
                      <a:lnTo>
                        <a:pt x="135" y="881"/>
                      </a:lnTo>
                      <a:lnTo>
                        <a:pt x="132" y="878"/>
                      </a:lnTo>
                      <a:lnTo>
                        <a:pt x="137" y="878"/>
                      </a:lnTo>
                      <a:lnTo>
                        <a:pt x="139" y="878"/>
                      </a:lnTo>
                      <a:lnTo>
                        <a:pt x="139" y="876"/>
                      </a:lnTo>
                      <a:lnTo>
                        <a:pt x="132" y="874"/>
                      </a:lnTo>
                      <a:lnTo>
                        <a:pt x="130" y="871"/>
                      </a:lnTo>
                      <a:lnTo>
                        <a:pt x="128" y="869"/>
                      </a:lnTo>
                      <a:lnTo>
                        <a:pt x="125" y="867"/>
                      </a:lnTo>
                      <a:lnTo>
                        <a:pt x="123" y="862"/>
                      </a:lnTo>
                      <a:lnTo>
                        <a:pt x="123" y="860"/>
                      </a:lnTo>
                      <a:lnTo>
                        <a:pt x="132" y="862"/>
                      </a:lnTo>
                      <a:lnTo>
                        <a:pt x="132" y="860"/>
                      </a:lnTo>
                      <a:lnTo>
                        <a:pt x="135" y="857"/>
                      </a:lnTo>
                      <a:lnTo>
                        <a:pt x="132" y="855"/>
                      </a:lnTo>
                      <a:lnTo>
                        <a:pt x="130" y="853"/>
                      </a:lnTo>
                      <a:lnTo>
                        <a:pt x="130" y="850"/>
                      </a:lnTo>
                      <a:lnTo>
                        <a:pt x="135" y="850"/>
                      </a:lnTo>
                      <a:lnTo>
                        <a:pt x="135" y="848"/>
                      </a:lnTo>
                      <a:lnTo>
                        <a:pt x="132" y="848"/>
                      </a:lnTo>
                      <a:lnTo>
                        <a:pt x="130" y="848"/>
                      </a:lnTo>
                      <a:lnTo>
                        <a:pt x="128" y="846"/>
                      </a:lnTo>
                      <a:lnTo>
                        <a:pt x="125" y="846"/>
                      </a:lnTo>
                      <a:lnTo>
                        <a:pt x="125" y="843"/>
                      </a:lnTo>
                      <a:lnTo>
                        <a:pt x="128" y="843"/>
                      </a:lnTo>
                      <a:lnTo>
                        <a:pt x="125" y="839"/>
                      </a:lnTo>
                      <a:lnTo>
                        <a:pt x="123" y="839"/>
                      </a:lnTo>
                      <a:lnTo>
                        <a:pt x="123" y="834"/>
                      </a:lnTo>
                      <a:lnTo>
                        <a:pt x="121" y="832"/>
                      </a:lnTo>
                      <a:lnTo>
                        <a:pt x="118" y="829"/>
                      </a:lnTo>
                      <a:lnTo>
                        <a:pt x="118" y="832"/>
                      </a:lnTo>
                      <a:lnTo>
                        <a:pt x="116" y="829"/>
                      </a:lnTo>
                      <a:lnTo>
                        <a:pt x="116" y="827"/>
                      </a:lnTo>
                      <a:lnTo>
                        <a:pt x="114" y="827"/>
                      </a:lnTo>
                      <a:lnTo>
                        <a:pt x="116" y="825"/>
                      </a:lnTo>
                      <a:lnTo>
                        <a:pt x="114" y="820"/>
                      </a:lnTo>
                      <a:lnTo>
                        <a:pt x="114" y="818"/>
                      </a:lnTo>
                      <a:lnTo>
                        <a:pt x="121" y="818"/>
                      </a:lnTo>
                      <a:lnTo>
                        <a:pt x="123" y="818"/>
                      </a:lnTo>
                      <a:lnTo>
                        <a:pt x="125" y="816"/>
                      </a:lnTo>
                      <a:lnTo>
                        <a:pt x="123" y="813"/>
                      </a:lnTo>
                      <a:lnTo>
                        <a:pt x="118" y="816"/>
                      </a:lnTo>
                      <a:lnTo>
                        <a:pt x="118" y="813"/>
                      </a:lnTo>
                      <a:lnTo>
                        <a:pt x="116" y="811"/>
                      </a:lnTo>
                      <a:lnTo>
                        <a:pt x="116" y="809"/>
                      </a:lnTo>
                      <a:lnTo>
                        <a:pt x="118" y="806"/>
                      </a:lnTo>
                      <a:lnTo>
                        <a:pt x="121" y="806"/>
                      </a:lnTo>
                      <a:lnTo>
                        <a:pt x="121" y="809"/>
                      </a:lnTo>
                      <a:lnTo>
                        <a:pt x="123" y="809"/>
                      </a:lnTo>
                      <a:lnTo>
                        <a:pt x="123" y="806"/>
                      </a:lnTo>
                      <a:lnTo>
                        <a:pt x="123" y="804"/>
                      </a:lnTo>
                      <a:lnTo>
                        <a:pt x="121" y="802"/>
                      </a:lnTo>
                      <a:lnTo>
                        <a:pt x="118" y="802"/>
                      </a:lnTo>
                      <a:lnTo>
                        <a:pt x="118" y="799"/>
                      </a:lnTo>
                      <a:lnTo>
                        <a:pt x="116" y="797"/>
                      </a:lnTo>
                      <a:lnTo>
                        <a:pt x="109" y="788"/>
                      </a:lnTo>
                      <a:lnTo>
                        <a:pt x="107" y="785"/>
                      </a:lnTo>
                      <a:lnTo>
                        <a:pt x="109" y="783"/>
                      </a:lnTo>
                      <a:lnTo>
                        <a:pt x="109" y="781"/>
                      </a:lnTo>
                      <a:lnTo>
                        <a:pt x="107" y="778"/>
                      </a:lnTo>
                      <a:lnTo>
                        <a:pt x="104" y="778"/>
                      </a:lnTo>
                      <a:lnTo>
                        <a:pt x="104" y="774"/>
                      </a:lnTo>
                      <a:lnTo>
                        <a:pt x="107" y="774"/>
                      </a:lnTo>
                      <a:lnTo>
                        <a:pt x="111" y="776"/>
                      </a:lnTo>
                      <a:lnTo>
                        <a:pt x="114" y="778"/>
                      </a:lnTo>
                      <a:lnTo>
                        <a:pt x="116" y="776"/>
                      </a:lnTo>
                      <a:lnTo>
                        <a:pt x="116" y="774"/>
                      </a:lnTo>
                      <a:lnTo>
                        <a:pt x="114" y="774"/>
                      </a:lnTo>
                      <a:lnTo>
                        <a:pt x="111" y="774"/>
                      </a:lnTo>
                      <a:lnTo>
                        <a:pt x="114" y="771"/>
                      </a:lnTo>
                      <a:lnTo>
                        <a:pt x="121" y="774"/>
                      </a:lnTo>
                      <a:lnTo>
                        <a:pt x="125" y="771"/>
                      </a:lnTo>
                      <a:lnTo>
                        <a:pt x="123" y="769"/>
                      </a:lnTo>
                      <a:lnTo>
                        <a:pt x="121" y="767"/>
                      </a:lnTo>
                      <a:lnTo>
                        <a:pt x="118" y="764"/>
                      </a:lnTo>
                      <a:lnTo>
                        <a:pt x="121" y="762"/>
                      </a:lnTo>
                      <a:lnTo>
                        <a:pt x="118" y="757"/>
                      </a:lnTo>
                      <a:lnTo>
                        <a:pt x="118" y="755"/>
                      </a:lnTo>
                      <a:lnTo>
                        <a:pt x="116" y="753"/>
                      </a:lnTo>
                      <a:lnTo>
                        <a:pt x="121" y="750"/>
                      </a:lnTo>
                      <a:lnTo>
                        <a:pt x="118" y="750"/>
                      </a:lnTo>
                      <a:lnTo>
                        <a:pt x="116" y="750"/>
                      </a:lnTo>
                      <a:lnTo>
                        <a:pt x="118" y="746"/>
                      </a:lnTo>
                      <a:lnTo>
                        <a:pt x="116" y="746"/>
                      </a:lnTo>
                      <a:lnTo>
                        <a:pt x="116" y="744"/>
                      </a:lnTo>
                      <a:lnTo>
                        <a:pt x="118" y="744"/>
                      </a:lnTo>
                      <a:lnTo>
                        <a:pt x="123" y="744"/>
                      </a:lnTo>
                      <a:lnTo>
                        <a:pt x="121" y="741"/>
                      </a:lnTo>
                      <a:lnTo>
                        <a:pt x="123" y="737"/>
                      </a:lnTo>
                      <a:lnTo>
                        <a:pt x="128" y="737"/>
                      </a:lnTo>
                      <a:lnTo>
                        <a:pt x="125" y="732"/>
                      </a:lnTo>
                      <a:lnTo>
                        <a:pt x="123" y="730"/>
                      </a:lnTo>
                      <a:lnTo>
                        <a:pt x="116" y="727"/>
                      </a:lnTo>
                      <a:lnTo>
                        <a:pt x="118" y="725"/>
                      </a:lnTo>
                      <a:lnTo>
                        <a:pt x="121" y="723"/>
                      </a:lnTo>
                      <a:lnTo>
                        <a:pt x="118" y="720"/>
                      </a:lnTo>
                      <a:lnTo>
                        <a:pt x="123" y="718"/>
                      </a:lnTo>
                      <a:lnTo>
                        <a:pt x="123" y="716"/>
                      </a:lnTo>
                      <a:lnTo>
                        <a:pt x="123" y="711"/>
                      </a:lnTo>
                      <a:lnTo>
                        <a:pt x="121" y="709"/>
                      </a:lnTo>
                      <a:lnTo>
                        <a:pt x="121" y="706"/>
                      </a:lnTo>
                      <a:lnTo>
                        <a:pt x="118" y="704"/>
                      </a:lnTo>
                      <a:lnTo>
                        <a:pt x="118" y="702"/>
                      </a:lnTo>
                      <a:lnTo>
                        <a:pt x="118" y="697"/>
                      </a:lnTo>
                      <a:lnTo>
                        <a:pt x="116" y="695"/>
                      </a:lnTo>
                      <a:lnTo>
                        <a:pt x="114" y="695"/>
                      </a:lnTo>
                      <a:lnTo>
                        <a:pt x="114" y="692"/>
                      </a:lnTo>
                      <a:lnTo>
                        <a:pt x="109" y="692"/>
                      </a:lnTo>
                      <a:lnTo>
                        <a:pt x="111" y="690"/>
                      </a:lnTo>
                      <a:lnTo>
                        <a:pt x="118" y="688"/>
                      </a:lnTo>
                      <a:lnTo>
                        <a:pt x="121" y="685"/>
                      </a:lnTo>
                      <a:lnTo>
                        <a:pt x="118" y="683"/>
                      </a:lnTo>
                      <a:lnTo>
                        <a:pt x="116" y="681"/>
                      </a:lnTo>
                      <a:lnTo>
                        <a:pt x="114" y="678"/>
                      </a:lnTo>
                      <a:lnTo>
                        <a:pt x="104" y="674"/>
                      </a:lnTo>
                      <a:lnTo>
                        <a:pt x="102" y="674"/>
                      </a:lnTo>
                      <a:lnTo>
                        <a:pt x="118" y="674"/>
                      </a:lnTo>
                      <a:lnTo>
                        <a:pt x="121" y="669"/>
                      </a:lnTo>
                      <a:lnTo>
                        <a:pt x="118" y="662"/>
                      </a:lnTo>
                      <a:lnTo>
                        <a:pt x="116" y="662"/>
                      </a:lnTo>
                      <a:lnTo>
                        <a:pt x="111" y="665"/>
                      </a:lnTo>
                      <a:lnTo>
                        <a:pt x="111" y="662"/>
                      </a:lnTo>
                      <a:lnTo>
                        <a:pt x="104" y="658"/>
                      </a:lnTo>
                      <a:lnTo>
                        <a:pt x="104" y="655"/>
                      </a:lnTo>
                      <a:lnTo>
                        <a:pt x="104" y="653"/>
                      </a:lnTo>
                      <a:lnTo>
                        <a:pt x="107" y="653"/>
                      </a:lnTo>
                      <a:lnTo>
                        <a:pt x="109" y="651"/>
                      </a:lnTo>
                      <a:lnTo>
                        <a:pt x="123" y="655"/>
                      </a:lnTo>
                      <a:lnTo>
                        <a:pt x="130" y="660"/>
                      </a:lnTo>
                      <a:lnTo>
                        <a:pt x="135" y="660"/>
                      </a:lnTo>
                      <a:lnTo>
                        <a:pt x="132" y="658"/>
                      </a:lnTo>
                      <a:lnTo>
                        <a:pt x="125" y="651"/>
                      </a:lnTo>
                      <a:lnTo>
                        <a:pt x="121" y="646"/>
                      </a:lnTo>
                      <a:lnTo>
                        <a:pt x="116" y="637"/>
                      </a:lnTo>
                      <a:lnTo>
                        <a:pt x="114" y="634"/>
                      </a:lnTo>
                      <a:lnTo>
                        <a:pt x="111" y="634"/>
                      </a:lnTo>
                      <a:lnTo>
                        <a:pt x="109" y="632"/>
                      </a:lnTo>
                      <a:lnTo>
                        <a:pt x="109" y="630"/>
                      </a:lnTo>
                      <a:lnTo>
                        <a:pt x="109" y="627"/>
                      </a:lnTo>
                      <a:lnTo>
                        <a:pt x="109" y="625"/>
                      </a:lnTo>
                      <a:lnTo>
                        <a:pt x="104" y="620"/>
                      </a:lnTo>
                      <a:lnTo>
                        <a:pt x="104" y="618"/>
                      </a:lnTo>
                      <a:lnTo>
                        <a:pt x="107" y="618"/>
                      </a:lnTo>
                      <a:lnTo>
                        <a:pt x="111" y="620"/>
                      </a:lnTo>
                      <a:lnTo>
                        <a:pt x="109" y="616"/>
                      </a:lnTo>
                      <a:lnTo>
                        <a:pt x="100" y="613"/>
                      </a:lnTo>
                      <a:lnTo>
                        <a:pt x="97" y="606"/>
                      </a:lnTo>
                      <a:lnTo>
                        <a:pt x="97" y="604"/>
                      </a:lnTo>
                      <a:lnTo>
                        <a:pt x="97" y="602"/>
                      </a:lnTo>
                      <a:lnTo>
                        <a:pt x="97" y="597"/>
                      </a:lnTo>
                      <a:lnTo>
                        <a:pt x="97" y="595"/>
                      </a:lnTo>
                      <a:lnTo>
                        <a:pt x="95" y="595"/>
                      </a:lnTo>
                      <a:lnTo>
                        <a:pt x="93" y="595"/>
                      </a:lnTo>
                      <a:lnTo>
                        <a:pt x="93" y="592"/>
                      </a:lnTo>
                      <a:lnTo>
                        <a:pt x="93" y="588"/>
                      </a:lnTo>
                      <a:lnTo>
                        <a:pt x="88" y="583"/>
                      </a:lnTo>
                      <a:lnTo>
                        <a:pt x="86" y="581"/>
                      </a:lnTo>
                      <a:lnTo>
                        <a:pt x="83" y="579"/>
                      </a:lnTo>
                      <a:lnTo>
                        <a:pt x="86" y="579"/>
                      </a:lnTo>
                      <a:lnTo>
                        <a:pt x="86" y="576"/>
                      </a:lnTo>
                      <a:lnTo>
                        <a:pt x="86" y="574"/>
                      </a:lnTo>
                      <a:lnTo>
                        <a:pt x="83" y="574"/>
                      </a:lnTo>
                      <a:lnTo>
                        <a:pt x="83" y="572"/>
                      </a:lnTo>
                      <a:lnTo>
                        <a:pt x="81" y="569"/>
                      </a:lnTo>
                      <a:lnTo>
                        <a:pt x="81" y="567"/>
                      </a:lnTo>
                      <a:lnTo>
                        <a:pt x="79" y="567"/>
                      </a:lnTo>
                      <a:lnTo>
                        <a:pt x="74" y="569"/>
                      </a:lnTo>
                      <a:lnTo>
                        <a:pt x="74" y="567"/>
                      </a:lnTo>
                      <a:lnTo>
                        <a:pt x="69" y="567"/>
                      </a:lnTo>
                      <a:lnTo>
                        <a:pt x="69" y="560"/>
                      </a:lnTo>
                      <a:lnTo>
                        <a:pt x="67" y="560"/>
                      </a:lnTo>
                      <a:lnTo>
                        <a:pt x="62" y="558"/>
                      </a:lnTo>
                      <a:lnTo>
                        <a:pt x="65" y="544"/>
                      </a:lnTo>
                      <a:lnTo>
                        <a:pt x="65" y="537"/>
                      </a:lnTo>
                      <a:lnTo>
                        <a:pt x="65" y="525"/>
                      </a:lnTo>
                      <a:lnTo>
                        <a:pt x="65" y="523"/>
                      </a:lnTo>
                      <a:lnTo>
                        <a:pt x="67" y="527"/>
                      </a:lnTo>
                      <a:lnTo>
                        <a:pt x="67" y="520"/>
                      </a:lnTo>
                      <a:lnTo>
                        <a:pt x="67" y="518"/>
                      </a:lnTo>
                      <a:lnTo>
                        <a:pt x="67" y="516"/>
                      </a:lnTo>
                      <a:lnTo>
                        <a:pt x="67" y="511"/>
                      </a:lnTo>
                      <a:lnTo>
                        <a:pt x="69" y="509"/>
                      </a:lnTo>
                      <a:lnTo>
                        <a:pt x="72" y="506"/>
                      </a:lnTo>
                      <a:lnTo>
                        <a:pt x="72" y="504"/>
                      </a:lnTo>
                      <a:lnTo>
                        <a:pt x="69" y="502"/>
                      </a:lnTo>
                      <a:lnTo>
                        <a:pt x="67" y="500"/>
                      </a:lnTo>
                      <a:lnTo>
                        <a:pt x="67" y="490"/>
                      </a:lnTo>
                      <a:lnTo>
                        <a:pt x="65" y="490"/>
                      </a:lnTo>
                      <a:lnTo>
                        <a:pt x="65" y="493"/>
                      </a:lnTo>
                      <a:lnTo>
                        <a:pt x="65" y="497"/>
                      </a:lnTo>
                      <a:lnTo>
                        <a:pt x="62" y="500"/>
                      </a:lnTo>
                      <a:lnTo>
                        <a:pt x="62" y="495"/>
                      </a:lnTo>
                      <a:lnTo>
                        <a:pt x="62" y="488"/>
                      </a:lnTo>
                      <a:lnTo>
                        <a:pt x="62" y="486"/>
                      </a:lnTo>
                      <a:lnTo>
                        <a:pt x="60" y="474"/>
                      </a:lnTo>
                      <a:lnTo>
                        <a:pt x="60" y="469"/>
                      </a:lnTo>
                      <a:lnTo>
                        <a:pt x="55" y="474"/>
                      </a:lnTo>
                      <a:lnTo>
                        <a:pt x="53" y="472"/>
                      </a:lnTo>
                      <a:lnTo>
                        <a:pt x="53" y="469"/>
                      </a:lnTo>
                      <a:lnTo>
                        <a:pt x="51" y="467"/>
                      </a:lnTo>
                      <a:lnTo>
                        <a:pt x="51" y="465"/>
                      </a:lnTo>
                      <a:lnTo>
                        <a:pt x="53" y="462"/>
                      </a:lnTo>
                      <a:lnTo>
                        <a:pt x="51" y="458"/>
                      </a:lnTo>
                      <a:lnTo>
                        <a:pt x="46" y="472"/>
                      </a:lnTo>
                      <a:lnTo>
                        <a:pt x="46" y="474"/>
                      </a:lnTo>
                      <a:lnTo>
                        <a:pt x="48" y="476"/>
                      </a:lnTo>
                      <a:lnTo>
                        <a:pt x="46" y="476"/>
                      </a:lnTo>
                      <a:lnTo>
                        <a:pt x="44" y="474"/>
                      </a:lnTo>
                      <a:lnTo>
                        <a:pt x="44" y="469"/>
                      </a:lnTo>
                      <a:lnTo>
                        <a:pt x="44" y="465"/>
                      </a:lnTo>
                      <a:lnTo>
                        <a:pt x="44" y="462"/>
                      </a:lnTo>
                      <a:lnTo>
                        <a:pt x="41" y="462"/>
                      </a:lnTo>
                      <a:lnTo>
                        <a:pt x="41" y="460"/>
                      </a:lnTo>
                      <a:lnTo>
                        <a:pt x="44" y="458"/>
                      </a:lnTo>
                      <a:lnTo>
                        <a:pt x="41" y="455"/>
                      </a:lnTo>
                      <a:lnTo>
                        <a:pt x="39" y="458"/>
                      </a:lnTo>
                      <a:lnTo>
                        <a:pt x="37" y="460"/>
                      </a:lnTo>
                      <a:lnTo>
                        <a:pt x="37" y="462"/>
                      </a:lnTo>
                      <a:lnTo>
                        <a:pt x="37" y="460"/>
                      </a:lnTo>
                      <a:lnTo>
                        <a:pt x="37" y="451"/>
                      </a:lnTo>
                      <a:lnTo>
                        <a:pt x="37" y="448"/>
                      </a:lnTo>
                      <a:lnTo>
                        <a:pt x="34" y="448"/>
                      </a:lnTo>
                      <a:lnTo>
                        <a:pt x="34" y="451"/>
                      </a:lnTo>
                      <a:lnTo>
                        <a:pt x="32" y="448"/>
                      </a:lnTo>
                      <a:lnTo>
                        <a:pt x="32" y="444"/>
                      </a:lnTo>
                      <a:lnTo>
                        <a:pt x="32" y="441"/>
                      </a:lnTo>
                      <a:lnTo>
                        <a:pt x="32" y="437"/>
                      </a:lnTo>
                      <a:lnTo>
                        <a:pt x="32" y="434"/>
                      </a:lnTo>
                      <a:lnTo>
                        <a:pt x="34" y="432"/>
                      </a:lnTo>
                      <a:lnTo>
                        <a:pt x="34" y="430"/>
                      </a:lnTo>
                      <a:lnTo>
                        <a:pt x="30" y="427"/>
                      </a:lnTo>
                      <a:lnTo>
                        <a:pt x="32" y="425"/>
                      </a:lnTo>
                      <a:lnTo>
                        <a:pt x="34" y="421"/>
                      </a:lnTo>
                      <a:lnTo>
                        <a:pt x="37" y="418"/>
                      </a:lnTo>
                      <a:lnTo>
                        <a:pt x="39" y="418"/>
                      </a:lnTo>
                      <a:lnTo>
                        <a:pt x="37" y="414"/>
                      </a:lnTo>
                      <a:lnTo>
                        <a:pt x="28" y="414"/>
                      </a:lnTo>
                      <a:lnTo>
                        <a:pt x="25" y="411"/>
                      </a:lnTo>
                      <a:lnTo>
                        <a:pt x="23" y="414"/>
                      </a:lnTo>
                      <a:lnTo>
                        <a:pt x="23" y="418"/>
                      </a:lnTo>
                      <a:lnTo>
                        <a:pt x="23" y="411"/>
                      </a:lnTo>
                      <a:lnTo>
                        <a:pt x="23" y="402"/>
                      </a:lnTo>
                      <a:lnTo>
                        <a:pt x="21" y="397"/>
                      </a:lnTo>
                      <a:lnTo>
                        <a:pt x="23" y="397"/>
                      </a:lnTo>
                      <a:lnTo>
                        <a:pt x="25" y="395"/>
                      </a:lnTo>
                      <a:lnTo>
                        <a:pt x="28" y="390"/>
                      </a:lnTo>
                      <a:lnTo>
                        <a:pt x="28" y="388"/>
                      </a:lnTo>
                      <a:lnTo>
                        <a:pt x="28" y="386"/>
                      </a:lnTo>
                      <a:lnTo>
                        <a:pt x="28" y="383"/>
                      </a:lnTo>
                      <a:lnTo>
                        <a:pt x="28" y="386"/>
                      </a:lnTo>
                      <a:lnTo>
                        <a:pt x="25" y="383"/>
                      </a:lnTo>
                      <a:lnTo>
                        <a:pt x="23" y="383"/>
                      </a:lnTo>
                      <a:lnTo>
                        <a:pt x="23" y="381"/>
                      </a:lnTo>
                      <a:lnTo>
                        <a:pt x="21" y="376"/>
                      </a:lnTo>
                      <a:lnTo>
                        <a:pt x="21" y="374"/>
                      </a:lnTo>
                      <a:lnTo>
                        <a:pt x="23" y="372"/>
                      </a:lnTo>
                      <a:lnTo>
                        <a:pt x="25" y="369"/>
                      </a:lnTo>
                      <a:lnTo>
                        <a:pt x="28" y="372"/>
                      </a:lnTo>
                      <a:lnTo>
                        <a:pt x="30" y="369"/>
                      </a:lnTo>
                      <a:lnTo>
                        <a:pt x="30" y="365"/>
                      </a:lnTo>
                      <a:lnTo>
                        <a:pt x="30" y="360"/>
                      </a:lnTo>
                      <a:lnTo>
                        <a:pt x="30" y="355"/>
                      </a:lnTo>
                      <a:lnTo>
                        <a:pt x="30" y="353"/>
                      </a:lnTo>
                      <a:lnTo>
                        <a:pt x="32" y="351"/>
                      </a:lnTo>
                      <a:lnTo>
                        <a:pt x="34" y="351"/>
                      </a:lnTo>
                      <a:lnTo>
                        <a:pt x="41" y="353"/>
                      </a:lnTo>
                      <a:lnTo>
                        <a:pt x="44" y="351"/>
                      </a:lnTo>
                      <a:lnTo>
                        <a:pt x="46" y="348"/>
                      </a:lnTo>
                      <a:lnTo>
                        <a:pt x="46" y="346"/>
                      </a:lnTo>
                      <a:lnTo>
                        <a:pt x="48" y="346"/>
                      </a:lnTo>
                      <a:lnTo>
                        <a:pt x="48" y="344"/>
                      </a:lnTo>
                      <a:lnTo>
                        <a:pt x="48" y="342"/>
                      </a:lnTo>
                      <a:lnTo>
                        <a:pt x="48" y="337"/>
                      </a:lnTo>
                      <a:lnTo>
                        <a:pt x="48" y="332"/>
                      </a:lnTo>
                      <a:lnTo>
                        <a:pt x="48" y="330"/>
                      </a:lnTo>
                      <a:lnTo>
                        <a:pt x="53" y="328"/>
                      </a:lnTo>
                      <a:lnTo>
                        <a:pt x="48" y="321"/>
                      </a:lnTo>
                      <a:lnTo>
                        <a:pt x="48" y="316"/>
                      </a:lnTo>
                      <a:lnTo>
                        <a:pt x="48" y="309"/>
                      </a:lnTo>
                      <a:lnTo>
                        <a:pt x="46" y="309"/>
                      </a:lnTo>
                      <a:lnTo>
                        <a:pt x="46" y="307"/>
                      </a:lnTo>
                      <a:lnTo>
                        <a:pt x="48" y="304"/>
                      </a:lnTo>
                      <a:lnTo>
                        <a:pt x="51" y="307"/>
                      </a:lnTo>
                      <a:lnTo>
                        <a:pt x="51" y="302"/>
                      </a:lnTo>
                      <a:lnTo>
                        <a:pt x="51" y="300"/>
                      </a:lnTo>
                      <a:lnTo>
                        <a:pt x="55" y="300"/>
                      </a:lnTo>
                      <a:lnTo>
                        <a:pt x="60" y="304"/>
                      </a:lnTo>
                      <a:lnTo>
                        <a:pt x="62" y="307"/>
                      </a:lnTo>
                      <a:lnTo>
                        <a:pt x="67" y="307"/>
                      </a:lnTo>
                      <a:lnTo>
                        <a:pt x="72" y="309"/>
                      </a:lnTo>
                      <a:lnTo>
                        <a:pt x="74" y="307"/>
                      </a:lnTo>
                      <a:lnTo>
                        <a:pt x="67" y="300"/>
                      </a:lnTo>
                      <a:lnTo>
                        <a:pt x="60" y="295"/>
                      </a:lnTo>
                      <a:lnTo>
                        <a:pt x="58" y="293"/>
                      </a:lnTo>
                      <a:lnTo>
                        <a:pt x="55" y="288"/>
                      </a:lnTo>
                      <a:lnTo>
                        <a:pt x="58" y="286"/>
                      </a:lnTo>
                      <a:lnTo>
                        <a:pt x="55" y="288"/>
                      </a:lnTo>
                      <a:lnTo>
                        <a:pt x="53" y="286"/>
                      </a:lnTo>
                      <a:lnTo>
                        <a:pt x="51" y="283"/>
                      </a:lnTo>
                      <a:lnTo>
                        <a:pt x="51" y="281"/>
                      </a:lnTo>
                      <a:lnTo>
                        <a:pt x="51" y="279"/>
                      </a:lnTo>
                      <a:lnTo>
                        <a:pt x="48" y="279"/>
                      </a:lnTo>
                      <a:lnTo>
                        <a:pt x="48" y="276"/>
                      </a:lnTo>
                      <a:lnTo>
                        <a:pt x="51" y="274"/>
                      </a:lnTo>
                      <a:lnTo>
                        <a:pt x="53" y="274"/>
                      </a:lnTo>
                      <a:lnTo>
                        <a:pt x="53" y="272"/>
                      </a:lnTo>
                      <a:lnTo>
                        <a:pt x="48" y="272"/>
                      </a:lnTo>
                      <a:lnTo>
                        <a:pt x="48" y="269"/>
                      </a:lnTo>
                      <a:lnTo>
                        <a:pt x="46" y="267"/>
                      </a:lnTo>
                      <a:lnTo>
                        <a:pt x="46" y="265"/>
                      </a:lnTo>
                      <a:lnTo>
                        <a:pt x="48" y="262"/>
                      </a:lnTo>
                      <a:lnTo>
                        <a:pt x="51" y="260"/>
                      </a:lnTo>
                      <a:lnTo>
                        <a:pt x="53" y="260"/>
                      </a:lnTo>
                      <a:lnTo>
                        <a:pt x="60" y="265"/>
                      </a:lnTo>
                      <a:lnTo>
                        <a:pt x="62" y="267"/>
                      </a:lnTo>
                      <a:lnTo>
                        <a:pt x="65" y="260"/>
                      </a:lnTo>
                      <a:lnTo>
                        <a:pt x="67" y="262"/>
                      </a:lnTo>
                      <a:lnTo>
                        <a:pt x="69" y="265"/>
                      </a:lnTo>
                      <a:lnTo>
                        <a:pt x="74" y="265"/>
                      </a:lnTo>
                      <a:lnTo>
                        <a:pt x="74" y="262"/>
                      </a:lnTo>
                      <a:lnTo>
                        <a:pt x="69" y="260"/>
                      </a:lnTo>
                      <a:lnTo>
                        <a:pt x="67" y="260"/>
                      </a:lnTo>
                      <a:lnTo>
                        <a:pt x="67" y="258"/>
                      </a:lnTo>
                      <a:lnTo>
                        <a:pt x="72" y="256"/>
                      </a:lnTo>
                      <a:lnTo>
                        <a:pt x="74" y="253"/>
                      </a:lnTo>
                      <a:lnTo>
                        <a:pt x="76" y="253"/>
                      </a:lnTo>
                      <a:lnTo>
                        <a:pt x="79" y="253"/>
                      </a:lnTo>
                      <a:lnTo>
                        <a:pt x="83" y="249"/>
                      </a:lnTo>
                      <a:lnTo>
                        <a:pt x="88" y="249"/>
                      </a:lnTo>
                      <a:lnTo>
                        <a:pt x="86" y="251"/>
                      </a:lnTo>
                      <a:lnTo>
                        <a:pt x="86" y="253"/>
                      </a:lnTo>
                      <a:lnTo>
                        <a:pt x="88" y="262"/>
                      </a:lnTo>
                      <a:lnTo>
                        <a:pt x="90" y="265"/>
                      </a:lnTo>
                      <a:lnTo>
                        <a:pt x="88" y="267"/>
                      </a:lnTo>
                      <a:lnTo>
                        <a:pt x="90" y="267"/>
                      </a:lnTo>
                      <a:lnTo>
                        <a:pt x="102" y="274"/>
                      </a:lnTo>
                      <a:lnTo>
                        <a:pt x="100" y="269"/>
                      </a:lnTo>
                      <a:lnTo>
                        <a:pt x="97" y="265"/>
                      </a:lnTo>
                      <a:lnTo>
                        <a:pt x="100" y="262"/>
                      </a:lnTo>
                      <a:lnTo>
                        <a:pt x="100" y="260"/>
                      </a:lnTo>
                      <a:lnTo>
                        <a:pt x="100" y="258"/>
                      </a:lnTo>
                      <a:lnTo>
                        <a:pt x="102" y="256"/>
                      </a:lnTo>
                      <a:lnTo>
                        <a:pt x="102" y="253"/>
                      </a:lnTo>
                      <a:lnTo>
                        <a:pt x="102" y="251"/>
                      </a:lnTo>
                      <a:lnTo>
                        <a:pt x="104" y="249"/>
                      </a:lnTo>
                      <a:lnTo>
                        <a:pt x="107" y="251"/>
                      </a:lnTo>
                      <a:lnTo>
                        <a:pt x="107" y="253"/>
                      </a:lnTo>
                      <a:lnTo>
                        <a:pt x="109" y="253"/>
                      </a:lnTo>
                      <a:lnTo>
                        <a:pt x="111" y="249"/>
                      </a:lnTo>
                      <a:lnTo>
                        <a:pt x="114" y="249"/>
                      </a:lnTo>
                      <a:lnTo>
                        <a:pt x="116" y="249"/>
                      </a:lnTo>
                      <a:lnTo>
                        <a:pt x="118" y="249"/>
                      </a:lnTo>
                      <a:lnTo>
                        <a:pt x="118" y="246"/>
                      </a:lnTo>
                      <a:lnTo>
                        <a:pt x="121" y="246"/>
                      </a:lnTo>
                      <a:lnTo>
                        <a:pt x="123" y="239"/>
                      </a:lnTo>
                      <a:lnTo>
                        <a:pt x="125" y="235"/>
                      </a:lnTo>
                      <a:lnTo>
                        <a:pt x="125" y="230"/>
                      </a:lnTo>
                      <a:lnTo>
                        <a:pt x="128" y="230"/>
                      </a:lnTo>
                      <a:lnTo>
                        <a:pt x="130" y="237"/>
                      </a:lnTo>
                      <a:lnTo>
                        <a:pt x="132" y="235"/>
                      </a:lnTo>
                      <a:lnTo>
                        <a:pt x="135" y="228"/>
                      </a:lnTo>
                      <a:lnTo>
                        <a:pt x="135" y="225"/>
                      </a:lnTo>
                      <a:lnTo>
                        <a:pt x="135" y="223"/>
                      </a:lnTo>
                      <a:lnTo>
                        <a:pt x="132" y="223"/>
                      </a:lnTo>
                      <a:lnTo>
                        <a:pt x="132" y="218"/>
                      </a:lnTo>
                      <a:lnTo>
                        <a:pt x="130" y="216"/>
                      </a:lnTo>
                      <a:lnTo>
                        <a:pt x="125" y="214"/>
                      </a:lnTo>
                      <a:lnTo>
                        <a:pt x="121" y="207"/>
                      </a:lnTo>
                      <a:lnTo>
                        <a:pt x="118" y="207"/>
                      </a:lnTo>
                      <a:lnTo>
                        <a:pt x="116" y="207"/>
                      </a:lnTo>
                      <a:lnTo>
                        <a:pt x="116" y="204"/>
                      </a:lnTo>
                      <a:lnTo>
                        <a:pt x="114" y="204"/>
                      </a:lnTo>
                      <a:lnTo>
                        <a:pt x="111" y="202"/>
                      </a:lnTo>
                      <a:lnTo>
                        <a:pt x="111" y="195"/>
                      </a:lnTo>
                      <a:lnTo>
                        <a:pt x="114" y="193"/>
                      </a:lnTo>
                      <a:lnTo>
                        <a:pt x="116" y="193"/>
                      </a:lnTo>
                      <a:lnTo>
                        <a:pt x="121" y="195"/>
                      </a:lnTo>
                      <a:lnTo>
                        <a:pt x="123" y="200"/>
                      </a:lnTo>
                      <a:lnTo>
                        <a:pt x="128" y="200"/>
                      </a:lnTo>
                      <a:lnTo>
                        <a:pt x="130" y="200"/>
                      </a:lnTo>
                      <a:lnTo>
                        <a:pt x="135" y="202"/>
                      </a:lnTo>
                      <a:lnTo>
                        <a:pt x="123" y="193"/>
                      </a:lnTo>
                      <a:lnTo>
                        <a:pt x="118" y="188"/>
                      </a:lnTo>
                      <a:lnTo>
                        <a:pt x="116" y="181"/>
                      </a:lnTo>
                      <a:lnTo>
                        <a:pt x="118" y="179"/>
                      </a:lnTo>
                      <a:lnTo>
                        <a:pt x="118" y="177"/>
                      </a:lnTo>
                      <a:lnTo>
                        <a:pt x="121" y="177"/>
                      </a:lnTo>
                      <a:lnTo>
                        <a:pt x="123" y="179"/>
                      </a:lnTo>
                      <a:lnTo>
                        <a:pt x="123" y="181"/>
                      </a:lnTo>
                      <a:lnTo>
                        <a:pt x="123" y="183"/>
                      </a:lnTo>
                      <a:lnTo>
                        <a:pt x="125" y="186"/>
                      </a:lnTo>
                      <a:lnTo>
                        <a:pt x="128" y="186"/>
                      </a:lnTo>
                      <a:lnTo>
                        <a:pt x="130" y="186"/>
                      </a:lnTo>
                      <a:lnTo>
                        <a:pt x="132" y="188"/>
                      </a:lnTo>
                      <a:lnTo>
                        <a:pt x="132" y="193"/>
                      </a:lnTo>
                      <a:lnTo>
                        <a:pt x="135" y="193"/>
                      </a:lnTo>
                      <a:lnTo>
                        <a:pt x="135" y="188"/>
                      </a:lnTo>
                      <a:lnTo>
                        <a:pt x="137" y="188"/>
                      </a:lnTo>
                      <a:lnTo>
                        <a:pt x="135" y="186"/>
                      </a:lnTo>
                      <a:lnTo>
                        <a:pt x="135" y="183"/>
                      </a:lnTo>
                      <a:lnTo>
                        <a:pt x="135" y="181"/>
                      </a:lnTo>
                      <a:lnTo>
                        <a:pt x="135" y="179"/>
                      </a:lnTo>
                      <a:lnTo>
                        <a:pt x="135" y="177"/>
                      </a:lnTo>
                      <a:lnTo>
                        <a:pt x="135" y="167"/>
                      </a:lnTo>
                      <a:lnTo>
                        <a:pt x="137" y="167"/>
                      </a:lnTo>
                      <a:lnTo>
                        <a:pt x="137" y="165"/>
                      </a:lnTo>
                      <a:lnTo>
                        <a:pt x="137" y="163"/>
                      </a:lnTo>
                      <a:lnTo>
                        <a:pt x="137" y="160"/>
                      </a:lnTo>
                      <a:lnTo>
                        <a:pt x="139" y="160"/>
                      </a:lnTo>
                      <a:lnTo>
                        <a:pt x="144" y="163"/>
                      </a:lnTo>
                      <a:lnTo>
                        <a:pt x="142" y="158"/>
                      </a:lnTo>
                      <a:lnTo>
                        <a:pt x="137" y="151"/>
                      </a:lnTo>
                      <a:lnTo>
                        <a:pt x="137" y="149"/>
                      </a:lnTo>
                      <a:lnTo>
                        <a:pt x="139" y="146"/>
                      </a:lnTo>
                      <a:lnTo>
                        <a:pt x="139" y="144"/>
                      </a:lnTo>
                      <a:lnTo>
                        <a:pt x="137" y="142"/>
                      </a:lnTo>
                      <a:lnTo>
                        <a:pt x="142" y="144"/>
                      </a:lnTo>
                      <a:lnTo>
                        <a:pt x="144" y="142"/>
                      </a:lnTo>
                      <a:lnTo>
                        <a:pt x="144" y="137"/>
                      </a:lnTo>
                      <a:lnTo>
                        <a:pt x="144" y="132"/>
                      </a:lnTo>
                      <a:lnTo>
                        <a:pt x="144" y="130"/>
                      </a:lnTo>
                      <a:lnTo>
                        <a:pt x="146" y="132"/>
                      </a:lnTo>
                      <a:lnTo>
                        <a:pt x="149" y="135"/>
                      </a:lnTo>
                      <a:lnTo>
                        <a:pt x="149" y="132"/>
                      </a:lnTo>
                      <a:lnTo>
                        <a:pt x="149" y="130"/>
                      </a:lnTo>
                      <a:lnTo>
                        <a:pt x="151" y="130"/>
                      </a:lnTo>
                      <a:lnTo>
                        <a:pt x="153" y="130"/>
                      </a:lnTo>
                      <a:lnTo>
                        <a:pt x="156" y="132"/>
                      </a:lnTo>
                      <a:lnTo>
                        <a:pt x="156" y="137"/>
                      </a:lnTo>
                      <a:lnTo>
                        <a:pt x="156" y="139"/>
                      </a:lnTo>
                      <a:lnTo>
                        <a:pt x="158" y="142"/>
                      </a:lnTo>
                      <a:lnTo>
                        <a:pt x="160" y="146"/>
                      </a:lnTo>
                      <a:lnTo>
                        <a:pt x="162" y="146"/>
                      </a:lnTo>
                      <a:lnTo>
                        <a:pt x="165" y="146"/>
                      </a:lnTo>
                      <a:lnTo>
                        <a:pt x="167" y="144"/>
                      </a:lnTo>
                      <a:lnTo>
                        <a:pt x="167" y="142"/>
                      </a:lnTo>
                      <a:lnTo>
                        <a:pt x="169" y="142"/>
                      </a:lnTo>
                      <a:lnTo>
                        <a:pt x="169" y="139"/>
                      </a:lnTo>
                      <a:lnTo>
                        <a:pt x="169" y="137"/>
                      </a:lnTo>
                      <a:lnTo>
                        <a:pt x="169" y="135"/>
                      </a:lnTo>
                      <a:lnTo>
                        <a:pt x="169" y="132"/>
                      </a:lnTo>
                      <a:lnTo>
                        <a:pt x="172" y="130"/>
                      </a:lnTo>
                      <a:lnTo>
                        <a:pt x="174" y="128"/>
                      </a:lnTo>
                      <a:lnTo>
                        <a:pt x="176" y="125"/>
                      </a:lnTo>
                      <a:lnTo>
                        <a:pt x="174" y="123"/>
                      </a:lnTo>
                      <a:lnTo>
                        <a:pt x="167" y="121"/>
                      </a:lnTo>
                      <a:lnTo>
                        <a:pt x="174" y="121"/>
                      </a:lnTo>
                      <a:lnTo>
                        <a:pt x="172" y="116"/>
                      </a:lnTo>
                      <a:lnTo>
                        <a:pt x="174" y="116"/>
                      </a:lnTo>
                      <a:lnTo>
                        <a:pt x="176" y="116"/>
                      </a:lnTo>
                      <a:lnTo>
                        <a:pt x="176" y="114"/>
                      </a:lnTo>
                      <a:lnTo>
                        <a:pt x="176" y="111"/>
                      </a:lnTo>
                      <a:lnTo>
                        <a:pt x="176" y="109"/>
                      </a:lnTo>
                      <a:lnTo>
                        <a:pt x="174" y="109"/>
                      </a:lnTo>
                      <a:lnTo>
                        <a:pt x="172" y="107"/>
                      </a:lnTo>
                      <a:lnTo>
                        <a:pt x="172" y="104"/>
                      </a:lnTo>
                      <a:lnTo>
                        <a:pt x="174" y="102"/>
                      </a:lnTo>
                      <a:lnTo>
                        <a:pt x="176" y="102"/>
                      </a:lnTo>
                      <a:lnTo>
                        <a:pt x="181" y="107"/>
                      </a:lnTo>
                      <a:lnTo>
                        <a:pt x="183" y="109"/>
                      </a:lnTo>
                      <a:lnTo>
                        <a:pt x="183" y="107"/>
                      </a:lnTo>
                      <a:lnTo>
                        <a:pt x="181" y="104"/>
                      </a:lnTo>
                      <a:lnTo>
                        <a:pt x="181" y="100"/>
                      </a:lnTo>
                      <a:lnTo>
                        <a:pt x="181" y="98"/>
                      </a:lnTo>
                      <a:lnTo>
                        <a:pt x="186" y="91"/>
                      </a:lnTo>
                      <a:lnTo>
                        <a:pt x="186" y="86"/>
                      </a:lnTo>
                      <a:lnTo>
                        <a:pt x="188" y="86"/>
                      </a:lnTo>
                      <a:lnTo>
                        <a:pt x="193" y="86"/>
                      </a:lnTo>
                      <a:lnTo>
                        <a:pt x="195" y="84"/>
                      </a:lnTo>
                      <a:lnTo>
                        <a:pt x="195" y="81"/>
                      </a:lnTo>
                      <a:lnTo>
                        <a:pt x="193" y="81"/>
                      </a:lnTo>
                      <a:lnTo>
                        <a:pt x="193" y="79"/>
                      </a:lnTo>
                      <a:lnTo>
                        <a:pt x="195" y="79"/>
                      </a:lnTo>
                      <a:lnTo>
                        <a:pt x="195" y="77"/>
                      </a:lnTo>
                      <a:lnTo>
                        <a:pt x="200" y="74"/>
                      </a:lnTo>
                      <a:lnTo>
                        <a:pt x="207" y="74"/>
                      </a:lnTo>
                      <a:lnTo>
                        <a:pt x="209" y="72"/>
                      </a:lnTo>
                      <a:lnTo>
                        <a:pt x="211" y="67"/>
                      </a:lnTo>
                      <a:lnTo>
                        <a:pt x="214" y="70"/>
                      </a:lnTo>
                      <a:lnTo>
                        <a:pt x="216" y="70"/>
                      </a:lnTo>
                      <a:lnTo>
                        <a:pt x="218" y="67"/>
                      </a:lnTo>
                      <a:lnTo>
                        <a:pt x="221" y="63"/>
                      </a:lnTo>
                      <a:lnTo>
                        <a:pt x="216" y="60"/>
                      </a:lnTo>
                      <a:lnTo>
                        <a:pt x="214" y="58"/>
                      </a:lnTo>
                      <a:lnTo>
                        <a:pt x="214" y="56"/>
                      </a:lnTo>
                      <a:lnTo>
                        <a:pt x="214" y="53"/>
                      </a:lnTo>
                      <a:lnTo>
                        <a:pt x="214" y="51"/>
                      </a:lnTo>
                      <a:lnTo>
                        <a:pt x="211" y="49"/>
                      </a:lnTo>
                      <a:lnTo>
                        <a:pt x="211" y="46"/>
                      </a:lnTo>
                      <a:lnTo>
                        <a:pt x="211" y="35"/>
                      </a:lnTo>
                      <a:lnTo>
                        <a:pt x="211" y="32"/>
                      </a:lnTo>
                      <a:lnTo>
                        <a:pt x="214" y="32"/>
                      </a:lnTo>
                      <a:lnTo>
                        <a:pt x="218" y="32"/>
                      </a:lnTo>
                      <a:lnTo>
                        <a:pt x="218" y="35"/>
                      </a:lnTo>
                      <a:lnTo>
                        <a:pt x="221" y="35"/>
                      </a:lnTo>
                      <a:lnTo>
                        <a:pt x="221" y="37"/>
                      </a:lnTo>
                      <a:lnTo>
                        <a:pt x="223" y="35"/>
                      </a:lnTo>
                      <a:lnTo>
                        <a:pt x="228" y="35"/>
                      </a:lnTo>
                      <a:lnTo>
                        <a:pt x="235" y="35"/>
                      </a:lnTo>
                      <a:lnTo>
                        <a:pt x="237" y="32"/>
                      </a:lnTo>
                      <a:lnTo>
                        <a:pt x="235" y="28"/>
                      </a:lnTo>
                      <a:lnTo>
                        <a:pt x="230" y="23"/>
                      </a:lnTo>
                      <a:lnTo>
                        <a:pt x="228" y="21"/>
                      </a:lnTo>
                      <a:lnTo>
                        <a:pt x="228" y="16"/>
                      </a:lnTo>
                      <a:lnTo>
                        <a:pt x="230" y="16"/>
                      </a:lnTo>
                      <a:lnTo>
                        <a:pt x="232" y="19"/>
                      </a:lnTo>
                      <a:lnTo>
                        <a:pt x="232" y="16"/>
                      </a:lnTo>
                      <a:lnTo>
                        <a:pt x="235" y="12"/>
                      </a:lnTo>
                      <a:lnTo>
                        <a:pt x="235" y="9"/>
                      </a:lnTo>
                      <a:lnTo>
                        <a:pt x="235" y="7"/>
                      </a:lnTo>
                      <a:lnTo>
                        <a:pt x="237" y="5"/>
                      </a:lnTo>
                      <a:lnTo>
                        <a:pt x="239" y="0"/>
                      </a:lnTo>
                      <a:lnTo>
                        <a:pt x="260" y="12"/>
                      </a:lnTo>
                      <a:close/>
                    </a:path>
                  </a:pathLst>
                </a:custGeom>
                <a:solidFill>
                  <a:schemeClr val="bg1"/>
                </a:solidFill>
                <a:ln w="3175">
                  <a:solidFill>
                    <a:schemeClr val="accent1">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0" name="Freeform 30">
                  <a:extLst>
                    <a:ext uri="{FF2B5EF4-FFF2-40B4-BE49-F238E27FC236}">
                      <a16:creationId xmlns:a16="http://schemas.microsoft.com/office/drawing/2014/main" id="{AB7B8D71-BB2C-E65A-C7BB-26A661E43CE3}"/>
                    </a:ext>
                  </a:extLst>
                </p:cNvPr>
                <p:cNvSpPr>
                  <a:spLocks/>
                </p:cNvSpPr>
                <p:nvPr/>
              </p:nvSpPr>
              <p:spPr bwMode="auto">
                <a:xfrm>
                  <a:off x="4995863" y="2095500"/>
                  <a:ext cx="1495425" cy="1795463"/>
                </a:xfrm>
                <a:custGeom>
                  <a:avLst/>
                  <a:gdLst>
                    <a:gd name="T0" fmla="*/ 714 w 942"/>
                    <a:gd name="T1" fmla="*/ 274 h 1131"/>
                    <a:gd name="T2" fmla="*/ 754 w 942"/>
                    <a:gd name="T3" fmla="*/ 437 h 1131"/>
                    <a:gd name="T4" fmla="*/ 903 w 942"/>
                    <a:gd name="T5" fmla="*/ 525 h 1131"/>
                    <a:gd name="T6" fmla="*/ 884 w 942"/>
                    <a:gd name="T7" fmla="*/ 634 h 1131"/>
                    <a:gd name="T8" fmla="*/ 917 w 942"/>
                    <a:gd name="T9" fmla="*/ 797 h 1131"/>
                    <a:gd name="T10" fmla="*/ 863 w 942"/>
                    <a:gd name="T11" fmla="*/ 839 h 1131"/>
                    <a:gd name="T12" fmla="*/ 851 w 942"/>
                    <a:gd name="T13" fmla="*/ 876 h 1131"/>
                    <a:gd name="T14" fmla="*/ 877 w 942"/>
                    <a:gd name="T15" fmla="*/ 892 h 1131"/>
                    <a:gd name="T16" fmla="*/ 882 w 942"/>
                    <a:gd name="T17" fmla="*/ 918 h 1131"/>
                    <a:gd name="T18" fmla="*/ 889 w 942"/>
                    <a:gd name="T19" fmla="*/ 941 h 1131"/>
                    <a:gd name="T20" fmla="*/ 861 w 942"/>
                    <a:gd name="T21" fmla="*/ 959 h 1131"/>
                    <a:gd name="T22" fmla="*/ 877 w 942"/>
                    <a:gd name="T23" fmla="*/ 987 h 1131"/>
                    <a:gd name="T24" fmla="*/ 800 w 942"/>
                    <a:gd name="T25" fmla="*/ 1006 h 1131"/>
                    <a:gd name="T26" fmla="*/ 726 w 942"/>
                    <a:gd name="T27" fmla="*/ 1066 h 1131"/>
                    <a:gd name="T28" fmla="*/ 584 w 942"/>
                    <a:gd name="T29" fmla="*/ 1090 h 1131"/>
                    <a:gd name="T30" fmla="*/ 551 w 942"/>
                    <a:gd name="T31" fmla="*/ 1124 h 1131"/>
                    <a:gd name="T32" fmla="*/ 523 w 942"/>
                    <a:gd name="T33" fmla="*/ 1127 h 1131"/>
                    <a:gd name="T34" fmla="*/ 500 w 942"/>
                    <a:gd name="T35" fmla="*/ 1101 h 1131"/>
                    <a:gd name="T36" fmla="*/ 502 w 942"/>
                    <a:gd name="T37" fmla="*/ 1069 h 1131"/>
                    <a:gd name="T38" fmla="*/ 488 w 942"/>
                    <a:gd name="T39" fmla="*/ 1094 h 1131"/>
                    <a:gd name="T40" fmla="*/ 470 w 942"/>
                    <a:gd name="T41" fmla="*/ 1099 h 1131"/>
                    <a:gd name="T42" fmla="*/ 449 w 942"/>
                    <a:gd name="T43" fmla="*/ 1076 h 1131"/>
                    <a:gd name="T44" fmla="*/ 421 w 942"/>
                    <a:gd name="T45" fmla="*/ 1022 h 1131"/>
                    <a:gd name="T46" fmla="*/ 388 w 942"/>
                    <a:gd name="T47" fmla="*/ 980 h 1131"/>
                    <a:gd name="T48" fmla="*/ 386 w 942"/>
                    <a:gd name="T49" fmla="*/ 946 h 1131"/>
                    <a:gd name="T50" fmla="*/ 398 w 942"/>
                    <a:gd name="T51" fmla="*/ 915 h 1131"/>
                    <a:gd name="T52" fmla="*/ 393 w 942"/>
                    <a:gd name="T53" fmla="*/ 866 h 1131"/>
                    <a:gd name="T54" fmla="*/ 370 w 942"/>
                    <a:gd name="T55" fmla="*/ 822 h 1131"/>
                    <a:gd name="T56" fmla="*/ 353 w 942"/>
                    <a:gd name="T57" fmla="*/ 797 h 1131"/>
                    <a:gd name="T58" fmla="*/ 342 w 942"/>
                    <a:gd name="T59" fmla="*/ 771 h 1131"/>
                    <a:gd name="T60" fmla="*/ 349 w 942"/>
                    <a:gd name="T61" fmla="*/ 725 h 1131"/>
                    <a:gd name="T62" fmla="*/ 314 w 942"/>
                    <a:gd name="T63" fmla="*/ 708 h 1131"/>
                    <a:gd name="T64" fmla="*/ 316 w 942"/>
                    <a:gd name="T65" fmla="*/ 667 h 1131"/>
                    <a:gd name="T66" fmla="*/ 304 w 942"/>
                    <a:gd name="T67" fmla="*/ 609 h 1131"/>
                    <a:gd name="T68" fmla="*/ 283 w 942"/>
                    <a:gd name="T69" fmla="*/ 571 h 1131"/>
                    <a:gd name="T70" fmla="*/ 260 w 942"/>
                    <a:gd name="T71" fmla="*/ 553 h 1131"/>
                    <a:gd name="T72" fmla="*/ 246 w 942"/>
                    <a:gd name="T73" fmla="*/ 520 h 1131"/>
                    <a:gd name="T74" fmla="*/ 202 w 942"/>
                    <a:gd name="T75" fmla="*/ 495 h 1131"/>
                    <a:gd name="T76" fmla="*/ 146 w 942"/>
                    <a:gd name="T77" fmla="*/ 490 h 1131"/>
                    <a:gd name="T78" fmla="*/ 107 w 942"/>
                    <a:gd name="T79" fmla="*/ 460 h 1131"/>
                    <a:gd name="T80" fmla="*/ 69 w 942"/>
                    <a:gd name="T81" fmla="*/ 434 h 1131"/>
                    <a:gd name="T82" fmla="*/ 30 w 942"/>
                    <a:gd name="T83" fmla="*/ 397 h 1131"/>
                    <a:gd name="T84" fmla="*/ 34 w 942"/>
                    <a:gd name="T85" fmla="*/ 369 h 1131"/>
                    <a:gd name="T86" fmla="*/ 81 w 942"/>
                    <a:gd name="T87" fmla="*/ 304 h 1131"/>
                    <a:gd name="T88" fmla="*/ 167 w 942"/>
                    <a:gd name="T89" fmla="*/ 425 h 1131"/>
                    <a:gd name="T90" fmla="*/ 242 w 942"/>
                    <a:gd name="T91" fmla="*/ 439 h 1131"/>
                    <a:gd name="T92" fmla="*/ 323 w 942"/>
                    <a:gd name="T93" fmla="*/ 390 h 1131"/>
                    <a:gd name="T94" fmla="*/ 400 w 942"/>
                    <a:gd name="T95" fmla="*/ 423 h 1131"/>
                    <a:gd name="T96" fmla="*/ 411 w 942"/>
                    <a:gd name="T97" fmla="*/ 392 h 1131"/>
                    <a:gd name="T98" fmla="*/ 442 w 942"/>
                    <a:gd name="T99" fmla="*/ 337 h 1131"/>
                    <a:gd name="T100" fmla="*/ 453 w 942"/>
                    <a:gd name="T101" fmla="*/ 304 h 1131"/>
                    <a:gd name="T102" fmla="*/ 444 w 942"/>
                    <a:gd name="T103" fmla="*/ 269 h 1131"/>
                    <a:gd name="T104" fmla="*/ 435 w 942"/>
                    <a:gd name="T105" fmla="*/ 200 h 1131"/>
                    <a:gd name="T106" fmla="*/ 437 w 942"/>
                    <a:gd name="T107" fmla="*/ 165 h 1131"/>
                    <a:gd name="T108" fmla="*/ 437 w 942"/>
                    <a:gd name="T109" fmla="*/ 128 h 1131"/>
                    <a:gd name="T110" fmla="*/ 460 w 942"/>
                    <a:gd name="T111" fmla="*/ 76 h 1131"/>
                    <a:gd name="T112" fmla="*/ 514 w 942"/>
                    <a:gd name="T113" fmla="*/ 58 h 1131"/>
                    <a:gd name="T114" fmla="*/ 549 w 942"/>
                    <a:gd name="T115" fmla="*/ 9 h 1131"/>
                    <a:gd name="T116" fmla="*/ 626 w 942"/>
                    <a:gd name="T117" fmla="*/ 51 h 1131"/>
                    <a:gd name="T118" fmla="*/ 705 w 942"/>
                    <a:gd name="T119" fmla="*/ 186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2" h="1131">
                      <a:moveTo>
                        <a:pt x="723" y="230"/>
                      </a:moveTo>
                      <a:lnTo>
                        <a:pt x="716" y="244"/>
                      </a:lnTo>
                      <a:lnTo>
                        <a:pt x="707" y="251"/>
                      </a:lnTo>
                      <a:lnTo>
                        <a:pt x="688" y="272"/>
                      </a:lnTo>
                      <a:lnTo>
                        <a:pt x="686" y="274"/>
                      </a:lnTo>
                      <a:lnTo>
                        <a:pt x="686" y="276"/>
                      </a:lnTo>
                      <a:lnTo>
                        <a:pt x="688" y="279"/>
                      </a:lnTo>
                      <a:lnTo>
                        <a:pt x="691" y="281"/>
                      </a:lnTo>
                      <a:lnTo>
                        <a:pt x="707" y="274"/>
                      </a:lnTo>
                      <a:lnTo>
                        <a:pt x="714" y="274"/>
                      </a:lnTo>
                      <a:lnTo>
                        <a:pt x="723" y="279"/>
                      </a:lnTo>
                      <a:lnTo>
                        <a:pt x="723" y="299"/>
                      </a:lnTo>
                      <a:lnTo>
                        <a:pt x="723" y="306"/>
                      </a:lnTo>
                      <a:lnTo>
                        <a:pt x="712" y="358"/>
                      </a:lnTo>
                      <a:lnTo>
                        <a:pt x="712" y="360"/>
                      </a:lnTo>
                      <a:lnTo>
                        <a:pt x="712" y="365"/>
                      </a:lnTo>
                      <a:lnTo>
                        <a:pt x="714" y="369"/>
                      </a:lnTo>
                      <a:lnTo>
                        <a:pt x="719" y="376"/>
                      </a:lnTo>
                      <a:lnTo>
                        <a:pt x="749" y="434"/>
                      </a:lnTo>
                      <a:lnTo>
                        <a:pt x="754" y="437"/>
                      </a:lnTo>
                      <a:lnTo>
                        <a:pt x="758" y="439"/>
                      </a:lnTo>
                      <a:lnTo>
                        <a:pt x="786" y="444"/>
                      </a:lnTo>
                      <a:lnTo>
                        <a:pt x="814" y="448"/>
                      </a:lnTo>
                      <a:lnTo>
                        <a:pt x="816" y="448"/>
                      </a:lnTo>
                      <a:lnTo>
                        <a:pt x="821" y="453"/>
                      </a:lnTo>
                      <a:lnTo>
                        <a:pt x="833" y="464"/>
                      </a:lnTo>
                      <a:lnTo>
                        <a:pt x="837" y="471"/>
                      </a:lnTo>
                      <a:lnTo>
                        <a:pt x="863" y="499"/>
                      </a:lnTo>
                      <a:lnTo>
                        <a:pt x="870" y="506"/>
                      </a:lnTo>
                      <a:lnTo>
                        <a:pt x="903" y="525"/>
                      </a:lnTo>
                      <a:lnTo>
                        <a:pt x="903" y="527"/>
                      </a:lnTo>
                      <a:lnTo>
                        <a:pt x="903" y="530"/>
                      </a:lnTo>
                      <a:lnTo>
                        <a:pt x="903" y="534"/>
                      </a:lnTo>
                      <a:lnTo>
                        <a:pt x="905" y="548"/>
                      </a:lnTo>
                      <a:lnTo>
                        <a:pt x="907" y="553"/>
                      </a:lnTo>
                      <a:lnTo>
                        <a:pt x="907" y="564"/>
                      </a:lnTo>
                      <a:lnTo>
                        <a:pt x="907" y="569"/>
                      </a:lnTo>
                      <a:lnTo>
                        <a:pt x="884" y="627"/>
                      </a:lnTo>
                      <a:lnTo>
                        <a:pt x="884" y="629"/>
                      </a:lnTo>
                      <a:lnTo>
                        <a:pt x="884" y="634"/>
                      </a:lnTo>
                      <a:lnTo>
                        <a:pt x="884" y="636"/>
                      </a:lnTo>
                      <a:lnTo>
                        <a:pt x="884" y="639"/>
                      </a:lnTo>
                      <a:lnTo>
                        <a:pt x="879" y="646"/>
                      </a:lnTo>
                      <a:lnTo>
                        <a:pt x="865" y="711"/>
                      </a:lnTo>
                      <a:lnTo>
                        <a:pt x="865" y="732"/>
                      </a:lnTo>
                      <a:lnTo>
                        <a:pt x="872" y="746"/>
                      </a:lnTo>
                      <a:lnTo>
                        <a:pt x="905" y="778"/>
                      </a:lnTo>
                      <a:lnTo>
                        <a:pt x="912" y="790"/>
                      </a:lnTo>
                      <a:lnTo>
                        <a:pt x="917" y="794"/>
                      </a:lnTo>
                      <a:lnTo>
                        <a:pt x="917" y="797"/>
                      </a:lnTo>
                      <a:lnTo>
                        <a:pt x="919" y="799"/>
                      </a:lnTo>
                      <a:lnTo>
                        <a:pt x="919" y="801"/>
                      </a:lnTo>
                      <a:lnTo>
                        <a:pt x="921" y="801"/>
                      </a:lnTo>
                      <a:lnTo>
                        <a:pt x="935" y="818"/>
                      </a:lnTo>
                      <a:lnTo>
                        <a:pt x="937" y="820"/>
                      </a:lnTo>
                      <a:lnTo>
                        <a:pt x="942" y="832"/>
                      </a:lnTo>
                      <a:lnTo>
                        <a:pt x="919" y="836"/>
                      </a:lnTo>
                      <a:lnTo>
                        <a:pt x="912" y="843"/>
                      </a:lnTo>
                      <a:lnTo>
                        <a:pt x="907" y="843"/>
                      </a:lnTo>
                      <a:lnTo>
                        <a:pt x="863" y="839"/>
                      </a:lnTo>
                      <a:lnTo>
                        <a:pt x="858" y="843"/>
                      </a:lnTo>
                      <a:lnTo>
                        <a:pt x="858" y="848"/>
                      </a:lnTo>
                      <a:lnTo>
                        <a:pt x="861" y="853"/>
                      </a:lnTo>
                      <a:lnTo>
                        <a:pt x="861" y="857"/>
                      </a:lnTo>
                      <a:lnTo>
                        <a:pt x="858" y="857"/>
                      </a:lnTo>
                      <a:lnTo>
                        <a:pt x="856" y="860"/>
                      </a:lnTo>
                      <a:lnTo>
                        <a:pt x="854" y="862"/>
                      </a:lnTo>
                      <a:lnTo>
                        <a:pt x="851" y="866"/>
                      </a:lnTo>
                      <a:lnTo>
                        <a:pt x="851" y="871"/>
                      </a:lnTo>
                      <a:lnTo>
                        <a:pt x="851" y="876"/>
                      </a:lnTo>
                      <a:lnTo>
                        <a:pt x="856" y="883"/>
                      </a:lnTo>
                      <a:lnTo>
                        <a:pt x="858" y="890"/>
                      </a:lnTo>
                      <a:lnTo>
                        <a:pt x="863" y="892"/>
                      </a:lnTo>
                      <a:lnTo>
                        <a:pt x="868" y="892"/>
                      </a:lnTo>
                      <a:lnTo>
                        <a:pt x="868" y="894"/>
                      </a:lnTo>
                      <a:lnTo>
                        <a:pt x="868" y="897"/>
                      </a:lnTo>
                      <a:lnTo>
                        <a:pt x="870" y="894"/>
                      </a:lnTo>
                      <a:lnTo>
                        <a:pt x="872" y="892"/>
                      </a:lnTo>
                      <a:lnTo>
                        <a:pt x="875" y="892"/>
                      </a:lnTo>
                      <a:lnTo>
                        <a:pt x="877" y="892"/>
                      </a:lnTo>
                      <a:lnTo>
                        <a:pt x="877" y="894"/>
                      </a:lnTo>
                      <a:lnTo>
                        <a:pt x="879" y="894"/>
                      </a:lnTo>
                      <a:lnTo>
                        <a:pt x="879" y="897"/>
                      </a:lnTo>
                      <a:lnTo>
                        <a:pt x="879" y="904"/>
                      </a:lnTo>
                      <a:lnTo>
                        <a:pt x="879" y="906"/>
                      </a:lnTo>
                      <a:lnTo>
                        <a:pt x="884" y="906"/>
                      </a:lnTo>
                      <a:lnTo>
                        <a:pt x="884" y="908"/>
                      </a:lnTo>
                      <a:lnTo>
                        <a:pt x="882" y="913"/>
                      </a:lnTo>
                      <a:lnTo>
                        <a:pt x="882" y="915"/>
                      </a:lnTo>
                      <a:lnTo>
                        <a:pt x="882" y="918"/>
                      </a:lnTo>
                      <a:lnTo>
                        <a:pt x="882" y="920"/>
                      </a:lnTo>
                      <a:lnTo>
                        <a:pt x="879" y="922"/>
                      </a:lnTo>
                      <a:lnTo>
                        <a:pt x="877" y="925"/>
                      </a:lnTo>
                      <a:lnTo>
                        <a:pt x="872" y="927"/>
                      </a:lnTo>
                      <a:lnTo>
                        <a:pt x="875" y="932"/>
                      </a:lnTo>
                      <a:lnTo>
                        <a:pt x="877" y="934"/>
                      </a:lnTo>
                      <a:lnTo>
                        <a:pt x="877" y="936"/>
                      </a:lnTo>
                      <a:lnTo>
                        <a:pt x="877" y="939"/>
                      </a:lnTo>
                      <a:lnTo>
                        <a:pt x="884" y="941"/>
                      </a:lnTo>
                      <a:lnTo>
                        <a:pt x="889" y="941"/>
                      </a:lnTo>
                      <a:lnTo>
                        <a:pt x="891" y="941"/>
                      </a:lnTo>
                      <a:lnTo>
                        <a:pt x="893" y="948"/>
                      </a:lnTo>
                      <a:lnTo>
                        <a:pt x="891" y="950"/>
                      </a:lnTo>
                      <a:lnTo>
                        <a:pt x="891" y="952"/>
                      </a:lnTo>
                      <a:lnTo>
                        <a:pt x="886" y="955"/>
                      </a:lnTo>
                      <a:lnTo>
                        <a:pt x="875" y="957"/>
                      </a:lnTo>
                      <a:lnTo>
                        <a:pt x="865" y="962"/>
                      </a:lnTo>
                      <a:lnTo>
                        <a:pt x="863" y="962"/>
                      </a:lnTo>
                      <a:lnTo>
                        <a:pt x="861" y="962"/>
                      </a:lnTo>
                      <a:lnTo>
                        <a:pt x="861" y="959"/>
                      </a:lnTo>
                      <a:lnTo>
                        <a:pt x="858" y="959"/>
                      </a:lnTo>
                      <a:lnTo>
                        <a:pt x="858" y="962"/>
                      </a:lnTo>
                      <a:lnTo>
                        <a:pt x="861" y="964"/>
                      </a:lnTo>
                      <a:lnTo>
                        <a:pt x="861" y="966"/>
                      </a:lnTo>
                      <a:lnTo>
                        <a:pt x="858" y="966"/>
                      </a:lnTo>
                      <a:lnTo>
                        <a:pt x="858" y="969"/>
                      </a:lnTo>
                      <a:lnTo>
                        <a:pt x="861" y="971"/>
                      </a:lnTo>
                      <a:lnTo>
                        <a:pt x="863" y="971"/>
                      </a:lnTo>
                      <a:lnTo>
                        <a:pt x="875" y="980"/>
                      </a:lnTo>
                      <a:lnTo>
                        <a:pt x="877" y="987"/>
                      </a:lnTo>
                      <a:lnTo>
                        <a:pt x="877" y="992"/>
                      </a:lnTo>
                      <a:lnTo>
                        <a:pt x="877" y="997"/>
                      </a:lnTo>
                      <a:lnTo>
                        <a:pt x="872" y="999"/>
                      </a:lnTo>
                      <a:lnTo>
                        <a:pt x="863" y="1004"/>
                      </a:lnTo>
                      <a:lnTo>
                        <a:pt x="856" y="1011"/>
                      </a:lnTo>
                      <a:lnTo>
                        <a:pt x="851" y="1011"/>
                      </a:lnTo>
                      <a:lnTo>
                        <a:pt x="809" y="1015"/>
                      </a:lnTo>
                      <a:lnTo>
                        <a:pt x="807" y="1013"/>
                      </a:lnTo>
                      <a:lnTo>
                        <a:pt x="805" y="1011"/>
                      </a:lnTo>
                      <a:lnTo>
                        <a:pt x="800" y="1006"/>
                      </a:lnTo>
                      <a:lnTo>
                        <a:pt x="796" y="994"/>
                      </a:lnTo>
                      <a:lnTo>
                        <a:pt x="789" y="990"/>
                      </a:lnTo>
                      <a:lnTo>
                        <a:pt x="786" y="992"/>
                      </a:lnTo>
                      <a:lnTo>
                        <a:pt x="784" y="997"/>
                      </a:lnTo>
                      <a:lnTo>
                        <a:pt x="782" y="999"/>
                      </a:lnTo>
                      <a:lnTo>
                        <a:pt x="770" y="994"/>
                      </a:lnTo>
                      <a:lnTo>
                        <a:pt x="768" y="999"/>
                      </a:lnTo>
                      <a:lnTo>
                        <a:pt x="754" y="1041"/>
                      </a:lnTo>
                      <a:lnTo>
                        <a:pt x="749" y="1050"/>
                      </a:lnTo>
                      <a:lnTo>
                        <a:pt x="726" y="1066"/>
                      </a:lnTo>
                      <a:lnTo>
                        <a:pt x="661" y="1078"/>
                      </a:lnTo>
                      <a:lnTo>
                        <a:pt x="658" y="1076"/>
                      </a:lnTo>
                      <a:lnTo>
                        <a:pt x="658" y="1073"/>
                      </a:lnTo>
                      <a:lnTo>
                        <a:pt x="656" y="1066"/>
                      </a:lnTo>
                      <a:lnTo>
                        <a:pt x="654" y="1057"/>
                      </a:lnTo>
                      <a:lnTo>
                        <a:pt x="651" y="1057"/>
                      </a:lnTo>
                      <a:lnTo>
                        <a:pt x="630" y="1076"/>
                      </a:lnTo>
                      <a:lnTo>
                        <a:pt x="619" y="1080"/>
                      </a:lnTo>
                      <a:lnTo>
                        <a:pt x="593" y="1085"/>
                      </a:lnTo>
                      <a:lnTo>
                        <a:pt x="584" y="1090"/>
                      </a:lnTo>
                      <a:lnTo>
                        <a:pt x="567" y="1115"/>
                      </a:lnTo>
                      <a:lnTo>
                        <a:pt x="563" y="1127"/>
                      </a:lnTo>
                      <a:lnTo>
                        <a:pt x="560" y="1131"/>
                      </a:lnTo>
                      <a:lnTo>
                        <a:pt x="560" y="1129"/>
                      </a:lnTo>
                      <a:lnTo>
                        <a:pt x="560" y="1127"/>
                      </a:lnTo>
                      <a:lnTo>
                        <a:pt x="558" y="1127"/>
                      </a:lnTo>
                      <a:lnTo>
                        <a:pt x="556" y="1124"/>
                      </a:lnTo>
                      <a:lnTo>
                        <a:pt x="553" y="1127"/>
                      </a:lnTo>
                      <a:lnTo>
                        <a:pt x="553" y="1124"/>
                      </a:lnTo>
                      <a:lnTo>
                        <a:pt x="551" y="1124"/>
                      </a:lnTo>
                      <a:lnTo>
                        <a:pt x="546" y="1127"/>
                      </a:lnTo>
                      <a:lnTo>
                        <a:pt x="544" y="1127"/>
                      </a:lnTo>
                      <a:lnTo>
                        <a:pt x="542" y="1124"/>
                      </a:lnTo>
                      <a:lnTo>
                        <a:pt x="540" y="1122"/>
                      </a:lnTo>
                      <a:lnTo>
                        <a:pt x="540" y="1120"/>
                      </a:lnTo>
                      <a:lnTo>
                        <a:pt x="535" y="1120"/>
                      </a:lnTo>
                      <a:lnTo>
                        <a:pt x="530" y="1120"/>
                      </a:lnTo>
                      <a:lnTo>
                        <a:pt x="528" y="1120"/>
                      </a:lnTo>
                      <a:lnTo>
                        <a:pt x="523" y="1124"/>
                      </a:lnTo>
                      <a:lnTo>
                        <a:pt x="523" y="1127"/>
                      </a:lnTo>
                      <a:lnTo>
                        <a:pt x="521" y="1129"/>
                      </a:lnTo>
                      <a:lnTo>
                        <a:pt x="519" y="1129"/>
                      </a:lnTo>
                      <a:lnTo>
                        <a:pt x="516" y="1127"/>
                      </a:lnTo>
                      <a:lnTo>
                        <a:pt x="516" y="1117"/>
                      </a:lnTo>
                      <a:lnTo>
                        <a:pt x="514" y="1115"/>
                      </a:lnTo>
                      <a:lnTo>
                        <a:pt x="507" y="1113"/>
                      </a:lnTo>
                      <a:lnTo>
                        <a:pt x="505" y="1110"/>
                      </a:lnTo>
                      <a:lnTo>
                        <a:pt x="502" y="1108"/>
                      </a:lnTo>
                      <a:lnTo>
                        <a:pt x="500" y="1106"/>
                      </a:lnTo>
                      <a:lnTo>
                        <a:pt x="500" y="1101"/>
                      </a:lnTo>
                      <a:lnTo>
                        <a:pt x="500" y="1094"/>
                      </a:lnTo>
                      <a:lnTo>
                        <a:pt x="500" y="1090"/>
                      </a:lnTo>
                      <a:lnTo>
                        <a:pt x="502" y="1076"/>
                      </a:lnTo>
                      <a:lnTo>
                        <a:pt x="505" y="1071"/>
                      </a:lnTo>
                      <a:lnTo>
                        <a:pt x="505" y="1069"/>
                      </a:lnTo>
                      <a:lnTo>
                        <a:pt x="507" y="1066"/>
                      </a:lnTo>
                      <a:lnTo>
                        <a:pt x="509" y="1066"/>
                      </a:lnTo>
                      <a:lnTo>
                        <a:pt x="509" y="1062"/>
                      </a:lnTo>
                      <a:lnTo>
                        <a:pt x="507" y="1064"/>
                      </a:lnTo>
                      <a:lnTo>
                        <a:pt x="502" y="1069"/>
                      </a:lnTo>
                      <a:lnTo>
                        <a:pt x="500" y="1069"/>
                      </a:lnTo>
                      <a:lnTo>
                        <a:pt x="500" y="1071"/>
                      </a:lnTo>
                      <a:lnTo>
                        <a:pt x="500" y="1073"/>
                      </a:lnTo>
                      <a:lnTo>
                        <a:pt x="500" y="1076"/>
                      </a:lnTo>
                      <a:lnTo>
                        <a:pt x="500" y="1078"/>
                      </a:lnTo>
                      <a:lnTo>
                        <a:pt x="498" y="1090"/>
                      </a:lnTo>
                      <a:lnTo>
                        <a:pt x="495" y="1094"/>
                      </a:lnTo>
                      <a:lnTo>
                        <a:pt x="493" y="1094"/>
                      </a:lnTo>
                      <a:lnTo>
                        <a:pt x="491" y="1094"/>
                      </a:lnTo>
                      <a:lnTo>
                        <a:pt x="488" y="1094"/>
                      </a:lnTo>
                      <a:lnTo>
                        <a:pt x="486" y="1097"/>
                      </a:lnTo>
                      <a:lnTo>
                        <a:pt x="486" y="1099"/>
                      </a:lnTo>
                      <a:lnTo>
                        <a:pt x="486" y="1101"/>
                      </a:lnTo>
                      <a:lnTo>
                        <a:pt x="479" y="1101"/>
                      </a:lnTo>
                      <a:lnTo>
                        <a:pt x="477" y="1097"/>
                      </a:lnTo>
                      <a:lnTo>
                        <a:pt x="474" y="1097"/>
                      </a:lnTo>
                      <a:lnTo>
                        <a:pt x="472" y="1094"/>
                      </a:lnTo>
                      <a:lnTo>
                        <a:pt x="467" y="1092"/>
                      </a:lnTo>
                      <a:lnTo>
                        <a:pt x="467" y="1097"/>
                      </a:lnTo>
                      <a:lnTo>
                        <a:pt x="470" y="1099"/>
                      </a:lnTo>
                      <a:lnTo>
                        <a:pt x="470" y="1101"/>
                      </a:lnTo>
                      <a:lnTo>
                        <a:pt x="467" y="1104"/>
                      </a:lnTo>
                      <a:lnTo>
                        <a:pt x="465" y="1104"/>
                      </a:lnTo>
                      <a:lnTo>
                        <a:pt x="463" y="1101"/>
                      </a:lnTo>
                      <a:lnTo>
                        <a:pt x="460" y="1099"/>
                      </a:lnTo>
                      <a:lnTo>
                        <a:pt x="460" y="1097"/>
                      </a:lnTo>
                      <a:lnTo>
                        <a:pt x="458" y="1094"/>
                      </a:lnTo>
                      <a:lnTo>
                        <a:pt x="458" y="1090"/>
                      </a:lnTo>
                      <a:lnTo>
                        <a:pt x="453" y="1083"/>
                      </a:lnTo>
                      <a:lnTo>
                        <a:pt x="449" y="1076"/>
                      </a:lnTo>
                      <a:lnTo>
                        <a:pt x="446" y="1071"/>
                      </a:lnTo>
                      <a:lnTo>
                        <a:pt x="442" y="1066"/>
                      </a:lnTo>
                      <a:lnTo>
                        <a:pt x="442" y="1062"/>
                      </a:lnTo>
                      <a:lnTo>
                        <a:pt x="442" y="1057"/>
                      </a:lnTo>
                      <a:lnTo>
                        <a:pt x="437" y="1045"/>
                      </a:lnTo>
                      <a:lnTo>
                        <a:pt x="435" y="1043"/>
                      </a:lnTo>
                      <a:lnTo>
                        <a:pt x="432" y="1041"/>
                      </a:lnTo>
                      <a:lnTo>
                        <a:pt x="430" y="1038"/>
                      </a:lnTo>
                      <a:lnTo>
                        <a:pt x="428" y="1036"/>
                      </a:lnTo>
                      <a:lnTo>
                        <a:pt x="421" y="1022"/>
                      </a:lnTo>
                      <a:lnTo>
                        <a:pt x="416" y="1018"/>
                      </a:lnTo>
                      <a:lnTo>
                        <a:pt x="407" y="1018"/>
                      </a:lnTo>
                      <a:lnTo>
                        <a:pt x="402" y="1015"/>
                      </a:lnTo>
                      <a:lnTo>
                        <a:pt x="400" y="1011"/>
                      </a:lnTo>
                      <a:lnTo>
                        <a:pt x="393" y="999"/>
                      </a:lnTo>
                      <a:lnTo>
                        <a:pt x="391" y="994"/>
                      </a:lnTo>
                      <a:lnTo>
                        <a:pt x="388" y="987"/>
                      </a:lnTo>
                      <a:lnTo>
                        <a:pt x="388" y="985"/>
                      </a:lnTo>
                      <a:lnTo>
                        <a:pt x="388" y="983"/>
                      </a:lnTo>
                      <a:lnTo>
                        <a:pt x="388" y="980"/>
                      </a:lnTo>
                      <a:lnTo>
                        <a:pt x="388" y="978"/>
                      </a:lnTo>
                      <a:lnTo>
                        <a:pt x="388" y="973"/>
                      </a:lnTo>
                      <a:lnTo>
                        <a:pt x="386" y="969"/>
                      </a:lnTo>
                      <a:lnTo>
                        <a:pt x="386" y="966"/>
                      </a:lnTo>
                      <a:lnTo>
                        <a:pt x="384" y="964"/>
                      </a:lnTo>
                      <a:lnTo>
                        <a:pt x="381" y="959"/>
                      </a:lnTo>
                      <a:lnTo>
                        <a:pt x="381" y="957"/>
                      </a:lnTo>
                      <a:lnTo>
                        <a:pt x="381" y="952"/>
                      </a:lnTo>
                      <a:lnTo>
                        <a:pt x="384" y="948"/>
                      </a:lnTo>
                      <a:lnTo>
                        <a:pt x="386" y="946"/>
                      </a:lnTo>
                      <a:lnTo>
                        <a:pt x="388" y="943"/>
                      </a:lnTo>
                      <a:lnTo>
                        <a:pt x="386" y="941"/>
                      </a:lnTo>
                      <a:lnTo>
                        <a:pt x="388" y="936"/>
                      </a:lnTo>
                      <a:lnTo>
                        <a:pt x="391" y="936"/>
                      </a:lnTo>
                      <a:lnTo>
                        <a:pt x="393" y="932"/>
                      </a:lnTo>
                      <a:lnTo>
                        <a:pt x="393" y="929"/>
                      </a:lnTo>
                      <a:lnTo>
                        <a:pt x="398" y="925"/>
                      </a:lnTo>
                      <a:lnTo>
                        <a:pt x="398" y="922"/>
                      </a:lnTo>
                      <a:lnTo>
                        <a:pt x="398" y="920"/>
                      </a:lnTo>
                      <a:lnTo>
                        <a:pt x="398" y="915"/>
                      </a:lnTo>
                      <a:lnTo>
                        <a:pt x="398" y="911"/>
                      </a:lnTo>
                      <a:lnTo>
                        <a:pt x="395" y="906"/>
                      </a:lnTo>
                      <a:lnTo>
                        <a:pt x="395" y="901"/>
                      </a:lnTo>
                      <a:lnTo>
                        <a:pt x="395" y="897"/>
                      </a:lnTo>
                      <a:lnTo>
                        <a:pt x="395" y="892"/>
                      </a:lnTo>
                      <a:lnTo>
                        <a:pt x="393" y="887"/>
                      </a:lnTo>
                      <a:lnTo>
                        <a:pt x="391" y="880"/>
                      </a:lnTo>
                      <a:lnTo>
                        <a:pt x="391" y="878"/>
                      </a:lnTo>
                      <a:lnTo>
                        <a:pt x="393" y="871"/>
                      </a:lnTo>
                      <a:lnTo>
                        <a:pt x="393" y="866"/>
                      </a:lnTo>
                      <a:lnTo>
                        <a:pt x="395" y="866"/>
                      </a:lnTo>
                      <a:lnTo>
                        <a:pt x="398" y="866"/>
                      </a:lnTo>
                      <a:lnTo>
                        <a:pt x="398" y="864"/>
                      </a:lnTo>
                      <a:lnTo>
                        <a:pt x="398" y="862"/>
                      </a:lnTo>
                      <a:lnTo>
                        <a:pt x="393" y="850"/>
                      </a:lnTo>
                      <a:lnTo>
                        <a:pt x="388" y="843"/>
                      </a:lnTo>
                      <a:lnTo>
                        <a:pt x="386" y="841"/>
                      </a:lnTo>
                      <a:lnTo>
                        <a:pt x="381" y="836"/>
                      </a:lnTo>
                      <a:lnTo>
                        <a:pt x="374" y="825"/>
                      </a:lnTo>
                      <a:lnTo>
                        <a:pt x="370" y="822"/>
                      </a:lnTo>
                      <a:lnTo>
                        <a:pt x="367" y="822"/>
                      </a:lnTo>
                      <a:lnTo>
                        <a:pt x="365" y="820"/>
                      </a:lnTo>
                      <a:lnTo>
                        <a:pt x="363" y="818"/>
                      </a:lnTo>
                      <a:lnTo>
                        <a:pt x="358" y="811"/>
                      </a:lnTo>
                      <a:lnTo>
                        <a:pt x="356" y="808"/>
                      </a:lnTo>
                      <a:lnTo>
                        <a:pt x="356" y="806"/>
                      </a:lnTo>
                      <a:lnTo>
                        <a:pt x="356" y="804"/>
                      </a:lnTo>
                      <a:lnTo>
                        <a:pt x="353" y="801"/>
                      </a:lnTo>
                      <a:lnTo>
                        <a:pt x="353" y="799"/>
                      </a:lnTo>
                      <a:lnTo>
                        <a:pt x="353" y="797"/>
                      </a:lnTo>
                      <a:lnTo>
                        <a:pt x="351" y="797"/>
                      </a:lnTo>
                      <a:lnTo>
                        <a:pt x="349" y="792"/>
                      </a:lnTo>
                      <a:lnTo>
                        <a:pt x="346" y="790"/>
                      </a:lnTo>
                      <a:lnTo>
                        <a:pt x="344" y="787"/>
                      </a:lnTo>
                      <a:lnTo>
                        <a:pt x="342" y="783"/>
                      </a:lnTo>
                      <a:lnTo>
                        <a:pt x="342" y="781"/>
                      </a:lnTo>
                      <a:lnTo>
                        <a:pt x="344" y="778"/>
                      </a:lnTo>
                      <a:lnTo>
                        <a:pt x="344" y="776"/>
                      </a:lnTo>
                      <a:lnTo>
                        <a:pt x="344" y="771"/>
                      </a:lnTo>
                      <a:lnTo>
                        <a:pt x="342" y="771"/>
                      </a:lnTo>
                      <a:lnTo>
                        <a:pt x="342" y="769"/>
                      </a:lnTo>
                      <a:lnTo>
                        <a:pt x="339" y="764"/>
                      </a:lnTo>
                      <a:lnTo>
                        <a:pt x="339" y="760"/>
                      </a:lnTo>
                      <a:lnTo>
                        <a:pt x="342" y="757"/>
                      </a:lnTo>
                      <a:lnTo>
                        <a:pt x="351" y="750"/>
                      </a:lnTo>
                      <a:lnTo>
                        <a:pt x="353" y="746"/>
                      </a:lnTo>
                      <a:lnTo>
                        <a:pt x="353" y="739"/>
                      </a:lnTo>
                      <a:lnTo>
                        <a:pt x="351" y="736"/>
                      </a:lnTo>
                      <a:lnTo>
                        <a:pt x="349" y="732"/>
                      </a:lnTo>
                      <a:lnTo>
                        <a:pt x="349" y="725"/>
                      </a:lnTo>
                      <a:lnTo>
                        <a:pt x="349" y="720"/>
                      </a:lnTo>
                      <a:lnTo>
                        <a:pt x="346" y="718"/>
                      </a:lnTo>
                      <a:lnTo>
                        <a:pt x="344" y="718"/>
                      </a:lnTo>
                      <a:lnTo>
                        <a:pt x="337" y="718"/>
                      </a:lnTo>
                      <a:lnTo>
                        <a:pt x="330" y="715"/>
                      </a:lnTo>
                      <a:lnTo>
                        <a:pt x="328" y="715"/>
                      </a:lnTo>
                      <a:lnTo>
                        <a:pt x="323" y="718"/>
                      </a:lnTo>
                      <a:lnTo>
                        <a:pt x="321" y="718"/>
                      </a:lnTo>
                      <a:lnTo>
                        <a:pt x="316" y="715"/>
                      </a:lnTo>
                      <a:lnTo>
                        <a:pt x="314" y="708"/>
                      </a:lnTo>
                      <a:lnTo>
                        <a:pt x="314" y="704"/>
                      </a:lnTo>
                      <a:lnTo>
                        <a:pt x="316" y="699"/>
                      </a:lnTo>
                      <a:lnTo>
                        <a:pt x="316" y="695"/>
                      </a:lnTo>
                      <a:lnTo>
                        <a:pt x="316" y="692"/>
                      </a:lnTo>
                      <a:lnTo>
                        <a:pt x="316" y="690"/>
                      </a:lnTo>
                      <a:lnTo>
                        <a:pt x="321" y="685"/>
                      </a:lnTo>
                      <a:lnTo>
                        <a:pt x="321" y="683"/>
                      </a:lnTo>
                      <a:lnTo>
                        <a:pt x="321" y="678"/>
                      </a:lnTo>
                      <a:lnTo>
                        <a:pt x="318" y="674"/>
                      </a:lnTo>
                      <a:lnTo>
                        <a:pt x="316" y="667"/>
                      </a:lnTo>
                      <a:lnTo>
                        <a:pt x="314" y="664"/>
                      </a:lnTo>
                      <a:lnTo>
                        <a:pt x="311" y="655"/>
                      </a:lnTo>
                      <a:lnTo>
                        <a:pt x="309" y="650"/>
                      </a:lnTo>
                      <a:lnTo>
                        <a:pt x="309" y="648"/>
                      </a:lnTo>
                      <a:lnTo>
                        <a:pt x="304" y="634"/>
                      </a:lnTo>
                      <a:lnTo>
                        <a:pt x="304" y="629"/>
                      </a:lnTo>
                      <a:lnTo>
                        <a:pt x="302" y="622"/>
                      </a:lnTo>
                      <a:lnTo>
                        <a:pt x="302" y="618"/>
                      </a:lnTo>
                      <a:lnTo>
                        <a:pt x="302" y="613"/>
                      </a:lnTo>
                      <a:lnTo>
                        <a:pt x="304" y="609"/>
                      </a:lnTo>
                      <a:lnTo>
                        <a:pt x="311" y="606"/>
                      </a:lnTo>
                      <a:lnTo>
                        <a:pt x="314" y="604"/>
                      </a:lnTo>
                      <a:lnTo>
                        <a:pt x="316" y="597"/>
                      </a:lnTo>
                      <a:lnTo>
                        <a:pt x="314" y="595"/>
                      </a:lnTo>
                      <a:lnTo>
                        <a:pt x="311" y="590"/>
                      </a:lnTo>
                      <a:lnTo>
                        <a:pt x="307" y="590"/>
                      </a:lnTo>
                      <a:lnTo>
                        <a:pt x="295" y="581"/>
                      </a:lnTo>
                      <a:lnTo>
                        <a:pt x="293" y="578"/>
                      </a:lnTo>
                      <a:lnTo>
                        <a:pt x="286" y="574"/>
                      </a:lnTo>
                      <a:lnTo>
                        <a:pt x="283" y="571"/>
                      </a:lnTo>
                      <a:lnTo>
                        <a:pt x="283" y="569"/>
                      </a:lnTo>
                      <a:lnTo>
                        <a:pt x="277" y="555"/>
                      </a:lnTo>
                      <a:lnTo>
                        <a:pt x="274" y="553"/>
                      </a:lnTo>
                      <a:lnTo>
                        <a:pt x="272" y="553"/>
                      </a:lnTo>
                      <a:lnTo>
                        <a:pt x="265" y="560"/>
                      </a:lnTo>
                      <a:lnTo>
                        <a:pt x="263" y="560"/>
                      </a:lnTo>
                      <a:lnTo>
                        <a:pt x="260" y="560"/>
                      </a:lnTo>
                      <a:lnTo>
                        <a:pt x="260" y="557"/>
                      </a:lnTo>
                      <a:lnTo>
                        <a:pt x="260" y="555"/>
                      </a:lnTo>
                      <a:lnTo>
                        <a:pt x="260" y="553"/>
                      </a:lnTo>
                      <a:lnTo>
                        <a:pt x="260" y="546"/>
                      </a:lnTo>
                      <a:lnTo>
                        <a:pt x="258" y="546"/>
                      </a:lnTo>
                      <a:lnTo>
                        <a:pt x="258" y="543"/>
                      </a:lnTo>
                      <a:lnTo>
                        <a:pt x="258" y="537"/>
                      </a:lnTo>
                      <a:lnTo>
                        <a:pt x="256" y="534"/>
                      </a:lnTo>
                      <a:lnTo>
                        <a:pt x="251" y="530"/>
                      </a:lnTo>
                      <a:lnTo>
                        <a:pt x="249" y="527"/>
                      </a:lnTo>
                      <a:lnTo>
                        <a:pt x="249" y="525"/>
                      </a:lnTo>
                      <a:lnTo>
                        <a:pt x="246" y="523"/>
                      </a:lnTo>
                      <a:lnTo>
                        <a:pt x="246" y="520"/>
                      </a:lnTo>
                      <a:lnTo>
                        <a:pt x="244" y="520"/>
                      </a:lnTo>
                      <a:lnTo>
                        <a:pt x="230" y="513"/>
                      </a:lnTo>
                      <a:lnTo>
                        <a:pt x="225" y="509"/>
                      </a:lnTo>
                      <a:lnTo>
                        <a:pt x="221" y="502"/>
                      </a:lnTo>
                      <a:lnTo>
                        <a:pt x="218" y="499"/>
                      </a:lnTo>
                      <a:lnTo>
                        <a:pt x="214" y="504"/>
                      </a:lnTo>
                      <a:lnTo>
                        <a:pt x="209" y="499"/>
                      </a:lnTo>
                      <a:lnTo>
                        <a:pt x="207" y="497"/>
                      </a:lnTo>
                      <a:lnTo>
                        <a:pt x="204" y="495"/>
                      </a:lnTo>
                      <a:lnTo>
                        <a:pt x="202" y="495"/>
                      </a:lnTo>
                      <a:lnTo>
                        <a:pt x="200" y="495"/>
                      </a:lnTo>
                      <a:lnTo>
                        <a:pt x="195" y="495"/>
                      </a:lnTo>
                      <a:lnTo>
                        <a:pt x="190" y="495"/>
                      </a:lnTo>
                      <a:lnTo>
                        <a:pt x="183" y="492"/>
                      </a:lnTo>
                      <a:lnTo>
                        <a:pt x="176" y="492"/>
                      </a:lnTo>
                      <a:lnTo>
                        <a:pt x="176" y="490"/>
                      </a:lnTo>
                      <a:lnTo>
                        <a:pt x="176" y="488"/>
                      </a:lnTo>
                      <a:lnTo>
                        <a:pt x="169" y="488"/>
                      </a:lnTo>
                      <a:lnTo>
                        <a:pt x="149" y="490"/>
                      </a:lnTo>
                      <a:lnTo>
                        <a:pt x="146" y="490"/>
                      </a:lnTo>
                      <a:lnTo>
                        <a:pt x="146" y="488"/>
                      </a:lnTo>
                      <a:lnTo>
                        <a:pt x="144" y="485"/>
                      </a:lnTo>
                      <a:lnTo>
                        <a:pt x="144" y="483"/>
                      </a:lnTo>
                      <a:lnTo>
                        <a:pt x="142" y="483"/>
                      </a:lnTo>
                      <a:lnTo>
                        <a:pt x="142" y="481"/>
                      </a:lnTo>
                      <a:lnTo>
                        <a:pt x="137" y="476"/>
                      </a:lnTo>
                      <a:lnTo>
                        <a:pt x="132" y="471"/>
                      </a:lnTo>
                      <a:lnTo>
                        <a:pt x="114" y="469"/>
                      </a:lnTo>
                      <a:lnTo>
                        <a:pt x="111" y="462"/>
                      </a:lnTo>
                      <a:lnTo>
                        <a:pt x="107" y="460"/>
                      </a:lnTo>
                      <a:lnTo>
                        <a:pt x="97" y="453"/>
                      </a:lnTo>
                      <a:lnTo>
                        <a:pt x="90" y="451"/>
                      </a:lnTo>
                      <a:lnTo>
                        <a:pt x="86" y="448"/>
                      </a:lnTo>
                      <a:lnTo>
                        <a:pt x="86" y="446"/>
                      </a:lnTo>
                      <a:lnTo>
                        <a:pt x="81" y="439"/>
                      </a:lnTo>
                      <a:lnTo>
                        <a:pt x="81" y="437"/>
                      </a:lnTo>
                      <a:lnTo>
                        <a:pt x="79" y="434"/>
                      </a:lnTo>
                      <a:lnTo>
                        <a:pt x="76" y="434"/>
                      </a:lnTo>
                      <a:lnTo>
                        <a:pt x="72" y="434"/>
                      </a:lnTo>
                      <a:lnTo>
                        <a:pt x="69" y="434"/>
                      </a:lnTo>
                      <a:lnTo>
                        <a:pt x="69" y="432"/>
                      </a:lnTo>
                      <a:lnTo>
                        <a:pt x="67" y="432"/>
                      </a:lnTo>
                      <a:lnTo>
                        <a:pt x="67" y="430"/>
                      </a:lnTo>
                      <a:lnTo>
                        <a:pt x="60" y="420"/>
                      </a:lnTo>
                      <a:lnTo>
                        <a:pt x="53" y="416"/>
                      </a:lnTo>
                      <a:lnTo>
                        <a:pt x="46" y="409"/>
                      </a:lnTo>
                      <a:lnTo>
                        <a:pt x="30" y="406"/>
                      </a:lnTo>
                      <a:lnTo>
                        <a:pt x="27" y="402"/>
                      </a:lnTo>
                      <a:lnTo>
                        <a:pt x="27" y="397"/>
                      </a:lnTo>
                      <a:lnTo>
                        <a:pt x="30" y="397"/>
                      </a:lnTo>
                      <a:lnTo>
                        <a:pt x="30" y="392"/>
                      </a:lnTo>
                      <a:lnTo>
                        <a:pt x="30" y="388"/>
                      </a:lnTo>
                      <a:lnTo>
                        <a:pt x="27" y="385"/>
                      </a:lnTo>
                      <a:lnTo>
                        <a:pt x="23" y="383"/>
                      </a:lnTo>
                      <a:lnTo>
                        <a:pt x="16" y="379"/>
                      </a:lnTo>
                      <a:lnTo>
                        <a:pt x="4" y="379"/>
                      </a:lnTo>
                      <a:lnTo>
                        <a:pt x="0" y="374"/>
                      </a:lnTo>
                      <a:lnTo>
                        <a:pt x="4" y="358"/>
                      </a:lnTo>
                      <a:lnTo>
                        <a:pt x="7" y="355"/>
                      </a:lnTo>
                      <a:lnTo>
                        <a:pt x="34" y="369"/>
                      </a:lnTo>
                      <a:lnTo>
                        <a:pt x="39" y="369"/>
                      </a:lnTo>
                      <a:lnTo>
                        <a:pt x="41" y="367"/>
                      </a:lnTo>
                      <a:lnTo>
                        <a:pt x="44" y="355"/>
                      </a:lnTo>
                      <a:lnTo>
                        <a:pt x="30" y="334"/>
                      </a:lnTo>
                      <a:lnTo>
                        <a:pt x="32" y="325"/>
                      </a:lnTo>
                      <a:lnTo>
                        <a:pt x="32" y="320"/>
                      </a:lnTo>
                      <a:lnTo>
                        <a:pt x="34" y="318"/>
                      </a:lnTo>
                      <a:lnTo>
                        <a:pt x="51" y="304"/>
                      </a:lnTo>
                      <a:lnTo>
                        <a:pt x="79" y="304"/>
                      </a:lnTo>
                      <a:lnTo>
                        <a:pt x="81" y="304"/>
                      </a:lnTo>
                      <a:lnTo>
                        <a:pt x="114" y="351"/>
                      </a:lnTo>
                      <a:lnTo>
                        <a:pt x="123" y="362"/>
                      </a:lnTo>
                      <a:lnTo>
                        <a:pt x="137" y="374"/>
                      </a:lnTo>
                      <a:lnTo>
                        <a:pt x="139" y="376"/>
                      </a:lnTo>
                      <a:lnTo>
                        <a:pt x="142" y="381"/>
                      </a:lnTo>
                      <a:lnTo>
                        <a:pt x="144" y="383"/>
                      </a:lnTo>
                      <a:lnTo>
                        <a:pt x="151" y="395"/>
                      </a:lnTo>
                      <a:lnTo>
                        <a:pt x="160" y="399"/>
                      </a:lnTo>
                      <a:lnTo>
                        <a:pt x="162" y="402"/>
                      </a:lnTo>
                      <a:lnTo>
                        <a:pt x="167" y="425"/>
                      </a:lnTo>
                      <a:lnTo>
                        <a:pt x="169" y="430"/>
                      </a:lnTo>
                      <a:lnTo>
                        <a:pt x="172" y="430"/>
                      </a:lnTo>
                      <a:lnTo>
                        <a:pt x="181" y="423"/>
                      </a:lnTo>
                      <a:lnTo>
                        <a:pt x="183" y="423"/>
                      </a:lnTo>
                      <a:lnTo>
                        <a:pt x="186" y="423"/>
                      </a:lnTo>
                      <a:lnTo>
                        <a:pt x="209" y="432"/>
                      </a:lnTo>
                      <a:lnTo>
                        <a:pt x="225" y="425"/>
                      </a:lnTo>
                      <a:lnTo>
                        <a:pt x="230" y="427"/>
                      </a:lnTo>
                      <a:lnTo>
                        <a:pt x="232" y="430"/>
                      </a:lnTo>
                      <a:lnTo>
                        <a:pt x="242" y="439"/>
                      </a:lnTo>
                      <a:lnTo>
                        <a:pt x="244" y="439"/>
                      </a:lnTo>
                      <a:lnTo>
                        <a:pt x="265" y="418"/>
                      </a:lnTo>
                      <a:lnTo>
                        <a:pt x="279" y="413"/>
                      </a:lnTo>
                      <a:lnTo>
                        <a:pt x="286" y="406"/>
                      </a:lnTo>
                      <a:lnTo>
                        <a:pt x="288" y="397"/>
                      </a:lnTo>
                      <a:lnTo>
                        <a:pt x="288" y="385"/>
                      </a:lnTo>
                      <a:lnTo>
                        <a:pt x="293" y="381"/>
                      </a:lnTo>
                      <a:lnTo>
                        <a:pt x="300" y="379"/>
                      </a:lnTo>
                      <a:lnTo>
                        <a:pt x="318" y="385"/>
                      </a:lnTo>
                      <a:lnTo>
                        <a:pt x="323" y="390"/>
                      </a:lnTo>
                      <a:lnTo>
                        <a:pt x="325" y="392"/>
                      </a:lnTo>
                      <a:lnTo>
                        <a:pt x="339" y="399"/>
                      </a:lnTo>
                      <a:lnTo>
                        <a:pt x="353" y="402"/>
                      </a:lnTo>
                      <a:lnTo>
                        <a:pt x="370" y="404"/>
                      </a:lnTo>
                      <a:lnTo>
                        <a:pt x="381" y="409"/>
                      </a:lnTo>
                      <a:lnTo>
                        <a:pt x="388" y="418"/>
                      </a:lnTo>
                      <a:lnTo>
                        <a:pt x="393" y="425"/>
                      </a:lnTo>
                      <a:lnTo>
                        <a:pt x="395" y="427"/>
                      </a:lnTo>
                      <a:lnTo>
                        <a:pt x="398" y="425"/>
                      </a:lnTo>
                      <a:lnTo>
                        <a:pt x="400" y="423"/>
                      </a:lnTo>
                      <a:lnTo>
                        <a:pt x="400" y="418"/>
                      </a:lnTo>
                      <a:lnTo>
                        <a:pt x="400" y="413"/>
                      </a:lnTo>
                      <a:lnTo>
                        <a:pt x="402" y="411"/>
                      </a:lnTo>
                      <a:lnTo>
                        <a:pt x="405" y="409"/>
                      </a:lnTo>
                      <a:lnTo>
                        <a:pt x="409" y="404"/>
                      </a:lnTo>
                      <a:lnTo>
                        <a:pt x="411" y="404"/>
                      </a:lnTo>
                      <a:lnTo>
                        <a:pt x="411" y="402"/>
                      </a:lnTo>
                      <a:lnTo>
                        <a:pt x="414" y="399"/>
                      </a:lnTo>
                      <a:lnTo>
                        <a:pt x="414" y="395"/>
                      </a:lnTo>
                      <a:lnTo>
                        <a:pt x="411" y="392"/>
                      </a:lnTo>
                      <a:lnTo>
                        <a:pt x="411" y="390"/>
                      </a:lnTo>
                      <a:lnTo>
                        <a:pt x="411" y="388"/>
                      </a:lnTo>
                      <a:lnTo>
                        <a:pt x="409" y="376"/>
                      </a:lnTo>
                      <a:lnTo>
                        <a:pt x="409" y="372"/>
                      </a:lnTo>
                      <a:lnTo>
                        <a:pt x="409" y="365"/>
                      </a:lnTo>
                      <a:lnTo>
                        <a:pt x="411" y="358"/>
                      </a:lnTo>
                      <a:lnTo>
                        <a:pt x="423" y="339"/>
                      </a:lnTo>
                      <a:lnTo>
                        <a:pt x="428" y="337"/>
                      </a:lnTo>
                      <a:lnTo>
                        <a:pt x="432" y="334"/>
                      </a:lnTo>
                      <a:lnTo>
                        <a:pt x="442" y="337"/>
                      </a:lnTo>
                      <a:lnTo>
                        <a:pt x="444" y="334"/>
                      </a:lnTo>
                      <a:lnTo>
                        <a:pt x="446" y="332"/>
                      </a:lnTo>
                      <a:lnTo>
                        <a:pt x="446" y="330"/>
                      </a:lnTo>
                      <a:lnTo>
                        <a:pt x="446" y="325"/>
                      </a:lnTo>
                      <a:lnTo>
                        <a:pt x="449" y="323"/>
                      </a:lnTo>
                      <a:lnTo>
                        <a:pt x="451" y="318"/>
                      </a:lnTo>
                      <a:lnTo>
                        <a:pt x="451" y="313"/>
                      </a:lnTo>
                      <a:lnTo>
                        <a:pt x="451" y="311"/>
                      </a:lnTo>
                      <a:lnTo>
                        <a:pt x="451" y="309"/>
                      </a:lnTo>
                      <a:lnTo>
                        <a:pt x="453" y="304"/>
                      </a:lnTo>
                      <a:lnTo>
                        <a:pt x="453" y="299"/>
                      </a:lnTo>
                      <a:lnTo>
                        <a:pt x="451" y="297"/>
                      </a:lnTo>
                      <a:lnTo>
                        <a:pt x="449" y="297"/>
                      </a:lnTo>
                      <a:lnTo>
                        <a:pt x="449" y="295"/>
                      </a:lnTo>
                      <a:lnTo>
                        <a:pt x="449" y="293"/>
                      </a:lnTo>
                      <a:lnTo>
                        <a:pt x="446" y="288"/>
                      </a:lnTo>
                      <a:lnTo>
                        <a:pt x="446" y="283"/>
                      </a:lnTo>
                      <a:lnTo>
                        <a:pt x="444" y="274"/>
                      </a:lnTo>
                      <a:lnTo>
                        <a:pt x="444" y="272"/>
                      </a:lnTo>
                      <a:lnTo>
                        <a:pt x="444" y="269"/>
                      </a:lnTo>
                      <a:lnTo>
                        <a:pt x="444" y="267"/>
                      </a:lnTo>
                      <a:lnTo>
                        <a:pt x="442" y="265"/>
                      </a:lnTo>
                      <a:lnTo>
                        <a:pt x="439" y="262"/>
                      </a:lnTo>
                      <a:lnTo>
                        <a:pt x="437" y="258"/>
                      </a:lnTo>
                      <a:lnTo>
                        <a:pt x="437" y="251"/>
                      </a:lnTo>
                      <a:lnTo>
                        <a:pt x="435" y="230"/>
                      </a:lnTo>
                      <a:lnTo>
                        <a:pt x="435" y="225"/>
                      </a:lnTo>
                      <a:lnTo>
                        <a:pt x="439" y="211"/>
                      </a:lnTo>
                      <a:lnTo>
                        <a:pt x="439" y="209"/>
                      </a:lnTo>
                      <a:lnTo>
                        <a:pt x="435" y="200"/>
                      </a:lnTo>
                      <a:lnTo>
                        <a:pt x="435" y="193"/>
                      </a:lnTo>
                      <a:lnTo>
                        <a:pt x="437" y="193"/>
                      </a:lnTo>
                      <a:lnTo>
                        <a:pt x="437" y="190"/>
                      </a:lnTo>
                      <a:lnTo>
                        <a:pt x="435" y="183"/>
                      </a:lnTo>
                      <a:lnTo>
                        <a:pt x="435" y="181"/>
                      </a:lnTo>
                      <a:lnTo>
                        <a:pt x="437" y="179"/>
                      </a:lnTo>
                      <a:lnTo>
                        <a:pt x="435" y="176"/>
                      </a:lnTo>
                      <a:lnTo>
                        <a:pt x="432" y="174"/>
                      </a:lnTo>
                      <a:lnTo>
                        <a:pt x="435" y="172"/>
                      </a:lnTo>
                      <a:lnTo>
                        <a:pt x="437" y="165"/>
                      </a:lnTo>
                      <a:lnTo>
                        <a:pt x="439" y="162"/>
                      </a:lnTo>
                      <a:lnTo>
                        <a:pt x="439" y="155"/>
                      </a:lnTo>
                      <a:lnTo>
                        <a:pt x="439" y="151"/>
                      </a:lnTo>
                      <a:lnTo>
                        <a:pt x="435" y="144"/>
                      </a:lnTo>
                      <a:lnTo>
                        <a:pt x="432" y="144"/>
                      </a:lnTo>
                      <a:lnTo>
                        <a:pt x="432" y="141"/>
                      </a:lnTo>
                      <a:lnTo>
                        <a:pt x="432" y="137"/>
                      </a:lnTo>
                      <a:lnTo>
                        <a:pt x="432" y="135"/>
                      </a:lnTo>
                      <a:lnTo>
                        <a:pt x="435" y="130"/>
                      </a:lnTo>
                      <a:lnTo>
                        <a:pt x="437" y="128"/>
                      </a:lnTo>
                      <a:lnTo>
                        <a:pt x="449" y="123"/>
                      </a:lnTo>
                      <a:lnTo>
                        <a:pt x="449" y="121"/>
                      </a:lnTo>
                      <a:lnTo>
                        <a:pt x="451" y="118"/>
                      </a:lnTo>
                      <a:lnTo>
                        <a:pt x="451" y="116"/>
                      </a:lnTo>
                      <a:lnTo>
                        <a:pt x="453" y="109"/>
                      </a:lnTo>
                      <a:lnTo>
                        <a:pt x="456" y="100"/>
                      </a:lnTo>
                      <a:lnTo>
                        <a:pt x="460" y="88"/>
                      </a:lnTo>
                      <a:lnTo>
                        <a:pt x="463" y="81"/>
                      </a:lnTo>
                      <a:lnTo>
                        <a:pt x="460" y="79"/>
                      </a:lnTo>
                      <a:lnTo>
                        <a:pt x="460" y="76"/>
                      </a:lnTo>
                      <a:lnTo>
                        <a:pt x="463" y="72"/>
                      </a:lnTo>
                      <a:lnTo>
                        <a:pt x="463" y="65"/>
                      </a:lnTo>
                      <a:lnTo>
                        <a:pt x="465" y="62"/>
                      </a:lnTo>
                      <a:lnTo>
                        <a:pt x="479" y="58"/>
                      </a:lnTo>
                      <a:lnTo>
                        <a:pt x="486" y="58"/>
                      </a:lnTo>
                      <a:lnTo>
                        <a:pt x="493" y="53"/>
                      </a:lnTo>
                      <a:lnTo>
                        <a:pt x="495" y="55"/>
                      </a:lnTo>
                      <a:lnTo>
                        <a:pt x="502" y="58"/>
                      </a:lnTo>
                      <a:lnTo>
                        <a:pt x="505" y="55"/>
                      </a:lnTo>
                      <a:lnTo>
                        <a:pt x="514" y="58"/>
                      </a:lnTo>
                      <a:lnTo>
                        <a:pt x="530" y="49"/>
                      </a:lnTo>
                      <a:lnTo>
                        <a:pt x="533" y="42"/>
                      </a:lnTo>
                      <a:lnTo>
                        <a:pt x="530" y="39"/>
                      </a:lnTo>
                      <a:lnTo>
                        <a:pt x="530" y="37"/>
                      </a:lnTo>
                      <a:lnTo>
                        <a:pt x="533" y="37"/>
                      </a:lnTo>
                      <a:lnTo>
                        <a:pt x="535" y="35"/>
                      </a:lnTo>
                      <a:lnTo>
                        <a:pt x="537" y="28"/>
                      </a:lnTo>
                      <a:lnTo>
                        <a:pt x="546" y="21"/>
                      </a:lnTo>
                      <a:lnTo>
                        <a:pt x="546" y="16"/>
                      </a:lnTo>
                      <a:lnTo>
                        <a:pt x="549" y="9"/>
                      </a:lnTo>
                      <a:lnTo>
                        <a:pt x="551" y="7"/>
                      </a:lnTo>
                      <a:lnTo>
                        <a:pt x="563" y="7"/>
                      </a:lnTo>
                      <a:lnTo>
                        <a:pt x="567" y="0"/>
                      </a:lnTo>
                      <a:lnTo>
                        <a:pt x="572" y="2"/>
                      </a:lnTo>
                      <a:lnTo>
                        <a:pt x="574" y="4"/>
                      </a:lnTo>
                      <a:lnTo>
                        <a:pt x="581" y="14"/>
                      </a:lnTo>
                      <a:lnTo>
                        <a:pt x="605" y="39"/>
                      </a:lnTo>
                      <a:lnTo>
                        <a:pt x="607" y="39"/>
                      </a:lnTo>
                      <a:lnTo>
                        <a:pt x="623" y="44"/>
                      </a:lnTo>
                      <a:lnTo>
                        <a:pt x="626" y="51"/>
                      </a:lnTo>
                      <a:lnTo>
                        <a:pt x="630" y="55"/>
                      </a:lnTo>
                      <a:lnTo>
                        <a:pt x="633" y="58"/>
                      </a:lnTo>
                      <a:lnTo>
                        <a:pt x="637" y="58"/>
                      </a:lnTo>
                      <a:lnTo>
                        <a:pt x="668" y="65"/>
                      </a:lnTo>
                      <a:lnTo>
                        <a:pt x="698" y="72"/>
                      </a:lnTo>
                      <a:lnTo>
                        <a:pt x="700" y="74"/>
                      </a:lnTo>
                      <a:lnTo>
                        <a:pt x="709" y="90"/>
                      </a:lnTo>
                      <a:lnTo>
                        <a:pt x="730" y="116"/>
                      </a:lnTo>
                      <a:lnTo>
                        <a:pt x="726" y="139"/>
                      </a:lnTo>
                      <a:lnTo>
                        <a:pt x="705" y="186"/>
                      </a:lnTo>
                      <a:lnTo>
                        <a:pt x="705" y="190"/>
                      </a:lnTo>
                      <a:lnTo>
                        <a:pt x="705" y="195"/>
                      </a:lnTo>
                      <a:lnTo>
                        <a:pt x="709" y="214"/>
                      </a:lnTo>
                      <a:lnTo>
                        <a:pt x="709" y="218"/>
                      </a:lnTo>
                      <a:lnTo>
                        <a:pt x="712" y="220"/>
                      </a:lnTo>
                      <a:lnTo>
                        <a:pt x="723" y="230"/>
                      </a:lnTo>
                      <a:close/>
                    </a:path>
                  </a:pathLst>
                </a:custGeom>
                <a:solidFill>
                  <a:schemeClr val="bg1"/>
                </a:solidFill>
                <a:ln w="3175">
                  <a:solidFill>
                    <a:schemeClr val="accent1">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sp>
              <p:nvSpPr>
                <p:cNvPr id="61" name="Freeform 31">
                  <a:extLst>
                    <a:ext uri="{FF2B5EF4-FFF2-40B4-BE49-F238E27FC236}">
                      <a16:creationId xmlns:a16="http://schemas.microsoft.com/office/drawing/2014/main" id="{C59E84B3-C9D3-A94F-428F-A49BE1760795}"/>
                    </a:ext>
                  </a:extLst>
                </p:cNvPr>
                <p:cNvSpPr>
                  <a:spLocks noEditPoints="1"/>
                </p:cNvSpPr>
                <p:nvPr/>
              </p:nvSpPr>
              <p:spPr bwMode="auto">
                <a:xfrm>
                  <a:off x="5770563" y="3416300"/>
                  <a:ext cx="1123950" cy="1271588"/>
                </a:xfrm>
                <a:custGeom>
                  <a:avLst/>
                  <a:gdLst>
                    <a:gd name="T0" fmla="*/ 93 w 708"/>
                    <a:gd name="T1" fmla="*/ 432 h 801"/>
                    <a:gd name="T2" fmla="*/ 77 w 708"/>
                    <a:gd name="T3" fmla="*/ 450 h 801"/>
                    <a:gd name="T4" fmla="*/ 63 w 708"/>
                    <a:gd name="T5" fmla="*/ 450 h 801"/>
                    <a:gd name="T6" fmla="*/ 49 w 708"/>
                    <a:gd name="T7" fmla="*/ 437 h 801"/>
                    <a:gd name="T8" fmla="*/ 424 w 708"/>
                    <a:gd name="T9" fmla="*/ 11 h 801"/>
                    <a:gd name="T10" fmla="*/ 503 w 708"/>
                    <a:gd name="T11" fmla="*/ 60 h 801"/>
                    <a:gd name="T12" fmla="*/ 543 w 708"/>
                    <a:gd name="T13" fmla="*/ 127 h 801"/>
                    <a:gd name="T14" fmla="*/ 524 w 708"/>
                    <a:gd name="T15" fmla="*/ 176 h 801"/>
                    <a:gd name="T16" fmla="*/ 533 w 708"/>
                    <a:gd name="T17" fmla="*/ 223 h 801"/>
                    <a:gd name="T18" fmla="*/ 564 w 708"/>
                    <a:gd name="T19" fmla="*/ 285 h 801"/>
                    <a:gd name="T20" fmla="*/ 566 w 708"/>
                    <a:gd name="T21" fmla="*/ 304 h 801"/>
                    <a:gd name="T22" fmla="*/ 591 w 708"/>
                    <a:gd name="T23" fmla="*/ 374 h 801"/>
                    <a:gd name="T24" fmla="*/ 619 w 708"/>
                    <a:gd name="T25" fmla="*/ 385 h 801"/>
                    <a:gd name="T26" fmla="*/ 612 w 708"/>
                    <a:gd name="T27" fmla="*/ 423 h 801"/>
                    <a:gd name="T28" fmla="*/ 631 w 708"/>
                    <a:gd name="T29" fmla="*/ 441 h 801"/>
                    <a:gd name="T30" fmla="*/ 671 w 708"/>
                    <a:gd name="T31" fmla="*/ 471 h 801"/>
                    <a:gd name="T32" fmla="*/ 696 w 708"/>
                    <a:gd name="T33" fmla="*/ 497 h 801"/>
                    <a:gd name="T34" fmla="*/ 694 w 708"/>
                    <a:gd name="T35" fmla="*/ 567 h 801"/>
                    <a:gd name="T36" fmla="*/ 647 w 708"/>
                    <a:gd name="T37" fmla="*/ 625 h 801"/>
                    <a:gd name="T38" fmla="*/ 510 w 708"/>
                    <a:gd name="T39" fmla="*/ 620 h 801"/>
                    <a:gd name="T40" fmla="*/ 498 w 708"/>
                    <a:gd name="T41" fmla="*/ 669 h 801"/>
                    <a:gd name="T42" fmla="*/ 461 w 708"/>
                    <a:gd name="T43" fmla="*/ 653 h 801"/>
                    <a:gd name="T44" fmla="*/ 396 w 708"/>
                    <a:gd name="T45" fmla="*/ 632 h 801"/>
                    <a:gd name="T46" fmla="*/ 294 w 708"/>
                    <a:gd name="T47" fmla="*/ 736 h 801"/>
                    <a:gd name="T48" fmla="*/ 289 w 708"/>
                    <a:gd name="T49" fmla="*/ 771 h 801"/>
                    <a:gd name="T50" fmla="*/ 214 w 708"/>
                    <a:gd name="T51" fmla="*/ 776 h 801"/>
                    <a:gd name="T52" fmla="*/ 177 w 708"/>
                    <a:gd name="T53" fmla="*/ 790 h 801"/>
                    <a:gd name="T54" fmla="*/ 89 w 708"/>
                    <a:gd name="T55" fmla="*/ 727 h 801"/>
                    <a:gd name="T56" fmla="*/ 52 w 708"/>
                    <a:gd name="T57" fmla="*/ 699 h 801"/>
                    <a:gd name="T58" fmla="*/ 0 w 708"/>
                    <a:gd name="T59" fmla="*/ 655 h 801"/>
                    <a:gd name="T60" fmla="*/ 12 w 708"/>
                    <a:gd name="T61" fmla="*/ 636 h 801"/>
                    <a:gd name="T62" fmla="*/ 17 w 708"/>
                    <a:gd name="T63" fmla="*/ 622 h 801"/>
                    <a:gd name="T64" fmla="*/ 26 w 708"/>
                    <a:gd name="T65" fmla="*/ 592 h 801"/>
                    <a:gd name="T66" fmla="*/ 38 w 708"/>
                    <a:gd name="T67" fmla="*/ 578 h 801"/>
                    <a:gd name="T68" fmla="*/ 49 w 708"/>
                    <a:gd name="T69" fmla="*/ 564 h 801"/>
                    <a:gd name="T70" fmla="*/ 49 w 708"/>
                    <a:gd name="T71" fmla="*/ 541 h 801"/>
                    <a:gd name="T72" fmla="*/ 61 w 708"/>
                    <a:gd name="T73" fmla="*/ 513 h 801"/>
                    <a:gd name="T74" fmla="*/ 58 w 708"/>
                    <a:gd name="T75" fmla="*/ 495 h 801"/>
                    <a:gd name="T76" fmla="*/ 75 w 708"/>
                    <a:gd name="T77" fmla="*/ 485 h 801"/>
                    <a:gd name="T78" fmla="*/ 112 w 708"/>
                    <a:gd name="T79" fmla="*/ 464 h 801"/>
                    <a:gd name="T80" fmla="*/ 124 w 708"/>
                    <a:gd name="T81" fmla="*/ 474 h 801"/>
                    <a:gd name="T82" fmla="*/ 135 w 708"/>
                    <a:gd name="T83" fmla="*/ 469 h 801"/>
                    <a:gd name="T84" fmla="*/ 119 w 708"/>
                    <a:gd name="T85" fmla="*/ 450 h 801"/>
                    <a:gd name="T86" fmla="*/ 138 w 708"/>
                    <a:gd name="T87" fmla="*/ 443 h 801"/>
                    <a:gd name="T88" fmla="*/ 133 w 708"/>
                    <a:gd name="T89" fmla="*/ 425 h 801"/>
                    <a:gd name="T90" fmla="*/ 119 w 708"/>
                    <a:gd name="T91" fmla="*/ 409 h 801"/>
                    <a:gd name="T92" fmla="*/ 110 w 708"/>
                    <a:gd name="T93" fmla="*/ 383 h 801"/>
                    <a:gd name="T94" fmla="*/ 110 w 708"/>
                    <a:gd name="T95" fmla="*/ 369 h 801"/>
                    <a:gd name="T96" fmla="*/ 103 w 708"/>
                    <a:gd name="T97" fmla="*/ 344 h 801"/>
                    <a:gd name="T98" fmla="*/ 96 w 708"/>
                    <a:gd name="T99" fmla="*/ 311 h 801"/>
                    <a:gd name="T100" fmla="*/ 72 w 708"/>
                    <a:gd name="T101" fmla="*/ 299 h 801"/>
                    <a:gd name="T102" fmla="*/ 166 w 708"/>
                    <a:gd name="T103" fmla="*/ 225 h 801"/>
                    <a:gd name="T104" fmla="*/ 280 w 708"/>
                    <a:gd name="T105" fmla="*/ 167 h 801"/>
                    <a:gd name="T106" fmla="*/ 317 w 708"/>
                    <a:gd name="T107" fmla="*/ 179 h 801"/>
                    <a:gd name="T108" fmla="*/ 389 w 708"/>
                    <a:gd name="T109" fmla="*/ 160 h 801"/>
                    <a:gd name="T110" fmla="*/ 373 w 708"/>
                    <a:gd name="T111" fmla="*/ 132 h 801"/>
                    <a:gd name="T112" fmla="*/ 398 w 708"/>
                    <a:gd name="T113" fmla="*/ 123 h 801"/>
                    <a:gd name="T114" fmla="*/ 389 w 708"/>
                    <a:gd name="T115" fmla="*/ 104 h 801"/>
                    <a:gd name="T116" fmla="*/ 394 w 708"/>
                    <a:gd name="T117" fmla="*/ 83 h 801"/>
                    <a:gd name="T118" fmla="*/ 389 w 708"/>
                    <a:gd name="T119" fmla="*/ 62 h 801"/>
                    <a:gd name="T120" fmla="*/ 375 w 708"/>
                    <a:gd name="T121" fmla="*/ 60 h 801"/>
                    <a:gd name="T122" fmla="*/ 370 w 708"/>
                    <a:gd name="T123" fmla="*/ 25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8" h="801">
                      <a:moveTo>
                        <a:pt x="77" y="427"/>
                      </a:moveTo>
                      <a:lnTo>
                        <a:pt x="77" y="430"/>
                      </a:lnTo>
                      <a:lnTo>
                        <a:pt x="79" y="427"/>
                      </a:lnTo>
                      <a:lnTo>
                        <a:pt x="84" y="427"/>
                      </a:lnTo>
                      <a:lnTo>
                        <a:pt x="89" y="427"/>
                      </a:lnTo>
                      <a:lnTo>
                        <a:pt x="93" y="425"/>
                      </a:lnTo>
                      <a:lnTo>
                        <a:pt x="96" y="430"/>
                      </a:lnTo>
                      <a:lnTo>
                        <a:pt x="93" y="432"/>
                      </a:lnTo>
                      <a:lnTo>
                        <a:pt x="86" y="432"/>
                      </a:lnTo>
                      <a:lnTo>
                        <a:pt x="79" y="432"/>
                      </a:lnTo>
                      <a:lnTo>
                        <a:pt x="72" y="434"/>
                      </a:lnTo>
                      <a:lnTo>
                        <a:pt x="72" y="439"/>
                      </a:lnTo>
                      <a:lnTo>
                        <a:pt x="65" y="446"/>
                      </a:lnTo>
                      <a:lnTo>
                        <a:pt x="70" y="450"/>
                      </a:lnTo>
                      <a:lnTo>
                        <a:pt x="75" y="448"/>
                      </a:lnTo>
                      <a:lnTo>
                        <a:pt x="77" y="450"/>
                      </a:lnTo>
                      <a:lnTo>
                        <a:pt x="75" y="453"/>
                      </a:lnTo>
                      <a:lnTo>
                        <a:pt x="72" y="453"/>
                      </a:lnTo>
                      <a:lnTo>
                        <a:pt x="70" y="455"/>
                      </a:lnTo>
                      <a:lnTo>
                        <a:pt x="70" y="457"/>
                      </a:lnTo>
                      <a:lnTo>
                        <a:pt x="68" y="457"/>
                      </a:lnTo>
                      <a:lnTo>
                        <a:pt x="65" y="457"/>
                      </a:lnTo>
                      <a:lnTo>
                        <a:pt x="65" y="453"/>
                      </a:lnTo>
                      <a:lnTo>
                        <a:pt x="63" y="450"/>
                      </a:lnTo>
                      <a:lnTo>
                        <a:pt x="61" y="448"/>
                      </a:lnTo>
                      <a:lnTo>
                        <a:pt x="61" y="453"/>
                      </a:lnTo>
                      <a:lnTo>
                        <a:pt x="58" y="455"/>
                      </a:lnTo>
                      <a:lnTo>
                        <a:pt x="54" y="450"/>
                      </a:lnTo>
                      <a:lnTo>
                        <a:pt x="49" y="446"/>
                      </a:lnTo>
                      <a:lnTo>
                        <a:pt x="49" y="443"/>
                      </a:lnTo>
                      <a:lnTo>
                        <a:pt x="47" y="441"/>
                      </a:lnTo>
                      <a:lnTo>
                        <a:pt x="49" y="437"/>
                      </a:lnTo>
                      <a:lnTo>
                        <a:pt x="54" y="430"/>
                      </a:lnTo>
                      <a:lnTo>
                        <a:pt x="63" y="425"/>
                      </a:lnTo>
                      <a:lnTo>
                        <a:pt x="72" y="420"/>
                      </a:lnTo>
                      <a:lnTo>
                        <a:pt x="77" y="423"/>
                      </a:lnTo>
                      <a:lnTo>
                        <a:pt x="79" y="425"/>
                      </a:lnTo>
                      <a:lnTo>
                        <a:pt x="77" y="427"/>
                      </a:lnTo>
                      <a:close/>
                      <a:moveTo>
                        <a:pt x="419" y="11"/>
                      </a:moveTo>
                      <a:lnTo>
                        <a:pt x="424" y="11"/>
                      </a:lnTo>
                      <a:lnTo>
                        <a:pt x="431" y="4"/>
                      </a:lnTo>
                      <a:lnTo>
                        <a:pt x="454" y="0"/>
                      </a:lnTo>
                      <a:lnTo>
                        <a:pt x="456" y="2"/>
                      </a:lnTo>
                      <a:lnTo>
                        <a:pt x="459" y="11"/>
                      </a:lnTo>
                      <a:lnTo>
                        <a:pt x="463" y="18"/>
                      </a:lnTo>
                      <a:lnTo>
                        <a:pt x="473" y="30"/>
                      </a:lnTo>
                      <a:lnTo>
                        <a:pt x="494" y="51"/>
                      </a:lnTo>
                      <a:lnTo>
                        <a:pt x="503" y="60"/>
                      </a:lnTo>
                      <a:lnTo>
                        <a:pt x="508" y="65"/>
                      </a:lnTo>
                      <a:lnTo>
                        <a:pt x="512" y="74"/>
                      </a:lnTo>
                      <a:lnTo>
                        <a:pt x="519" y="90"/>
                      </a:lnTo>
                      <a:lnTo>
                        <a:pt x="522" y="95"/>
                      </a:lnTo>
                      <a:lnTo>
                        <a:pt x="529" y="104"/>
                      </a:lnTo>
                      <a:lnTo>
                        <a:pt x="531" y="107"/>
                      </a:lnTo>
                      <a:lnTo>
                        <a:pt x="538" y="118"/>
                      </a:lnTo>
                      <a:lnTo>
                        <a:pt x="543" y="127"/>
                      </a:lnTo>
                      <a:lnTo>
                        <a:pt x="545" y="132"/>
                      </a:lnTo>
                      <a:lnTo>
                        <a:pt x="554" y="153"/>
                      </a:lnTo>
                      <a:lnTo>
                        <a:pt x="557" y="158"/>
                      </a:lnTo>
                      <a:lnTo>
                        <a:pt x="557" y="162"/>
                      </a:lnTo>
                      <a:lnTo>
                        <a:pt x="557" y="165"/>
                      </a:lnTo>
                      <a:lnTo>
                        <a:pt x="552" y="165"/>
                      </a:lnTo>
                      <a:lnTo>
                        <a:pt x="545" y="162"/>
                      </a:lnTo>
                      <a:lnTo>
                        <a:pt x="524" y="176"/>
                      </a:lnTo>
                      <a:lnTo>
                        <a:pt x="519" y="183"/>
                      </a:lnTo>
                      <a:lnTo>
                        <a:pt x="524" y="186"/>
                      </a:lnTo>
                      <a:lnTo>
                        <a:pt x="533" y="190"/>
                      </a:lnTo>
                      <a:lnTo>
                        <a:pt x="538" y="195"/>
                      </a:lnTo>
                      <a:lnTo>
                        <a:pt x="536" y="197"/>
                      </a:lnTo>
                      <a:lnTo>
                        <a:pt x="531" y="209"/>
                      </a:lnTo>
                      <a:lnTo>
                        <a:pt x="531" y="213"/>
                      </a:lnTo>
                      <a:lnTo>
                        <a:pt x="533" y="223"/>
                      </a:lnTo>
                      <a:lnTo>
                        <a:pt x="540" y="244"/>
                      </a:lnTo>
                      <a:lnTo>
                        <a:pt x="540" y="251"/>
                      </a:lnTo>
                      <a:lnTo>
                        <a:pt x="533" y="269"/>
                      </a:lnTo>
                      <a:lnTo>
                        <a:pt x="533" y="276"/>
                      </a:lnTo>
                      <a:lnTo>
                        <a:pt x="538" y="281"/>
                      </a:lnTo>
                      <a:lnTo>
                        <a:pt x="552" y="276"/>
                      </a:lnTo>
                      <a:lnTo>
                        <a:pt x="559" y="278"/>
                      </a:lnTo>
                      <a:lnTo>
                        <a:pt x="564" y="285"/>
                      </a:lnTo>
                      <a:lnTo>
                        <a:pt x="561" y="288"/>
                      </a:lnTo>
                      <a:lnTo>
                        <a:pt x="561" y="290"/>
                      </a:lnTo>
                      <a:lnTo>
                        <a:pt x="561" y="292"/>
                      </a:lnTo>
                      <a:lnTo>
                        <a:pt x="561" y="295"/>
                      </a:lnTo>
                      <a:lnTo>
                        <a:pt x="564" y="297"/>
                      </a:lnTo>
                      <a:lnTo>
                        <a:pt x="566" y="297"/>
                      </a:lnTo>
                      <a:lnTo>
                        <a:pt x="566" y="299"/>
                      </a:lnTo>
                      <a:lnTo>
                        <a:pt x="566" y="304"/>
                      </a:lnTo>
                      <a:lnTo>
                        <a:pt x="552" y="311"/>
                      </a:lnTo>
                      <a:lnTo>
                        <a:pt x="547" y="316"/>
                      </a:lnTo>
                      <a:lnTo>
                        <a:pt x="547" y="323"/>
                      </a:lnTo>
                      <a:lnTo>
                        <a:pt x="550" y="334"/>
                      </a:lnTo>
                      <a:lnTo>
                        <a:pt x="559" y="353"/>
                      </a:lnTo>
                      <a:lnTo>
                        <a:pt x="570" y="367"/>
                      </a:lnTo>
                      <a:lnTo>
                        <a:pt x="580" y="374"/>
                      </a:lnTo>
                      <a:lnTo>
                        <a:pt x="591" y="374"/>
                      </a:lnTo>
                      <a:lnTo>
                        <a:pt x="610" y="369"/>
                      </a:lnTo>
                      <a:lnTo>
                        <a:pt x="615" y="369"/>
                      </a:lnTo>
                      <a:lnTo>
                        <a:pt x="615" y="371"/>
                      </a:lnTo>
                      <a:lnTo>
                        <a:pt x="617" y="374"/>
                      </a:lnTo>
                      <a:lnTo>
                        <a:pt x="617" y="376"/>
                      </a:lnTo>
                      <a:lnTo>
                        <a:pt x="617" y="381"/>
                      </a:lnTo>
                      <a:lnTo>
                        <a:pt x="617" y="383"/>
                      </a:lnTo>
                      <a:lnTo>
                        <a:pt x="619" y="385"/>
                      </a:lnTo>
                      <a:lnTo>
                        <a:pt x="622" y="385"/>
                      </a:lnTo>
                      <a:lnTo>
                        <a:pt x="626" y="390"/>
                      </a:lnTo>
                      <a:lnTo>
                        <a:pt x="629" y="395"/>
                      </a:lnTo>
                      <a:lnTo>
                        <a:pt x="631" y="399"/>
                      </a:lnTo>
                      <a:lnTo>
                        <a:pt x="629" y="404"/>
                      </a:lnTo>
                      <a:lnTo>
                        <a:pt x="626" y="406"/>
                      </a:lnTo>
                      <a:lnTo>
                        <a:pt x="612" y="420"/>
                      </a:lnTo>
                      <a:lnTo>
                        <a:pt x="612" y="423"/>
                      </a:lnTo>
                      <a:lnTo>
                        <a:pt x="615" y="423"/>
                      </a:lnTo>
                      <a:lnTo>
                        <a:pt x="615" y="427"/>
                      </a:lnTo>
                      <a:lnTo>
                        <a:pt x="617" y="430"/>
                      </a:lnTo>
                      <a:lnTo>
                        <a:pt x="617" y="432"/>
                      </a:lnTo>
                      <a:lnTo>
                        <a:pt x="619" y="434"/>
                      </a:lnTo>
                      <a:lnTo>
                        <a:pt x="619" y="437"/>
                      </a:lnTo>
                      <a:lnTo>
                        <a:pt x="626" y="437"/>
                      </a:lnTo>
                      <a:lnTo>
                        <a:pt x="631" y="441"/>
                      </a:lnTo>
                      <a:lnTo>
                        <a:pt x="631" y="446"/>
                      </a:lnTo>
                      <a:lnTo>
                        <a:pt x="631" y="453"/>
                      </a:lnTo>
                      <a:lnTo>
                        <a:pt x="631" y="460"/>
                      </a:lnTo>
                      <a:lnTo>
                        <a:pt x="633" y="464"/>
                      </a:lnTo>
                      <a:lnTo>
                        <a:pt x="640" y="467"/>
                      </a:lnTo>
                      <a:lnTo>
                        <a:pt x="647" y="469"/>
                      </a:lnTo>
                      <a:lnTo>
                        <a:pt x="666" y="469"/>
                      </a:lnTo>
                      <a:lnTo>
                        <a:pt x="671" y="471"/>
                      </a:lnTo>
                      <a:lnTo>
                        <a:pt x="675" y="476"/>
                      </a:lnTo>
                      <a:lnTo>
                        <a:pt x="680" y="478"/>
                      </a:lnTo>
                      <a:lnTo>
                        <a:pt x="682" y="481"/>
                      </a:lnTo>
                      <a:lnTo>
                        <a:pt x="689" y="481"/>
                      </a:lnTo>
                      <a:lnTo>
                        <a:pt x="692" y="483"/>
                      </a:lnTo>
                      <a:lnTo>
                        <a:pt x="696" y="485"/>
                      </a:lnTo>
                      <a:lnTo>
                        <a:pt x="696" y="490"/>
                      </a:lnTo>
                      <a:lnTo>
                        <a:pt x="696" y="497"/>
                      </a:lnTo>
                      <a:lnTo>
                        <a:pt x="696" y="499"/>
                      </a:lnTo>
                      <a:lnTo>
                        <a:pt x="699" y="504"/>
                      </a:lnTo>
                      <a:lnTo>
                        <a:pt x="701" y="506"/>
                      </a:lnTo>
                      <a:lnTo>
                        <a:pt x="708" y="516"/>
                      </a:lnTo>
                      <a:lnTo>
                        <a:pt x="708" y="525"/>
                      </a:lnTo>
                      <a:lnTo>
                        <a:pt x="708" y="532"/>
                      </a:lnTo>
                      <a:lnTo>
                        <a:pt x="705" y="539"/>
                      </a:lnTo>
                      <a:lnTo>
                        <a:pt x="694" y="567"/>
                      </a:lnTo>
                      <a:lnTo>
                        <a:pt x="692" y="583"/>
                      </a:lnTo>
                      <a:lnTo>
                        <a:pt x="687" y="595"/>
                      </a:lnTo>
                      <a:lnTo>
                        <a:pt x="673" y="606"/>
                      </a:lnTo>
                      <a:lnTo>
                        <a:pt x="671" y="611"/>
                      </a:lnTo>
                      <a:lnTo>
                        <a:pt x="668" y="611"/>
                      </a:lnTo>
                      <a:lnTo>
                        <a:pt x="661" y="613"/>
                      </a:lnTo>
                      <a:lnTo>
                        <a:pt x="650" y="625"/>
                      </a:lnTo>
                      <a:lnTo>
                        <a:pt x="647" y="625"/>
                      </a:lnTo>
                      <a:lnTo>
                        <a:pt x="645" y="622"/>
                      </a:lnTo>
                      <a:lnTo>
                        <a:pt x="643" y="622"/>
                      </a:lnTo>
                      <a:lnTo>
                        <a:pt x="631" y="595"/>
                      </a:lnTo>
                      <a:lnTo>
                        <a:pt x="629" y="592"/>
                      </a:lnTo>
                      <a:lnTo>
                        <a:pt x="626" y="592"/>
                      </a:lnTo>
                      <a:lnTo>
                        <a:pt x="554" y="618"/>
                      </a:lnTo>
                      <a:lnTo>
                        <a:pt x="515" y="618"/>
                      </a:lnTo>
                      <a:lnTo>
                        <a:pt x="510" y="620"/>
                      </a:lnTo>
                      <a:lnTo>
                        <a:pt x="505" y="625"/>
                      </a:lnTo>
                      <a:lnTo>
                        <a:pt x="505" y="627"/>
                      </a:lnTo>
                      <a:lnTo>
                        <a:pt x="505" y="632"/>
                      </a:lnTo>
                      <a:lnTo>
                        <a:pt x="505" y="634"/>
                      </a:lnTo>
                      <a:lnTo>
                        <a:pt x="501" y="655"/>
                      </a:lnTo>
                      <a:lnTo>
                        <a:pt x="501" y="660"/>
                      </a:lnTo>
                      <a:lnTo>
                        <a:pt x="501" y="664"/>
                      </a:lnTo>
                      <a:lnTo>
                        <a:pt x="498" y="669"/>
                      </a:lnTo>
                      <a:lnTo>
                        <a:pt x="498" y="671"/>
                      </a:lnTo>
                      <a:lnTo>
                        <a:pt x="496" y="674"/>
                      </a:lnTo>
                      <a:lnTo>
                        <a:pt x="494" y="671"/>
                      </a:lnTo>
                      <a:lnTo>
                        <a:pt x="491" y="669"/>
                      </a:lnTo>
                      <a:lnTo>
                        <a:pt x="482" y="667"/>
                      </a:lnTo>
                      <a:lnTo>
                        <a:pt x="470" y="655"/>
                      </a:lnTo>
                      <a:lnTo>
                        <a:pt x="466" y="653"/>
                      </a:lnTo>
                      <a:lnTo>
                        <a:pt x="461" y="653"/>
                      </a:lnTo>
                      <a:lnTo>
                        <a:pt x="429" y="634"/>
                      </a:lnTo>
                      <a:lnTo>
                        <a:pt x="417" y="632"/>
                      </a:lnTo>
                      <a:lnTo>
                        <a:pt x="405" y="627"/>
                      </a:lnTo>
                      <a:lnTo>
                        <a:pt x="403" y="627"/>
                      </a:lnTo>
                      <a:lnTo>
                        <a:pt x="401" y="629"/>
                      </a:lnTo>
                      <a:lnTo>
                        <a:pt x="401" y="632"/>
                      </a:lnTo>
                      <a:lnTo>
                        <a:pt x="398" y="632"/>
                      </a:lnTo>
                      <a:lnTo>
                        <a:pt x="396" y="632"/>
                      </a:lnTo>
                      <a:lnTo>
                        <a:pt x="391" y="629"/>
                      </a:lnTo>
                      <a:lnTo>
                        <a:pt x="389" y="627"/>
                      </a:lnTo>
                      <a:lnTo>
                        <a:pt x="333" y="625"/>
                      </a:lnTo>
                      <a:lnTo>
                        <a:pt x="314" y="636"/>
                      </a:lnTo>
                      <a:lnTo>
                        <a:pt x="282" y="681"/>
                      </a:lnTo>
                      <a:lnTo>
                        <a:pt x="280" y="694"/>
                      </a:lnTo>
                      <a:lnTo>
                        <a:pt x="282" y="699"/>
                      </a:lnTo>
                      <a:lnTo>
                        <a:pt x="294" y="736"/>
                      </a:lnTo>
                      <a:lnTo>
                        <a:pt x="296" y="743"/>
                      </a:lnTo>
                      <a:lnTo>
                        <a:pt x="291" y="746"/>
                      </a:lnTo>
                      <a:lnTo>
                        <a:pt x="289" y="748"/>
                      </a:lnTo>
                      <a:lnTo>
                        <a:pt x="289" y="755"/>
                      </a:lnTo>
                      <a:lnTo>
                        <a:pt x="289" y="757"/>
                      </a:lnTo>
                      <a:lnTo>
                        <a:pt x="289" y="766"/>
                      </a:lnTo>
                      <a:lnTo>
                        <a:pt x="289" y="769"/>
                      </a:lnTo>
                      <a:lnTo>
                        <a:pt x="289" y="771"/>
                      </a:lnTo>
                      <a:lnTo>
                        <a:pt x="287" y="778"/>
                      </a:lnTo>
                      <a:lnTo>
                        <a:pt x="277" y="785"/>
                      </a:lnTo>
                      <a:lnTo>
                        <a:pt x="270" y="787"/>
                      </a:lnTo>
                      <a:lnTo>
                        <a:pt x="263" y="787"/>
                      </a:lnTo>
                      <a:lnTo>
                        <a:pt x="259" y="783"/>
                      </a:lnTo>
                      <a:lnTo>
                        <a:pt x="247" y="776"/>
                      </a:lnTo>
                      <a:lnTo>
                        <a:pt x="242" y="773"/>
                      </a:lnTo>
                      <a:lnTo>
                        <a:pt x="214" y="776"/>
                      </a:lnTo>
                      <a:lnTo>
                        <a:pt x="210" y="773"/>
                      </a:lnTo>
                      <a:lnTo>
                        <a:pt x="198" y="766"/>
                      </a:lnTo>
                      <a:lnTo>
                        <a:pt x="193" y="764"/>
                      </a:lnTo>
                      <a:lnTo>
                        <a:pt x="184" y="764"/>
                      </a:lnTo>
                      <a:lnTo>
                        <a:pt x="182" y="766"/>
                      </a:lnTo>
                      <a:lnTo>
                        <a:pt x="177" y="771"/>
                      </a:lnTo>
                      <a:lnTo>
                        <a:pt x="177" y="780"/>
                      </a:lnTo>
                      <a:lnTo>
                        <a:pt x="177" y="790"/>
                      </a:lnTo>
                      <a:lnTo>
                        <a:pt x="175" y="799"/>
                      </a:lnTo>
                      <a:lnTo>
                        <a:pt x="170" y="801"/>
                      </a:lnTo>
                      <a:lnTo>
                        <a:pt x="166" y="797"/>
                      </a:lnTo>
                      <a:lnTo>
                        <a:pt x="135" y="773"/>
                      </a:lnTo>
                      <a:lnTo>
                        <a:pt x="119" y="764"/>
                      </a:lnTo>
                      <a:lnTo>
                        <a:pt x="110" y="755"/>
                      </a:lnTo>
                      <a:lnTo>
                        <a:pt x="93" y="732"/>
                      </a:lnTo>
                      <a:lnTo>
                        <a:pt x="89" y="727"/>
                      </a:lnTo>
                      <a:lnTo>
                        <a:pt x="82" y="725"/>
                      </a:lnTo>
                      <a:lnTo>
                        <a:pt x="72" y="722"/>
                      </a:lnTo>
                      <a:lnTo>
                        <a:pt x="68" y="718"/>
                      </a:lnTo>
                      <a:lnTo>
                        <a:pt x="65" y="711"/>
                      </a:lnTo>
                      <a:lnTo>
                        <a:pt x="65" y="708"/>
                      </a:lnTo>
                      <a:lnTo>
                        <a:pt x="61" y="708"/>
                      </a:lnTo>
                      <a:lnTo>
                        <a:pt x="54" y="704"/>
                      </a:lnTo>
                      <a:lnTo>
                        <a:pt x="52" y="699"/>
                      </a:lnTo>
                      <a:lnTo>
                        <a:pt x="47" y="687"/>
                      </a:lnTo>
                      <a:lnTo>
                        <a:pt x="45" y="683"/>
                      </a:lnTo>
                      <a:lnTo>
                        <a:pt x="38" y="678"/>
                      </a:lnTo>
                      <a:lnTo>
                        <a:pt x="21" y="674"/>
                      </a:lnTo>
                      <a:lnTo>
                        <a:pt x="0" y="662"/>
                      </a:lnTo>
                      <a:lnTo>
                        <a:pt x="3" y="660"/>
                      </a:lnTo>
                      <a:lnTo>
                        <a:pt x="0" y="660"/>
                      </a:lnTo>
                      <a:lnTo>
                        <a:pt x="0" y="655"/>
                      </a:lnTo>
                      <a:lnTo>
                        <a:pt x="0" y="653"/>
                      </a:lnTo>
                      <a:lnTo>
                        <a:pt x="0" y="650"/>
                      </a:lnTo>
                      <a:lnTo>
                        <a:pt x="3" y="653"/>
                      </a:lnTo>
                      <a:lnTo>
                        <a:pt x="5" y="650"/>
                      </a:lnTo>
                      <a:lnTo>
                        <a:pt x="10" y="648"/>
                      </a:lnTo>
                      <a:lnTo>
                        <a:pt x="10" y="646"/>
                      </a:lnTo>
                      <a:lnTo>
                        <a:pt x="12" y="643"/>
                      </a:lnTo>
                      <a:lnTo>
                        <a:pt x="12" y="636"/>
                      </a:lnTo>
                      <a:lnTo>
                        <a:pt x="14" y="636"/>
                      </a:lnTo>
                      <a:lnTo>
                        <a:pt x="19" y="639"/>
                      </a:lnTo>
                      <a:lnTo>
                        <a:pt x="21" y="639"/>
                      </a:lnTo>
                      <a:lnTo>
                        <a:pt x="19" y="636"/>
                      </a:lnTo>
                      <a:lnTo>
                        <a:pt x="19" y="634"/>
                      </a:lnTo>
                      <a:lnTo>
                        <a:pt x="17" y="629"/>
                      </a:lnTo>
                      <a:lnTo>
                        <a:pt x="17" y="627"/>
                      </a:lnTo>
                      <a:lnTo>
                        <a:pt x="17" y="622"/>
                      </a:lnTo>
                      <a:lnTo>
                        <a:pt x="19" y="618"/>
                      </a:lnTo>
                      <a:lnTo>
                        <a:pt x="21" y="613"/>
                      </a:lnTo>
                      <a:lnTo>
                        <a:pt x="21" y="606"/>
                      </a:lnTo>
                      <a:lnTo>
                        <a:pt x="21" y="604"/>
                      </a:lnTo>
                      <a:lnTo>
                        <a:pt x="24" y="601"/>
                      </a:lnTo>
                      <a:lnTo>
                        <a:pt x="26" y="599"/>
                      </a:lnTo>
                      <a:lnTo>
                        <a:pt x="28" y="597"/>
                      </a:lnTo>
                      <a:lnTo>
                        <a:pt x="26" y="592"/>
                      </a:lnTo>
                      <a:lnTo>
                        <a:pt x="28" y="592"/>
                      </a:lnTo>
                      <a:lnTo>
                        <a:pt x="31" y="592"/>
                      </a:lnTo>
                      <a:lnTo>
                        <a:pt x="31" y="590"/>
                      </a:lnTo>
                      <a:lnTo>
                        <a:pt x="35" y="585"/>
                      </a:lnTo>
                      <a:lnTo>
                        <a:pt x="38" y="585"/>
                      </a:lnTo>
                      <a:lnTo>
                        <a:pt x="40" y="585"/>
                      </a:lnTo>
                      <a:lnTo>
                        <a:pt x="38" y="581"/>
                      </a:lnTo>
                      <a:lnTo>
                        <a:pt x="38" y="578"/>
                      </a:lnTo>
                      <a:lnTo>
                        <a:pt x="40" y="576"/>
                      </a:lnTo>
                      <a:lnTo>
                        <a:pt x="42" y="576"/>
                      </a:lnTo>
                      <a:lnTo>
                        <a:pt x="45" y="574"/>
                      </a:lnTo>
                      <a:lnTo>
                        <a:pt x="45" y="571"/>
                      </a:lnTo>
                      <a:lnTo>
                        <a:pt x="45" y="569"/>
                      </a:lnTo>
                      <a:lnTo>
                        <a:pt x="45" y="567"/>
                      </a:lnTo>
                      <a:lnTo>
                        <a:pt x="47" y="567"/>
                      </a:lnTo>
                      <a:lnTo>
                        <a:pt x="49" y="564"/>
                      </a:lnTo>
                      <a:lnTo>
                        <a:pt x="49" y="560"/>
                      </a:lnTo>
                      <a:lnTo>
                        <a:pt x="49" y="557"/>
                      </a:lnTo>
                      <a:lnTo>
                        <a:pt x="49" y="555"/>
                      </a:lnTo>
                      <a:lnTo>
                        <a:pt x="49" y="553"/>
                      </a:lnTo>
                      <a:lnTo>
                        <a:pt x="49" y="550"/>
                      </a:lnTo>
                      <a:lnTo>
                        <a:pt x="49" y="548"/>
                      </a:lnTo>
                      <a:lnTo>
                        <a:pt x="49" y="543"/>
                      </a:lnTo>
                      <a:lnTo>
                        <a:pt x="49" y="541"/>
                      </a:lnTo>
                      <a:lnTo>
                        <a:pt x="49" y="534"/>
                      </a:lnTo>
                      <a:lnTo>
                        <a:pt x="49" y="532"/>
                      </a:lnTo>
                      <a:lnTo>
                        <a:pt x="49" y="529"/>
                      </a:lnTo>
                      <a:lnTo>
                        <a:pt x="52" y="527"/>
                      </a:lnTo>
                      <a:lnTo>
                        <a:pt x="54" y="522"/>
                      </a:lnTo>
                      <a:lnTo>
                        <a:pt x="58" y="518"/>
                      </a:lnTo>
                      <a:lnTo>
                        <a:pt x="58" y="516"/>
                      </a:lnTo>
                      <a:lnTo>
                        <a:pt x="61" y="513"/>
                      </a:lnTo>
                      <a:lnTo>
                        <a:pt x="58" y="511"/>
                      </a:lnTo>
                      <a:lnTo>
                        <a:pt x="58" y="509"/>
                      </a:lnTo>
                      <a:lnTo>
                        <a:pt x="58" y="506"/>
                      </a:lnTo>
                      <a:lnTo>
                        <a:pt x="58" y="504"/>
                      </a:lnTo>
                      <a:lnTo>
                        <a:pt x="61" y="499"/>
                      </a:lnTo>
                      <a:lnTo>
                        <a:pt x="58" y="497"/>
                      </a:lnTo>
                      <a:lnTo>
                        <a:pt x="56" y="495"/>
                      </a:lnTo>
                      <a:lnTo>
                        <a:pt x="58" y="495"/>
                      </a:lnTo>
                      <a:lnTo>
                        <a:pt x="61" y="495"/>
                      </a:lnTo>
                      <a:lnTo>
                        <a:pt x="68" y="497"/>
                      </a:lnTo>
                      <a:lnTo>
                        <a:pt x="70" y="497"/>
                      </a:lnTo>
                      <a:lnTo>
                        <a:pt x="70" y="495"/>
                      </a:lnTo>
                      <a:lnTo>
                        <a:pt x="68" y="492"/>
                      </a:lnTo>
                      <a:lnTo>
                        <a:pt x="68" y="488"/>
                      </a:lnTo>
                      <a:lnTo>
                        <a:pt x="70" y="485"/>
                      </a:lnTo>
                      <a:lnTo>
                        <a:pt x="75" y="485"/>
                      </a:lnTo>
                      <a:lnTo>
                        <a:pt x="72" y="481"/>
                      </a:lnTo>
                      <a:lnTo>
                        <a:pt x="77" y="476"/>
                      </a:lnTo>
                      <a:lnTo>
                        <a:pt x="89" y="471"/>
                      </a:lnTo>
                      <a:lnTo>
                        <a:pt x="105" y="460"/>
                      </a:lnTo>
                      <a:lnTo>
                        <a:pt x="107" y="457"/>
                      </a:lnTo>
                      <a:lnTo>
                        <a:pt x="110" y="460"/>
                      </a:lnTo>
                      <a:lnTo>
                        <a:pt x="112" y="462"/>
                      </a:lnTo>
                      <a:lnTo>
                        <a:pt x="112" y="464"/>
                      </a:lnTo>
                      <a:lnTo>
                        <a:pt x="114" y="464"/>
                      </a:lnTo>
                      <a:lnTo>
                        <a:pt x="114" y="462"/>
                      </a:lnTo>
                      <a:lnTo>
                        <a:pt x="117" y="464"/>
                      </a:lnTo>
                      <a:lnTo>
                        <a:pt x="117" y="469"/>
                      </a:lnTo>
                      <a:lnTo>
                        <a:pt x="119" y="469"/>
                      </a:lnTo>
                      <a:lnTo>
                        <a:pt x="121" y="471"/>
                      </a:lnTo>
                      <a:lnTo>
                        <a:pt x="121" y="474"/>
                      </a:lnTo>
                      <a:lnTo>
                        <a:pt x="124" y="474"/>
                      </a:lnTo>
                      <a:lnTo>
                        <a:pt x="126" y="474"/>
                      </a:lnTo>
                      <a:lnTo>
                        <a:pt x="128" y="476"/>
                      </a:lnTo>
                      <a:lnTo>
                        <a:pt x="126" y="476"/>
                      </a:lnTo>
                      <a:lnTo>
                        <a:pt x="124" y="478"/>
                      </a:lnTo>
                      <a:lnTo>
                        <a:pt x="128" y="478"/>
                      </a:lnTo>
                      <a:lnTo>
                        <a:pt x="138" y="474"/>
                      </a:lnTo>
                      <a:lnTo>
                        <a:pt x="138" y="471"/>
                      </a:lnTo>
                      <a:lnTo>
                        <a:pt x="135" y="469"/>
                      </a:lnTo>
                      <a:lnTo>
                        <a:pt x="135" y="467"/>
                      </a:lnTo>
                      <a:lnTo>
                        <a:pt x="135" y="457"/>
                      </a:lnTo>
                      <a:lnTo>
                        <a:pt x="133" y="453"/>
                      </a:lnTo>
                      <a:lnTo>
                        <a:pt x="131" y="455"/>
                      </a:lnTo>
                      <a:lnTo>
                        <a:pt x="128" y="455"/>
                      </a:lnTo>
                      <a:lnTo>
                        <a:pt x="124" y="453"/>
                      </a:lnTo>
                      <a:lnTo>
                        <a:pt x="121" y="453"/>
                      </a:lnTo>
                      <a:lnTo>
                        <a:pt x="119" y="450"/>
                      </a:lnTo>
                      <a:lnTo>
                        <a:pt x="114" y="443"/>
                      </a:lnTo>
                      <a:lnTo>
                        <a:pt x="114" y="441"/>
                      </a:lnTo>
                      <a:lnTo>
                        <a:pt x="114" y="439"/>
                      </a:lnTo>
                      <a:lnTo>
                        <a:pt x="126" y="437"/>
                      </a:lnTo>
                      <a:lnTo>
                        <a:pt x="128" y="439"/>
                      </a:lnTo>
                      <a:lnTo>
                        <a:pt x="133" y="441"/>
                      </a:lnTo>
                      <a:lnTo>
                        <a:pt x="135" y="443"/>
                      </a:lnTo>
                      <a:lnTo>
                        <a:pt x="138" y="443"/>
                      </a:lnTo>
                      <a:lnTo>
                        <a:pt x="140" y="441"/>
                      </a:lnTo>
                      <a:lnTo>
                        <a:pt x="140" y="439"/>
                      </a:lnTo>
                      <a:lnTo>
                        <a:pt x="138" y="437"/>
                      </a:lnTo>
                      <a:lnTo>
                        <a:pt x="135" y="434"/>
                      </a:lnTo>
                      <a:lnTo>
                        <a:pt x="135" y="432"/>
                      </a:lnTo>
                      <a:lnTo>
                        <a:pt x="135" y="427"/>
                      </a:lnTo>
                      <a:lnTo>
                        <a:pt x="133" y="427"/>
                      </a:lnTo>
                      <a:lnTo>
                        <a:pt x="133" y="425"/>
                      </a:lnTo>
                      <a:lnTo>
                        <a:pt x="133" y="423"/>
                      </a:lnTo>
                      <a:lnTo>
                        <a:pt x="131" y="420"/>
                      </a:lnTo>
                      <a:lnTo>
                        <a:pt x="128" y="420"/>
                      </a:lnTo>
                      <a:lnTo>
                        <a:pt x="126" y="418"/>
                      </a:lnTo>
                      <a:lnTo>
                        <a:pt x="126" y="416"/>
                      </a:lnTo>
                      <a:lnTo>
                        <a:pt x="126" y="413"/>
                      </a:lnTo>
                      <a:lnTo>
                        <a:pt x="124" y="411"/>
                      </a:lnTo>
                      <a:lnTo>
                        <a:pt x="119" y="409"/>
                      </a:lnTo>
                      <a:lnTo>
                        <a:pt x="107" y="406"/>
                      </a:lnTo>
                      <a:lnTo>
                        <a:pt x="107" y="402"/>
                      </a:lnTo>
                      <a:lnTo>
                        <a:pt x="107" y="399"/>
                      </a:lnTo>
                      <a:lnTo>
                        <a:pt x="110" y="395"/>
                      </a:lnTo>
                      <a:lnTo>
                        <a:pt x="112" y="392"/>
                      </a:lnTo>
                      <a:lnTo>
                        <a:pt x="112" y="390"/>
                      </a:lnTo>
                      <a:lnTo>
                        <a:pt x="112" y="385"/>
                      </a:lnTo>
                      <a:lnTo>
                        <a:pt x="110" y="383"/>
                      </a:lnTo>
                      <a:lnTo>
                        <a:pt x="112" y="383"/>
                      </a:lnTo>
                      <a:lnTo>
                        <a:pt x="114" y="381"/>
                      </a:lnTo>
                      <a:lnTo>
                        <a:pt x="112" y="378"/>
                      </a:lnTo>
                      <a:lnTo>
                        <a:pt x="112" y="376"/>
                      </a:lnTo>
                      <a:lnTo>
                        <a:pt x="112" y="374"/>
                      </a:lnTo>
                      <a:lnTo>
                        <a:pt x="110" y="374"/>
                      </a:lnTo>
                      <a:lnTo>
                        <a:pt x="107" y="374"/>
                      </a:lnTo>
                      <a:lnTo>
                        <a:pt x="110" y="369"/>
                      </a:lnTo>
                      <a:lnTo>
                        <a:pt x="110" y="362"/>
                      </a:lnTo>
                      <a:lnTo>
                        <a:pt x="110" y="360"/>
                      </a:lnTo>
                      <a:lnTo>
                        <a:pt x="110" y="357"/>
                      </a:lnTo>
                      <a:lnTo>
                        <a:pt x="107" y="357"/>
                      </a:lnTo>
                      <a:lnTo>
                        <a:pt x="107" y="355"/>
                      </a:lnTo>
                      <a:lnTo>
                        <a:pt x="110" y="353"/>
                      </a:lnTo>
                      <a:lnTo>
                        <a:pt x="100" y="346"/>
                      </a:lnTo>
                      <a:lnTo>
                        <a:pt x="103" y="344"/>
                      </a:lnTo>
                      <a:lnTo>
                        <a:pt x="105" y="344"/>
                      </a:lnTo>
                      <a:lnTo>
                        <a:pt x="107" y="341"/>
                      </a:lnTo>
                      <a:lnTo>
                        <a:pt x="107" y="337"/>
                      </a:lnTo>
                      <a:lnTo>
                        <a:pt x="105" y="332"/>
                      </a:lnTo>
                      <a:lnTo>
                        <a:pt x="105" y="323"/>
                      </a:lnTo>
                      <a:lnTo>
                        <a:pt x="103" y="318"/>
                      </a:lnTo>
                      <a:lnTo>
                        <a:pt x="100" y="313"/>
                      </a:lnTo>
                      <a:lnTo>
                        <a:pt x="96" y="311"/>
                      </a:lnTo>
                      <a:lnTo>
                        <a:pt x="86" y="304"/>
                      </a:lnTo>
                      <a:lnTo>
                        <a:pt x="84" y="304"/>
                      </a:lnTo>
                      <a:lnTo>
                        <a:pt x="82" y="304"/>
                      </a:lnTo>
                      <a:lnTo>
                        <a:pt x="79" y="304"/>
                      </a:lnTo>
                      <a:lnTo>
                        <a:pt x="77" y="304"/>
                      </a:lnTo>
                      <a:lnTo>
                        <a:pt x="75" y="302"/>
                      </a:lnTo>
                      <a:lnTo>
                        <a:pt x="75" y="299"/>
                      </a:lnTo>
                      <a:lnTo>
                        <a:pt x="72" y="299"/>
                      </a:lnTo>
                      <a:lnTo>
                        <a:pt x="75" y="295"/>
                      </a:lnTo>
                      <a:lnTo>
                        <a:pt x="79" y="283"/>
                      </a:lnTo>
                      <a:lnTo>
                        <a:pt x="96" y="258"/>
                      </a:lnTo>
                      <a:lnTo>
                        <a:pt x="105" y="253"/>
                      </a:lnTo>
                      <a:lnTo>
                        <a:pt x="131" y="248"/>
                      </a:lnTo>
                      <a:lnTo>
                        <a:pt x="142" y="244"/>
                      </a:lnTo>
                      <a:lnTo>
                        <a:pt x="163" y="225"/>
                      </a:lnTo>
                      <a:lnTo>
                        <a:pt x="166" y="225"/>
                      </a:lnTo>
                      <a:lnTo>
                        <a:pt x="168" y="234"/>
                      </a:lnTo>
                      <a:lnTo>
                        <a:pt x="170" y="241"/>
                      </a:lnTo>
                      <a:lnTo>
                        <a:pt x="170" y="244"/>
                      </a:lnTo>
                      <a:lnTo>
                        <a:pt x="173" y="246"/>
                      </a:lnTo>
                      <a:lnTo>
                        <a:pt x="238" y="234"/>
                      </a:lnTo>
                      <a:lnTo>
                        <a:pt x="261" y="218"/>
                      </a:lnTo>
                      <a:lnTo>
                        <a:pt x="266" y="209"/>
                      </a:lnTo>
                      <a:lnTo>
                        <a:pt x="280" y="167"/>
                      </a:lnTo>
                      <a:lnTo>
                        <a:pt x="282" y="162"/>
                      </a:lnTo>
                      <a:lnTo>
                        <a:pt x="294" y="167"/>
                      </a:lnTo>
                      <a:lnTo>
                        <a:pt x="296" y="165"/>
                      </a:lnTo>
                      <a:lnTo>
                        <a:pt x="298" y="160"/>
                      </a:lnTo>
                      <a:lnTo>
                        <a:pt x="301" y="158"/>
                      </a:lnTo>
                      <a:lnTo>
                        <a:pt x="308" y="162"/>
                      </a:lnTo>
                      <a:lnTo>
                        <a:pt x="312" y="174"/>
                      </a:lnTo>
                      <a:lnTo>
                        <a:pt x="317" y="179"/>
                      </a:lnTo>
                      <a:lnTo>
                        <a:pt x="319" y="181"/>
                      </a:lnTo>
                      <a:lnTo>
                        <a:pt x="321" y="183"/>
                      </a:lnTo>
                      <a:lnTo>
                        <a:pt x="363" y="179"/>
                      </a:lnTo>
                      <a:lnTo>
                        <a:pt x="368" y="179"/>
                      </a:lnTo>
                      <a:lnTo>
                        <a:pt x="375" y="172"/>
                      </a:lnTo>
                      <a:lnTo>
                        <a:pt x="384" y="167"/>
                      </a:lnTo>
                      <a:lnTo>
                        <a:pt x="389" y="165"/>
                      </a:lnTo>
                      <a:lnTo>
                        <a:pt x="389" y="160"/>
                      </a:lnTo>
                      <a:lnTo>
                        <a:pt x="389" y="155"/>
                      </a:lnTo>
                      <a:lnTo>
                        <a:pt x="387" y="148"/>
                      </a:lnTo>
                      <a:lnTo>
                        <a:pt x="375" y="139"/>
                      </a:lnTo>
                      <a:lnTo>
                        <a:pt x="373" y="139"/>
                      </a:lnTo>
                      <a:lnTo>
                        <a:pt x="370" y="137"/>
                      </a:lnTo>
                      <a:lnTo>
                        <a:pt x="370" y="134"/>
                      </a:lnTo>
                      <a:lnTo>
                        <a:pt x="373" y="134"/>
                      </a:lnTo>
                      <a:lnTo>
                        <a:pt x="373" y="132"/>
                      </a:lnTo>
                      <a:lnTo>
                        <a:pt x="370" y="130"/>
                      </a:lnTo>
                      <a:lnTo>
                        <a:pt x="370" y="127"/>
                      </a:lnTo>
                      <a:lnTo>
                        <a:pt x="373" y="127"/>
                      </a:lnTo>
                      <a:lnTo>
                        <a:pt x="373" y="130"/>
                      </a:lnTo>
                      <a:lnTo>
                        <a:pt x="375" y="130"/>
                      </a:lnTo>
                      <a:lnTo>
                        <a:pt x="377" y="130"/>
                      </a:lnTo>
                      <a:lnTo>
                        <a:pt x="387" y="125"/>
                      </a:lnTo>
                      <a:lnTo>
                        <a:pt x="398" y="123"/>
                      </a:lnTo>
                      <a:lnTo>
                        <a:pt x="403" y="120"/>
                      </a:lnTo>
                      <a:lnTo>
                        <a:pt x="403" y="118"/>
                      </a:lnTo>
                      <a:lnTo>
                        <a:pt x="405" y="116"/>
                      </a:lnTo>
                      <a:lnTo>
                        <a:pt x="403" y="109"/>
                      </a:lnTo>
                      <a:lnTo>
                        <a:pt x="401" y="109"/>
                      </a:lnTo>
                      <a:lnTo>
                        <a:pt x="396" y="109"/>
                      </a:lnTo>
                      <a:lnTo>
                        <a:pt x="389" y="107"/>
                      </a:lnTo>
                      <a:lnTo>
                        <a:pt x="389" y="104"/>
                      </a:lnTo>
                      <a:lnTo>
                        <a:pt x="389" y="102"/>
                      </a:lnTo>
                      <a:lnTo>
                        <a:pt x="387" y="100"/>
                      </a:lnTo>
                      <a:lnTo>
                        <a:pt x="384" y="95"/>
                      </a:lnTo>
                      <a:lnTo>
                        <a:pt x="389" y="93"/>
                      </a:lnTo>
                      <a:lnTo>
                        <a:pt x="391" y="90"/>
                      </a:lnTo>
                      <a:lnTo>
                        <a:pt x="394" y="88"/>
                      </a:lnTo>
                      <a:lnTo>
                        <a:pt x="394" y="86"/>
                      </a:lnTo>
                      <a:lnTo>
                        <a:pt x="394" y="83"/>
                      </a:lnTo>
                      <a:lnTo>
                        <a:pt x="394" y="81"/>
                      </a:lnTo>
                      <a:lnTo>
                        <a:pt x="396" y="76"/>
                      </a:lnTo>
                      <a:lnTo>
                        <a:pt x="396" y="74"/>
                      </a:lnTo>
                      <a:lnTo>
                        <a:pt x="391" y="74"/>
                      </a:lnTo>
                      <a:lnTo>
                        <a:pt x="391" y="72"/>
                      </a:lnTo>
                      <a:lnTo>
                        <a:pt x="391" y="65"/>
                      </a:lnTo>
                      <a:lnTo>
                        <a:pt x="391" y="62"/>
                      </a:lnTo>
                      <a:lnTo>
                        <a:pt x="389" y="62"/>
                      </a:lnTo>
                      <a:lnTo>
                        <a:pt x="389" y="60"/>
                      </a:lnTo>
                      <a:lnTo>
                        <a:pt x="387" y="60"/>
                      </a:lnTo>
                      <a:lnTo>
                        <a:pt x="384" y="60"/>
                      </a:lnTo>
                      <a:lnTo>
                        <a:pt x="382" y="62"/>
                      </a:lnTo>
                      <a:lnTo>
                        <a:pt x="380" y="65"/>
                      </a:lnTo>
                      <a:lnTo>
                        <a:pt x="380" y="62"/>
                      </a:lnTo>
                      <a:lnTo>
                        <a:pt x="380" y="60"/>
                      </a:lnTo>
                      <a:lnTo>
                        <a:pt x="375" y="60"/>
                      </a:lnTo>
                      <a:lnTo>
                        <a:pt x="370" y="58"/>
                      </a:lnTo>
                      <a:lnTo>
                        <a:pt x="368" y="51"/>
                      </a:lnTo>
                      <a:lnTo>
                        <a:pt x="363" y="44"/>
                      </a:lnTo>
                      <a:lnTo>
                        <a:pt x="363" y="39"/>
                      </a:lnTo>
                      <a:lnTo>
                        <a:pt x="363" y="34"/>
                      </a:lnTo>
                      <a:lnTo>
                        <a:pt x="366" y="30"/>
                      </a:lnTo>
                      <a:lnTo>
                        <a:pt x="368" y="28"/>
                      </a:lnTo>
                      <a:lnTo>
                        <a:pt x="370" y="25"/>
                      </a:lnTo>
                      <a:lnTo>
                        <a:pt x="373" y="25"/>
                      </a:lnTo>
                      <a:lnTo>
                        <a:pt x="373" y="21"/>
                      </a:lnTo>
                      <a:lnTo>
                        <a:pt x="370" y="16"/>
                      </a:lnTo>
                      <a:lnTo>
                        <a:pt x="370" y="11"/>
                      </a:lnTo>
                      <a:lnTo>
                        <a:pt x="375" y="7"/>
                      </a:lnTo>
                      <a:lnTo>
                        <a:pt x="419" y="11"/>
                      </a:lnTo>
                      <a:close/>
                    </a:path>
                  </a:pathLst>
                </a:custGeom>
                <a:solidFill>
                  <a:schemeClr val="bg1"/>
                </a:solidFill>
                <a:ln w="3175">
                  <a:solidFill>
                    <a:schemeClr val="accent1">
                      <a:lumMod val="20000"/>
                      <a:lumOff val="80000"/>
                    </a:schemeClr>
                  </a:solidFill>
                  <a:round/>
                  <a:headEnd/>
                  <a:tailEnd/>
                </a:ln>
              </p:spPr>
              <p:txBody>
                <a:bodyPr vert="horz" wrap="square" lIns="91440" tIns="45720" rIns="91440" bIns="45720" numCol="1" anchor="t" anchorCtr="0" compatLnSpc="1">
                  <a:prstTxWarp prst="textNoShape">
                    <a:avLst/>
                  </a:prstTxWarp>
                </a:bodyPr>
                <a:lstStyle/>
                <a:p>
                  <a:endParaRPr lang="en-US"/>
                </a:p>
              </p:txBody>
            </p:sp>
          </p:grpSp>
          <p:sp>
            <p:nvSpPr>
              <p:cNvPr id="56" name="Rectangle 55">
                <a:extLst>
                  <a:ext uri="{FF2B5EF4-FFF2-40B4-BE49-F238E27FC236}">
                    <a16:creationId xmlns:a16="http://schemas.microsoft.com/office/drawing/2014/main" id="{8EC5330C-7515-1F2C-1F8E-1668BA7FEC36}"/>
                  </a:ext>
                </a:extLst>
              </p:cNvPr>
              <p:cNvSpPr>
                <a:spLocks noChangeArrowheads="1"/>
              </p:cNvSpPr>
              <p:nvPr/>
            </p:nvSpPr>
            <p:spPr bwMode="auto">
              <a:xfrm>
                <a:off x="6449985" y="4516279"/>
                <a:ext cx="125" cy="520203"/>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a:ln>
                    <a:noFill/>
                  </a:ln>
                  <a:solidFill>
                    <a:schemeClr val="tx1"/>
                  </a:solidFill>
                  <a:effectLst/>
                  <a:latin typeface="+mn-lt"/>
                </a:endParaRPr>
              </a:p>
            </p:txBody>
          </p:sp>
        </p:grpSp>
        <p:sp>
          <p:nvSpPr>
            <p:cNvPr id="50" name="Oval 49">
              <a:extLst>
                <a:ext uri="{FF2B5EF4-FFF2-40B4-BE49-F238E27FC236}">
                  <a16:creationId xmlns:a16="http://schemas.microsoft.com/office/drawing/2014/main" id="{53F76722-A130-64AC-6284-F804C79FA73C}"/>
                </a:ext>
              </a:extLst>
            </p:cNvPr>
            <p:cNvSpPr/>
            <p:nvPr/>
          </p:nvSpPr>
          <p:spPr>
            <a:xfrm>
              <a:off x="4564536" y="5867582"/>
              <a:ext cx="95250" cy="91440"/>
            </a:xfrm>
            <a:prstGeom prst="ellipse">
              <a:avLst/>
            </a:prstGeom>
            <a:solidFill>
              <a:schemeClr val="accent1">
                <a:lumMod val="60000"/>
                <a:lumOff val="40000"/>
              </a:schemeClr>
            </a:solidFill>
            <a:ln w="9525" cap="rnd" cmpd="sng" algn="ctr">
              <a:solidFill>
                <a:schemeClr val="accent1">
                  <a:lumMod val="60000"/>
                  <a:lumOff val="40000"/>
                </a:schemeClr>
              </a:solidFill>
              <a:prstDash val="solid"/>
              <a:round/>
              <a:headEnd type="none" w="med" len="med"/>
              <a:tailEnd type="none" w="med" len="med"/>
            </a:ln>
            <a:effectLst>
              <a:glow rad="63500">
                <a:srgbClr val="00358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1" name="Oval 50">
              <a:extLst>
                <a:ext uri="{FF2B5EF4-FFF2-40B4-BE49-F238E27FC236}">
                  <a16:creationId xmlns:a16="http://schemas.microsoft.com/office/drawing/2014/main" id="{F991634E-DF31-1FDC-48BA-8B8F67DE3562}"/>
                </a:ext>
              </a:extLst>
            </p:cNvPr>
            <p:cNvSpPr/>
            <p:nvPr/>
          </p:nvSpPr>
          <p:spPr>
            <a:xfrm>
              <a:off x="4051508" y="5872961"/>
              <a:ext cx="95250" cy="91440"/>
            </a:xfrm>
            <a:prstGeom prst="ellipse">
              <a:avLst/>
            </a:prstGeom>
            <a:solidFill>
              <a:schemeClr val="accent1">
                <a:lumMod val="60000"/>
                <a:lumOff val="40000"/>
              </a:schemeClr>
            </a:solidFill>
            <a:ln w="9525" cap="rnd" cmpd="sng" algn="ctr">
              <a:solidFill>
                <a:schemeClr val="accent1">
                  <a:lumMod val="60000"/>
                  <a:lumOff val="40000"/>
                </a:schemeClr>
              </a:solidFill>
              <a:prstDash val="solid"/>
              <a:round/>
              <a:headEnd type="none" w="med" len="med"/>
              <a:tailEnd type="none" w="med" len="med"/>
            </a:ln>
            <a:effectLst>
              <a:glow rad="63500">
                <a:srgbClr val="00358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2" name="Oval 51">
              <a:extLst>
                <a:ext uri="{FF2B5EF4-FFF2-40B4-BE49-F238E27FC236}">
                  <a16:creationId xmlns:a16="http://schemas.microsoft.com/office/drawing/2014/main" id="{22F6E51C-8829-6CF1-21B4-C365F65FF552}"/>
                </a:ext>
              </a:extLst>
            </p:cNvPr>
            <p:cNvSpPr/>
            <p:nvPr/>
          </p:nvSpPr>
          <p:spPr>
            <a:xfrm>
              <a:off x="4469286" y="4105569"/>
              <a:ext cx="95250" cy="91440"/>
            </a:xfrm>
            <a:prstGeom prst="ellipse">
              <a:avLst/>
            </a:prstGeom>
            <a:solidFill>
              <a:schemeClr val="accent1">
                <a:lumMod val="60000"/>
                <a:lumOff val="40000"/>
              </a:schemeClr>
            </a:solidFill>
            <a:ln w="9525" cap="rnd" cmpd="sng" algn="ctr">
              <a:solidFill>
                <a:schemeClr val="accent1">
                  <a:lumMod val="60000"/>
                  <a:lumOff val="40000"/>
                </a:schemeClr>
              </a:solidFill>
              <a:prstDash val="solid"/>
              <a:round/>
              <a:headEnd type="none" w="med" len="med"/>
              <a:tailEnd type="none" w="med" len="med"/>
            </a:ln>
            <a:effectLst>
              <a:glow rad="63500">
                <a:srgbClr val="00358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3" name="Oval 52">
              <a:extLst>
                <a:ext uri="{FF2B5EF4-FFF2-40B4-BE49-F238E27FC236}">
                  <a16:creationId xmlns:a16="http://schemas.microsoft.com/office/drawing/2014/main" id="{147AA9E0-8D8F-E843-E15E-62BE6C954F02}"/>
                </a:ext>
              </a:extLst>
            </p:cNvPr>
            <p:cNvSpPr/>
            <p:nvPr/>
          </p:nvSpPr>
          <p:spPr>
            <a:xfrm>
              <a:off x="5194532" y="4976237"/>
              <a:ext cx="95250" cy="91440"/>
            </a:xfrm>
            <a:prstGeom prst="ellipse">
              <a:avLst/>
            </a:prstGeom>
            <a:solidFill>
              <a:schemeClr val="accent1">
                <a:lumMod val="60000"/>
                <a:lumOff val="40000"/>
              </a:schemeClr>
            </a:solidFill>
            <a:ln w="9525" cap="rnd" cmpd="sng" algn="ctr">
              <a:solidFill>
                <a:schemeClr val="accent1">
                  <a:lumMod val="60000"/>
                  <a:lumOff val="40000"/>
                </a:schemeClr>
              </a:solidFill>
              <a:prstDash val="solid"/>
              <a:round/>
              <a:headEnd type="none" w="med" len="med"/>
              <a:tailEnd type="none" w="med" len="med"/>
            </a:ln>
            <a:effectLst>
              <a:glow rad="63500">
                <a:srgbClr val="00358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sp>
          <p:nvSpPr>
            <p:cNvPr id="54" name="Oval 53">
              <a:extLst>
                <a:ext uri="{FF2B5EF4-FFF2-40B4-BE49-F238E27FC236}">
                  <a16:creationId xmlns:a16="http://schemas.microsoft.com/office/drawing/2014/main" id="{B8094DA5-F21D-83C1-A9FC-214A5A97825C}"/>
                </a:ext>
              </a:extLst>
            </p:cNvPr>
            <p:cNvSpPr/>
            <p:nvPr/>
          </p:nvSpPr>
          <p:spPr>
            <a:xfrm>
              <a:off x="4612161" y="5236807"/>
              <a:ext cx="95250" cy="91440"/>
            </a:xfrm>
            <a:prstGeom prst="ellipse">
              <a:avLst/>
            </a:prstGeom>
            <a:solidFill>
              <a:schemeClr val="accent1">
                <a:lumMod val="60000"/>
                <a:lumOff val="40000"/>
              </a:schemeClr>
            </a:solidFill>
            <a:ln w="9525" cap="rnd" cmpd="sng" algn="ctr">
              <a:solidFill>
                <a:schemeClr val="accent1">
                  <a:lumMod val="60000"/>
                  <a:lumOff val="40000"/>
                </a:schemeClr>
              </a:solidFill>
              <a:prstDash val="solid"/>
              <a:round/>
              <a:headEnd type="none" w="med" len="med"/>
              <a:tailEnd type="none" w="med" len="med"/>
            </a:ln>
            <a:effectLst>
              <a:glow rad="63500">
                <a:srgbClr val="00358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rgbClr val="FFFFFF"/>
                </a:solidFill>
              </a:endParaRPr>
            </a:p>
          </p:txBody>
        </p:sp>
      </p:grpSp>
      <p:sp>
        <p:nvSpPr>
          <p:cNvPr id="62" name="TextBox 61">
            <a:extLst>
              <a:ext uri="{FF2B5EF4-FFF2-40B4-BE49-F238E27FC236}">
                <a16:creationId xmlns:a16="http://schemas.microsoft.com/office/drawing/2014/main" id="{1C4C5E68-970F-77A5-E495-4A8FED1E54E1}"/>
              </a:ext>
            </a:extLst>
          </p:cNvPr>
          <p:cNvSpPr txBox="1"/>
          <p:nvPr/>
        </p:nvSpPr>
        <p:spPr>
          <a:xfrm>
            <a:off x="202120" y="1120428"/>
            <a:ext cx="2852672" cy="349702"/>
          </a:xfrm>
          <a:prstGeom prst="rect">
            <a:avLst/>
          </a:prstGeom>
          <a:noFill/>
        </p:spPr>
        <p:txBody>
          <a:bodyPr wrap="square" lIns="36000" tIns="36000" rIns="36000" bIns="36000" rtlCol="0" anchor="t">
            <a:spAutoFit/>
          </a:bodyPr>
          <a:lstStyle/>
          <a:p>
            <a:r>
              <a:rPr lang="en-US" sz="1000" b="1" spc="-40">
                <a:solidFill>
                  <a:schemeClr val="bg1"/>
                </a:solidFill>
              </a:rPr>
              <a:t>€1,6B revenues </a:t>
            </a:r>
          </a:p>
          <a:p>
            <a:r>
              <a:rPr lang="en-US" sz="800" spc="-40">
                <a:solidFill>
                  <a:schemeClr val="bg1"/>
                </a:solidFill>
              </a:rPr>
              <a:t>Finnish semiconductor industry total revenue in 2022</a:t>
            </a:r>
          </a:p>
        </p:txBody>
      </p:sp>
      <p:sp>
        <p:nvSpPr>
          <p:cNvPr id="63" name="TextBox 62">
            <a:extLst>
              <a:ext uri="{FF2B5EF4-FFF2-40B4-BE49-F238E27FC236}">
                <a16:creationId xmlns:a16="http://schemas.microsoft.com/office/drawing/2014/main" id="{AB1016B4-4B79-3931-52A0-DC0D5294B9C5}"/>
              </a:ext>
            </a:extLst>
          </p:cNvPr>
          <p:cNvSpPr txBox="1"/>
          <p:nvPr/>
        </p:nvSpPr>
        <p:spPr>
          <a:xfrm>
            <a:off x="202120" y="1517620"/>
            <a:ext cx="2766202" cy="472813"/>
          </a:xfrm>
          <a:prstGeom prst="rect">
            <a:avLst/>
          </a:prstGeom>
          <a:noFill/>
        </p:spPr>
        <p:txBody>
          <a:bodyPr wrap="square" lIns="36000" tIns="36000" rIns="36000" bIns="36000" rtlCol="0">
            <a:spAutoFit/>
          </a:bodyPr>
          <a:lstStyle/>
          <a:p>
            <a:r>
              <a:rPr lang="en-US" sz="1000" b="1" spc="-40">
                <a:solidFill>
                  <a:schemeClr val="bg1"/>
                </a:solidFill>
              </a:rPr>
              <a:t>90 companies</a:t>
            </a:r>
          </a:p>
          <a:p>
            <a:r>
              <a:rPr lang="en-US" sz="800" spc="-40">
                <a:solidFill>
                  <a:schemeClr val="bg1"/>
                </a:solidFill>
              </a:rPr>
              <a:t>The industry is comprised of roughly 90 companies of which ~60% are SMEs</a:t>
            </a:r>
            <a:r>
              <a:rPr lang="en-US" sz="800" spc="-40" baseline="30000">
                <a:solidFill>
                  <a:schemeClr val="bg1"/>
                </a:solidFill>
              </a:rPr>
              <a:t>2</a:t>
            </a:r>
            <a:endParaRPr lang="en-US" sz="800" spc="-40">
              <a:solidFill>
                <a:schemeClr val="bg1"/>
              </a:solidFill>
            </a:endParaRPr>
          </a:p>
        </p:txBody>
      </p:sp>
      <p:sp>
        <p:nvSpPr>
          <p:cNvPr id="64" name="TextBox 63">
            <a:extLst>
              <a:ext uri="{FF2B5EF4-FFF2-40B4-BE49-F238E27FC236}">
                <a16:creationId xmlns:a16="http://schemas.microsoft.com/office/drawing/2014/main" id="{C0BA3564-E858-49DF-47DC-415CCBD2679F}"/>
              </a:ext>
            </a:extLst>
          </p:cNvPr>
          <p:cNvSpPr txBox="1"/>
          <p:nvPr/>
        </p:nvSpPr>
        <p:spPr>
          <a:xfrm>
            <a:off x="3253741" y="1104672"/>
            <a:ext cx="5333999" cy="934478"/>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800" spc="-40"/>
              <a:t>Companies in the industry are mostly IDMs</a:t>
            </a:r>
            <a:r>
              <a:rPr lang="en-US" sz="800" spc="-40" baseline="30000"/>
              <a:t>1</a:t>
            </a:r>
            <a:r>
              <a:rPr lang="en-US" sz="800" spc="-40"/>
              <a:t>, Fabless, Equipment, and Material suppliers </a:t>
            </a:r>
          </a:p>
          <a:p>
            <a:pPr marL="171450" indent="-171450">
              <a:buFont typeface="Arial" panose="020B0604020202020204" pitchFamily="34" charset="0"/>
              <a:buChar char="•"/>
            </a:pPr>
            <a:r>
              <a:rPr lang="en-US" sz="800" spc="-40"/>
              <a:t>Approx. 45% (€700M) of revenue comes from ASICs, ~30% (€500M) of revenue from MEMS and sensors, and ~25% (€400M) of revenue comes from optoelectronics and photonics</a:t>
            </a:r>
          </a:p>
          <a:p>
            <a:pPr marL="171450" indent="-171450">
              <a:buFont typeface="Arial" panose="020B0604020202020204" pitchFamily="34" charset="0"/>
              <a:buChar char="•"/>
            </a:pPr>
            <a:r>
              <a:rPr lang="en-US" sz="800" spc="-40"/>
              <a:t>Companies in the industry primarily supply to end-users in telecommunications, industrial automation, healthcare, and automotive sectors</a:t>
            </a:r>
          </a:p>
          <a:p>
            <a:pPr marL="171450" indent="-171450">
              <a:buFont typeface="Arial" panose="020B0604020202020204" pitchFamily="34" charset="0"/>
              <a:buChar char="•"/>
            </a:pPr>
            <a:r>
              <a:rPr lang="en-US" sz="800" spc="-40"/>
              <a:t>Foreign companies have targeted Finnish expertise and technologies, either through acquisitions (e.g., </a:t>
            </a:r>
            <a:r>
              <a:rPr lang="en-US" sz="800" spc="-40" err="1"/>
              <a:t>Picosun</a:t>
            </a:r>
            <a:r>
              <a:rPr lang="en-US" sz="800" spc="-40"/>
              <a:t> by Applied Materials, Minima by Bosch) or by establishing offices in Finland (e.g., Huawei, MediaTek)</a:t>
            </a:r>
          </a:p>
        </p:txBody>
      </p:sp>
      <p:sp>
        <p:nvSpPr>
          <p:cNvPr id="65" name="TextBox 64">
            <a:extLst>
              <a:ext uri="{FF2B5EF4-FFF2-40B4-BE49-F238E27FC236}">
                <a16:creationId xmlns:a16="http://schemas.microsoft.com/office/drawing/2014/main" id="{D9346048-BA17-6A45-80E2-4F5E22C9B420}"/>
              </a:ext>
            </a:extLst>
          </p:cNvPr>
          <p:cNvSpPr txBox="1"/>
          <p:nvPr/>
        </p:nvSpPr>
        <p:spPr>
          <a:xfrm>
            <a:off x="202120" y="2823710"/>
            <a:ext cx="1792703" cy="2288694"/>
          </a:xfrm>
          <a:prstGeom prst="rect">
            <a:avLst/>
          </a:prstGeom>
          <a:noFill/>
        </p:spPr>
        <p:txBody>
          <a:bodyPr wrap="square" lIns="36000" tIns="36000" rIns="36000" bIns="36000" rtlCol="0">
            <a:spAutoFit/>
          </a:bodyPr>
          <a:lstStyle/>
          <a:p>
            <a:r>
              <a:rPr lang="en-US" sz="800" b="1" spc="-40">
                <a:solidFill>
                  <a:schemeClr val="bg1"/>
                </a:solidFill>
              </a:rPr>
              <a:t>Finnish semiconductor industry is spread out over regions</a:t>
            </a:r>
          </a:p>
          <a:p>
            <a:pPr>
              <a:buClr>
                <a:schemeClr val="bg1"/>
              </a:buClr>
            </a:pPr>
            <a:endParaRPr lang="en-US" sz="300" spc="-40">
              <a:solidFill>
                <a:schemeClr val="bg1"/>
              </a:solidFill>
            </a:endParaRPr>
          </a:p>
          <a:p>
            <a:pPr>
              <a:buClr>
                <a:schemeClr val="bg1"/>
              </a:buClr>
            </a:pPr>
            <a:endParaRPr lang="en-US" sz="600" spc="-40">
              <a:solidFill>
                <a:schemeClr val="bg1"/>
              </a:solidFill>
            </a:endParaRPr>
          </a:p>
          <a:p>
            <a:pPr>
              <a:buClr>
                <a:schemeClr val="bg1"/>
              </a:buClr>
            </a:pPr>
            <a:r>
              <a:rPr lang="en-US" sz="600" b="1" spc="-40">
                <a:solidFill>
                  <a:schemeClr val="bg1"/>
                </a:solidFill>
              </a:rPr>
              <a:t>The Helsinki region </a:t>
            </a:r>
            <a:r>
              <a:rPr lang="en-US" sz="600" spc="-40">
                <a:solidFill>
                  <a:schemeClr val="bg1"/>
                </a:solidFill>
              </a:rPr>
              <a:t>is strong in </a:t>
            </a:r>
            <a:r>
              <a:rPr lang="en-US" sz="600" spc="-40" err="1">
                <a:solidFill>
                  <a:schemeClr val="bg1"/>
                </a:solidFill>
              </a:rPr>
              <a:t>ALD</a:t>
            </a:r>
            <a:r>
              <a:rPr lang="en-US" sz="600" spc="-40">
                <a:solidFill>
                  <a:schemeClr val="bg1"/>
                </a:solidFill>
              </a:rPr>
              <a:t>, quantum, sensors, RF, materials, in addition to significant research infrastructure (1100M€ in revenues, ~4500 employees)</a:t>
            </a:r>
          </a:p>
          <a:p>
            <a:pPr>
              <a:buClr>
                <a:schemeClr val="bg1"/>
              </a:buClr>
            </a:pPr>
            <a:endParaRPr lang="en-US" sz="300" spc="-40">
              <a:solidFill>
                <a:schemeClr val="bg1"/>
              </a:solidFill>
            </a:endParaRPr>
          </a:p>
          <a:p>
            <a:pPr>
              <a:buClr>
                <a:schemeClr val="bg1"/>
              </a:buClr>
            </a:pPr>
            <a:r>
              <a:rPr lang="en-US" sz="600" b="1" spc="-40">
                <a:solidFill>
                  <a:schemeClr val="bg1"/>
                </a:solidFill>
              </a:rPr>
              <a:t>The Oulu region's </a:t>
            </a:r>
            <a:r>
              <a:rPr lang="en-US" sz="600" spc="-40">
                <a:solidFill>
                  <a:schemeClr val="bg1"/>
                </a:solidFill>
              </a:rPr>
              <a:t>expertise is focused on communications technologies, driven by the historical position of Nokia (250M€ in revenues, ~1500 employees)</a:t>
            </a:r>
          </a:p>
          <a:p>
            <a:pPr>
              <a:buClr>
                <a:schemeClr val="bg1"/>
              </a:buClr>
            </a:pPr>
            <a:endParaRPr lang="en-US" sz="600" spc="-40">
              <a:solidFill>
                <a:schemeClr val="bg1"/>
              </a:solidFill>
            </a:endParaRPr>
          </a:p>
          <a:p>
            <a:pPr>
              <a:buClr>
                <a:schemeClr val="bg1"/>
              </a:buClr>
            </a:pPr>
            <a:r>
              <a:rPr lang="en-US" sz="600" b="1" spc="-40">
                <a:solidFill>
                  <a:schemeClr val="bg1"/>
                </a:solidFill>
              </a:rPr>
              <a:t>The Tampere region</a:t>
            </a:r>
            <a:r>
              <a:rPr lang="en-US" sz="600" spc="-40">
                <a:solidFill>
                  <a:schemeClr val="bg1"/>
                </a:solidFill>
              </a:rPr>
              <a:t> has strong presence of chip design and photonics expertise (150M€ in revenues, ~500 employees)</a:t>
            </a:r>
            <a:endParaRPr lang="en-US" sz="600" b="1" spc="-40">
              <a:solidFill>
                <a:schemeClr val="bg1"/>
              </a:solidFill>
            </a:endParaRPr>
          </a:p>
          <a:p>
            <a:pPr>
              <a:buClr>
                <a:schemeClr val="bg1"/>
              </a:buClr>
            </a:pPr>
            <a:endParaRPr lang="en-US" sz="300" spc="-40">
              <a:solidFill>
                <a:schemeClr val="bg1"/>
              </a:solidFill>
            </a:endParaRPr>
          </a:p>
          <a:p>
            <a:pPr>
              <a:buClr>
                <a:schemeClr val="bg1"/>
              </a:buClr>
            </a:pPr>
            <a:r>
              <a:rPr lang="en-US" sz="600" b="1" spc="-40">
                <a:solidFill>
                  <a:schemeClr val="bg1"/>
                </a:solidFill>
              </a:rPr>
              <a:t>The Turku region</a:t>
            </a:r>
            <a:r>
              <a:rPr lang="en-US" sz="600" spc="-40">
                <a:solidFill>
                  <a:schemeClr val="bg1"/>
                </a:solidFill>
              </a:rPr>
              <a:t> hosts a medical technology cluster, and accompanying imaging expertise (50M€ in revenues, ~200 employees)</a:t>
            </a:r>
          </a:p>
          <a:p>
            <a:pPr>
              <a:buClr>
                <a:schemeClr val="bg1"/>
              </a:buClr>
            </a:pPr>
            <a:endParaRPr lang="en-US" sz="300" spc="-40">
              <a:solidFill>
                <a:schemeClr val="bg1"/>
              </a:solidFill>
            </a:endParaRPr>
          </a:p>
          <a:p>
            <a:pPr>
              <a:buClr>
                <a:schemeClr val="bg1"/>
              </a:buClr>
            </a:pPr>
            <a:r>
              <a:rPr lang="en-US" sz="600" b="1" spc="-40">
                <a:solidFill>
                  <a:schemeClr val="bg1"/>
                </a:solidFill>
              </a:rPr>
              <a:t>The Joensuu region</a:t>
            </a:r>
            <a:r>
              <a:rPr lang="en-US" sz="600" spc="-40">
                <a:solidFill>
                  <a:schemeClr val="bg1"/>
                </a:solidFill>
              </a:rPr>
              <a:t> is home to a photonics hub (10M€ in revenues, ~100 employees)</a:t>
            </a:r>
          </a:p>
          <a:p>
            <a:endParaRPr lang="en-US" sz="800" spc="-40">
              <a:solidFill>
                <a:schemeClr val="bg1">
                  <a:lumMod val="95000"/>
                </a:schemeClr>
              </a:solidFill>
            </a:endParaRPr>
          </a:p>
        </p:txBody>
      </p:sp>
      <p:sp>
        <p:nvSpPr>
          <p:cNvPr id="66" name="Title 1">
            <a:extLst>
              <a:ext uri="{FF2B5EF4-FFF2-40B4-BE49-F238E27FC236}">
                <a16:creationId xmlns:a16="http://schemas.microsoft.com/office/drawing/2014/main" id="{B82DC1A8-19DC-F725-43FF-DBBC55DAC2C0}"/>
              </a:ext>
            </a:extLst>
          </p:cNvPr>
          <p:cNvSpPr txBox="1">
            <a:spLocks/>
          </p:cNvSpPr>
          <p:nvPr/>
        </p:nvSpPr>
        <p:spPr>
          <a:xfrm>
            <a:off x="113144" y="290513"/>
            <a:ext cx="2948989" cy="622521"/>
          </a:xfrm>
          <a:prstGeom prst="rect">
            <a:avLst/>
          </a:prstGeom>
        </p:spPr>
        <p:txBody>
          <a:bodyPr vert="horz" lIns="91440" tIns="45720" rIns="91440" bIns="45720" rtlCol="0" anchor="t">
            <a:noAutofit/>
          </a:bodyPr>
          <a:lstStyle>
            <a:lvl1pPr marL="14400" algn="l" defTabSz="806052" rtl="0" eaLnBrk="1" latinLnBrk="0" hangingPunct="1">
              <a:lnSpc>
                <a:spcPts val="2700"/>
              </a:lnSpc>
              <a:spcBef>
                <a:spcPts val="0"/>
              </a:spcBef>
              <a:spcAft>
                <a:spcPts val="0"/>
              </a:spcAft>
              <a:buNone/>
              <a:defRPr sz="1800" b="1" kern="1200" spc="-35" baseline="0">
                <a:solidFill>
                  <a:schemeClr val="bg1"/>
                </a:solidFill>
                <a:latin typeface="+mj-lt"/>
                <a:ea typeface="Adobe Fan Heiti Std B" panose="020B0700000000000000" pitchFamily="34" charset="-128"/>
                <a:cs typeface="Adobe Hebrew" panose="02040503050201020203" pitchFamily="18" charset="-79"/>
                <a:sym typeface="Trebuchet MS" panose="020B0603020202020204" pitchFamily="34" charset="0"/>
              </a:defRPr>
            </a:lvl1pPr>
          </a:lstStyle>
          <a:p>
            <a:pPr>
              <a:lnSpc>
                <a:spcPts val="1600"/>
              </a:lnSpc>
            </a:pPr>
            <a:r>
              <a:rPr lang="en-US" sz="1400">
                <a:latin typeface="+mn-lt"/>
              </a:rPr>
              <a:t>Finnish semiconductor industry in numbers </a:t>
            </a:r>
          </a:p>
          <a:p>
            <a:pPr>
              <a:lnSpc>
                <a:spcPts val="1600"/>
              </a:lnSpc>
            </a:pPr>
            <a:r>
              <a:rPr lang="en-US" sz="800" b="0" i="1">
                <a:latin typeface="+mn-lt"/>
              </a:rPr>
              <a:t>excl. Nokia and Microsoft</a:t>
            </a:r>
          </a:p>
        </p:txBody>
      </p:sp>
      <p:sp>
        <p:nvSpPr>
          <p:cNvPr id="73" name="TextBox 72">
            <a:extLst>
              <a:ext uri="{FF2B5EF4-FFF2-40B4-BE49-F238E27FC236}">
                <a16:creationId xmlns:a16="http://schemas.microsoft.com/office/drawing/2014/main" id="{CBC511E1-3622-F1A2-FE77-0EDA66FCEA24}"/>
              </a:ext>
            </a:extLst>
          </p:cNvPr>
          <p:cNvSpPr txBox="1"/>
          <p:nvPr/>
        </p:nvSpPr>
        <p:spPr>
          <a:xfrm>
            <a:off x="202120" y="2037922"/>
            <a:ext cx="2599483" cy="472813"/>
          </a:xfrm>
          <a:prstGeom prst="rect">
            <a:avLst/>
          </a:prstGeom>
          <a:noFill/>
        </p:spPr>
        <p:txBody>
          <a:bodyPr wrap="square" lIns="36000" tIns="36000" rIns="36000" bIns="36000" rtlCol="0">
            <a:spAutoFit/>
          </a:bodyPr>
          <a:lstStyle/>
          <a:p>
            <a:r>
              <a:rPr lang="en-US" sz="1000" b="1" spc="-40">
                <a:solidFill>
                  <a:schemeClr val="bg1"/>
                </a:solidFill>
              </a:rPr>
              <a:t>7.000 employees</a:t>
            </a:r>
          </a:p>
          <a:p>
            <a:r>
              <a:rPr lang="en-US" sz="800" spc="-40">
                <a:solidFill>
                  <a:schemeClr val="bg1"/>
                </a:solidFill>
              </a:rPr>
              <a:t>The industry directly employs almost 7000 professionals</a:t>
            </a:r>
          </a:p>
        </p:txBody>
      </p:sp>
      <p:sp>
        <p:nvSpPr>
          <p:cNvPr id="68" name="Rectangle 67">
            <a:extLst>
              <a:ext uri="{FF2B5EF4-FFF2-40B4-BE49-F238E27FC236}">
                <a16:creationId xmlns:a16="http://schemas.microsoft.com/office/drawing/2014/main" id="{D174A169-959C-4B48-31F0-80FAD16A7747}"/>
              </a:ext>
            </a:extLst>
          </p:cNvPr>
          <p:cNvSpPr/>
          <p:nvPr/>
        </p:nvSpPr>
        <p:spPr>
          <a:xfrm>
            <a:off x="3253741" y="2811767"/>
            <a:ext cx="5509259" cy="34369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2F2F2"/>
                </a:solidFill>
              </a14:hiddenFill>
            </a:ext>
            <a:ext uri="{91240B29-F687-4F45-9708-019B960494DF}">
              <a14:hiddenLine xmlns:a14="http://schemas.microsoft.com/office/drawing/2010/main" w="9525" cap="rnd" cmpd="sng" algn="ctr">
                <a:solidFill>
                  <a:srgbClr val="9A9A9A"/>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1000" b="1" spc="-40">
                <a:solidFill>
                  <a:srgbClr val="3078B3"/>
                </a:solidFill>
              </a:rPr>
              <a:t>Research institutions support world-class semiconductor innovation</a:t>
            </a:r>
          </a:p>
        </p:txBody>
      </p:sp>
      <p:sp>
        <p:nvSpPr>
          <p:cNvPr id="69" name="TextBox 68">
            <a:extLst>
              <a:ext uri="{FF2B5EF4-FFF2-40B4-BE49-F238E27FC236}">
                <a16:creationId xmlns:a16="http://schemas.microsoft.com/office/drawing/2014/main" id="{4F381E4F-7301-B758-7BF4-B5D98F4B1B9B}"/>
              </a:ext>
            </a:extLst>
          </p:cNvPr>
          <p:cNvSpPr txBox="1"/>
          <p:nvPr/>
        </p:nvSpPr>
        <p:spPr>
          <a:xfrm>
            <a:off x="3253741" y="3028049"/>
            <a:ext cx="5453565" cy="811367"/>
          </a:xfrm>
          <a:prstGeom prst="rect">
            <a:avLst/>
          </a:prstGeom>
          <a:noFill/>
        </p:spPr>
        <p:txBody>
          <a:bodyPr wrap="square" lIns="36000" tIns="36000" rIns="36000" bIns="36000" rtlCol="0">
            <a:spAutoFit/>
          </a:bodyPr>
          <a:lstStyle/>
          <a:p>
            <a:pPr marL="171450" indent="-171450">
              <a:buFont typeface="Arial" panose="020B0604020202020204" pitchFamily="34" charset="0"/>
              <a:buChar char="•"/>
            </a:pPr>
            <a:r>
              <a:rPr lang="en-US" sz="800" spc="-40" dirty="0"/>
              <a:t>Finland is home to multiple renowned research institutions (universities, research centers) dedicated to advancing semiconductor technology</a:t>
            </a:r>
          </a:p>
          <a:p>
            <a:pPr marL="171450" indent="-171450">
              <a:buFont typeface="Arial" panose="020B0604020202020204" pitchFamily="34" charset="0"/>
              <a:buChar char="•"/>
            </a:pPr>
            <a:r>
              <a:rPr lang="en-US" sz="800" spc="-40" dirty="0"/>
              <a:t>Universities offer specialized semiconductor programs directly aligned with the needs of the industry, ensuring a supply of skilled professionals (though the quantity should be increased) </a:t>
            </a:r>
          </a:p>
          <a:p>
            <a:pPr marL="171450" indent="-171450">
              <a:buFont typeface="Arial" panose="020B0604020202020204" pitchFamily="34" charset="0"/>
              <a:buChar char="•"/>
            </a:pPr>
            <a:r>
              <a:rPr lang="en-US" sz="800" spc="-40" dirty="0"/>
              <a:t>Driven by high-quality research and education, Finland is a pioneer in many critical innovations, such as mobile networks and ALD </a:t>
            </a:r>
          </a:p>
        </p:txBody>
      </p:sp>
      <p:sp>
        <p:nvSpPr>
          <p:cNvPr id="70" name="TextBox 69">
            <a:extLst>
              <a:ext uri="{FF2B5EF4-FFF2-40B4-BE49-F238E27FC236}">
                <a16:creationId xmlns:a16="http://schemas.microsoft.com/office/drawing/2014/main" id="{CAD1BDC6-7201-E27E-38A6-32D3DE1B61A7}"/>
              </a:ext>
            </a:extLst>
          </p:cNvPr>
          <p:cNvSpPr txBox="1"/>
          <p:nvPr/>
        </p:nvSpPr>
        <p:spPr>
          <a:xfrm>
            <a:off x="3292843" y="3957389"/>
            <a:ext cx="5052232" cy="10387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fi-FI"/>
            </a:defPPr>
            <a:lvl1pPr>
              <a:defRPr sz="700" b="1">
                <a:solidFill>
                  <a:srgbClr val="555D6A"/>
                </a:solidFill>
              </a:defRPr>
            </a:lvl1pPr>
          </a:lstStyle>
          <a:p>
            <a:r>
              <a:rPr lang="en-US"/>
              <a:t>Example of research institutions (universities, research centers) in semiconductor field in Finland</a:t>
            </a:r>
          </a:p>
        </p:txBody>
      </p:sp>
      <p:pic>
        <p:nvPicPr>
          <p:cNvPr id="71" name="Picture 2">
            <a:extLst>
              <a:ext uri="{FF2B5EF4-FFF2-40B4-BE49-F238E27FC236}">
                <a16:creationId xmlns:a16="http://schemas.microsoft.com/office/drawing/2014/main" id="{0A81EDB0-625A-0093-E79B-F5573C53D4F6}"/>
              </a:ext>
            </a:extLst>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5005245" y="2340730"/>
            <a:ext cx="277154" cy="8035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0" descr="ICMBE 2022">
            <a:extLst>
              <a:ext uri="{FF2B5EF4-FFF2-40B4-BE49-F238E27FC236}">
                <a16:creationId xmlns:a16="http://schemas.microsoft.com/office/drawing/2014/main" id="{33A25788-0D39-D8A1-6048-2531C948581C}"/>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a:fillRect/>
          </a:stretch>
        </p:blipFill>
        <p:spPr bwMode="auto">
          <a:xfrm>
            <a:off x="8096794" y="2347814"/>
            <a:ext cx="300644" cy="114895"/>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DF4F0521-86DA-6270-F2F6-9DFF8F8A40C1}"/>
              </a:ext>
            </a:extLst>
          </p:cNvPr>
          <p:cNvPicPr>
            <a:picLocks noChangeAspect="1"/>
          </p:cNvPicPr>
          <p:nvPr/>
        </p:nvPicPr>
        <p:blipFill rotWithShape="1">
          <a:blip r:embed="rId45"/>
          <a:srcRect t="72127"/>
          <a:stretch/>
        </p:blipFill>
        <p:spPr>
          <a:xfrm>
            <a:off x="7069774" y="2510119"/>
            <a:ext cx="321803" cy="66187"/>
          </a:xfrm>
          <a:prstGeom prst="rect">
            <a:avLst/>
          </a:prstGeom>
        </p:spPr>
      </p:pic>
    </p:spTree>
    <p:extLst>
      <p:ext uri="{BB962C8B-B14F-4D97-AF65-F5344CB8AC3E}">
        <p14:creationId xmlns:p14="http://schemas.microsoft.com/office/powerpoint/2010/main" val="30116768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4" name="Object 23" hidden="1"/>
                      <p:cNvPicPr/>
                      <p:nvPr/>
                    </p:nvPicPr>
                    <p:blipFill>
                      <a:blip r:embed="rId7"/>
                      <a:stretch>
                        <a:fillRect/>
                      </a:stretch>
                    </p:blipFill>
                    <p:spPr>
                      <a:xfrm>
                        <a:off x="1191" y="1191"/>
                        <a:ext cx="1191" cy="1191"/>
                      </a:xfrm>
                      <a:prstGeom prst="rect">
                        <a:avLst/>
                      </a:prstGeom>
                    </p:spPr>
                  </p:pic>
                </p:oleObj>
              </mc:Fallback>
            </mc:AlternateContent>
          </a:graphicData>
        </a:graphic>
      </p:graphicFrame>
      <p:sp>
        <p:nvSpPr>
          <p:cNvPr id="1077" name="Rectangle 1076">
            <a:extLst>
              <a:ext uri="{FF2B5EF4-FFF2-40B4-BE49-F238E27FC236}">
                <a16:creationId xmlns:a16="http://schemas.microsoft.com/office/drawing/2014/main" id="{E4158BB1-9CA7-0684-1C01-80D943AE767D}"/>
              </a:ext>
            </a:extLst>
          </p:cNvPr>
          <p:cNvSpPr/>
          <p:nvPr/>
        </p:nvSpPr>
        <p:spPr bwMode="auto">
          <a:xfrm>
            <a:off x="6289332" y="0"/>
            <a:ext cx="2854668" cy="5143500"/>
          </a:xfrm>
          <a:prstGeom prst="rect">
            <a:avLst/>
          </a:prstGeom>
          <a:solidFill>
            <a:srgbClr val="CDEAFF"/>
          </a:solidFill>
          <a:ln>
            <a:noFill/>
          </a:ln>
        </p:spPr>
        <p:txBody>
          <a:bodyPr vert="horz" wrap="square" lIns="91440" tIns="45720" rIns="91440" bIns="45720" numCol="1" rtlCol="0" anchor="t" anchorCtr="0" compatLnSpc="1">
            <a:prstTxWarp prst="textNoShape">
              <a:avLst/>
            </a:prstTxWarp>
          </a:bodyPr>
          <a:lstStyle/>
          <a:p>
            <a:pPr algn="ctr"/>
            <a:endParaRPr lang="en-US"/>
          </a:p>
        </p:txBody>
      </p:sp>
      <p:sp>
        <p:nvSpPr>
          <p:cNvPr id="23" name="Rectangle 22" hidden="1"/>
          <p:cNvSpPr/>
          <p:nvPr>
            <p:custDataLst>
              <p:tags r:id="rId2"/>
            </p:custDataLst>
          </p:nvPr>
        </p:nvSpPr>
        <p:spPr>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lnSpc>
                <a:spcPct val="90000"/>
              </a:lnSpc>
              <a:spcBef>
                <a:spcPct val="0"/>
              </a:spcBef>
              <a:spcAft>
                <a:spcPct val="0"/>
              </a:spcAft>
              <a:defRPr/>
            </a:pPr>
            <a:endParaRPr lang="en-US" sz="1800">
              <a:solidFill>
                <a:srgbClr val="FFFFFF"/>
              </a:solidFill>
              <a:latin typeface="Trebuchet MS" panose="020B0603020202020204" pitchFamily="34" charset="0"/>
              <a:sym typeface="Trebuchet MS" panose="020B0603020202020204" pitchFamily="34" charset="0"/>
            </a:endParaRPr>
          </a:p>
        </p:txBody>
      </p:sp>
      <p:sp>
        <p:nvSpPr>
          <p:cNvPr id="20" name="Rectangle 19" hidden="1"/>
          <p:cNvSpPr/>
          <p:nvPr>
            <p:custDataLst>
              <p:tags r:id="rId3"/>
            </p:custDataLst>
          </p:nvPr>
        </p:nvSpPr>
        <p:spPr bwMode="gray">
          <a:xfrm>
            <a:off x="0" y="0"/>
            <a:ext cx="119063" cy="119063"/>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85800">
              <a:spcBef>
                <a:spcPct val="0"/>
              </a:spcBef>
              <a:spcAft>
                <a:spcPct val="0"/>
              </a:spcAft>
              <a:defRPr/>
            </a:pPr>
            <a:endParaRPr lang="en-US" sz="1200">
              <a:solidFill>
                <a:srgbClr val="FFFFFF"/>
              </a:solidFill>
              <a:latin typeface="Trebuchet MS" panose="020B0603020202020204" pitchFamily="34" charset="0"/>
              <a:sym typeface="Trebuchet MS" panose="020B0603020202020204" pitchFamily="34" charset="0"/>
            </a:endParaRPr>
          </a:p>
        </p:txBody>
      </p:sp>
      <p:sp>
        <p:nvSpPr>
          <p:cNvPr id="3" name="Date Placeholder 2">
            <a:extLst>
              <a:ext uri="{FF2B5EF4-FFF2-40B4-BE49-F238E27FC236}">
                <a16:creationId xmlns:a16="http://schemas.microsoft.com/office/drawing/2014/main" id="{2A8ADDC9-D00C-1954-DFE8-F0E95E7C8B28}"/>
              </a:ext>
            </a:extLst>
          </p:cNvPr>
          <p:cNvSpPr>
            <a:spLocks noGrp="1"/>
          </p:cNvSpPr>
          <p:nvPr>
            <p:ph type="dt" sz="half" idx="10"/>
          </p:nvPr>
        </p:nvSpPr>
        <p:spPr>
          <a:xfrm>
            <a:off x="282027" y="4728047"/>
            <a:ext cx="916709" cy="164690"/>
          </a:xfrm>
        </p:spPr>
        <p:txBody>
          <a:bodyPr/>
          <a:lstStyle/>
          <a:p>
            <a:fld id="{F553C366-6A2C-43B9-A437-B827E0484441}" type="datetime1">
              <a:rPr lang="fi-FI" smtClean="0"/>
              <a:pPr/>
              <a:t>9.4.2024</a:t>
            </a:fld>
            <a:endParaRPr lang="en-US">
              <a:latin typeface="+mn-lt"/>
            </a:endParaRPr>
          </a:p>
        </p:txBody>
      </p:sp>
      <p:sp>
        <p:nvSpPr>
          <p:cNvPr id="4" name="Footer Placeholder 3">
            <a:extLst>
              <a:ext uri="{FF2B5EF4-FFF2-40B4-BE49-F238E27FC236}">
                <a16:creationId xmlns:a16="http://schemas.microsoft.com/office/drawing/2014/main" id="{6461218D-5FFA-3C97-9D01-D3D8DE88FF03}"/>
              </a:ext>
            </a:extLst>
          </p:cNvPr>
          <p:cNvSpPr>
            <a:spLocks noGrp="1"/>
          </p:cNvSpPr>
          <p:nvPr>
            <p:ph type="ftr" sz="quarter" idx="11"/>
          </p:nvPr>
        </p:nvSpPr>
        <p:spPr>
          <a:xfrm>
            <a:off x="1208724" y="4728047"/>
            <a:ext cx="5080608" cy="164690"/>
          </a:xfrm>
        </p:spPr>
        <p:txBody>
          <a:bodyPr/>
          <a:lstStyle/>
          <a:p>
            <a:r>
              <a:rPr lang="en-US">
                <a:latin typeface="+mn-lt"/>
              </a:rPr>
              <a:t>1. Covers North Ostrobothnia and Kainuu regions 2. Covers North Karelia and North Savo regions 3. Covers Pirkanmaa and Kanta-Häme region 4. Covers Uusimaa region 5. Covers Southwest Finland region </a:t>
            </a:r>
          </a:p>
          <a:p>
            <a:r>
              <a:rPr lang="en-US">
                <a:latin typeface="+mn-lt"/>
              </a:rPr>
              <a:t>Source: Company financials, literature research, expert interviews, European Patent Office, BCG</a:t>
            </a:r>
          </a:p>
        </p:txBody>
      </p:sp>
      <p:sp>
        <p:nvSpPr>
          <p:cNvPr id="21" name="TextBox 20">
            <a:extLst>
              <a:ext uri="{FF2B5EF4-FFF2-40B4-BE49-F238E27FC236}">
                <a16:creationId xmlns:a16="http://schemas.microsoft.com/office/drawing/2014/main" id="{D8652694-9909-0D26-B51C-FC1B9866B6EA}"/>
              </a:ext>
            </a:extLst>
          </p:cNvPr>
          <p:cNvSpPr txBox="1"/>
          <p:nvPr/>
        </p:nvSpPr>
        <p:spPr>
          <a:xfrm>
            <a:off x="2152627" y="889459"/>
            <a:ext cx="4874414" cy="1681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800" b="1" dirty="0">
                <a:solidFill>
                  <a:schemeClr val="tx1"/>
                </a:solidFill>
                <a:latin typeface="+mj-lt"/>
                <a:ea typeface="Verdana" panose="020B0604030504040204" pitchFamily="34" charset="0"/>
                <a:cs typeface="Verdana" panose="020B0604030504040204" pitchFamily="34" charset="0"/>
              </a:rPr>
              <a:t>Companies' turnover</a:t>
            </a:r>
            <a:r>
              <a:rPr lang="en-US" sz="800" b="1" dirty="0">
                <a:solidFill>
                  <a:schemeClr val="bg2">
                    <a:lumMod val="10000"/>
                  </a:schemeClr>
                </a:solidFill>
                <a:latin typeface="+mj-lt"/>
                <a:ea typeface="Verdana" panose="020B0604030504040204" pitchFamily="34" charset="0"/>
                <a:cs typeface="Verdana" panose="020B0604030504040204" pitchFamily="34" charset="0"/>
              </a:rPr>
              <a:t>: </a:t>
            </a:r>
            <a:r>
              <a:rPr lang="en-US" sz="800" dirty="0">
                <a:solidFill>
                  <a:schemeClr val="bg2">
                    <a:lumMod val="10000"/>
                  </a:schemeClr>
                </a:solidFill>
                <a:latin typeface="+mj-lt"/>
                <a:ea typeface="Verdana" panose="020B0604030504040204" pitchFamily="34" charset="0"/>
                <a:cs typeface="Verdana" panose="020B0604030504040204" pitchFamily="34" charset="0"/>
              </a:rPr>
              <a:t>Number of companies and employees (2022)</a:t>
            </a:r>
          </a:p>
          <a:p>
            <a:r>
              <a:rPr lang="en-US" sz="500" i="1" dirty="0">
                <a:solidFill>
                  <a:schemeClr val="bg2">
                    <a:lumMod val="10000"/>
                  </a:schemeClr>
                </a:solidFill>
                <a:latin typeface="+mj-lt"/>
                <a:ea typeface="Verdana" panose="020B0604030504040204" pitchFamily="34" charset="0"/>
                <a:cs typeface="Verdana" panose="020B0604030504040204" pitchFamily="34" charset="0"/>
              </a:rPr>
              <a:t>Excl. Nokia and Microsoft revenue and employee figures</a:t>
            </a:r>
            <a:endParaRPr lang="en-US" sz="800" i="1" dirty="0">
              <a:solidFill>
                <a:schemeClr val="bg2">
                  <a:lumMod val="10000"/>
                </a:schemeClr>
              </a:solidFill>
              <a:latin typeface="+mj-lt"/>
              <a:ea typeface="Verdana" panose="020B0604030504040204" pitchFamily="34" charset="0"/>
              <a:cs typeface="Verdana" panose="020B0604030504040204" pitchFamily="34" charset="0"/>
            </a:endParaRPr>
          </a:p>
        </p:txBody>
      </p:sp>
      <p:sp>
        <p:nvSpPr>
          <p:cNvPr id="22" name="Text Placeholder 1">
            <a:extLst>
              <a:ext uri="{FF2B5EF4-FFF2-40B4-BE49-F238E27FC236}">
                <a16:creationId xmlns:a16="http://schemas.microsoft.com/office/drawing/2014/main" id="{C7E2A7DD-EBBF-65E9-1A04-3C81A978F6A5}"/>
              </a:ext>
            </a:extLst>
          </p:cNvPr>
          <p:cNvSpPr txBox="1">
            <a:spLocks/>
          </p:cNvSpPr>
          <p:nvPr/>
        </p:nvSpPr>
        <p:spPr>
          <a:xfrm>
            <a:off x="252000" y="290513"/>
            <a:ext cx="5795296" cy="500884"/>
          </a:xfrm>
          <a:prstGeom prst="rect">
            <a:avLst/>
          </a:prstGeom>
        </p:spPr>
        <p:txBody>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indent="0" defTabSz="679871">
              <a:lnSpc>
                <a:spcPct val="100000"/>
              </a:lnSpc>
              <a:spcBef>
                <a:spcPts val="0"/>
              </a:spcBef>
              <a:spcAft>
                <a:spcPts val="0"/>
              </a:spcAft>
              <a:buSzTx/>
              <a:buFontTx/>
              <a:buNone/>
              <a:defRPr/>
            </a:pPr>
            <a:r>
              <a:rPr lang="en-US" sz="1400" b="1">
                <a:solidFill>
                  <a:srgbClr val="29282E"/>
                </a:solidFill>
                <a:latin typeface="+mj-lt"/>
                <a:ea typeface="+mn-ea"/>
                <a:cs typeface="+mn-cs"/>
              </a:rPr>
              <a:t>Finland's semiconductor industry is spread over regions, with clusters situated around universities</a:t>
            </a:r>
          </a:p>
        </p:txBody>
      </p:sp>
      <p:graphicFrame>
        <p:nvGraphicFramePr>
          <p:cNvPr id="5" name="Table 4">
            <a:extLst>
              <a:ext uri="{FF2B5EF4-FFF2-40B4-BE49-F238E27FC236}">
                <a16:creationId xmlns:a16="http://schemas.microsoft.com/office/drawing/2014/main" id="{04150007-E57E-90F4-ACA7-9561882A570C}"/>
              </a:ext>
            </a:extLst>
          </p:cNvPr>
          <p:cNvGraphicFramePr>
            <a:graphicFrameLocks noGrp="1"/>
          </p:cNvGraphicFramePr>
          <p:nvPr>
            <p:extLst>
              <p:ext uri="{D42A27DB-BD31-4B8C-83A1-F6EECF244321}">
                <p14:modId xmlns:p14="http://schemas.microsoft.com/office/powerpoint/2010/main" val="33302231"/>
              </p:ext>
            </p:extLst>
          </p:nvPr>
        </p:nvGraphicFramePr>
        <p:xfrm>
          <a:off x="7723618" y="706873"/>
          <a:ext cx="1168862" cy="3999436"/>
        </p:xfrm>
        <a:graphic>
          <a:graphicData uri="http://schemas.openxmlformats.org/drawingml/2006/table">
            <a:tbl>
              <a:tblPr>
                <a:tableStyleId>{5C22544A-7EE6-4342-B048-85BDC9FD1C3A}</a:tableStyleId>
              </a:tblPr>
              <a:tblGrid>
                <a:gridCol w="493397">
                  <a:extLst>
                    <a:ext uri="{9D8B030D-6E8A-4147-A177-3AD203B41FA5}">
                      <a16:colId xmlns:a16="http://schemas.microsoft.com/office/drawing/2014/main" val="1648787255"/>
                    </a:ext>
                  </a:extLst>
                </a:gridCol>
                <a:gridCol w="675465">
                  <a:extLst>
                    <a:ext uri="{9D8B030D-6E8A-4147-A177-3AD203B41FA5}">
                      <a16:colId xmlns:a16="http://schemas.microsoft.com/office/drawing/2014/main" val="2589686571"/>
                    </a:ext>
                  </a:extLst>
                </a:gridCol>
              </a:tblGrid>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Sensor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9511764"/>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SW, RF circuit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490636"/>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Quantum processor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2857449"/>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Wireless connectivity</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025780"/>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SoC software</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7396057"/>
                  </a:ext>
                </a:extLst>
              </a:tr>
              <a:tr h="2856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Lasers and optic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0887298"/>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Power, climate and drive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077387"/>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XR waveguide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0291575"/>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PCB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6734156"/>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ALD</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8772936"/>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Analog, power and wireles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3221815"/>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Quantum computer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3654767"/>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Nanomaterial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4428380"/>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Nanomaterial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999851"/>
                  </a:ext>
                </a:extLst>
              </a:tr>
            </a:tbl>
          </a:graphicData>
        </a:graphic>
      </p:graphicFrame>
      <p:graphicFrame>
        <p:nvGraphicFramePr>
          <p:cNvPr id="6" name="Table 5">
            <a:extLst>
              <a:ext uri="{FF2B5EF4-FFF2-40B4-BE49-F238E27FC236}">
                <a16:creationId xmlns:a16="http://schemas.microsoft.com/office/drawing/2014/main" id="{93A21871-2B48-7F22-72DD-EE3DE1C5D67C}"/>
              </a:ext>
            </a:extLst>
          </p:cNvPr>
          <p:cNvGraphicFramePr>
            <a:graphicFrameLocks noGrp="1"/>
          </p:cNvGraphicFramePr>
          <p:nvPr>
            <p:extLst>
              <p:ext uri="{D42A27DB-BD31-4B8C-83A1-F6EECF244321}">
                <p14:modId xmlns:p14="http://schemas.microsoft.com/office/powerpoint/2010/main" val="392661248"/>
              </p:ext>
            </p:extLst>
          </p:nvPr>
        </p:nvGraphicFramePr>
        <p:xfrm>
          <a:off x="6444208" y="706873"/>
          <a:ext cx="1168862" cy="3999436"/>
        </p:xfrm>
        <a:graphic>
          <a:graphicData uri="http://schemas.openxmlformats.org/drawingml/2006/table">
            <a:tbl>
              <a:tblPr>
                <a:tableStyleId>{5C22544A-7EE6-4342-B048-85BDC9FD1C3A}</a:tableStyleId>
              </a:tblPr>
              <a:tblGrid>
                <a:gridCol w="538292">
                  <a:extLst>
                    <a:ext uri="{9D8B030D-6E8A-4147-A177-3AD203B41FA5}">
                      <a16:colId xmlns:a16="http://schemas.microsoft.com/office/drawing/2014/main" val="1648787255"/>
                    </a:ext>
                  </a:extLst>
                </a:gridCol>
                <a:gridCol w="630570">
                  <a:extLst>
                    <a:ext uri="{9D8B030D-6E8A-4147-A177-3AD203B41FA5}">
                      <a16:colId xmlns:a16="http://schemas.microsoft.com/office/drawing/2014/main" val="2589686571"/>
                    </a:ext>
                  </a:extLst>
                </a:gridCol>
              </a:tblGrid>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700" b="0" i="0" u="none" strike="noStrike" kern="1200"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Network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9511764"/>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kern="1200"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R&amp;D and design</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86490636"/>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700" b="0" i="0" u="none" strike="noStrike" kern="1200"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Sensors and MEM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62857449"/>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kern="1200"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MEM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90025780"/>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700" b="0" i="0" u="none" strike="noStrike" kern="1200"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Network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37396057"/>
                  </a:ext>
                </a:extLst>
              </a:tr>
              <a:tr h="285674">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Cryogenic equipment</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0887298"/>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Silicon wafer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81077387"/>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b" latinLnBrk="0" hangingPunct="1">
                        <a:lnSpc>
                          <a:spcPct val="100000"/>
                        </a:lnSpc>
                        <a:spcBef>
                          <a:spcPts val="0"/>
                        </a:spcBef>
                        <a:spcAft>
                          <a:spcPts val="0"/>
                        </a:spcAft>
                        <a:buClrTx/>
                        <a:buSzTx/>
                        <a:buFontTx/>
                        <a:buNone/>
                        <a:tabLst/>
                        <a:defRPr/>
                      </a:pPr>
                      <a:r>
                        <a:rPr lang="en-US" sz="700" dirty="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X-ray detector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00291575"/>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ALD</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6734156"/>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Wireless connectivity</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68772936"/>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Testing equipment</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43221815"/>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ALD</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3654767"/>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Optronic solutions</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635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64428380"/>
                  </a:ext>
                </a:extLst>
              </a:tr>
              <a:tr h="285674">
                <a:tc>
                  <a:txBody>
                    <a:bodyPr/>
                    <a:lstStyle/>
                    <a:p>
                      <a:pPr algn="l" fontAlgn="b"/>
                      <a:endParaRPr lang="en-US" sz="700" b="0" i="0" u="none" strike="noStrike" dirty="0">
                        <a:solidFill>
                          <a:schemeClr val="bg2">
                            <a:lumMod val="10000"/>
                          </a:schemeClr>
                        </a:solidFill>
                        <a:effectLst/>
                        <a:latin typeface="Verdana" panose="020B0604030504040204" pitchFamily="34" charset="0"/>
                        <a:ea typeface="Verdana" panose="020B0604030504040204" pitchFamily="34" charset="0"/>
                        <a:cs typeface="Verdana" panose="020B0604030504040204" pitchFamily="34" charset="0"/>
                      </a:endParaRP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b"/>
                      <a:r>
                        <a:rPr lang="en-US" sz="700" b="0" i="0" u="none" strike="noStrike" dirty="0">
                          <a:solidFill>
                            <a:schemeClr val="bg2">
                              <a:lumMod val="10000"/>
                            </a:schemeClr>
                          </a:solidFill>
                          <a:effectLst/>
                          <a:latin typeface="DINPro" panose="020B0504020201010104" pitchFamily="34" charset="0"/>
                          <a:ea typeface="Verdana" panose="020B0604030504040204" pitchFamily="34" charset="0"/>
                          <a:cs typeface="Verdana" panose="020B0604030504040204" pitchFamily="34" charset="0"/>
                        </a:rPr>
                        <a:t>IC design</a:t>
                      </a:r>
                    </a:p>
                  </a:txBody>
                  <a:tcPr marL="4763" marR="4763" marT="4763"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6350" cap="flat" cmpd="sng" algn="ctr">
                      <a:solidFill>
                        <a:schemeClr val="tx1">
                          <a:lumMod val="50000"/>
                          <a:lumOff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999851"/>
                  </a:ext>
                </a:extLst>
              </a:tr>
            </a:tbl>
          </a:graphicData>
        </a:graphic>
      </p:graphicFrame>
      <p:pic>
        <p:nvPicPr>
          <p:cNvPr id="7" name="Picture 28">
            <a:extLst>
              <a:ext uri="{FF2B5EF4-FFF2-40B4-BE49-F238E27FC236}">
                <a16:creationId xmlns:a16="http://schemas.microsoft.com/office/drawing/2014/main" id="{C5E2345B-0D97-F95A-D0F0-5C320534BDEA}"/>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88914" y="3947434"/>
            <a:ext cx="313613" cy="89380"/>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8" descr="Silicon Labs - Wikipedia">
            <a:extLst>
              <a:ext uri="{FF2B5EF4-FFF2-40B4-BE49-F238E27FC236}">
                <a16:creationId xmlns:a16="http://schemas.microsoft.com/office/drawing/2014/main" id="{57FEE0CF-B670-2916-BECB-1F21C893FDE0}"/>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7865191" y="1646322"/>
            <a:ext cx="234225" cy="12082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4">
            <a:extLst>
              <a:ext uri="{FF2B5EF4-FFF2-40B4-BE49-F238E27FC236}">
                <a16:creationId xmlns:a16="http://schemas.microsoft.com/office/drawing/2014/main" id="{76C36556-768C-9E47-9CBF-6C73483AFAC0}"/>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p:blipFill>
        <p:spPr bwMode="auto">
          <a:xfrm>
            <a:off x="6590847" y="2751524"/>
            <a:ext cx="309745" cy="195809"/>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22">
            <a:extLst>
              <a:ext uri="{FF2B5EF4-FFF2-40B4-BE49-F238E27FC236}">
                <a16:creationId xmlns:a16="http://schemas.microsoft.com/office/drawing/2014/main" id="{6FF1DDAD-4C20-1340-0EF6-0CDB68B5B73A}"/>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p:blipFill>
        <p:spPr bwMode="auto">
          <a:xfrm>
            <a:off x="6498208" y="3647473"/>
            <a:ext cx="495025" cy="117954"/>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a:extLst>
              <a:ext uri="{FF2B5EF4-FFF2-40B4-BE49-F238E27FC236}">
                <a16:creationId xmlns:a16="http://schemas.microsoft.com/office/drawing/2014/main" id="{F2D800D5-4E63-DD4B-2E52-44C3252F530B}"/>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p:blipFill>
        <p:spPr bwMode="auto">
          <a:xfrm>
            <a:off x="7793847" y="2805612"/>
            <a:ext cx="376916" cy="87633"/>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
            <a:extLst>
              <a:ext uri="{FF2B5EF4-FFF2-40B4-BE49-F238E27FC236}">
                <a16:creationId xmlns:a16="http://schemas.microsoft.com/office/drawing/2014/main" id="{93A81004-8803-5E80-3508-CEB4830FDEA7}"/>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600699" y="1381404"/>
            <a:ext cx="290042" cy="7930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Murata Electronics (Finland) - Wikipedia">
            <a:extLst>
              <a:ext uri="{FF2B5EF4-FFF2-40B4-BE49-F238E27FC236}">
                <a16:creationId xmlns:a16="http://schemas.microsoft.com/office/drawing/2014/main" id="{0064F07E-4956-01F6-1073-51B6133F8A72}"/>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01451" y="1637724"/>
            <a:ext cx="288536" cy="138016"/>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 descr="Join our Talent Community | Bluefors">
            <a:extLst>
              <a:ext uri="{FF2B5EF4-FFF2-40B4-BE49-F238E27FC236}">
                <a16:creationId xmlns:a16="http://schemas.microsoft.com/office/drawing/2014/main" id="{E0BD0E26-FA53-CC50-890A-63CA1BF56A76}"/>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569314" y="2255157"/>
            <a:ext cx="352811" cy="4584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2">
            <a:extLst>
              <a:ext uri="{FF2B5EF4-FFF2-40B4-BE49-F238E27FC236}">
                <a16:creationId xmlns:a16="http://schemas.microsoft.com/office/drawing/2014/main" id="{7CD446DB-EF56-1FF7-E7CA-116155A49B28}"/>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p:blipFill>
        <p:spPr bwMode="auto">
          <a:xfrm>
            <a:off x="6594483" y="3050041"/>
            <a:ext cx="302474" cy="170122"/>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2">
            <a:extLst>
              <a:ext uri="{FF2B5EF4-FFF2-40B4-BE49-F238E27FC236}">
                <a16:creationId xmlns:a16="http://schemas.microsoft.com/office/drawing/2014/main" id="{3FFD8665-B2DF-4AF3-6E8D-52E84129CD0C}"/>
              </a:ext>
            </a:extLst>
          </p:cNvPr>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6670813" y="1916320"/>
            <a:ext cx="149813" cy="15217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4">
            <a:extLst>
              <a:ext uri="{FF2B5EF4-FFF2-40B4-BE49-F238E27FC236}">
                <a16:creationId xmlns:a16="http://schemas.microsoft.com/office/drawing/2014/main" id="{52C00C2C-7595-BACE-443A-9ECE4674B6C5}"/>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6616750" y="3383395"/>
            <a:ext cx="257939" cy="7476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Intel Logo transparent PNG - StickPNG">
            <a:extLst>
              <a:ext uri="{FF2B5EF4-FFF2-40B4-BE49-F238E27FC236}">
                <a16:creationId xmlns:a16="http://schemas.microsoft.com/office/drawing/2014/main" id="{EB4BE99F-9293-A053-00CF-DBA6392C7B6C}"/>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7895802" y="1078394"/>
            <a:ext cx="173005" cy="113981"/>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12" descr="Senop-logo - PhotonicSweden">
            <a:extLst>
              <a:ext uri="{FF2B5EF4-FFF2-40B4-BE49-F238E27FC236}">
                <a16:creationId xmlns:a16="http://schemas.microsoft.com/office/drawing/2014/main" id="{445EC663-9CCE-7988-A0B8-819E659844B7}"/>
              </a:ext>
            </a:extLst>
          </p:cNvP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6607693" y="4228691"/>
            <a:ext cx="276053" cy="98214"/>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12">
            <a:extLst>
              <a:ext uri="{FF2B5EF4-FFF2-40B4-BE49-F238E27FC236}">
                <a16:creationId xmlns:a16="http://schemas.microsoft.com/office/drawing/2014/main" id="{7A2F9793-A87B-9465-AFFD-B247101C318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p:blipFill>
        <p:spPr bwMode="auto">
          <a:xfrm>
            <a:off x="7875766" y="3954378"/>
            <a:ext cx="213076" cy="75492"/>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6">
            <a:extLst>
              <a:ext uri="{FF2B5EF4-FFF2-40B4-BE49-F238E27FC236}">
                <a16:creationId xmlns:a16="http://schemas.microsoft.com/office/drawing/2014/main" id="{12C71968-9226-3A06-DE2A-A4943B4A459C}"/>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p:blipFill>
        <p:spPr bwMode="auto">
          <a:xfrm>
            <a:off x="7834669" y="4232555"/>
            <a:ext cx="295270" cy="90486"/>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49">
            <a:extLst>
              <a:ext uri="{FF2B5EF4-FFF2-40B4-BE49-F238E27FC236}">
                <a16:creationId xmlns:a16="http://schemas.microsoft.com/office/drawing/2014/main" id="{A0A2097F-3A29-CF38-9807-B0D8BD688562}"/>
              </a:ext>
            </a:extLst>
          </p:cNvPr>
          <p:cNvPicPr>
            <a:picLocks noChangeAspect="1"/>
          </p:cNvPicPr>
          <p:nvPr/>
        </p:nvPicPr>
        <p:blipFill>
          <a:blip r:embed="rId23"/>
          <a:stretch>
            <a:fillRect/>
          </a:stretch>
        </p:blipFill>
        <p:spPr>
          <a:xfrm>
            <a:off x="7833813" y="4520911"/>
            <a:ext cx="296981" cy="85122"/>
          </a:xfrm>
          <a:prstGeom prst="rect">
            <a:avLst/>
          </a:prstGeom>
        </p:spPr>
      </p:pic>
      <p:pic>
        <p:nvPicPr>
          <p:cNvPr id="51" name="Picture 2">
            <a:extLst>
              <a:ext uri="{FF2B5EF4-FFF2-40B4-BE49-F238E27FC236}">
                <a16:creationId xmlns:a16="http://schemas.microsoft.com/office/drawing/2014/main" id="{E9FD7ECC-520C-9557-E8AF-9C8B46E2009E}"/>
              </a:ext>
            </a:extLst>
          </p:cNvPr>
          <p:cNvPicPr>
            <a:picLocks noChangeAspect="1" noChangeArrowheads="1"/>
          </p:cNvPicPr>
          <p:nvPr/>
        </p:nvPicPr>
        <p:blipFill>
          <a:blip r:embed="rId24" cstate="print">
            <a:extLst>
              <a:ext uri="{28A0092B-C50C-407E-A947-70E740481C1C}">
                <a14:useLocalDpi xmlns:a14="http://schemas.microsoft.com/office/drawing/2010/main" val="0"/>
              </a:ext>
            </a:extLst>
          </a:blip>
          <a:srcRect/>
          <a:stretch>
            <a:fillRect/>
          </a:stretch>
        </p:blipFill>
        <p:spPr bwMode="auto">
          <a:xfrm>
            <a:off x="7796936" y="805916"/>
            <a:ext cx="370736" cy="87587"/>
          </a:xfrm>
          <a:prstGeom prst="rect">
            <a:avLst/>
          </a:prstGeom>
          <a:noFill/>
          <a:extLst>
            <a:ext uri="{909E8E84-426E-40DD-AFC4-6F175D3DCCD1}">
              <a14:hiddenFill xmlns:a14="http://schemas.microsoft.com/office/drawing/2010/main">
                <a:solidFill>
                  <a:srgbClr val="FFFFFF"/>
                </a:solidFill>
              </a14:hiddenFill>
            </a:ext>
          </a:extLst>
        </p:spPr>
      </p:pic>
      <p:pic>
        <p:nvPicPr>
          <p:cNvPr id="52" name="Picture 6">
            <a:extLst>
              <a:ext uri="{FF2B5EF4-FFF2-40B4-BE49-F238E27FC236}">
                <a16:creationId xmlns:a16="http://schemas.microsoft.com/office/drawing/2014/main" id="{1B8C38D5-11A6-D780-E38D-647E00F1BC7C}"/>
              </a:ext>
            </a:extLst>
          </p:cNvPr>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6597138" y="814770"/>
            <a:ext cx="297164" cy="69880"/>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8" descr="Okmetic Oy - iRel40">
            <a:extLst>
              <a:ext uri="{FF2B5EF4-FFF2-40B4-BE49-F238E27FC236}">
                <a16:creationId xmlns:a16="http://schemas.microsoft.com/office/drawing/2014/main" id="{1E131167-D868-D695-080A-01E09B3696EE}"/>
              </a:ext>
            </a:extLst>
          </p:cNvPr>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6553888" y="2487021"/>
            <a:ext cx="383665" cy="153466"/>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6">
            <a:extLst>
              <a:ext uri="{FF2B5EF4-FFF2-40B4-BE49-F238E27FC236}">
                <a16:creationId xmlns:a16="http://schemas.microsoft.com/office/drawing/2014/main" id="{B63D49D2-5C21-5888-BBF5-F447B47E2B5C}"/>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6586584" y="1101443"/>
            <a:ext cx="318272" cy="67882"/>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8" descr="nvidia-png-nvidia-yeni-c-kacak-olan-oyunlar-icin-yeni-game-ready-suruculerini-yay-nlad-1000  | l3c.cloud">
            <a:extLst>
              <a:ext uri="{FF2B5EF4-FFF2-40B4-BE49-F238E27FC236}">
                <a16:creationId xmlns:a16="http://schemas.microsoft.com/office/drawing/2014/main" id="{301BC1C9-116E-C885-E70B-6E88F18BCF41}"/>
              </a:ext>
            </a:extLst>
          </p:cNvPr>
          <p:cNvPicPr>
            <a:picLocks noChangeAspect="1" noChangeArrowheads="1"/>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7784488" y="1931083"/>
            <a:ext cx="395634" cy="122647"/>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14">
            <a:extLst>
              <a:ext uri="{FF2B5EF4-FFF2-40B4-BE49-F238E27FC236}">
                <a16:creationId xmlns:a16="http://schemas.microsoft.com/office/drawing/2014/main" id="{700D66FB-D187-BC10-27C8-8679B37365BE}"/>
              </a:ext>
            </a:extLst>
          </p:cNvPr>
          <p:cNvPicPr>
            <a:picLocks noChangeAspect="1" noChangeArrowheads="1"/>
          </p:cNvPicPr>
          <p:nvPr/>
        </p:nvPicPr>
        <p:blipFill>
          <a:blip r:embed="rId29"/>
          <a:srcRect/>
          <a:stretch/>
        </p:blipFill>
        <p:spPr bwMode="auto">
          <a:xfrm>
            <a:off x="7799809" y="2232118"/>
            <a:ext cx="364991" cy="91923"/>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2">
            <a:extLst>
              <a:ext uri="{FF2B5EF4-FFF2-40B4-BE49-F238E27FC236}">
                <a16:creationId xmlns:a16="http://schemas.microsoft.com/office/drawing/2014/main" id="{4A6578E5-3098-B21D-DF4D-725D5BE65FD2}"/>
              </a:ext>
            </a:extLst>
          </p:cNvPr>
          <p:cNvPicPr>
            <a:picLocks noChangeAspect="1" noChangeArrowheads="1"/>
          </p:cNvPicPr>
          <p:nvPr/>
        </p:nvPicPr>
        <p:blipFill rotWithShape="1">
          <a:blip r:embed="rId30"/>
          <a:srcRect t="36664" b="38405"/>
          <a:stretch/>
        </p:blipFill>
        <p:spPr bwMode="auto">
          <a:xfrm>
            <a:off x="7784488" y="3085784"/>
            <a:ext cx="395634" cy="98637"/>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6" descr="Texas-Instruments-Brands-Logo-PNG-Transparent – IEEE Region 8">
            <a:extLst>
              <a:ext uri="{FF2B5EF4-FFF2-40B4-BE49-F238E27FC236}">
                <a16:creationId xmlns:a16="http://schemas.microsoft.com/office/drawing/2014/main" id="{0EFFB5FD-199E-1B7C-F392-7693715C00AE}"/>
              </a:ext>
            </a:extLst>
          </p:cNvPr>
          <p:cNvPicPr>
            <a:picLocks noChangeAspect="1" noChangeArrowheads="1"/>
          </p:cNvPicPr>
          <p:nvPr/>
        </p:nvPicPr>
        <p:blipFill>
          <a:blip r:embed="rId31" cstate="print">
            <a:extLst>
              <a:ext uri="{28A0092B-C50C-407E-A947-70E740481C1C}">
                <a14:useLocalDpi xmlns:a14="http://schemas.microsoft.com/office/drawing/2010/main" val="0"/>
              </a:ext>
            </a:extLst>
          </a:blip>
          <a:srcRect/>
          <a:stretch>
            <a:fillRect/>
          </a:stretch>
        </p:blipFill>
        <p:spPr bwMode="auto">
          <a:xfrm>
            <a:off x="7777618" y="3644964"/>
            <a:ext cx="409372" cy="122972"/>
          </a:xfrm>
          <a:prstGeom prst="rect">
            <a:avLst/>
          </a:prstGeom>
          <a:noFill/>
          <a:extLst>
            <a:ext uri="{909E8E84-426E-40DD-AFC4-6F175D3DCCD1}">
              <a14:hiddenFill xmlns:a14="http://schemas.microsoft.com/office/drawing/2010/main">
                <a:solidFill>
                  <a:srgbClr val="FFFFFF"/>
                </a:solidFill>
              </a14:hiddenFill>
            </a:ext>
          </a:extLst>
        </p:spPr>
      </p:pic>
      <p:sp>
        <p:nvSpPr>
          <p:cNvPr id="60" name="TextBox 59">
            <a:extLst>
              <a:ext uri="{FF2B5EF4-FFF2-40B4-BE49-F238E27FC236}">
                <a16:creationId xmlns:a16="http://schemas.microsoft.com/office/drawing/2014/main" id="{60E5FC67-E87F-43FB-E249-7A37481E8B1C}"/>
              </a:ext>
            </a:extLst>
          </p:cNvPr>
          <p:cNvSpPr txBox="1"/>
          <p:nvPr/>
        </p:nvSpPr>
        <p:spPr>
          <a:xfrm>
            <a:off x="6381216" y="276231"/>
            <a:ext cx="2511264" cy="2992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200" b="1" dirty="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Example companies in Finland</a:t>
            </a:r>
          </a:p>
        </p:txBody>
      </p:sp>
      <p:pic>
        <p:nvPicPr>
          <p:cNvPr id="66" name="Picture 4" descr="semiqon logo 002 - VTT Info">
            <a:extLst>
              <a:ext uri="{FF2B5EF4-FFF2-40B4-BE49-F238E27FC236}">
                <a16:creationId xmlns:a16="http://schemas.microsoft.com/office/drawing/2014/main" id="{AA89573E-6EF9-CDD5-17ED-B691EB4F6DC8}"/>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7825372" y="1366987"/>
            <a:ext cx="313861" cy="112576"/>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 descr="CoreHW | IC Solutions">
            <a:extLst>
              <a:ext uri="{FF2B5EF4-FFF2-40B4-BE49-F238E27FC236}">
                <a16:creationId xmlns:a16="http://schemas.microsoft.com/office/drawing/2014/main" id="{803120A2-B9E6-1314-12DA-10F2FB123BC7}"/>
              </a:ext>
            </a:extLst>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6553173" y="4517513"/>
            <a:ext cx="385091" cy="110026"/>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67" descr="Danfoss – Wikipedia">
            <a:extLst>
              <a:ext uri="{FF2B5EF4-FFF2-40B4-BE49-F238E27FC236}">
                <a16:creationId xmlns:a16="http://schemas.microsoft.com/office/drawing/2014/main" id="{AEEF4D03-448C-4F91-EB07-F7E0BD051DA1}"/>
              </a:ext>
            </a:extLst>
          </p:cNvPr>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7813753" y="2505688"/>
            <a:ext cx="316186" cy="132124"/>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68">
            <a:extLst>
              <a:ext uri="{FF2B5EF4-FFF2-40B4-BE49-F238E27FC236}">
                <a16:creationId xmlns:a16="http://schemas.microsoft.com/office/drawing/2014/main" id="{BD3AD283-A86F-5838-29B4-82372A109731}"/>
              </a:ext>
            </a:extLst>
          </p:cNvPr>
          <p:cNvPicPr>
            <a:picLocks noChangeAspect="1"/>
          </p:cNvPicPr>
          <p:nvPr/>
        </p:nvPicPr>
        <p:blipFill>
          <a:blip r:embed="rId35"/>
          <a:stretch>
            <a:fillRect/>
          </a:stretch>
        </p:blipFill>
        <p:spPr>
          <a:xfrm>
            <a:off x="7789334" y="3362164"/>
            <a:ext cx="349899" cy="109132"/>
          </a:xfrm>
          <a:prstGeom prst="rect">
            <a:avLst/>
          </a:prstGeom>
        </p:spPr>
      </p:pic>
      <p:grpSp>
        <p:nvGrpSpPr>
          <p:cNvPr id="1042" name="Group 1041">
            <a:extLst>
              <a:ext uri="{FF2B5EF4-FFF2-40B4-BE49-F238E27FC236}">
                <a16:creationId xmlns:a16="http://schemas.microsoft.com/office/drawing/2014/main" id="{7F308072-347A-9295-9544-433EF484AA1C}"/>
              </a:ext>
            </a:extLst>
          </p:cNvPr>
          <p:cNvGrpSpPr>
            <a:grpSpLocks/>
          </p:cNvGrpSpPr>
          <p:nvPr/>
        </p:nvGrpSpPr>
        <p:grpSpPr>
          <a:xfrm>
            <a:off x="277243" y="1213490"/>
            <a:ext cx="1795357" cy="3292362"/>
            <a:chOff x="192785" y="811714"/>
            <a:chExt cx="1788053" cy="3290016"/>
          </a:xfrm>
        </p:grpSpPr>
        <p:grpSp>
          <p:nvGrpSpPr>
            <p:cNvPr id="137" name="Group 136">
              <a:extLst>
                <a:ext uri="{FF2B5EF4-FFF2-40B4-BE49-F238E27FC236}">
                  <a16:creationId xmlns:a16="http://schemas.microsoft.com/office/drawing/2014/main" id="{76B316A7-3AE0-0110-EADF-DC0DF5DDB399}"/>
                </a:ext>
              </a:extLst>
            </p:cNvPr>
            <p:cNvGrpSpPr/>
            <p:nvPr/>
          </p:nvGrpSpPr>
          <p:grpSpPr>
            <a:xfrm rot="514736">
              <a:off x="192785" y="811714"/>
              <a:ext cx="1788053" cy="3290016"/>
              <a:chOff x="4995863" y="2095500"/>
              <a:chExt cx="2182813" cy="4016375"/>
            </a:xfrm>
            <a:solidFill>
              <a:schemeClr val="accent1">
                <a:lumMod val="20000"/>
                <a:lumOff val="80000"/>
                <a:alpha val="78118"/>
              </a:schemeClr>
            </a:solidFill>
          </p:grpSpPr>
          <p:grpSp>
            <p:nvGrpSpPr>
              <p:cNvPr id="143" name="Group 142">
                <a:extLst>
                  <a:ext uri="{FF2B5EF4-FFF2-40B4-BE49-F238E27FC236}">
                    <a16:creationId xmlns:a16="http://schemas.microsoft.com/office/drawing/2014/main" id="{A45A45B1-0104-5285-09A4-075E19CB064A}"/>
                  </a:ext>
                </a:extLst>
              </p:cNvPr>
              <p:cNvGrpSpPr/>
              <p:nvPr/>
            </p:nvGrpSpPr>
            <p:grpSpPr>
              <a:xfrm>
                <a:off x="4995863" y="2095500"/>
                <a:ext cx="2182813" cy="4016375"/>
                <a:chOff x="4995863" y="2095500"/>
                <a:chExt cx="2182813" cy="4016375"/>
              </a:xfrm>
              <a:grpFill/>
            </p:grpSpPr>
            <p:sp>
              <p:nvSpPr>
                <p:cNvPr id="145" name="Freeform 27">
                  <a:extLst>
                    <a:ext uri="{FF2B5EF4-FFF2-40B4-BE49-F238E27FC236}">
                      <a16:creationId xmlns:a16="http://schemas.microsoft.com/office/drawing/2014/main" id="{18D701A7-1D6E-D9F3-3246-4A30047A553A}"/>
                    </a:ext>
                  </a:extLst>
                </p:cNvPr>
                <p:cNvSpPr>
                  <a:spLocks noEditPoints="1"/>
                </p:cNvSpPr>
                <p:nvPr/>
              </p:nvSpPr>
              <p:spPr bwMode="auto">
                <a:xfrm>
                  <a:off x="5900738" y="5068888"/>
                  <a:ext cx="1149350" cy="1039813"/>
                </a:xfrm>
                <a:custGeom>
                  <a:avLst/>
                  <a:gdLst>
                    <a:gd name="T0" fmla="*/ 128 w 724"/>
                    <a:gd name="T1" fmla="*/ 599 h 655"/>
                    <a:gd name="T2" fmla="*/ 312 w 724"/>
                    <a:gd name="T3" fmla="*/ 495 h 655"/>
                    <a:gd name="T4" fmla="*/ 405 w 724"/>
                    <a:gd name="T5" fmla="*/ 432 h 655"/>
                    <a:gd name="T6" fmla="*/ 689 w 724"/>
                    <a:gd name="T7" fmla="*/ 97 h 655"/>
                    <a:gd name="T8" fmla="*/ 628 w 724"/>
                    <a:gd name="T9" fmla="*/ 209 h 655"/>
                    <a:gd name="T10" fmla="*/ 558 w 724"/>
                    <a:gd name="T11" fmla="*/ 339 h 655"/>
                    <a:gd name="T12" fmla="*/ 540 w 724"/>
                    <a:gd name="T13" fmla="*/ 378 h 655"/>
                    <a:gd name="T14" fmla="*/ 523 w 724"/>
                    <a:gd name="T15" fmla="*/ 390 h 655"/>
                    <a:gd name="T16" fmla="*/ 482 w 724"/>
                    <a:gd name="T17" fmla="*/ 390 h 655"/>
                    <a:gd name="T18" fmla="*/ 475 w 724"/>
                    <a:gd name="T19" fmla="*/ 390 h 655"/>
                    <a:gd name="T20" fmla="*/ 456 w 724"/>
                    <a:gd name="T21" fmla="*/ 397 h 655"/>
                    <a:gd name="T22" fmla="*/ 433 w 724"/>
                    <a:gd name="T23" fmla="*/ 409 h 655"/>
                    <a:gd name="T24" fmla="*/ 412 w 724"/>
                    <a:gd name="T25" fmla="*/ 423 h 655"/>
                    <a:gd name="T26" fmla="*/ 402 w 724"/>
                    <a:gd name="T27" fmla="*/ 392 h 655"/>
                    <a:gd name="T28" fmla="*/ 398 w 724"/>
                    <a:gd name="T29" fmla="*/ 430 h 655"/>
                    <a:gd name="T30" fmla="*/ 384 w 724"/>
                    <a:gd name="T31" fmla="*/ 444 h 655"/>
                    <a:gd name="T32" fmla="*/ 356 w 724"/>
                    <a:gd name="T33" fmla="*/ 441 h 655"/>
                    <a:gd name="T34" fmla="*/ 347 w 724"/>
                    <a:gd name="T35" fmla="*/ 448 h 655"/>
                    <a:gd name="T36" fmla="*/ 347 w 724"/>
                    <a:gd name="T37" fmla="*/ 457 h 655"/>
                    <a:gd name="T38" fmla="*/ 344 w 724"/>
                    <a:gd name="T39" fmla="*/ 481 h 655"/>
                    <a:gd name="T40" fmla="*/ 323 w 724"/>
                    <a:gd name="T41" fmla="*/ 478 h 655"/>
                    <a:gd name="T42" fmla="*/ 316 w 724"/>
                    <a:gd name="T43" fmla="*/ 469 h 655"/>
                    <a:gd name="T44" fmla="*/ 298 w 724"/>
                    <a:gd name="T45" fmla="*/ 495 h 655"/>
                    <a:gd name="T46" fmla="*/ 258 w 724"/>
                    <a:gd name="T47" fmla="*/ 511 h 655"/>
                    <a:gd name="T48" fmla="*/ 246 w 724"/>
                    <a:gd name="T49" fmla="*/ 530 h 655"/>
                    <a:gd name="T50" fmla="*/ 228 w 724"/>
                    <a:gd name="T51" fmla="*/ 532 h 655"/>
                    <a:gd name="T52" fmla="*/ 207 w 724"/>
                    <a:gd name="T53" fmla="*/ 550 h 655"/>
                    <a:gd name="T54" fmla="*/ 195 w 724"/>
                    <a:gd name="T55" fmla="*/ 550 h 655"/>
                    <a:gd name="T56" fmla="*/ 184 w 724"/>
                    <a:gd name="T57" fmla="*/ 578 h 655"/>
                    <a:gd name="T58" fmla="*/ 174 w 724"/>
                    <a:gd name="T59" fmla="*/ 567 h 655"/>
                    <a:gd name="T60" fmla="*/ 149 w 724"/>
                    <a:gd name="T61" fmla="*/ 578 h 655"/>
                    <a:gd name="T62" fmla="*/ 128 w 724"/>
                    <a:gd name="T63" fmla="*/ 590 h 655"/>
                    <a:gd name="T64" fmla="*/ 81 w 724"/>
                    <a:gd name="T65" fmla="*/ 592 h 655"/>
                    <a:gd name="T66" fmla="*/ 70 w 724"/>
                    <a:gd name="T67" fmla="*/ 599 h 655"/>
                    <a:gd name="T68" fmla="*/ 28 w 724"/>
                    <a:gd name="T69" fmla="*/ 650 h 655"/>
                    <a:gd name="T70" fmla="*/ 49 w 724"/>
                    <a:gd name="T71" fmla="*/ 625 h 655"/>
                    <a:gd name="T72" fmla="*/ 42 w 724"/>
                    <a:gd name="T73" fmla="*/ 618 h 655"/>
                    <a:gd name="T74" fmla="*/ 42 w 724"/>
                    <a:gd name="T75" fmla="*/ 595 h 655"/>
                    <a:gd name="T76" fmla="*/ 46 w 724"/>
                    <a:gd name="T77" fmla="*/ 560 h 655"/>
                    <a:gd name="T78" fmla="*/ 84 w 724"/>
                    <a:gd name="T79" fmla="*/ 543 h 655"/>
                    <a:gd name="T80" fmla="*/ 93 w 724"/>
                    <a:gd name="T81" fmla="*/ 497 h 655"/>
                    <a:gd name="T82" fmla="*/ 98 w 724"/>
                    <a:gd name="T83" fmla="*/ 450 h 655"/>
                    <a:gd name="T84" fmla="*/ 23 w 724"/>
                    <a:gd name="T85" fmla="*/ 437 h 655"/>
                    <a:gd name="T86" fmla="*/ 11 w 724"/>
                    <a:gd name="T87" fmla="*/ 397 h 655"/>
                    <a:gd name="T88" fmla="*/ 32 w 724"/>
                    <a:gd name="T89" fmla="*/ 376 h 655"/>
                    <a:gd name="T90" fmla="*/ 72 w 724"/>
                    <a:gd name="T91" fmla="*/ 362 h 655"/>
                    <a:gd name="T92" fmla="*/ 79 w 724"/>
                    <a:gd name="T93" fmla="*/ 337 h 655"/>
                    <a:gd name="T94" fmla="*/ 111 w 724"/>
                    <a:gd name="T95" fmla="*/ 295 h 655"/>
                    <a:gd name="T96" fmla="*/ 177 w 724"/>
                    <a:gd name="T97" fmla="*/ 269 h 655"/>
                    <a:gd name="T98" fmla="*/ 177 w 724"/>
                    <a:gd name="T99" fmla="*/ 230 h 655"/>
                    <a:gd name="T100" fmla="*/ 246 w 724"/>
                    <a:gd name="T101" fmla="*/ 155 h 655"/>
                    <a:gd name="T102" fmla="*/ 267 w 724"/>
                    <a:gd name="T103" fmla="*/ 137 h 655"/>
                    <a:gd name="T104" fmla="*/ 288 w 724"/>
                    <a:gd name="T105" fmla="*/ 151 h 655"/>
                    <a:gd name="T106" fmla="*/ 321 w 724"/>
                    <a:gd name="T107" fmla="*/ 162 h 655"/>
                    <a:gd name="T108" fmla="*/ 321 w 724"/>
                    <a:gd name="T109" fmla="*/ 190 h 655"/>
                    <a:gd name="T110" fmla="*/ 354 w 724"/>
                    <a:gd name="T111" fmla="*/ 227 h 655"/>
                    <a:gd name="T112" fmla="*/ 386 w 724"/>
                    <a:gd name="T113" fmla="*/ 239 h 655"/>
                    <a:gd name="T114" fmla="*/ 409 w 724"/>
                    <a:gd name="T115" fmla="*/ 239 h 655"/>
                    <a:gd name="T116" fmla="*/ 454 w 724"/>
                    <a:gd name="T117" fmla="*/ 225 h 655"/>
                    <a:gd name="T118" fmla="*/ 409 w 724"/>
                    <a:gd name="T119" fmla="*/ 197 h 655"/>
                    <a:gd name="T120" fmla="*/ 561 w 724"/>
                    <a:gd name="T121" fmla="*/ 132 h 655"/>
                    <a:gd name="T122" fmla="*/ 640 w 724"/>
                    <a:gd name="T123" fmla="*/ 97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4" h="655">
                      <a:moveTo>
                        <a:pt x="128" y="599"/>
                      </a:moveTo>
                      <a:lnTo>
                        <a:pt x="128" y="602"/>
                      </a:lnTo>
                      <a:lnTo>
                        <a:pt x="125" y="602"/>
                      </a:lnTo>
                      <a:lnTo>
                        <a:pt x="125" y="604"/>
                      </a:lnTo>
                      <a:lnTo>
                        <a:pt x="123" y="604"/>
                      </a:lnTo>
                      <a:lnTo>
                        <a:pt x="121" y="602"/>
                      </a:lnTo>
                      <a:lnTo>
                        <a:pt x="121" y="604"/>
                      </a:lnTo>
                      <a:lnTo>
                        <a:pt x="118" y="602"/>
                      </a:lnTo>
                      <a:lnTo>
                        <a:pt x="121" y="599"/>
                      </a:lnTo>
                      <a:lnTo>
                        <a:pt x="121" y="597"/>
                      </a:lnTo>
                      <a:lnTo>
                        <a:pt x="123" y="597"/>
                      </a:lnTo>
                      <a:lnTo>
                        <a:pt x="125" y="597"/>
                      </a:lnTo>
                      <a:lnTo>
                        <a:pt x="128" y="597"/>
                      </a:lnTo>
                      <a:lnTo>
                        <a:pt x="128" y="599"/>
                      </a:lnTo>
                      <a:close/>
                      <a:moveTo>
                        <a:pt x="340" y="499"/>
                      </a:moveTo>
                      <a:lnTo>
                        <a:pt x="337" y="499"/>
                      </a:lnTo>
                      <a:lnTo>
                        <a:pt x="335" y="497"/>
                      </a:lnTo>
                      <a:lnTo>
                        <a:pt x="335" y="495"/>
                      </a:lnTo>
                      <a:lnTo>
                        <a:pt x="337" y="495"/>
                      </a:lnTo>
                      <a:lnTo>
                        <a:pt x="342" y="495"/>
                      </a:lnTo>
                      <a:lnTo>
                        <a:pt x="342" y="497"/>
                      </a:lnTo>
                      <a:lnTo>
                        <a:pt x="340" y="499"/>
                      </a:lnTo>
                      <a:close/>
                      <a:moveTo>
                        <a:pt x="314" y="499"/>
                      </a:moveTo>
                      <a:lnTo>
                        <a:pt x="314" y="504"/>
                      </a:lnTo>
                      <a:lnTo>
                        <a:pt x="312" y="502"/>
                      </a:lnTo>
                      <a:lnTo>
                        <a:pt x="309" y="502"/>
                      </a:lnTo>
                      <a:lnTo>
                        <a:pt x="312" y="499"/>
                      </a:lnTo>
                      <a:lnTo>
                        <a:pt x="312" y="495"/>
                      </a:lnTo>
                      <a:lnTo>
                        <a:pt x="307" y="495"/>
                      </a:lnTo>
                      <a:lnTo>
                        <a:pt x="305" y="492"/>
                      </a:lnTo>
                      <a:lnTo>
                        <a:pt x="302" y="488"/>
                      </a:lnTo>
                      <a:lnTo>
                        <a:pt x="305" y="483"/>
                      </a:lnTo>
                      <a:lnTo>
                        <a:pt x="307" y="483"/>
                      </a:lnTo>
                      <a:lnTo>
                        <a:pt x="319" y="492"/>
                      </a:lnTo>
                      <a:lnTo>
                        <a:pt x="319" y="495"/>
                      </a:lnTo>
                      <a:lnTo>
                        <a:pt x="316" y="495"/>
                      </a:lnTo>
                      <a:lnTo>
                        <a:pt x="314" y="497"/>
                      </a:lnTo>
                      <a:lnTo>
                        <a:pt x="314" y="499"/>
                      </a:lnTo>
                      <a:close/>
                      <a:moveTo>
                        <a:pt x="409" y="439"/>
                      </a:moveTo>
                      <a:lnTo>
                        <a:pt x="407" y="439"/>
                      </a:lnTo>
                      <a:lnTo>
                        <a:pt x="405" y="434"/>
                      </a:lnTo>
                      <a:lnTo>
                        <a:pt x="405" y="432"/>
                      </a:lnTo>
                      <a:lnTo>
                        <a:pt x="409" y="430"/>
                      </a:lnTo>
                      <a:lnTo>
                        <a:pt x="412" y="430"/>
                      </a:lnTo>
                      <a:lnTo>
                        <a:pt x="412" y="427"/>
                      </a:lnTo>
                      <a:lnTo>
                        <a:pt x="412" y="425"/>
                      </a:lnTo>
                      <a:lnTo>
                        <a:pt x="412" y="423"/>
                      </a:lnTo>
                      <a:lnTo>
                        <a:pt x="419" y="425"/>
                      </a:lnTo>
                      <a:lnTo>
                        <a:pt x="419" y="427"/>
                      </a:lnTo>
                      <a:lnTo>
                        <a:pt x="419" y="430"/>
                      </a:lnTo>
                      <a:lnTo>
                        <a:pt x="412" y="432"/>
                      </a:lnTo>
                      <a:lnTo>
                        <a:pt x="409" y="434"/>
                      </a:lnTo>
                      <a:lnTo>
                        <a:pt x="409" y="439"/>
                      </a:lnTo>
                      <a:close/>
                      <a:moveTo>
                        <a:pt x="700" y="72"/>
                      </a:moveTo>
                      <a:lnTo>
                        <a:pt x="691" y="93"/>
                      </a:lnTo>
                      <a:lnTo>
                        <a:pt x="689" y="97"/>
                      </a:lnTo>
                      <a:lnTo>
                        <a:pt x="682" y="102"/>
                      </a:lnTo>
                      <a:lnTo>
                        <a:pt x="679" y="107"/>
                      </a:lnTo>
                      <a:lnTo>
                        <a:pt x="679" y="109"/>
                      </a:lnTo>
                      <a:lnTo>
                        <a:pt x="677" y="116"/>
                      </a:lnTo>
                      <a:lnTo>
                        <a:pt x="677" y="121"/>
                      </a:lnTo>
                      <a:lnTo>
                        <a:pt x="665" y="141"/>
                      </a:lnTo>
                      <a:lnTo>
                        <a:pt x="665" y="148"/>
                      </a:lnTo>
                      <a:lnTo>
                        <a:pt x="663" y="151"/>
                      </a:lnTo>
                      <a:lnTo>
                        <a:pt x="663" y="155"/>
                      </a:lnTo>
                      <a:lnTo>
                        <a:pt x="658" y="167"/>
                      </a:lnTo>
                      <a:lnTo>
                        <a:pt x="654" y="176"/>
                      </a:lnTo>
                      <a:lnTo>
                        <a:pt x="640" y="193"/>
                      </a:lnTo>
                      <a:lnTo>
                        <a:pt x="635" y="197"/>
                      </a:lnTo>
                      <a:lnTo>
                        <a:pt x="628" y="209"/>
                      </a:lnTo>
                      <a:lnTo>
                        <a:pt x="623" y="213"/>
                      </a:lnTo>
                      <a:lnTo>
                        <a:pt x="621" y="216"/>
                      </a:lnTo>
                      <a:lnTo>
                        <a:pt x="621" y="223"/>
                      </a:lnTo>
                      <a:lnTo>
                        <a:pt x="614" y="232"/>
                      </a:lnTo>
                      <a:lnTo>
                        <a:pt x="614" y="237"/>
                      </a:lnTo>
                      <a:lnTo>
                        <a:pt x="614" y="241"/>
                      </a:lnTo>
                      <a:lnTo>
                        <a:pt x="612" y="248"/>
                      </a:lnTo>
                      <a:lnTo>
                        <a:pt x="603" y="255"/>
                      </a:lnTo>
                      <a:lnTo>
                        <a:pt x="598" y="260"/>
                      </a:lnTo>
                      <a:lnTo>
                        <a:pt x="586" y="281"/>
                      </a:lnTo>
                      <a:lnTo>
                        <a:pt x="579" y="299"/>
                      </a:lnTo>
                      <a:lnTo>
                        <a:pt x="570" y="309"/>
                      </a:lnTo>
                      <a:lnTo>
                        <a:pt x="561" y="334"/>
                      </a:lnTo>
                      <a:lnTo>
                        <a:pt x="558" y="339"/>
                      </a:lnTo>
                      <a:lnTo>
                        <a:pt x="551" y="351"/>
                      </a:lnTo>
                      <a:lnTo>
                        <a:pt x="544" y="367"/>
                      </a:lnTo>
                      <a:lnTo>
                        <a:pt x="542" y="365"/>
                      </a:lnTo>
                      <a:lnTo>
                        <a:pt x="540" y="362"/>
                      </a:lnTo>
                      <a:lnTo>
                        <a:pt x="537" y="360"/>
                      </a:lnTo>
                      <a:lnTo>
                        <a:pt x="535" y="362"/>
                      </a:lnTo>
                      <a:lnTo>
                        <a:pt x="535" y="365"/>
                      </a:lnTo>
                      <a:lnTo>
                        <a:pt x="537" y="365"/>
                      </a:lnTo>
                      <a:lnTo>
                        <a:pt x="535" y="367"/>
                      </a:lnTo>
                      <a:lnTo>
                        <a:pt x="535" y="369"/>
                      </a:lnTo>
                      <a:lnTo>
                        <a:pt x="537" y="374"/>
                      </a:lnTo>
                      <a:lnTo>
                        <a:pt x="540" y="376"/>
                      </a:lnTo>
                      <a:lnTo>
                        <a:pt x="537" y="376"/>
                      </a:lnTo>
                      <a:lnTo>
                        <a:pt x="540" y="378"/>
                      </a:lnTo>
                      <a:lnTo>
                        <a:pt x="537" y="383"/>
                      </a:lnTo>
                      <a:lnTo>
                        <a:pt x="535" y="383"/>
                      </a:lnTo>
                      <a:lnTo>
                        <a:pt x="528" y="385"/>
                      </a:lnTo>
                      <a:lnTo>
                        <a:pt x="528" y="381"/>
                      </a:lnTo>
                      <a:lnTo>
                        <a:pt x="530" y="378"/>
                      </a:lnTo>
                      <a:lnTo>
                        <a:pt x="533" y="376"/>
                      </a:lnTo>
                      <a:lnTo>
                        <a:pt x="528" y="376"/>
                      </a:lnTo>
                      <a:lnTo>
                        <a:pt x="526" y="378"/>
                      </a:lnTo>
                      <a:lnTo>
                        <a:pt x="523" y="381"/>
                      </a:lnTo>
                      <a:lnTo>
                        <a:pt x="523" y="383"/>
                      </a:lnTo>
                      <a:lnTo>
                        <a:pt x="526" y="385"/>
                      </a:lnTo>
                      <a:lnTo>
                        <a:pt x="526" y="388"/>
                      </a:lnTo>
                      <a:lnTo>
                        <a:pt x="528" y="390"/>
                      </a:lnTo>
                      <a:lnTo>
                        <a:pt x="523" y="390"/>
                      </a:lnTo>
                      <a:lnTo>
                        <a:pt x="512" y="383"/>
                      </a:lnTo>
                      <a:lnTo>
                        <a:pt x="509" y="385"/>
                      </a:lnTo>
                      <a:lnTo>
                        <a:pt x="512" y="388"/>
                      </a:lnTo>
                      <a:lnTo>
                        <a:pt x="512" y="390"/>
                      </a:lnTo>
                      <a:lnTo>
                        <a:pt x="509" y="390"/>
                      </a:lnTo>
                      <a:lnTo>
                        <a:pt x="509" y="392"/>
                      </a:lnTo>
                      <a:lnTo>
                        <a:pt x="512" y="392"/>
                      </a:lnTo>
                      <a:lnTo>
                        <a:pt x="514" y="395"/>
                      </a:lnTo>
                      <a:lnTo>
                        <a:pt x="514" y="397"/>
                      </a:lnTo>
                      <a:lnTo>
                        <a:pt x="509" y="395"/>
                      </a:lnTo>
                      <a:lnTo>
                        <a:pt x="498" y="390"/>
                      </a:lnTo>
                      <a:lnTo>
                        <a:pt x="491" y="390"/>
                      </a:lnTo>
                      <a:lnTo>
                        <a:pt x="484" y="392"/>
                      </a:lnTo>
                      <a:lnTo>
                        <a:pt x="482" y="390"/>
                      </a:lnTo>
                      <a:lnTo>
                        <a:pt x="479" y="388"/>
                      </a:lnTo>
                      <a:lnTo>
                        <a:pt x="484" y="385"/>
                      </a:lnTo>
                      <a:lnTo>
                        <a:pt x="488" y="385"/>
                      </a:lnTo>
                      <a:lnTo>
                        <a:pt x="486" y="383"/>
                      </a:lnTo>
                      <a:lnTo>
                        <a:pt x="477" y="381"/>
                      </a:lnTo>
                      <a:lnTo>
                        <a:pt x="477" y="376"/>
                      </a:lnTo>
                      <a:lnTo>
                        <a:pt x="475" y="374"/>
                      </a:lnTo>
                      <a:lnTo>
                        <a:pt x="472" y="376"/>
                      </a:lnTo>
                      <a:lnTo>
                        <a:pt x="472" y="378"/>
                      </a:lnTo>
                      <a:lnTo>
                        <a:pt x="472" y="383"/>
                      </a:lnTo>
                      <a:lnTo>
                        <a:pt x="475" y="385"/>
                      </a:lnTo>
                      <a:lnTo>
                        <a:pt x="477" y="390"/>
                      </a:lnTo>
                      <a:lnTo>
                        <a:pt x="475" y="392"/>
                      </a:lnTo>
                      <a:lnTo>
                        <a:pt x="475" y="390"/>
                      </a:lnTo>
                      <a:lnTo>
                        <a:pt x="472" y="388"/>
                      </a:lnTo>
                      <a:lnTo>
                        <a:pt x="470" y="390"/>
                      </a:lnTo>
                      <a:lnTo>
                        <a:pt x="468" y="385"/>
                      </a:lnTo>
                      <a:lnTo>
                        <a:pt x="465" y="385"/>
                      </a:lnTo>
                      <a:lnTo>
                        <a:pt x="465" y="388"/>
                      </a:lnTo>
                      <a:lnTo>
                        <a:pt x="465" y="390"/>
                      </a:lnTo>
                      <a:lnTo>
                        <a:pt x="463" y="392"/>
                      </a:lnTo>
                      <a:lnTo>
                        <a:pt x="463" y="390"/>
                      </a:lnTo>
                      <a:lnTo>
                        <a:pt x="461" y="388"/>
                      </a:lnTo>
                      <a:lnTo>
                        <a:pt x="458" y="388"/>
                      </a:lnTo>
                      <a:lnTo>
                        <a:pt x="456" y="390"/>
                      </a:lnTo>
                      <a:lnTo>
                        <a:pt x="456" y="392"/>
                      </a:lnTo>
                      <a:lnTo>
                        <a:pt x="458" y="395"/>
                      </a:lnTo>
                      <a:lnTo>
                        <a:pt x="456" y="397"/>
                      </a:lnTo>
                      <a:lnTo>
                        <a:pt x="456" y="402"/>
                      </a:lnTo>
                      <a:lnTo>
                        <a:pt x="454" y="404"/>
                      </a:lnTo>
                      <a:lnTo>
                        <a:pt x="449" y="404"/>
                      </a:lnTo>
                      <a:lnTo>
                        <a:pt x="451" y="409"/>
                      </a:lnTo>
                      <a:lnTo>
                        <a:pt x="454" y="411"/>
                      </a:lnTo>
                      <a:lnTo>
                        <a:pt x="454" y="413"/>
                      </a:lnTo>
                      <a:lnTo>
                        <a:pt x="449" y="409"/>
                      </a:lnTo>
                      <a:lnTo>
                        <a:pt x="447" y="409"/>
                      </a:lnTo>
                      <a:lnTo>
                        <a:pt x="437" y="413"/>
                      </a:lnTo>
                      <a:lnTo>
                        <a:pt x="435" y="416"/>
                      </a:lnTo>
                      <a:lnTo>
                        <a:pt x="435" y="413"/>
                      </a:lnTo>
                      <a:lnTo>
                        <a:pt x="435" y="411"/>
                      </a:lnTo>
                      <a:lnTo>
                        <a:pt x="435" y="409"/>
                      </a:lnTo>
                      <a:lnTo>
                        <a:pt x="433" y="409"/>
                      </a:lnTo>
                      <a:lnTo>
                        <a:pt x="430" y="409"/>
                      </a:lnTo>
                      <a:lnTo>
                        <a:pt x="428" y="411"/>
                      </a:lnTo>
                      <a:lnTo>
                        <a:pt x="428" y="413"/>
                      </a:lnTo>
                      <a:lnTo>
                        <a:pt x="428" y="416"/>
                      </a:lnTo>
                      <a:lnTo>
                        <a:pt x="428" y="420"/>
                      </a:lnTo>
                      <a:lnTo>
                        <a:pt x="428" y="423"/>
                      </a:lnTo>
                      <a:lnTo>
                        <a:pt x="426" y="425"/>
                      </a:lnTo>
                      <a:lnTo>
                        <a:pt x="426" y="427"/>
                      </a:lnTo>
                      <a:lnTo>
                        <a:pt x="423" y="427"/>
                      </a:lnTo>
                      <a:lnTo>
                        <a:pt x="421" y="425"/>
                      </a:lnTo>
                      <a:lnTo>
                        <a:pt x="419" y="423"/>
                      </a:lnTo>
                      <a:lnTo>
                        <a:pt x="416" y="420"/>
                      </a:lnTo>
                      <a:lnTo>
                        <a:pt x="414" y="420"/>
                      </a:lnTo>
                      <a:lnTo>
                        <a:pt x="412" y="423"/>
                      </a:lnTo>
                      <a:lnTo>
                        <a:pt x="409" y="423"/>
                      </a:lnTo>
                      <a:lnTo>
                        <a:pt x="409" y="425"/>
                      </a:lnTo>
                      <a:lnTo>
                        <a:pt x="407" y="427"/>
                      </a:lnTo>
                      <a:lnTo>
                        <a:pt x="405" y="425"/>
                      </a:lnTo>
                      <a:lnTo>
                        <a:pt x="400" y="423"/>
                      </a:lnTo>
                      <a:lnTo>
                        <a:pt x="398" y="420"/>
                      </a:lnTo>
                      <a:lnTo>
                        <a:pt x="395" y="416"/>
                      </a:lnTo>
                      <a:lnTo>
                        <a:pt x="398" y="413"/>
                      </a:lnTo>
                      <a:lnTo>
                        <a:pt x="400" y="411"/>
                      </a:lnTo>
                      <a:lnTo>
                        <a:pt x="402" y="409"/>
                      </a:lnTo>
                      <a:lnTo>
                        <a:pt x="402" y="402"/>
                      </a:lnTo>
                      <a:lnTo>
                        <a:pt x="402" y="399"/>
                      </a:lnTo>
                      <a:lnTo>
                        <a:pt x="402" y="395"/>
                      </a:lnTo>
                      <a:lnTo>
                        <a:pt x="402" y="392"/>
                      </a:lnTo>
                      <a:lnTo>
                        <a:pt x="402" y="390"/>
                      </a:lnTo>
                      <a:lnTo>
                        <a:pt x="407" y="385"/>
                      </a:lnTo>
                      <a:lnTo>
                        <a:pt x="412" y="383"/>
                      </a:lnTo>
                      <a:lnTo>
                        <a:pt x="423" y="390"/>
                      </a:lnTo>
                      <a:lnTo>
                        <a:pt x="419" y="381"/>
                      </a:lnTo>
                      <a:lnTo>
                        <a:pt x="414" y="376"/>
                      </a:lnTo>
                      <a:lnTo>
                        <a:pt x="409" y="374"/>
                      </a:lnTo>
                      <a:lnTo>
                        <a:pt x="405" y="376"/>
                      </a:lnTo>
                      <a:lnTo>
                        <a:pt x="402" y="381"/>
                      </a:lnTo>
                      <a:lnTo>
                        <a:pt x="400" y="390"/>
                      </a:lnTo>
                      <a:lnTo>
                        <a:pt x="393" y="411"/>
                      </a:lnTo>
                      <a:lnTo>
                        <a:pt x="395" y="420"/>
                      </a:lnTo>
                      <a:lnTo>
                        <a:pt x="400" y="427"/>
                      </a:lnTo>
                      <a:lnTo>
                        <a:pt x="398" y="430"/>
                      </a:lnTo>
                      <a:lnTo>
                        <a:pt x="398" y="432"/>
                      </a:lnTo>
                      <a:lnTo>
                        <a:pt x="398" y="434"/>
                      </a:lnTo>
                      <a:lnTo>
                        <a:pt x="393" y="434"/>
                      </a:lnTo>
                      <a:lnTo>
                        <a:pt x="395" y="439"/>
                      </a:lnTo>
                      <a:lnTo>
                        <a:pt x="393" y="439"/>
                      </a:lnTo>
                      <a:lnTo>
                        <a:pt x="388" y="434"/>
                      </a:lnTo>
                      <a:lnTo>
                        <a:pt x="391" y="439"/>
                      </a:lnTo>
                      <a:lnTo>
                        <a:pt x="388" y="439"/>
                      </a:lnTo>
                      <a:lnTo>
                        <a:pt x="388" y="441"/>
                      </a:lnTo>
                      <a:lnTo>
                        <a:pt x="386" y="441"/>
                      </a:lnTo>
                      <a:lnTo>
                        <a:pt x="386" y="444"/>
                      </a:lnTo>
                      <a:lnTo>
                        <a:pt x="388" y="446"/>
                      </a:lnTo>
                      <a:lnTo>
                        <a:pt x="386" y="446"/>
                      </a:lnTo>
                      <a:lnTo>
                        <a:pt x="384" y="444"/>
                      </a:lnTo>
                      <a:lnTo>
                        <a:pt x="381" y="441"/>
                      </a:lnTo>
                      <a:lnTo>
                        <a:pt x="379" y="437"/>
                      </a:lnTo>
                      <a:lnTo>
                        <a:pt x="377" y="434"/>
                      </a:lnTo>
                      <a:lnTo>
                        <a:pt x="374" y="432"/>
                      </a:lnTo>
                      <a:lnTo>
                        <a:pt x="372" y="430"/>
                      </a:lnTo>
                      <a:lnTo>
                        <a:pt x="370" y="432"/>
                      </a:lnTo>
                      <a:lnTo>
                        <a:pt x="370" y="434"/>
                      </a:lnTo>
                      <a:lnTo>
                        <a:pt x="372" y="437"/>
                      </a:lnTo>
                      <a:lnTo>
                        <a:pt x="377" y="441"/>
                      </a:lnTo>
                      <a:lnTo>
                        <a:pt x="367" y="441"/>
                      </a:lnTo>
                      <a:lnTo>
                        <a:pt x="365" y="441"/>
                      </a:lnTo>
                      <a:lnTo>
                        <a:pt x="363" y="446"/>
                      </a:lnTo>
                      <a:lnTo>
                        <a:pt x="363" y="444"/>
                      </a:lnTo>
                      <a:lnTo>
                        <a:pt x="356" y="441"/>
                      </a:lnTo>
                      <a:lnTo>
                        <a:pt x="351" y="439"/>
                      </a:lnTo>
                      <a:lnTo>
                        <a:pt x="344" y="434"/>
                      </a:lnTo>
                      <a:lnTo>
                        <a:pt x="340" y="432"/>
                      </a:lnTo>
                      <a:lnTo>
                        <a:pt x="337" y="430"/>
                      </a:lnTo>
                      <a:lnTo>
                        <a:pt x="333" y="432"/>
                      </a:lnTo>
                      <a:lnTo>
                        <a:pt x="340" y="434"/>
                      </a:lnTo>
                      <a:lnTo>
                        <a:pt x="342" y="437"/>
                      </a:lnTo>
                      <a:lnTo>
                        <a:pt x="344" y="439"/>
                      </a:lnTo>
                      <a:lnTo>
                        <a:pt x="349" y="441"/>
                      </a:lnTo>
                      <a:lnTo>
                        <a:pt x="351" y="444"/>
                      </a:lnTo>
                      <a:lnTo>
                        <a:pt x="351" y="446"/>
                      </a:lnTo>
                      <a:lnTo>
                        <a:pt x="351" y="448"/>
                      </a:lnTo>
                      <a:lnTo>
                        <a:pt x="349" y="448"/>
                      </a:lnTo>
                      <a:lnTo>
                        <a:pt x="347" y="448"/>
                      </a:lnTo>
                      <a:lnTo>
                        <a:pt x="349" y="450"/>
                      </a:lnTo>
                      <a:lnTo>
                        <a:pt x="351" y="453"/>
                      </a:lnTo>
                      <a:lnTo>
                        <a:pt x="356" y="455"/>
                      </a:lnTo>
                      <a:lnTo>
                        <a:pt x="358" y="457"/>
                      </a:lnTo>
                      <a:lnTo>
                        <a:pt x="360" y="460"/>
                      </a:lnTo>
                      <a:lnTo>
                        <a:pt x="363" y="460"/>
                      </a:lnTo>
                      <a:lnTo>
                        <a:pt x="363" y="464"/>
                      </a:lnTo>
                      <a:lnTo>
                        <a:pt x="363" y="467"/>
                      </a:lnTo>
                      <a:lnTo>
                        <a:pt x="356" y="471"/>
                      </a:lnTo>
                      <a:lnTo>
                        <a:pt x="356" y="464"/>
                      </a:lnTo>
                      <a:lnTo>
                        <a:pt x="349" y="460"/>
                      </a:lnTo>
                      <a:lnTo>
                        <a:pt x="349" y="455"/>
                      </a:lnTo>
                      <a:lnTo>
                        <a:pt x="347" y="455"/>
                      </a:lnTo>
                      <a:lnTo>
                        <a:pt x="347" y="457"/>
                      </a:lnTo>
                      <a:lnTo>
                        <a:pt x="347" y="460"/>
                      </a:lnTo>
                      <a:lnTo>
                        <a:pt x="344" y="460"/>
                      </a:lnTo>
                      <a:lnTo>
                        <a:pt x="342" y="460"/>
                      </a:lnTo>
                      <a:lnTo>
                        <a:pt x="335" y="453"/>
                      </a:lnTo>
                      <a:lnTo>
                        <a:pt x="333" y="453"/>
                      </a:lnTo>
                      <a:lnTo>
                        <a:pt x="328" y="453"/>
                      </a:lnTo>
                      <a:lnTo>
                        <a:pt x="333" y="457"/>
                      </a:lnTo>
                      <a:lnTo>
                        <a:pt x="337" y="460"/>
                      </a:lnTo>
                      <a:lnTo>
                        <a:pt x="340" y="460"/>
                      </a:lnTo>
                      <a:lnTo>
                        <a:pt x="340" y="464"/>
                      </a:lnTo>
                      <a:lnTo>
                        <a:pt x="337" y="469"/>
                      </a:lnTo>
                      <a:lnTo>
                        <a:pt x="337" y="474"/>
                      </a:lnTo>
                      <a:lnTo>
                        <a:pt x="340" y="476"/>
                      </a:lnTo>
                      <a:lnTo>
                        <a:pt x="344" y="481"/>
                      </a:lnTo>
                      <a:lnTo>
                        <a:pt x="347" y="485"/>
                      </a:lnTo>
                      <a:lnTo>
                        <a:pt x="344" y="485"/>
                      </a:lnTo>
                      <a:lnTo>
                        <a:pt x="342" y="485"/>
                      </a:lnTo>
                      <a:lnTo>
                        <a:pt x="340" y="485"/>
                      </a:lnTo>
                      <a:lnTo>
                        <a:pt x="337" y="483"/>
                      </a:lnTo>
                      <a:lnTo>
                        <a:pt x="340" y="481"/>
                      </a:lnTo>
                      <a:lnTo>
                        <a:pt x="337" y="478"/>
                      </a:lnTo>
                      <a:lnTo>
                        <a:pt x="335" y="478"/>
                      </a:lnTo>
                      <a:lnTo>
                        <a:pt x="333" y="478"/>
                      </a:lnTo>
                      <a:lnTo>
                        <a:pt x="330" y="478"/>
                      </a:lnTo>
                      <a:lnTo>
                        <a:pt x="326" y="474"/>
                      </a:lnTo>
                      <a:lnTo>
                        <a:pt x="323" y="474"/>
                      </a:lnTo>
                      <a:lnTo>
                        <a:pt x="321" y="476"/>
                      </a:lnTo>
                      <a:lnTo>
                        <a:pt x="323" y="478"/>
                      </a:lnTo>
                      <a:lnTo>
                        <a:pt x="328" y="481"/>
                      </a:lnTo>
                      <a:lnTo>
                        <a:pt x="335" y="483"/>
                      </a:lnTo>
                      <a:lnTo>
                        <a:pt x="328" y="488"/>
                      </a:lnTo>
                      <a:lnTo>
                        <a:pt x="330" y="490"/>
                      </a:lnTo>
                      <a:lnTo>
                        <a:pt x="328" y="492"/>
                      </a:lnTo>
                      <a:lnTo>
                        <a:pt x="323" y="490"/>
                      </a:lnTo>
                      <a:lnTo>
                        <a:pt x="312" y="483"/>
                      </a:lnTo>
                      <a:lnTo>
                        <a:pt x="312" y="481"/>
                      </a:lnTo>
                      <a:lnTo>
                        <a:pt x="312" y="478"/>
                      </a:lnTo>
                      <a:lnTo>
                        <a:pt x="312" y="476"/>
                      </a:lnTo>
                      <a:lnTo>
                        <a:pt x="312" y="474"/>
                      </a:lnTo>
                      <a:lnTo>
                        <a:pt x="309" y="474"/>
                      </a:lnTo>
                      <a:lnTo>
                        <a:pt x="309" y="471"/>
                      </a:lnTo>
                      <a:lnTo>
                        <a:pt x="316" y="469"/>
                      </a:lnTo>
                      <a:lnTo>
                        <a:pt x="314" y="464"/>
                      </a:lnTo>
                      <a:lnTo>
                        <a:pt x="309" y="464"/>
                      </a:lnTo>
                      <a:lnTo>
                        <a:pt x="309" y="467"/>
                      </a:lnTo>
                      <a:lnTo>
                        <a:pt x="307" y="469"/>
                      </a:lnTo>
                      <a:lnTo>
                        <a:pt x="305" y="474"/>
                      </a:lnTo>
                      <a:lnTo>
                        <a:pt x="295" y="476"/>
                      </a:lnTo>
                      <a:lnTo>
                        <a:pt x="295" y="478"/>
                      </a:lnTo>
                      <a:lnTo>
                        <a:pt x="298" y="478"/>
                      </a:lnTo>
                      <a:lnTo>
                        <a:pt x="300" y="481"/>
                      </a:lnTo>
                      <a:lnTo>
                        <a:pt x="300" y="485"/>
                      </a:lnTo>
                      <a:lnTo>
                        <a:pt x="300" y="488"/>
                      </a:lnTo>
                      <a:lnTo>
                        <a:pt x="300" y="490"/>
                      </a:lnTo>
                      <a:lnTo>
                        <a:pt x="298" y="490"/>
                      </a:lnTo>
                      <a:lnTo>
                        <a:pt x="298" y="495"/>
                      </a:lnTo>
                      <a:lnTo>
                        <a:pt x="298" y="497"/>
                      </a:lnTo>
                      <a:lnTo>
                        <a:pt x="281" y="499"/>
                      </a:lnTo>
                      <a:lnTo>
                        <a:pt x="281" y="497"/>
                      </a:lnTo>
                      <a:lnTo>
                        <a:pt x="279" y="495"/>
                      </a:lnTo>
                      <a:lnTo>
                        <a:pt x="274" y="495"/>
                      </a:lnTo>
                      <a:lnTo>
                        <a:pt x="274" y="497"/>
                      </a:lnTo>
                      <a:lnTo>
                        <a:pt x="277" y="499"/>
                      </a:lnTo>
                      <a:lnTo>
                        <a:pt x="272" y="502"/>
                      </a:lnTo>
                      <a:lnTo>
                        <a:pt x="263" y="504"/>
                      </a:lnTo>
                      <a:lnTo>
                        <a:pt x="263" y="506"/>
                      </a:lnTo>
                      <a:lnTo>
                        <a:pt x="263" y="509"/>
                      </a:lnTo>
                      <a:lnTo>
                        <a:pt x="260" y="509"/>
                      </a:lnTo>
                      <a:lnTo>
                        <a:pt x="258" y="509"/>
                      </a:lnTo>
                      <a:lnTo>
                        <a:pt x="258" y="511"/>
                      </a:lnTo>
                      <a:lnTo>
                        <a:pt x="263" y="511"/>
                      </a:lnTo>
                      <a:lnTo>
                        <a:pt x="265" y="513"/>
                      </a:lnTo>
                      <a:lnTo>
                        <a:pt x="263" y="516"/>
                      </a:lnTo>
                      <a:lnTo>
                        <a:pt x="265" y="516"/>
                      </a:lnTo>
                      <a:lnTo>
                        <a:pt x="263" y="518"/>
                      </a:lnTo>
                      <a:lnTo>
                        <a:pt x="256" y="523"/>
                      </a:lnTo>
                      <a:lnTo>
                        <a:pt x="253" y="523"/>
                      </a:lnTo>
                      <a:lnTo>
                        <a:pt x="253" y="520"/>
                      </a:lnTo>
                      <a:lnTo>
                        <a:pt x="253" y="518"/>
                      </a:lnTo>
                      <a:lnTo>
                        <a:pt x="249" y="523"/>
                      </a:lnTo>
                      <a:lnTo>
                        <a:pt x="249" y="525"/>
                      </a:lnTo>
                      <a:lnTo>
                        <a:pt x="251" y="527"/>
                      </a:lnTo>
                      <a:lnTo>
                        <a:pt x="249" y="527"/>
                      </a:lnTo>
                      <a:lnTo>
                        <a:pt x="246" y="530"/>
                      </a:lnTo>
                      <a:lnTo>
                        <a:pt x="244" y="530"/>
                      </a:lnTo>
                      <a:lnTo>
                        <a:pt x="244" y="527"/>
                      </a:lnTo>
                      <a:lnTo>
                        <a:pt x="244" y="525"/>
                      </a:lnTo>
                      <a:lnTo>
                        <a:pt x="244" y="523"/>
                      </a:lnTo>
                      <a:lnTo>
                        <a:pt x="244" y="518"/>
                      </a:lnTo>
                      <a:lnTo>
                        <a:pt x="244" y="516"/>
                      </a:lnTo>
                      <a:lnTo>
                        <a:pt x="242" y="516"/>
                      </a:lnTo>
                      <a:lnTo>
                        <a:pt x="239" y="520"/>
                      </a:lnTo>
                      <a:lnTo>
                        <a:pt x="239" y="532"/>
                      </a:lnTo>
                      <a:lnTo>
                        <a:pt x="239" y="534"/>
                      </a:lnTo>
                      <a:lnTo>
                        <a:pt x="230" y="536"/>
                      </a:lnTo>
                      <a:lnTo>
                        <a:pt x="226" y="536"/>
                      </a:lnTo>
                      <a:lnTo>
                        <a:pt x="226" y="534"/>
                      </a:lnTo>
                      <a:lnTo>
                        <a:pt x="228" y="532"/>
                      </a:lnTo>
                      <a:lnTo>
                        <a:pt x="228" y="527"/>
                      </a:lnTo>
                      <a:lnTo>
                        <a:pt x="223" y="525"/>
                      </a:lnTo>
                      <a:lnTo>
                        <a:pt x="221" y="525"/>
                      </a:lnTo>
                      <a:lnTo>
                        <a:pt x="223" y="532"/>
                      </a:lnTo>
                      <a:lnTo>
                        <a:pt x="223" y="534"/>
                      </a:lnTo>
                      <a:lnTo>
                        <a:pt x="219" y="536"/>
                      </a:lnTo>
                      <a:lnTo>
                        <a:pt x="219" y="539"/>
                      </a:lnTo>
                      <a:lnTo>
                        <a:pt x="212" y="541"/>
                      </a:lnTo>
                      <a:lnTo>
                        <a:pt x="209" y="541"/>
                      </a:lnTo>
                      <a:lnTo>
                        <a:pt x="207" y="543"/>
                      </a:lnTo>
                      <a:lnTo>
                        <a:pt x="207" y="546"/>
                      </a:lnTo>
                      <a:lnTo>
                        <a:pt x="209" y="548"/>
                      </a:lnTo>
                      <a:lnTo>
                        <a:pt x="209" y="550"/>
                      </a:lnTo>
                      <a:lnTo>
                        <a:pt x="207" y="550"/>
                      </a:lnTo>
                      <a:lnTo>
                        <a:pt x="205" y="548"/>
                      </a:lnTo>
                      <a:lnTo>
                        <a:pt x="205" y="546"/>
                      </a:lnTo>
                      <a:lnTo>
                        <a:pt x="205" y="543"/>
                      </a:lnTo>
                      <a:lnTo>
                        <a:pt x="202" y="543"/>
                      </a:lnTo>
                      <a:lnTo>
                        <a:pt x="195" y="539"/>
                      </a:lnTo>
                      <a:lnTo>
                        <a:pt x="193" y="539"/>
                      </a:lnTo>
                      <a:lnTo>
                        <a:pt x="193" y="541"/>
                      </a:lnTo>
                      <a:lnTo>
                        <a:pt x="193" y="543"/>
                      </a:lnTo>
                      <a:lnTo>
                        <a:pt x="195" y="543"/>
                      </a:lnTo>
                      <a:lnTo>
                        <a:pt x="198" y="543"/>
                      </a:lnTo>
                      <a:lnTo>
                        <a:pt x="198" y="546"/>
                      </a:lnTo>
                      <a:lnTo>
                        <a:pt x="198" y="548"/>
                      </a:lnTo>
                      <a:lnTo>
                        <a:pt x="198" y="550"/>
                      </a:lnTo>
                      <a:lnTo>
                        <a:pt x="195" y="550"/>
                      </a:lnTo>
                      <a:lnTo>
                        <a:pt x="195" y="553"/>
                      </a:lnTo>
                      <a:lnTo>
                        <a:pt x="193" y="555"/>
                      </a:lnTo>
                      <a:lnTo>
                        <a:pt x="202" y="550"/>
                      </a:lnTo>
                      <a:lnTo>
                        <a:pt x="200" y="553"/>
                      </a:lnTo>
                      <a:lnTo>
                        <a:pt x="200" y="555"/>
                      </a:lnTo>
                      <a:lnTo>
                        <a:pt x="198" y="557"/>
                      </a:lnTo>
                      <a:lnTo>
                        <a:pt x="202" y="560"/>
                      </a:lnTo>
                      <a:lnTo>
                        <a:pt x="202" y="562"/>
                      </a:lnTo>
                      <a:lnTo>
                        <a:pt x="195" y="569"/>
                      </a:lnTo>
                      <a:lnTo>
                        <a:pt x="191" y="576"/>
                      </a:lnTo>
                      <a:lnTo>
                        <a:pt x="191" y="578"/>
                      </a:lnTo>
                      <a:lnTo>
                        <a:pt x="188" y="581"/>
                      </a:lnTo>
                      <a:lnTo>
                        <a:pt x="184" y="581"/>
                      </a:lnTo>
                      <a:lnTo>
                        <a:pt x="184" y="578"/>
                      </a:lnTo>
                      <a:lnTo>
                        <a:pt x="186" y="569"/>
                      </a:lnTo>
                      <a:lnTo>
                        <a:pt x="186" y="567"/>
                      </a:lnTo>
                      <a:lnTo>
                        <a:pt x="184" y="571"/>
                      </a:lnTo>
                      <a:lnTo>
                        <a:pt x="179" y="578"/>
                      </a:lnTo>
                      <a:lnTo>
                        <a:pt x="177" y="576"/>
                      </a:lnTo>
                      <a:lnTo>
                        <a:pt x="174" y="576"/>
                      </a:lnTo>
                      <a:lnTo>
                        <a:pt x="174" y="581"/>
                      </a:lnTo>
                      <a:lnTo>
                        <a:pt x="172" y="583"/>
                      </a:lnTo>
                      <a:lnTo>
                        <a:pt x="172" y="578"/>
                      </a:lnTo>
                      <a:lnTo>
                        <a:pt x="172" y="576"/>
                      </a:lnTo>
                      <a:lnTo>
                        <a:pt x="174" y="574"/>
                      </a:lnTo>
                      <a:lnTo>
                        <a:pt x="174" y="571"/>
                      </a:lnTo>
                      <a:lnTo>
                        <a:pt x="174" y="569"/>
                      </a:lnTo>
                      <a:lnTo>
                        <a:pt x="174" y="567"/>
                      </a:lnTo>
                      <a:lnTo>
                        <a:pt x="174" y="562"/>
                      </a:lnTo>
                      <a:lnTo>
                        <a:pt x="170" y="564"/>
                      </a:lnTo>
                      <a:lnTo>
                        <a:pt x="167" y="564"/>
                      </a:lnTo>
                      <a:lnTo>
                        <a:pt x="165" y="569"/>
                      </a:lnTo>
                      <a:lnTo>
                        <a:pt x="167" y="569"/>
                      </a:lnTo>
                      <a:lnTo>
                        <a:pt x="163" y="574"/>
                      </a:lnTo>
                      <a:lnTo>
                        <a:pt x="160" y="574"/>
                      </a:lnTo>
                      <a:lnTo>
                        <a:pt x="156" y="574"/>
                      </a:lnTo>
                      <a:lnTo>
                        <a:pt x="153" y="574"/>
                      </a:lnTo>
                      <a:lnTo>
                        <a:pt x="151" y="576"/>
                      </a:lnTo>
                      <a:lnTo>
                        <a:pt x="156" y="578"/>
                      </a:lnTo>
                      <a:lnTo>
                        <a:pt x="153" y="581"/>
                      </a:lnTo>
                      <a:lnTo>
                        <a:pt x="151" y="581"/>
                      </a:lnTo>
                      <a:lnTo>
                        <a:pt x="149" y="578"/>
                      </a:lnTo>
                      <a:lnTo>
                        <a:pt x="146" y="578"/>
                      </a:lnTo>
                      <a:lnTo>
                        <a:pt x="142" y="583"/>
                      </a:lnTo>
                      <a:lnTo>
                        <a:pt x="139" y="581"/>
                      </a:lnTo>
                      <a:lnTo>
                        <a:pt x="137" y="585"/>
                      </a:lnTo>
                      <a:lnTo>
                        <a:pt x="135" y="585"/>
                      </a:lnTo>
                      <a:lnTo>
                        <a:pt x="135" y="583"/>
                      </a:lnTo>
                      <a:lnTo>
                        <a:pt x="137" y="581"/>
                      </a:lnTo>
                      <a:lnTo>
                        <a:pt x="135" y="578"/>
                      </a:lnTo>
                      <a:lnTo>
                        <a:pt x="135" y="581"/>
                      </a:lnTo>
                      <a:lnTo>
                        <a:pt x="132" y="581"/>
                      </a:lnTo>
                      <a:lnTo>
                        <a:pt x="132" y="583"/>
                      </a:lnTo>
                      <a:lnTo>
                        <a:pt x="132" y="585"/>
                      </a:lnTo>
                      <a:lnTo>
                        <a:pt x="130" y="588"/>
                      </a:lnTo>
                      <a:lnTo>
                        <a:pt x="128" y="590"/>
                      </a:lnTo>
                      <a:lnTo>
                        <a:pt x="121" y="592"/>
                      </a:lnTo>
                      <a:lnTo>
                        <a:pt x="114" y="604"/>
                      </a:lnTo>
                      <a:lnTo>
                        <a:pt x="109" y="602"/>
                      </a:lnTo>
                      <a:lnTo>
                        <a:pt x="91" y="606"/>
                      </a:lnTo>
                      <a:lnTo>
                        <a:pt x="88" y="604"/>
                      </a:lnTo>
                      <a:lnTo>
                        <a:pt x="86" y="604"/>
                      </a:lnTo>
                      <a:lnTo>
                        <a:pt x="79" y="606"/>
                      </a:lnTo>
                      <a:lnTo>
                        <a:pt x="74" y="611"/>
                      </a:lnTo>
                      <a:lnTo>
                        <a:pt x="72" y="611"/>
                      </a:lnTo>
                      <a:lnTo>
                        <a:pt x="72" y="606"/>
                      </a:lnTo>
                      <a:lnTo>
                        <a:pt x="74" y="597"/>
                      </a:lnTo>
                      <a:lnTo>
                        <a:pt x="77" y="595"/>
                      </a:lnTo>
                      <a:lnTo>
                        <a:pt x="79" y="592"/>
                      </a:lnTo>
                      <a:lnTo>
                        <a:pt x="81" y="592"/>
                      </a:lnTo>
                      <a:lnTo>
                        <a:pt x="81" y="590"/>
                      </a:lnTo>
                      <a:lnTo>
                        <a:pt x="79" y="588"/>
                      </a:lnTo>
                      <a:lnTo>
                        <a:pt x="79" y="585"/>
                      </a:lnTo>
                      <a:lnTo>
                        <a:pt x="79" y="583"/>
                      </a:lnTo>
                      <a:lnTo>
                        <a:pt x="79" y="581"/>
                      </a:lnTo>
                      <a:lnTo>
                        <a:pt x="74" y="583"/>
                      </a:lnTo>
                      <a:lnTo>
                        <a:pt x="74" y="585"/>
                      </a:lnTo>
                      <a:lnTo>
                        <a:pt x="74" y="588"/>
                      </a:lnTo>
                      <a:lnTo>
                        <a:pt x="74" y="590"/>
                      </a:lnTo>
                      <a:lnTo>
                        <a:pt x="74" y="592"/>
                      </a:lnTo>
                      <a:lnTo>
                        <a:pt x="72" y="592"/>
                      </a:lnTo>
                      <a:lnTo>
                        <a:pt x="70" y="595"/>
                      </a:lnTo>
                      <a:lnTo>
                        <a:pt x="70" y="597"/>
                      </a:lnTo>
                      <a:lnTo>
                        <a:pt x="70" y="599"/>
                      </a:lnTo>
                      <a:lnTo>
                        <a:pt x="70" y="602"/>
                      </a:lnTo>
                      <a:lnTo>
                        <a:pt x="70" y="604"/>
                      </a:lnTo>
                      <a:lnTo>
                        <a:pt x="67" y="606"/>
                      </a:lnTo>
                      <a:lnTo>
                        <a:pt x="67" y="609"/>
                      </a:lnTo>
                      <a:lnTo>
                        <a:pt x="63" y="615"/>
                      </a:lnTo>
                      <a:lnTo>
                        <a:pt x="60" y="620"/>
                      </a:lnTo>
                      <a:lnTo>
                        <a:pt x="51" y="629"/>
                      </a:lnTo>
                      <a:lnTo>
                        <a:pt x="49" y="632"/>
                      </a:lnTo>
                      <a:lnTo>
                        <a:pt x="51" y="636"/>
                      </a:lnTo>
                      <a:lnTo>
                        <a:pt x="53" y="639"/>
                      </a:lnTo>
                      <a:lnTo>
                        <a:pt x="56" y="641"/>
                      </a:lnTo>
                      <a:lnTo>
                        <a:pt x="35" y="648"/>
                      </a:lnTo>
                      <a:lnTo>
                        <a:pt x="35" y="650"/>
                      </a:lnTo>
                      <a:lnTo>
                        <a:pt x="28" y="650"/>
                      </a:lnTo>
                      <a:lnTo>
                        <a:pt x="25" y="650"/>
                      </a:lnTo>
                      <a:lnTo>
                        <a:pt x="23" y="653"/>
                      </a:lnTo>
                      <a:lnTo>
                        <a:pt x="16" y="655"/>
                      </a:lnTo>
                      <a:lnTo>
                        <a:pt x="14" y="655"/>
                      </a:lnTo>
                      <a:lnTo>
                        <a:pt x="16" y="653"/>
                      </a:lnTo>
                      <a:lnTo>
                        <a:pt x="18" y="648"/>
                      </a:lnTo>
                      <a:lnTo>
                        <a:pt x="18" y="646"/>
                      </a:lnTo>
                      <a:lnTo>
                        <a:pt x="23" y="643"/>
                      </a:lnTo>
                      <a:lnTo>
                        <a:pt x="39" y="634"/>
                      </a:lnTo>
                      <a:lnTo>
                        <a:pt x="44" y="632"/>
                      </a:lnTo>
                      <a:lnTo>
                        <a:pt x="42" y="627"/>
                      </a:lnTo>
                      <a:lnTo>
                        <a:pt x="42" y="625"/>
                      </a:lnTo>
                      <a:lnTo>
                        <a:pt x="44" y="625"/>
                      </a:lnTo>
                      <a:lnTo>
                        <a:pt x="49" y="625"/>
                      </a:lnTo>
                      <a:lnTo>
                        <a:pt x="51" y="622"/>
                      </a:lnTo>
                      <a:lnTo>
                        <a:pt x="53" y="620"/>
                      </a:lnTo>
                      <a:lnTo>
                        <a:pt x="56" y="613"/>
                      </a:lnTo>
                      <a:lnTo>
                        <a:pt x="56" y="609"/>
                      </a:lnTo>
                      <a:lnTo>
                        <a:pt x="56" y="602"/>
                      </a:lnTo>
                      <a:lnTo>
                        <a:pt x="56" y="597"/>
                      </a:lnTo>
                      <a:lnTo>
                        <a:pt x="56" y="599"/>
                      </a:lnTo>
                      <a:lnTo>
                        <a:pt x="51" y="615"/>
                      </a:lnTo>
                      <a:lnTo>
                        <a:pt x="49" y="622"/>
                      </a:lnTo>
                      <a:lnTo>
                        <a:pt x="46" y="622"/>
                      </a:lnTo>
                      <a:lnTo>
                        <a:pt x="46" y="620"/>
                      </a:lnTo>
                      <a:lnTo>
                        <a:pt x="46" y="618"/>
                      </a:lnTo>
                      <a:lnTo>
                        <a:pt x="44" y="618"/>
                      </a:lnTo>
                      <a:lnTo>
                        <a:pt x="42" y="618"/>
                      </a:lnTo>
                      <a:lnTo>
                        <a:pt x="42" y="620"/>
                      </a:lnTo>
                      <a:lnTo>
                        <a:pt x="37" y="620"/>
                      </a:lnTo>
                      <a:lnTo>
                        <a:pt x="35" y="622"/>
                      </a:lnTo>
                      <a:lnTo>
                        <a:pt x="37" y="625"/>
                      </a:lnTo>
                      <a:lnTo>
                        <a:pt x="35" y="625"/>
                      </a:lnTo>
                      <a:lnTo>
                        <a:pt x="32" y="622"/>
                      </a:lnTo>
                      <a:lnTo>
                        <a:pt x="32" y="615"/>
                      </a:lnTo>
                      <a:lnTo>
                        <a:pt x="32" y="613"/>
                      </a:lnTo>
                      <a:lnTo>
                        <a:pt x="35" y="611"/>
                      </a:lnTo>
                      <a:lnTo>
                        <a:pt x="42" y="606"/>
                      </a:lnTo>
                      <a:lnTo>
                        <a:pt x="44" y="604"/>
                      </a:lnTo>
                      <a:lnTo>
                        <a:pt x="46" y="597"/>
                      </a:lnTo>
                      <a:lnTo>
                        <a:pt x="46" y="595"/>
                      </a:lnTo>
                      <a:lnTo>
                        <a:pt x="42" y="595"/>
                      </a:lnTo>
                      <a:lnTo>
                        <a:pt x="30" y="599"/>
                      </a:lnTo>
                      <a:lnTo>
                        <a:pt x="25" y="599"/>
                      </a:lnTo>
                      <a:lnTo>
                        <a:pt x="21" y="599"/>
                      </a:lnTo>
                      <a:lnTo>
                        <a:pt x="18" y="597"/>
                      </a:lnTo>
                      <a:lnTo>
                        <a:pt x="16" y="595"/>
                      </a:lnTo>
                      <a:lnTo>
                        <a:pt x="14" y="592"/>
                      </a:lnTo>
                      <a:lnTo>
                        <a:pt x="16" y="590"/>
                      </a:lnTo>
                      <a:lnTo>
                        <a:pt x="16" y="585"/>
                      </a:lnTo>
                      <a:lnTo>
                        <a:pt x="18" y="585"/>
                      </a:lnTo>
                      <a:lnTo>
                        <a:pt x="23" y="588"/>
                      </a:lnTo>
                      <a:lnTo>
                        <a:pt x="28" y="585"/>
                      </a:lnTo>
                      <a:lnTo>
                        <a:pt x="37" y="578"/>
                      </a:lnTo>
                      <a:lnTo>
                        <a:pt x="46" y="562"/>
                      </a:lnTo>
                      <a:lnTo>
                        <a:pt x="46" y="560"/>
                      </a:lnTo>
                      <a:lnTo>
                        <a:pt x="49" y="560"/>
                      </a:lnTo>
                      <a:lnTo>
                        <a:pt x="49" y="562"/>
                      </a:lnTo>
                      <a:lnTo>
                        <a:pt x="49" y="564"/>
                      </a:lnTo>
                      <a:lnTo>
                        <a:pt x="51" y="564"/>
                      </a:lnTo>
                      <a:lnTo>
                        <a:pt x="53" y="564"/>
                      </a:lnTo>
                      <a:lnTo>
                        <a:pt x="58" y="564"/>
                      </a:lnTo>
                      <a:lnTo>
                        <a:pt x="63" y="562"/>
                      </a:lnTo>
                      <a:lnTo>
                        <a:pt x="67" y="560"/>
                      </a:lnTo>
                      <a:lnTo>
                        <a:pt x="74" y="553"/>
                      </a:lnTo>
                      <a:lnTo>
                        <a:pt x="77" y="550"/>
                      </a:lnTo>
                      <a:lnTo>
                        <a:pt x="84" y="550"/>
                      </a:lnTo>
                      <a:lnTo>
                        <a:pt x="86" y="550"/>
                      </a:lnTo>
                      <a:lnTo>
                        <a:pt x="86" y="546"/>
                      </a:lnTo>
                      <a:lnTo>
                        <a:pt x="84" y="543"/>
                      </a:lnTo>
                      <a:lnTo>
                        <a:pt x="81" y="541"/>
                      </a:lnTo>
                      <a:lnTo>
                        <a:pt x="79" y="539"/>
                      </a:lnTo>
                      <a:lnTo>
                        <a:pt x="77" y="536"/>
                      </a:lnTo>
                      <a:lnTo>
                        <a:pt x="79" y="536"/>
                      </a:lnTo>
                      <a:lnTo>
                        <a:pt x="81" y="536"/>
                      </a:lnTo>
                      <a:lnTo>
                        <a:pt x="81" y="534"/>
                      </a:lnTo>
                      <a:lnTo>
                        <a:pt x="81" y="532"/>
                      </a:lnTo>
                      <a:lnTo>
                        <a:pt x="86" y="527"/>
                      </a:lnTo>
                      <a:lnTo>
                        <a:pt x="88" y="520"/>
                      </a:lnTo>
                      <a:lnTo>
                        <a:pt x="88" y="516"/>
                      </a:lnTo>
                      <a:lnTo>
                        <a:pt x="91" y="509"/>
                      </a:lnTo>
                      <a:lnTo>
                        <a:pt x="91" y="506"/>
                      </a:lnTo>
                      <a:lnTo>
                        <a:pt x="93" y="502"/>
                      </a:lnTo>
                      <a:lnTo>
                        <a:pt x="93" y="497"/>
                      </a:lnTo>
                      <a:lnTo>
                        <a:pt x="93" y="492"/>
                      </a:lnTo>
                      <a:lnTo>
                        <a:pt x="91" y="490"/>
                      </a:lnTo>
                      <a:lnTo>
                        <a:pt x="81" y="490"/>
                      </a:lnTo>
                      <a:lnTo>
                        <a:pt x="81" y="485"/>
                      </a:lnTo>
                      <a:lnTo>
                        <a:pt x="84" y="481"/>
                      </a:lnTo>
                      <a:lnTo>
                        <a:pt x="95" y="476"/>
                      </a:lnTo>
                      <a:lnTo>
                        <a:pt x="98" y="474"/>
                      </a:lnTo>
                      <a:lnTo>
                        <a:pt x="95" y="469"/>
                      </a:lnTo>
                      <a:lnTo>
                        <a:pt x="95" y="467"/>
                      </a:lnTo>
                      <a:lnTo>
                        <a:pt x="95" y="462"/>
                      </a:lnTo>
                      <a:lnTo>
                        <a:pt x="98" y="457"/>
                      </a:lnTo>
                      <a:lnTo>
                        <a:pt x="98" y="455"/>
                      </a:lnTo>
                      <a:lnTo>
                        <a:pt x="100" y="453"/>
                      </a:lnTo>
                      <a:lnTo>
                        <a:pt x="98" y="450"/>
                      </a:lnTo>
                      <a:lnTo>
                        <a:pt x="95" y="448"/>
                      </a:lnTo>
                      <a:lnTo>
                        <a:pt x="93" y="448"/>
                      </a:lnTo>
                      <a:lnTo>
                        <a:pt x="93" y="444"/>
                      </a:lnTo>
                      <a:lnTo>
                        <a:pt x="95" y="441"/>
                      </a:lnTo>
                      <a:lnTo>
                        <a:pt x="79" y="441"/>
                      </a:lnTo>
                      <a:lnTo>
                        <a:pt x="72" y="441"/>
                      </a:lnTo>
                      <a:lnTo>
                        <a:pt x="65" y="437"/>
                      </a:lnTo>
                      <a:lnTo>
                        <a:pt x="56" y="437"/>
                      </a:lnTo>
                      <a:lnTo>
                        <a:pt x="49" y="434"/>
                      </a:lnTo>
                      <a:lnTo>
                        <a:pt x="46" y="430"/>
                      </a:lnTo>
                      <a:lnTo>
                        <a:pt x="42" y="427"/>
                      </a:lnTo>
                      <a:lnTo>
                        <a:pt x="39" y="427"/>
                      </a:lnTo>
                      <a:lnTo>
                        <a:pt x="30" y="434"/>
                      </a:lnTo>
                      <a:lnTo>
                        <a:pt x="23" y="437"/>
                      </a:lnTo>
                      <a:lnTo>
                        <a:pt x="18" y="434"/>
                      </a:lnTo>
                      <a:lnTo>
                        <a:pt x="14" y="434"/>
                      </a:lnTo>
                      <a:lnTo>
                        <a:pt x="7" y="430"/>
                      </a:lnTo>
                      <a:lnTo>
                        <a:pt x="4" y="425"/>
                      </a:lnTo>
                      <a:lnTo>
                        <a:pt x="7" y="423"/>
                      </a:lnTo>
                      <a:lnTo>
                        <a:pt x="7" y="420"/>
                      </a:lnTo>
                      <a:lnTo>
                        <a:pt x="9" y="416"/>
                      </a:lnTo>
                      <a:lnTo>
                        <a:pt x="9" y="413"/>
                      </a:lnTo>
                      <a:lnTo>
                        <a:pt x="4" y="413"/>
                      </a:lnTo>
                      <a:lnTo>
                        <a:pt x="0" y="411"/>
                      </a:lnTo>
                      <a:lnTo>
                        <a:pt x="0" y="404"/>
                      </a:lnTo>
                      <a:lnTo>
                        <a:pt x="0" y="399"/>
                      </a:lnTo>
                      <a:lnTo>
                        <a:pt x="4" y="397"/>
                      </a:lnTo>
                      <a:lnTo>
                        <a:pt x="11" y="397"/>
                      </a:lnTo>
                      <a:lnTo>
                        <a:pt x="11" y="392"/>
                      </a:lnTo>
                      <a:lnTo>
                        <a:pt x="9" y="392"/>
                      </a:lnTo>
                      <a:lnTo>
                        <a:pt x="11" y="392"/>
                      </a:lnTo>
                      <a:lnTo>
                        <a:pt x="14" y="390"/>
                      </a:lnTo>
                      <a:lnTo>
                        <a:pt x="14" y="385"/>
                      </a:lnTo>
                      <a:lnTo>
                        <a:pt x="14" y="383"/>
                      </a:lnTo>
                      <a:lnTo>
                        <a:pt x="11" y="381"/>
                      </a:lnTo>
                      <a:lnTo>
                        <a:pt x="9" y="381"/>
                      </a:lnTo>
                      <a:lnTo>
                        <a:pt x="7" y="378"/>
                      </a:lnTo>
                      <a:lnTo>
                        <a:pt x="0" y="374"/>
                      </a:lnTo>
                      <a:lnTo>
                        <a:pt x="9" y="367"/>
                      </a:lnTo>
                      <a:lnTo>
                        <a:pt x="16" y="369"/>
                      </a:lnTo>
                      <a:lnTo>
                        <a:pt x="28" y="376"/>
                      </a:lnTo>
                      <a:lnTo>
                        <a:pt x="32" y="376"/>
                      </a:lnTo>
                      <a:lnTo>
                        <a:pt x="30" y="374"/>
                      </a:lnTo>
                      <a:lnTo>
                        <a:pt x="30" y="371"/>
                      </a:lnTo>
                      <a:lnTo>
                        <a:pt x="32" y="371"/>
                      </a:lnTo>
                      <a:lnTo>
                        <a:pt x="44" y="369"/>
                      </a:lnTo>
                      <a:lnTo>
                        <a:pt x="53" y="362"/>
                      </a:lnTo>
                      <a:lnTo>
                        <a:pt x="58" y="362"/>
                      </a:lnTo>
                      <a:lnTo>
                        <a:pt x="60" y="362"/>
                      </a:lnTo>
                      <a:lnTo>
                        <a:pt x="65" y="362"/>
                      </a:lnTo>
                      <a:lnTo>
                        <a:pt x="74" y="371"/>
                      </a:lnTo>
                      <a:lnTo>
                        <a:pt x="77" y="371"/>
                      </a:lnTo>
                      <a:lnTo>
                        <a:pt x="77" y="369"/>
                      </a:lnTo>
                      <a:lnTo>
                        <a:pt x="77" y="367"/>
                      </a:lnTo>
                      <a:lnTo>
                        <a:pt x="74" y="365"/>
                      </a:lnTo>
                      <a:lnTo>
                        <a:pt x="72" y="362"/>
                      </a:lnTo>
                      <a:lnTo>
                        <a:pt x="72" y="360"/>
                      </a:lnTo>
                      <a:lnTo>
                        <a:pt x="74" y="358"/>
                      </a:lnTo>
                      <a:lnTo>
                        <a:pt x="74" y="355"/>
                      </a:lnTo>
                      <a:lnTo>
                        <a:pt x="77" y="353"/>
                      </a:lnTo>
                      <a:lnTo>
                        <a:pt x="74" y="351"/>
                      </a:lnTo>
                      <a:lnTo>
                        <a:pt x="72" y="351"/>
                      </a:lnTo>
                      <a:lnTo>
                        <a:pt x="67" y="355"/>
                      </a:lnTo>
                      <a:lnTo>
                        <a:pt x="67" y="353"/>
                      </a:lnTo>
                      <a:lnTo>
                        <a:pt x="67" y="351"/>
                      </a:lnTo>
                      <a:lnTo>
                        <a:pt x="65" y="348"/>
                      </a:lnTo>
                      <a:lnTo>
                        <a:pt x="63" y="348"/>
                      </a:lnTo>
                      <a:lnTo>
                        <a:pt x="63" y="346"/>
                      </a:lnTo>
                      <a:lnTo>
                        <a:pt x="65" y="344"/>
                      </a:lnTo>
                      <a:lnTo>
                        <a:pt x="79" y="337"/>
                      </a:lnTo>
                      <a:lnTo>
                        <a:pt x="88" y="327"/>
                      </a:lnTo>
                      <a:lnTo>
                        <a:pt x="95" y="325"/>
                      </a:lnTo>
                      <a:lnTo>
                        <a:pt x="100" y="325"/>
                      </a:lnTo>
                      <a:lnTo>
                        <a:pt x="100" y="323"/>
                      </a:lnTo>
                      <a:lnTo>
                        <a:pt x="100" y="320"/>
                      </a:lnTo>
                      <a:lnTo>
                        <a:pt x="104" y="318"/>
                      </a:lnTo>
                      <a:lnTo>
                        <a:pt x="109" y="316"/>
                      </a:lnTo>
                      <a:lnTo>
                        <a:pt x="114" y="309"/>
                      </a:lnTo>
                      <a:lnTo>
                        <a:pt x="116" y="304"/>
                      </a:lnTo>
                      <a:lnTo>
                        <a:pt x="114" y="304"/>
                      </a:lnTo>
                      <a:lnTo>
                        <a:pt x="111" y="304"/>
                      </a:lnTo>
                      <a:lnTo>
                        <a:pt x="111" y="302"/>
                      </a:lnTo>
                      <a:lnTo>
                        <a:pt x="111" y="297"/>
                      </a:lnTo>
                      <a:lnTo>
                        <a:pt x="111" y="295"/>
                      </a:lnTo>
                      <a:lnTo>
                        <a:pt x="118" y="295"/>
                      </a:lnTo>
                      <a:lnTo>
                        <a:pt x="123" y="292"/>
                      </a:lnTo>
                      <a:lnTo>
                        <a:pt x="135" y="279"/>
                      </a:lnTo>
                      <a:lnTo>
                        <a:pt x="139" y="276"/>
                      </a:lnTo>
                      <a:lnTo>
                        <a:pt x="144" y="276"/>
                      </a:lnTo>
                      <a:lnTo>
                        <a:pt x="151" y="276"/>
                      </a:lnTo>
                      <a:lnTo>
                        <a:pt x="156" y="279"/>
                      </a:lnTo>
                      <a:lnTo>
                        <a:pt x="158" y="274"/>
                      </a:lnTo>
                      <a:lnTo>
                        <a:pt x="158" y="272"/>
                      </a:lnTo>
                      <a:lnTo>
                        <a:pt x="160" y="269"/>
                      </a:lnTo>
                      <a:lnTo>
                        <a:pt x="165" y="276"/>
                      </a:lnTo>
                      <a:lnTo>
                        <a:pt x="170" y="276"/>
                      </a:lnTo>
                      <a:lnTo>
                        <a:pt x="177" y="272"/>
                      </a:lnTo>
                      <a:lnTo>
                        <a:pt x="177" y="269"/>
                      </a:lnTo>
                      <a:lnTo>
                        <a:pt x="177" y="267"/>
                      </a:lnTo>
                      <a:lnTo>
                        <a:pt x="177" y="265"/>
                      </a:lnTo>
                      <a:lnTo>
                        <a:pt x="177" y="262"/>
                      </a:lnTo>
                      <a:lnTo>
                        <a:pt x="179" y="262"/>
                      </a:lnTo>
                      <a:lnTo>
                        <a:pt x="177" y="258"/>
                      </a:lnTo>
                      <a:lnTo>
                        <a:pt x="174" y="253"/>
                      </a:lnTo>
                      <a:lnTo>
                        <a:pt x="174" y="246"/>
                      </a:lnTo>
                      <a:lnTo>
                        <a:pt x="174" y="241"/>
                      </a:lnTo>
                      <a:lnTo>
                        <a:pt x="172" y="239"/>
                      </a:lnTo>
                      <a:lnTo>
                        <a:pt x="170" y="237"/>
                      </a:lnTo>
                      <a:lnTo>
                        <a:pt x="167" y="232"/>
                      </a:lnTo>
                      <a:lnTo>
                        <a:pt x="165" y="230"/>
                      </a:lnTo>
                      <a:lnTo>
                        <a:pt x="167" y="227"/>
                      </a:lnTo>
                      <a:lnTo>
                        <a:pt x="177" y="230"/>
                      </a:lnTo>
                      <a:lnTo>
                        <a:pt x="179" y="230"/>
                      </a:lnTo>
                      <a:lnTo>
                        <a:pt x="226" y="213"/>
                      </a:lnTo>
                      <a:lnTo>
                        <a:pt x="228" y="211"/>
                      </a:lnTo>
                      <a:lnTo>
                        <a:pt x="228" y="207"/>
                      </a:lnTo>
                      <a:lnTo>
                        <a:pt x="230" y="202"/>
                      </a:lnTo>
                      <a:lnTo>
                        <a:pt x="230" y="193"/>
                      </a:lnTo>
                      <a:lnTo>
                        <a:pt x="228" y="172"/>
                      </a:lnTo>
                      <a:lnTo>
                        <a:pt x="228" y="165"/>
                      </a:lnTo>
                      <a:lnTo>
                        <a:pt x="230" y="165"/>
                      </a:lnTo>
                      <a:lnTo>
                        <a:pt x="235" y="165"/>
                      </a:lnTo>
                      <a:lnTo>
                        <a:pt x="237" y="162"/>
                      </a:lnTo>
                      <a:lnTo>
                        <a:pt x="239" y="158"/>
                      </a:lnTo>
                      <a:lnTo>
                        <a:pt x="244" y="155"/>
                      </a:lnTo>
                      <a:lnTo>
                        <a:pt x="246" y="155"/>
                      </a:lnTo>
                      <a:lnTo>
                        <a:pt x="251" y="153"/>
                      </a:lnTo>
                      <a:lnTo>
                        <a:pt x="253" y="153"/>
                      </a:lnTo>
                      <a:lnTo>
                        <a:pt x="253" y="155"/>
                      </a:lnTo>
                      <a:lnTo>
                        <a:pt x="256" y="155"/>
                      </a:lnTo>
                      <a:lnTo>
                        <a:pt x="256" y="153"/>
                      </a:lnTo>
                      <a:lnTo>
                        <a:pt x="258" y="144"/>
                      </a:lnTo>
                      <a:lnTo>
                        <a:pt x="260" y="134"/>
                      </a:lnTo>
                      <a:lnTo>
                        <a:pt x="260" y="132"/>
                      </a:lnTo>
                      <a:lnTo>
                        <a:pt x="260" y="130"/>
                      </a:lnTo>
                      <a:lnTo>
                        <a:pt x="263" y="132"/>
                      </a:lnTo>
                      <a:lnTo>
                        <a:pt x="263" y="134"/>
                      </a:lnTo>
                      <a:lnTo>
                        <a:pt x="263" y="137"/>
                      </a:lnTo>
                      <a:lnTo>
                        <a:pt x="265" y="137"/>
                      </a:lnTo>
                      <a:lnTo>
                        <a:pt x="267" y="137"/>
                      </a:lnTo>
                      <a:lnTo>
                        <a:pt x="267" y="134"/>
                      </a:lnTo>
                      <a:lnTo>
                        <a:pt x="267" y="132"/>
                      </a:lnTo>
                      <a:lnTo>
                        <a:pt x="267" y="130"/>
                      </a:lnTo>
                      <a:lnTo>
                        <a:pt x="272" y="134"/>
                      </a:lnTo>
                      <a:lnTo>
                        <a:pt x="274" y="134"/>
                      </a:lnTo>
                      <a:lnTo>
                        <a:pt x="277" y="137"/>
                      </a:lnTo>
                      <a:lnTo>
                        <a:pt x="279" y="141"/>
                      </a:lnTo>
                      <a:lnTo>
                        <a:pt x="281" y="144"/>
                      </a:lnTo>
                      <a:lnTo>
                        <a:pt x="284" y="144"/>
                      </a:lnTo>
                      <a:lnTo>
                        <a:pt x="284" y="141"/>
                      </a:lnTo>
                      <a:lnTo>
                        <a:pt x="286" y="141"/>
                      </a:lnTo>
                      <a:lnTo>
                        <a:pt x="288" y="144"/>
                      </a:lnTo>
                      <a:lnTo>
                        <a:pt x="288" y="146"/>
                      </a:lnTo>
                      <a:lnTo>
                        <a:pt x="288" y="151"/>
                      </a:lnTo>
                      <a:lnTo>
                        <a:pt x="288" y="153"/>
                      </a:lnTo>
                      <a:lnTo>
                        <a:pt x="288" y="155"/>
                      </a:lnTo>
                      <a:lnTo>
                        <a:pt x="291" y="158"/>
                      </a:lnTo>
                      <a:lnTo>
                        <a:pt x="295" y="158"/>
                      </a:lnTo>
                      <a:lnTo>
                        <a:pt x="300" y="162"/>
                      </a:lnTo>
                      <a:lnTo>
                        <a:pt x="302" y="162"/>
                      </a:lnTo>
                      <a:lnTo>
                        <a:pt x="302" y="160"/>
                      </a:lnTo>
                      <a:lnTo>
                        <a:pt x="312" y="153"/>
                      </a:lnTo>
                      <a:lnTo>
                        <a:pt x="314" y="153"/>
                      </a:lnTo>
                      <a:lnTo>
                        <a:pt x="316" y="153"/>
                      </a:lnTo>
                      <a:lnTo>
                        <a:pt x="319" y="155"/>
                      </a:lnTo>
                      <a:lnTo>
                        <a:pt x="319" y="158"/>
                      </a:lnTo>
                      <a:lnTo>
                        <a:pt x="319" y="160"/>
                      </a:lnTo>
                      <a:lnTo>
                        <a:pt x="321" y="162"/>
                      </a:lnTo>
                      <a:lnTo>
                        <a:pt x="321" y="165"/>
                      </a:lnTo>
                      <a:lnTo>
                        <a:pt x="321" y="167"/>
                      </a:lnTo>
                      <a:lnTo>
                        <a:pt x="323" y="169"/>
                      </a:lnTo>
                      <a:lnTo>
                        <a:pt x="321" y="169"/>
                      </a:lnTo>
                      <a:lnTo>
                        <a:pt x="319" y="169"/>
                      </a:lnTo>
                      <a:lnTo>
                        <a:pt x="319" y="172"/>
                      </a:lnTo>
                      <a:lnTo>
                        <a:pt x="319" y="174"/>
                      </a:lnTo>
                      <a:lnTo>
                        <a:pt x="321" y="179"/>
                      </a:lnTo>
                      <a:lnTo>
                        <a:pt x="321" y="181"/>
                      </a:lnTo>
                      <a:lnTo>
                        <a:pt x="321" y="183"/>
                      </a:lnTo>
                      <a:lnTo>
                        <a:pt x="319" y="186"/>
                      </a:lnTo>
                      <a:lnTo>
                        <a:pt x="319" y="188"/>
                      </a:lnTo>
                      <a:lnTo>
                        <a:pt x="321" y="188"/>
                      </a:lnTo>
                      <a:lnTo>
                        <a:pt x="321" y="190"/>
                      </a:lnTo>
                      <a:lnTo>
                        <a:pt x="323" y="190"/>
                      </a:lnTo>
                      <a:lnTo>
                        <a:pt x="323" y="193"/>
                      </a:lnTo>
                      <a:lnTo>
                        <a:pt x="323" y="195"/>
                      </a:lnTo>
                      <a:lnTo>
                        <a:pt x="323" y="202"/>
                      </a:lnTo>
                      <a:lnTo>
                        <a:pt x="323" y="207"/>
                      </a:lnTo>
                      <a:lnTo>
                        <a:pt x="326" y="207"/>
                      </a:lnTo>
                      <a:lnTo>
                        <a:pt x="330" y="209"/>
                      </a:lnTo>
                      <a:lnTo>
                        <a:pt x="330" y="211"/>
                      </a:lnTo>
                      <a:lnTo>
                        <a:pt x="330" y="213"/>
                      </a:lnTo>
                      <a:lnTo>
                        <a:pt x="330" y="218"/>
                      </a:lnTo>
                      <a:lnTo>
                        <a:pt x="333" y="218"/>
                      </a:lnTo>
                      <a:lnTo>
                        <a:pt x="340" y="223"/>
                      </a:lnTo>
                      <a:lnTo>
                        <a:pt x="344" y="225"/>
                      </a:lnTo>
                      <a:lnTo>
                        <a:pt x="354" y="227"/>
                      </a:lnTo>
                      <a:lnTo>
                        <a:pt x="356" y="227"/>
                      </a:lnTo>
                      <a:lnTo>
                        <a:pt x="360" y="234"/>
                      </a:lnTo>
                      <a:lnTo>
                        <a:pt x="370" y="230"/>
                      </a:lnTo>
                      <a:lnTo>
                        <a:pt x="372" y="230"/>
                      </a:lnTo>
                      <a:lnTo>
                        <a:pt x="374" y="230"/>
                      </a:lnTo>
                      <a:lnTo>
                        <a:pt x="374" y="232"/>
                      </a:lnTo>
                      <a:lnTo>
                        <a:pt x="377" y="234"/>
                      </a:lnTo>
                      <a:lnTo>
                        <a:pt x="377" y="237"/>
                      </a:lnTo>
                      <a:lnTo>
                        <a:pt x="377" y="241"/>
                      </a:lnTo>
                      <a:lnTo>
                        <a:pt x="377" y="244"/>
                      </a:lnTo>
                      <a:lnTo>
                        <a:pt x="377" y="246"/>
                      </a:lnTo>
                      <a:lnTo>
                        <a:pt x="379" y="246"/>
                      </a:lnTo>
                      <a:lnTo>
                        <a:pt x="384" y="244"/>
                      </a:lnTo>
                      <a:lnTo>
                        <a:pt x="386" y="239"/>
                      </a:lnTo>
                      <a:lnTo>
                        <a:pt x="388" y="237"/>
                      </a:lnTo>
                      <a:lnTo>
                        <a:pt x="388" y="234"/>
                      </a:lnTo>
                      <a:lnTo>
                        <a:pt x="391" y="230"/>
                      </a:lnTo>
                      <a:lnTo>
                        <a:pt x="391" y="227"/>
                      </a:lnTo>
                      <a:lnTo>
                        <a:pt x="393" y="225"/>
                      </a:lnTo>
                      <a:lnTo>
                        <a:pt x="395" y="223"/>
                      </a:lnTo>
                      <a:lnTo>
                        <a:pt x="398" y="223"/>
                      </a:lnTo>
                      <a:lnTo>
                        <a:pt x="400" y="225"/>
                      </a:lnTo>
                      <a:lnTo>
                        <a:pt x="402" y="227"/>
                      </a:lnTo>
                      <a:lnTo>
                        <a:pt x="402" y="230"/>
                      </a:lnTo>
                      <a:lnTo>
                        <a:pt x="405" y="232"/>
                      </a:lnTo>
                      <a:lnTo>
                        <a:pt x="407" y="234"/>
                      </a:lnTo>
                      <a:lnTo>
                        <a:pt x="407" y="239"/>
                      </a:lnTo>
                      <a:lnTo>
                        <a:pt x="409" y="239"/>
                      </a:lnTo>
                      <a:lnTo>
                        <a:pt x="409" y="244"/>
                      </a:lnTo>
                      <a:lnTo>
                        <a:pt x="412" y="246"/>
                      </a:lnTo>
                      <a:lnTo>
                        <a:pt x="421" y="251"/>
                      </a:lnTo>
                      <a:lnTo>
                        <a:pt x="444" y="241"/>
                      </a:lnTo>
                      <a:lnTo>
                        <a:pt x="456" y="237"/>
                      </a:lnTo>
                      <a:lnTo>
                        <a:pt x="458" y="237"/>
                      </a:lnTo>
                      <a:lnTo>
                        <a:pt x="458" y="234"/>
                      </a:lnTo>
                      <a:lnTo>
                        <a:pt x="458" y="232"/>
                      </a:lnTo>
                      <a:lnTo>
                        <a:pt x="458" y="230"/>
                      </a:lnTo>
                      <a:lnTo>
                        <a:pt x="461" y="230"/>
                      </a:lnTo>
                      <a:lnTo>
                        <a:pt x="461" y="227"/>
                      </a:lnTo>
                      <a:lnTo>
                        <a:pt x="461" y="225"/>
                      </a:lnTo>
                      <a:lnTo>
                        <a:pt x="456" y="227"/>
                      </a:lnTo>
                      <a:lnTo>
                        <a:pt x="454" y="225"/>
                      </a:lnTo>
                      <a:lnTo>
                        <a:pt x="451" y="223"/>
                      </a:lnTo>
                      <a:lnTo>
                        <a:pt x="454" y="220"/>
                      </a:lnTo>
                      <a:lnTo>
                        <a:pt x="451" y="218"/>
                      </a:lnTo>
                      <a:lnTo>
                        <a:pt x="444" y="211"/>
                      </a:lnTo>
                      <a:lnTo>
                        <a:pt x="440" y="209"/>
                      </a:lnTo>
                      <a:lnTo>
                        <a:pt x="437" y="207"/>
                      </a:lnTo>
                      <a:lnTo>
                        <a:pt x="437" y="204"/>
                      </a:lnTo>
                      <a:lnTo>
                        <a:pt x="440" y="204"/>
                      </a:lnTo>
                      <a:lnTo>
                        <a:pt x="437" y="202"/>
                      </a:lnTo>
                      <a:lnTo>
                        <a:pt x="426" y="207"/>
                      </a:lnTo>
                      <a:lnTo>
                        <a:pt x="407" y="207"/>
                      </a:lnTo>
                      <a:lnTo>
                        <a:pt x="405" y="202"/>
                      </a:lnTo>
                      <a:lnTo>
                        <a:pt x="407" y="200"/>
                      </a:lnTo>
                      <a:lnTo>
                        <a:pt x="409" y="197"/>
                      </a:lnTo>
                      <a:lnTo>
                        <a:pt x="419" y="197"/>
                      </a:lnTo>
                      <a:lnTo>
                        <a:pt x="421" y="195"/>
                      </a:lnTo>
                      <a:lnTo>
                        <a:pt x="428" y="188"/>
                      </a:lnTo>
                      <a:lnTo>
                        <a:pt x="435" y="186"/>
                      </a:lnTo>
                      <a:lnTo>
                        <a:pt x="440" y="186"/>
                      </a:lnTo>
                      <a:lnTo>
                        <a:pt x="468" y="188"/>
                      </a:lnTo>
                      <a:lnTo>
                        <a:pt x="540" y="167"/>
                      </a:lnTo>
                      <a:lnTo>
                        <a:pt x="554" y="153"/>
                      </a:lnTo>
                      <a:lnTo>
                        <a:pt x="558" y="144"/>
                      </a:lnTo>
                      <a:lnTo>
                        <a:pt x="558" y="141"/>
                      </a:lnTo>
                      <a:lnTo>
                        <a:pt x="558" y="139"/>
                      </a:lnTo>
                      <a:lnTo>
                        <a:pt x="558" y="137"/>
                      </a:lnTo>
                      <a:lnTo>
                        <a:pt x="558" y="134"/>
                      </a:lnTo>
                      <a:lnTo>
                        <a:pt x="561" y="132"/>
                      </a:lnTo>
                      <a:lnTo>
                        <a:pt x="563" y="127"/>
                      </a:lnTo>
                      <a:lnTo>
                        <a:pt x="565" y="127"/>
                      </a:lnTo>
                      <a:lnTo>
                        <a:pt x="568" y="127"/>
                      </a:lnTo>
                      <a:lnTo>
                        <a:pt x="572" y="132"/>
                      </a:lnTo>
                      <a:lnTo>
                        <a:pt x="575" y="134"/>
                      </a:lnTo>
                      <a:lnTo>
                        <a:pt x="586" y="132"/>
                      </a:lnTo>
                      <a:lnTo>
                        <a:pt x="596" y="125"/>
                      </a:lnTo>
                      <a:lnTo>
                        <a:pt x="600" y="121"/>
                      </a:lnTo>
                      <a:lnTo>
                        <a:pt x="600" y="118"/>
                      </a:lnTo>
                      <a:lnTo>
                        <a:pt x="600" y="114"/>
                      </a:lnTo>
                      <a:lnTo>
                        <a:pt x="600" y="111"/>
                      </a:lnTo>
                      <a:lnTo>
                        <a:pt x="607" y="111"/>
                      </a:lnTo>
                      <a:lnTo>
                        <a:pt x="626" y="107"/>
                      </a:lnTo>
                      <a:lnTo>
                        <a:pt x="640" y="97"/>
                      </a:lnTo>
                      <a:lnTo>
                        <a:pt x="644" y="95"/>
                      </a:lnTo>
                      <a:lnTo>
                        <a:pt x="647" y="90"/>
                      </a:lnTo>
                      <a:lnTo>
                        <a:pt x="651" y="76"/>
                      </a:lnTo>
                      <a:lnTo>
                        <a:pt x="663" y="65"/>
                      </a:lnTo>
                      <a:lnTo>
                        <a:pt x="668" y="58"/>
                      </a:lnTo>
                      <a:lnTo>
                        <a:pt x="670" y="46"/>
                      </a:lnTo>
                      <a:lnTo>
                        <a:pt x="714" y="4"/>
                      </a:lnTo>
                      <a:lnTo>
                        <a:pt x="724" y="0"/>
                      </a:lnTo>
                      <a:lnTo>
                        <a:pt x="714" y="35"/>
                      </a:lnTo>
                      <a:lnTo>
                        <a:pt x="703" y="53"/>
                      </a:lnTo>
                      <a:lnTo>
                        <a:pt x="703" y="58"/>
                      </a:lnTo>
                      <a:lnTo>
                        <a:pt x="703" y="67"/>
                      </a:lnTo>
                      <a:lnTo>
                        <a:pt x="700" y="72"/>
                      </a:lnTo>
                      <a:close/>
                    </a:path>
                  </a:pathLst>
                </a:custGeom>
                <a:solidFill>
                  <a:srgbClr val="CDEAFF"/>
                </a:solidFill>
                <a:ln w="11906">
                  <a:solidFill>
                    <a:schemeClr val="bg1"/>
                  </a:solidFill>
                  <a:round/>
                  <a:headEnd/>
                  <a:tailEnd/>
                </a:ln>
              </p:spPr>
              <p:txBody>
                <a:bodyPr vert="horz" wrap="square" lIns="85725" tIns="42863" rIns="85725" bIns="42863" numCol="1" anchor="t" anchorCtr="0" compatLnSpc="1">
                  <a:prstTxWarp prst="textNoShape">
                    <a:avLst/>
                  </a:prstTxWarp>
                </a:bodyPr>
                <a:lstStyle/>
                <a:p>
                  <a:endParaRPr lang="en-US" sz="900" dirty="0">
                    <a:solidFill>
                      <a:schemeClr val="bg2">
                        <a:lumMod val="10000"/>
                      </a:schemeClr>
                    </a:solidFill>
                    <a:ea typeface="Verdana" panose="020B0604030504040204" pitchFamily="34" charset="0"/>
                  </a:endParaRPr>
                </a:p>
              </p:txBody>
            </p:sp>
            <p:sp>
              <p:nvSpPr>
                <p:cNvPr id="146" name="Freeform 28">
                  <a:extLst>
                    <a:ext uri="{FF2B5EF4-FFF2-40B4-BE49-F238E27FC236}">
                      <a16:creationId xmlns:a16="http://schemas.microsoft.com/office/drawing/2014/main" id="{180DFA8C-D77A-E0F0-6054-D9D2C5A0A74F}"/>
                    </a:ext>
                  </a:extLst>
                </p:cNvPr>
                <p:cNvSpPr>
                  <a:spLocks/>
                </p:cNvSpPr>
                <p:nvPr/>
              </p:nvSpPr>
              <p:spPr bwMode="auto">
                <a:xfrm>
                  <a:off x="6215063" y="4356100"/>
                  <a:ext cx="963613" cy="1111250"/>
                </a:xfrm>
                <a:custGeom>
                  <a:avLst/>
                  <a:gdLst>
                    <a:gd name="T0" fmla="*/ 123 w 607"/>
                    <a:gd name="T1" fmla="*/ 35 h 700"/>
                    <a:gd name="T2" fmla="*/ 202 w 607"/>
                    <a:gd name="T3" fmla="*/ 75 h 700"/>
                    <a:gd name="T4" fmla="*/ 221 w 607"/>
                    <a:gd name="T5" fmla="*/ 68 h 700"/>
                    <a:gd name="T6" fmla="*/ 230 w 607"/>
                    <a:gd name="T7" fmla="*/ 28 h 700"/>
                    <a:gd name="T8" fmla="*/ 365 w 607"/>
                    <a:gd name="T9" fmla="*/ 30 h 700"/>
                    <a:gd name="T10" fmla="*/ 391 w 607"/>
                    <a:gd name="T11" fmla="*/ 19 h 700"/>
                    <a:gd name="T12" fmla="*/ 458 w 607"/>
                    <a:gd name="T13" fmla="*/ 70 h 700"/>
                    <a:gd name="T14" fmla="*/ 556 w 607"/>
                    <a:gd name="T15" fmla="*/ 119 h 700"/>
                    <a:gd name="T16" fmla="*/ 588 w 607"/>
                    <a:gd name="T17" fmla="*/ 147 h 700"/>
                    <a:gd name="T18" fmla="*/ 605 w 607"/>
                    <a:gd name="T19" fmla="*/ 186 h 700"/>
                    <a:gd name="T20" fmla="*/ 600 w 607"/>
                    <a:gd name="T21" fmla="*/ 260 h 700"/>
                    <a:gd name="T22" fmla="*/ 593 w 607"/>
                    <a:gd name="T23" fmla="*/ 281 h 700"/>
                    <a:gd name="T24" fmla="*/ 570 w 607"/>
                    <a:gd name="T25" fmla="*/ 337 h 700"/>
                    <a:gd name="T26" fmla="*/ 537 w 607"/>
                    <a:gd name="T27" fmla="*/ 412 h 700"/>
                    <a:gd name="T28" fmla="*/ 472 w 607"/>
                    <a:gd name="T29" fmla="*/ 495 h 700"/>
                    <a:gd name="T30" fmla="*/ 428 w 607"/>
                    <a:gd name="T31" fmla="*/ 556 h 700"/>
                    <a:gd name="T32" fmla="*/ 398 w 607"/>
                    <a:gd name="T33" fmla="*/ 574 h 700"/>
                    <a:gd name="T34" fmla="*/ 363 w 607"/>
                    <a:gd name="T35" fmla="*/ 581 h 700"/>
                    <a:gd name="T36" fmla="*/ 342 w 607"/>
                    <a:gd name="T37" fmla="*/ 616 h 700"/>
                    <a:gd name="T38" fmla="*/ 211 w 607"/>
                    <a:gd name="T39" fmla="*/ 646 h 700"/>
                    <a:gd name="T40" fmla="*/ 239 w 607"/>
                    <a:gd name="T41" fmla="*/ 653 h 700"/>
                    <a:gd name="T42" fmla="*/ 256 w 607"/>
                    <a:gd name="T43" fmla="*/ 674 h 700"/>
                    <a:gd name="T44" fmla="*/ 260 w 607"/>
                    <a:gd name="T45" fmla="*/ 679 h 700"/>
                    <a:gd name="T46" fmla="*/ 223 w 607"/>
                    <a:gd name="T47" fmla="*/ 700 h 700"/>
                    <a:gd name="T48" fmla="*/ 207 w 607"/>
                    <a:gd name="T49" fmla="*/ 681 h 700"/>
                    <a:gd name="T50" fmla="*/ 193 w 607"/>
                    <a:gd name="T51" fmla="*/ 676 h 700"/>
                    <a:gd name="T52" fmla="*/ 179 w 607"/>
                    <a:gd name="T53" fmla="*/ 695 h 700"/>
                    <a:gd name="T54" fmla="*/ 174 w 607"/>
                    <a:gd name="T55" fmla="*/ 679 h 700"/>
                    <a:gd name="T56" fmla="*/ 135 w 607"/>
                    <a:gd name="T57" fmla="*/ 667 h 700"/>
                    <a:gd name="T58" fmla="*/ 128 w 607"/>
                    <a:gd name="T59" fmla="*/ 656 h 700"/>
                    <a:gd name="T60" fmla="*/ 123 w 607"/>
                    <a:gd name="T61" fmla="*/ 639 h 700"/>
                    <a:gd name="T62" fmla="*/ 123 w 607"/>
                    <a:gd name="T63" fmla="*/ 630 h 700"/>
                    <a:gd name="T64" fmla="*/ 125 w 607"/>
                    <a:gd name="T65" fmla="*/ 618 h 700"/>
                    <a:gd name="T66" fmla="*/ 125 w 607"/>
                    <a:gd name="T67" fmla="*/ 604 h 700"/>
                    <a:gd name="T68" fmla="*/ 142 w 607"/>
                    <a:gd name="T69" fmla="*/ 583 h 700"/>
                    <a:gd name="T70" fmla="*/ 116 w 607"/>
                    <a:gd name="T71" fmla="*/ 549 h 700"/>
                    <a:gd name="T72" fmla="*/ 109 w 607"/>
                    <a:gd name="T73" fmla="*/ 528 h 700"/>
                    <a:gd name="T74" fmla="*/ 102 w 607"/>
                    <a:gd name="T75" fmla="*/ 465 h 700"/>
                    <a:gd name="T76" fmla="*/ 109 w 607"/>
                    <a:gd name="T77" fmla="*/ 460 h 700"/>
                    <a:gd name="T78" fmla="*/ 116 w 607"/>
                    <a:gd name="T79" fmla="*/ 456 h 700"/>
                    <a:gd name="T80" fmla="*/ 123 w 607"/>
                    <a:gd name="T81" fmla="*/ 453 h 700"/>
                    <a:gd name="T82" fmla="*/ 125 w 607"/>
                    <a:gd name="T83" fmla="*/ 439 h 700"/>
                    <a:gd name="T84" fmla="*/ 128 w 607"/>
                    <a:gd name="T85" fmla="*/ 430 h 700"/>
                    <a:gd name="T86" fmla="*/ 121 w 607"/>
                    <a:gd name="T87" fmla="*/ 412 h 700"/>
                    <a:gd name="T88" fmla="*/ 100 w 607"/>
                    <a:gd name="T89" fmla="*/ 379 h 700"/>
                    <a:gd name="T90" fmla="*/ 100 w 607"/>
                    <a:gd name="T91" fmla="*/ 367 h 700"/>
                    <a:gd name="T92" fmla="*/ 79 w 607"/>
                    <a:gd name="T93" fmla="*/ 337 h 700"/>
                    <a:gd name="T94" fmla="*/ 41 w 607"/>
                    <a:gd name="T95" fmla="*/ 328 h 700"/>
                    <a:gd name="T96" fmla="*/ 25 w 607"/>
                    <a:gd name="T97" fmla="*/ 309 h 700"/>
                    <a:gd name="T98" fmla="*/ 51 w 607"/>
                    <a:gd name="T99" fmla="*/ 293 h 700"/>
                    <a:gd name="T100" fmla="*/ 41 w 607"/>
                    <a:gd name="T101" fmla="*/ 279 h 700"/>
                    <a:gd name="T102" fmla="*/ 23 w 607"/>
                    <a:gd name="T103" fmla="*/ 249 h 700"/>
                    <a:gd name="T104" fmla="*/ 9 w 607"/>
                    <a:gd name="T105" fmla="*/ 214 h 700"/>
                    <a:gd name="T106" fmla="*/ 7 w 607"/>
                    <a:gd name="T107" fmla="*/ 186 h 700"/>
                    <a:gd name="T108" fmla="*/ 11 w 607"/>
                    <a:gd name="T109" fmla="*/ 154 h 700"/>
                    <a:gd name="T110" fmla="*/ 53 w 607"/>
                    <a:gd name="T111" fmla="*/ 33 h 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607" h="700">
                      <a:moveTo>
                        <a:pt x="116" y="40"/>
                      </a:moveTo>
                      <a:lnTo>
                        <a:pt x="118" y="40"/>
                      </a:lnTo>
                      <a:lnTo>
                        <a:pt x="121" y="40"/>
                      </a:lnTo>
                      <a:lnTo>
                        <a:pt x="121" y="37"/>
                      </a:lnTo>
                      <a:lnTo>
                        <a:pt x="121" y="37"/>
                      </a:lnTo>
                      <a:lnTo>
                        <a:pt x="121" y="37"/>
                      </a:lnTo>
                      <a:lnTo>
                        <a:pt x="123" y="35"/>
                      </a:lnTo>
                      <a:lnTo>
                        <a:pt x="125" y="35"/>
                      </a:lnTo>
                      <a:lnTo>
                        <a:pt x="137" y="40"/>
                      </a:lnTo>
                      <a:lnTo>
                        <a:pt x="149" y="42"/>
                      </a:lnTo>
                      <a:lnTo>
                        <a:pt x="181" y="61"/>
                      </a:lnTo>
                      <a:lnTo>
                        <a:pt x="186" y="61"/>
                      </a:lnTo>
                      <a:lnTo>
                        <a:pt x="190" y="63"/>
                      </a:lnTo>
                      <a:lnTo>
                        <a:pt x="202" y="75"/>
                      </a:lnTo>
                      <a:lnTo>
                        <a:pt x="211" y="77"/>
                      </a:lnTo>
                      <a:lnTo>
                        <a:pt x="214" y="79"/>
                      </a:lnTo>
                      <a:lnTo>
                        <a:pt x="216" y="82"/>
                      </a:lnTo>
                      <a:lnTo>
                        <a:pt x="218" y="79"/>
                      </a:lnTo>
                      <a:lnTo>
                        <a:pt x="218" y="77"/>
                      </a:lnTo>
                      <a:lnTo>
                        <a:pt x="221" y="72"/>
                      </a:lnTo>
                      <a:lnTo>
                        <a:pt x="221" y="68"/>
                      </a:lnTo>
                      <a:lnTo>
                        <a:pt x="221" y="63"/>
                      </a:lnTo>
                      <a:lnTo>
                        <a:pt x="225" y="42"/>
                      </a:lnTo>
                      <a:lnTo>
                        <a:pt x="225" y="40"/>
                      </a:lnTo>
                      <a:lnTo>
                        <a:pt x="225" y="35"/>
                      </a:lnTo>
                      <a:lnTo>
                        <a:pt x="225" y="33"/>
                      </a:lnTo>
                      <a:lnTo>
                        <a:pt x="225" y="33"/>
                      </a:lnTo>
                      <a:lnTo>
                        <a:pt x="230" y="28"/>
                      </a:lnTo>
                      <a:lnTo>
                        <a:pt x="235" y="26"/>
                      </a:lnTo>
                      <a:lnTo>
                        <a:pt x="274" y="26"/>
                      </a:lnTo>
                      <a:lnTo>
                        <a:pt x="346" y="0"/>
                      </a:lnTo>
                      <a:lnTo>
                        <a:pt x="349" y="0"/>
                      </a:lnTo>
                      <a:lnTo>
                        <a:pt x="351" y="3"/>
                      </a:lnTo>
                      <a:lnTo>
                        <a:pt x="363" y="30"/>
                      </a:lnTo>
                      <a:lnTo>
                        <a:pt x="365" y="30"/>
                      </a:lnTo>
                      <a:lnTo>
                        <a:pt x="367" y="33"/>
                      </a:lnTo>
                      <a:lnTo>
                        <a:pt x="367" y="33"/>
                      </a:lnTo>
                      <a:lnTo>
                        <a:pt x="370" y="33"/>
                      </a:lnTo>
                      <a:lnTo>
                        <a:pt x="381" y="21"/>
                      </a:lnTo>
                      <a:lnTo>
                        <a:pt x="388" y="19"/>
                      </a:lnTo>
                      <a:lnTo>
                        <a:pt x="388" y="19"/>
                      </a:lnTo>
                      <a:lnTo>
                        <a:pt x="391" y="19"/>
                      </a:lnTo>
                      <a:lnTo>
                        <a:pt x="388" y="21"/>
                      </a:lnTo>
                      <a:lnTo>
                        <a:pt x="393" y="26"/>
                      </a:lnTo>
                      <a:lnTo>
                        <a:pt x="425" y="49"/>
                      </a:lnTo>
                      <a:lnTo>
                        <a:pt x="442" y="58"/>
                      </a:lnTo>
                      <a:lnTo>
                        <a:pt x="451" y="65"/>
                      </a:lnTo>
                      <a:lnTo>
                        <a:pt x="456" y="68"/>
                      </a:lnTo>
                      <a:lnTo>
                        <a:pt x="458" y="70"/>
                      </a:lnTo>
                      <a:lnTo>
                        <a:pt x="498" y="79"/>
                      </a:lnTo>
                      <a:lnTo>
                        <a:pt x="521" y="95"/>
                      </a:lnTo>
                      <a:lnTo>
                        <a:pt x="544" y="105"/>
                      </a:lnTo>
                      <a:lnTo>
                        <a:pt x="549" y="107"/>
                      </a:lnTo>
                      <a:lnTo>
                        <a:pt x="551" y="109"/>
                      </a:lnTo>
                      <a:lnTo>
                        <a:pt x="553" y="114"/>
                      </a:lnTo>
                      <a:lnTo>
                        <a:pt x="556" y="119"/>
                      </a:lnTo>
                      <a:lnTo>
                        <a:pt x="558" y="123"/>
                      </a:lnTo>
                      <a:lnTo>
                        <a:pt x="560" y="128"/>
                      </a:lnTo>
                      <a:lnTo>
                        <a:pt x="563" y="130"/>
                      </a:lnTo>
                      <a:lnTo>
                        <a:pt x="565" y="133"/>
                      </a:lnTo>
                      <a:lnTo>
                        <a:pt x="574" y="135"/>
                      </a:lnTo>
                      <a:lnTo>
                        <a:pt x="579" y="137"/>
                      </a:lnTo>
                      <a:lnTo>
                        <a:pt x="588" y="147"/>
                      </a:lnTo>
                      <a:lnTo>
                        <a:pt x="591" y="149"/>
                      </a:lnTo>
                      <a:lnTo>
                        <a:pt x="593" y="149"/>
                      </a:lnTo>
                      <a:lnTo>
                        <a:pt x="598" y="154"/>
                      </a:lnTo>
                      <a:lnTo>
                        <a:pt x="600" y="158"/>
                      </a:lnTo>
                      <a:lnTo>
                        <a:pt x="602" y="163"/>
                      </a:lnTo>
                      <a:lnTo>
                        <a:pt x="607" y="165"/>
                      </a:lnTo>
                      <a:lnTo>
                        <a:pt x="605" y="186"/>
                      </a:lnTo>
                      <a:lnTo>
                        <a:pt x="602" y="195"/>
                      </a:lnTo>
                      <a:lnTo>
                        <a:pt x="602" y="207"/>
                      </a:lnTo>
                      <a:lnTo>
                        <a:pt x="602" y="230"/>
                      </a:lnTo>
                      <a:lnTo>
                        <a:pt x="602" y="235"/>
                      </a:lnTo>
                      <a:lnTo>
                        <a:pt x="600" y="244"/>
                      </a:lnTo>
                      <a:lnTo>
                        <a:pt x="600" y="249"/>
                      </a:lnTo>
                      <a:lnTo>
                        <a:pt x="600" y="260"/>
                      </a:lnTo>
                      <a:lnTo>
                        <a:pt x="600" y="267"/>
                      </a:lnTo>
                      <a:lnTo>
                        <a:pt x="600" y="270"/>
                      </a:lnTo>
                      <a:lnTo>
                        <a:pt x="600" y="270"/>
                      </a:lnTo>
                      <a:lnTo>
                        <a:pt x="600" y="270"/>
                      </a:lnTo>
                      <a:lnTo>
                        <a:pt x="595" y="277"/>
                      </a:lnTo>
                      <a:lnTo>
                        <a:pt x="593" y="279"/>
                      </a:lnTo>
                      <a:lnTo>
                        <a:pt x="593" y="281"/>
                      </a:lnTo>
                      <a:lnTo>
                        <a:pt x="593" y="286"/>
                      </a:lnTo>
                      <a:lnTo>
                        <a:pt x="584" y="309"/>
                      </a:lnTo>
                      <a:lnTo>
                        <a:pt x="581" y="312"/>
                      </a:lnTo>
                      <a:lnTo>
                        <a:pt x="581" y="319"/>
                      </a:lnTo>
                      <a:lnTo>
                        <a:pt x="581" y="323"/>
                      </a:lnTo>
                      <a:lnTo>
                        <a:pt x="579" y="326"/>
                      </a:lnTo>
                      <a:lnTo>
                        <a:pt x="570" y="337"/>
                      </a:lnTo>
                      <a:lnTo>
                        <a:pt x="563" y="351"/>
                      </a:lnTo>
                      <a:lnTo>
                        <a:pt x="560" y="353"/>
                      </a:lnTo>
                      <a:lnTo>
                        <a:pt x="558" y="356"/>
                      </a:lnTo>
                      <a:lnTo>
                        <a:pt x="558" y="358"/>
                      </a:lnTo>
                      <a:lnTo>
                        <a:pt x="556" y="367"/>
                      </a:lnTo>
                      <a:lnTo>
                        <a:pt x="549" y="391"/>
                      </a:lnTo>
                      <a:lnTo>
                        <a:pt x="537" y="412"/>
                      </a:lnTo>
                      <a:lnTo>
                        <a:pt x="537" y="412"/>
                      </a:lnTo>
                      <a:lnTo>
                        <a:pt x="537" y="412"/>
                      </a:lnTo>
                      <a:lnTo>
                        <a:pt x="526" y="449"/>
                      </a:lnTo>
                      <a:lnTo>
                        <a:pt x="526" y="449"/>
                      </a:lnTo>
                      <a:lnTo>
                        <a:pt x="526" y="449"/>
                      </a:lnTo>
                      <a:lnTo>
                        <a:pt x="516" y="453"/>
                      </a:lnTo>
                      <a:lnTo>
                        <a:pt x="472" y="495"/>
                      </a:lnTo>
                      <a:lnTo>
                        <a:pt x="470" y="507"/>
                      </a:lnTo>
                      <a:lnTo>
                        <a:pt x="465" y="514"/>
                      </a:lnTo>
                      <a:lnTo>
                        <a:pt x="453" y="525"/>
                      </a:lnTo>
                      <a:lnTo>
                        <a:pt x="449" y="539"/>
                      </a:lnTo>
                      <a:lnTo>
                        <a:pt x="446" y="544"/>
                      </a:lnTo>
                      <a:lnTo>
                        <a:pt x="442" y="546"/>
                      </a:lnTo>
                      <a:lnTo>
                        <a:pt x="428" y="556"/>
                      </a:lnTo>
                      <a:lnTo>
                        <a:pt x="409" y="560"/>
                      </a:lnTo>
                      <a:lnTo>
                        <a:pt x="402" y="560"/>
                      </a:lnTo>
                      <a:lnTo>
                        <a:pt x="402" y="560"/>
                      </a:lnTo>
                      <a:lnTo>
                        <a:pt x="402" y="563"/>
                      </a:lnTo>
                      <a:lnTo>
                        <a:pt x="402" y="567"/>
                      </a:lnTo>
                      <a:lnTo>
                        <a:pt x="402" y="570"/>
                      </a:lnTo>
                      <a:lnTo>
                        <a:pt x="398" y="574"/>
                      </a:lnTo>
                      <a:lnTo>
                        <a:pt x="388" y="581"/>
                      </a:lnTo>
                      <a:lnTo>
                        <a:pt x="377" y="583"/>
                      </a:lnTo>
                      <a:lnTo>
                        <a:pt x="374" y="581"/>
                      </a:lnTo>
                      <a:lnTo>
                        <a:pt x="370" y="576"/>
                      </a:lnTo>
                      <a:lnTo>
                        <a:pt x="367" y="576"/>
                      </a:lnTo>
                      <a:lnTo>
                        <a:pt x="365" y="576"/>
                      </a:lnTo>
                      <a:lnTo>
                        <a:pt x="363" y="581"/>
                      </a:lnTo>
                      <a:lnTo>
                        <a:pt x="360" y="583"/>
                      </a:lnTo>
                      <a:lnTo>
                        <a:pt x="360" y="586"/>
                      </a:lnTo>
                      <a:lnTo>
                        <a:pt x="360" y="588"/>
                      </a:lnTo>
                      <a:lnTo>
                        <a:pt x="360" y="590"/>
                      </a:lnTo>
                      <a:lnTo>
                        <a:pt x="360" y="593"/>
                      </a:lnTo>
                      <a:lnTo>
                        <a:pt x="356" y="602"/>
                      </a:lnTo>
                      <a:lnTo>
                        <a:pt x="342" y="616"/>
                      </a:lnTo>
                      <a:lnTo>
                        <a:pt x="270" y="637"/>
                      </a:lnTo>
                      <a:lnTo>
                        <a:pt x="242" y="635"/>
                      </a:lnTo>
                      <a:lnTo>
                        <a:pt x="237" y="635"/>
                      </a:lnTo>
                      <a:lnTo>
                        <a:pt x="230" y="637"/>
                      </a:lnTo>
                      <a:lnTo>
                        <a:pt x="223" y="644"/>
                      </a:lnTo>
                      <a:lnTo>
                        <a:pt x="221" y="646"/>
                      </a:lnTo>
                      <a:lnTo>
                        <a:pt x="211" y="646"/>
                      </a:lnTo>
                      <a:lnTo>
                        <a:pt x="209" y="649"/>
                      </a:lnTo>
                      <a:lnTo>
                        <a:pt x="207" y="651"/>
                      </a:lnTo>
                      <a:lnTo>
                        <a:pt x="209" y="656"/>
                      </a:lnTo>
                      <a:lnTo>
                        <a:pt x="228" y="656"/>
                      </a:lnTo>
                      <a:lnTo>
                        <a:pt x="239" y="651"/>
                      </a:lnTo>
                      <a:lnTo>
                        <a:pt x="242" y="653"/>
                      </a:lnTo>
                      <a:lnTo>
                        <a:pt x="239" y="653"/>
                      </a:lnTo>
                      <a:lnTo>
                        <a:pt x="239" y="656"/>
                      </a:lnTo>
                      <a:lnTo>
                        <a:pt x="242" y="658"/>
                      </a:lnTo>
                      <a:lnTo>
                        <a:pt x="246" y="660"/>
                      </a:lnTo>
                      <a:lnTo>
                        <a:pt x="253" y="667"/>
                      </a:lnTo>
                      <a:lnTo>
                        <a:pt x="256" y="669"/>
                      </a:lnTo>
                      <a:lnTo>
                        <a:pt x="253" y="672"/>
                      </a:lnTo>
                      <a:lnTo>
                        <a:pt x="256" y="674"/>
                      </a:lnTo>
                      <a:lnTo>
                        <a:pt x="258" y="676"/>
                      </a:lnTo>
                      <a:lnTo>
                        <a:pt x="263" y="674"/>
                      </a:lnTo>
                      <a:lnTo>
                        <a:pt x="263" y="674"/>
                      </a:lnTo>
                      <a:lnTo>
                        <a:pt x="263" y="676"/>
                      </a:lnTo>
                      <a:lnTo>
                        <a:pt x="263" y="676"/>
                      </a:lnTo>
                      <a:lnTo>
                        <a:pt x="263" y="679"/>
                      </a:lnTo>
                      <a:lnTo>
                        <a:pt x="260" y="679"/>
                      </a:lnTo>
                      <a:lnTo>
                        <a:pt x="260" y="679"/>
                      </a:lnTo>
                      <a:lnTo>
                        <a:pt x="260" y="681"/>
                      </a:lnTo>
                      <a:lnTo>
                        <a:pt x="260" y="683"/>
                      </a:lnTo>
                      <a:lnTo>
                        <a:pt x="260" y="686"/>
                      </a:lnTo>
                      <a:lnTo>
                        <a:pt x="258" y="686"/>
                      </a:lnTo>
                      <a:lnTo>
                        <a:pt x="246" y="690"/>
                      </a:lnTo>
                      <a:lnTo>
                        <a:pt x="223" y="700"/>
                      </a:lnTo>
                      <a:lnTo>
                        <a:pt x="214" y="695"/>
                      </a:lnTo>
                      <a:lnTo>
                        <a:pt x="211" y="693"/>
                      </a:lnTo>
                      <a:lnTo>
                        <a:pt x="211" y="693"/>
                      </a:lnTo>
                      <a:lnTo>
                        <a:pt x="211" y="688"/>
                      </a:lnTo>
                      <a:lnTo>
                        <a:pt x="209" y="688"/>
                      </a:lnTo>
                      <a:lnTo>
                        <a:pt x="209" y="683"/>
                      </a:lnTo>
                      <a:lnTo>
                        <a:pt x="207" y="681"/>
                      </a:lnTo>
                      <a:lnTo>
                        <a:pt x="204" y="679"/>
                      </a:lnTo>
                      <a:lnTo>
                        <a:pt x="204" y="676"/>
                      </a:lnTo>
                      <a:lnTo>
                        <a:pt x="202" y="674"/>
                      </a:lnTo>
                      <a:lnTo>
                        <a:pt x="200" y="672"/>
                      </a:lnTo>
                      <a:lnTo>
                        <a:pt x="197" y="672"/>
                      </a:lnTo>
                      <a:lnTo>
                        <a:pt x="195" y="674"/>
                      </a:lnTo>
                      <a:lnTo>
                        <a:pt x="193" y="676"/>
                      </a:lnTo>
                      <a:lnTo>
                        <a:pt x="193" y="679"/>
                      </a:lnTo>
                      <a:lnTo>
                        <a:pt x="190" y="683"/>
                      </a:lnTo>
                      <a:lnTo>
                        <a:pt x="190" y="686"/>
                      </a:lnTo>
                      <a:lnTo>
                        <a:pt x="188" y="688"/>
                      </a:lnTo>
                      <a:lnTo>
                        <a:pt x="186" y="693"/>
                      </a:lnTo>
                      <a:lnTo>
                        <a:pt x="181" y="695"/>
                      </a:lnTo>
                      <a:lnTo>
                        <a:pt x="179" y="695"/>
                      </a:lnTo>
                      <a:lnTo>
                        <a:pt x="179" y="693"/>
                      </a:lnTo>
                      <a:lnTo>
                        <a:pt x="179" y="690"/>
                      </a:lnTo>
                      <a:lnTo>
                        <a:pt x="179" y="686"/>
                      </a:lnTo>
                      <a:lnTo>
                        <a:pt x="179" y="683"/>
                      </a:lnTo>
                      <a:lnTo>
                        <a:pt x="176" y="681"/>
                      </a:lnTo>
                      <a:lnTo>
                        <a:pt x="176" y="679"/>
                      </a:lnTo>
                      <a:lnTo>
                        <a:pt x="174" y="679"/>
                      </a:lnTo>
                      <a:lnTo>
                        <a:pt x="172" y="679"/>
                      </a:lnTo>
                      <a:lnTo>
                        <a:pt x="162" y="683"/>
                      </a:lnTo>
                      <a:lnTo>
                        <a:pt x="158" y="676"/>
                      </a:lnTo>
                      <a:lnTo>
                        <a:pt x="156" y="676"/>
                      </a:lnTo>
                      <a:lnTo>
                        <a:pt x="146" y="674"/>
                      </a:lnTo>
                      <a:lnTo>
                        <a:pt x="142" y="672"/>
                      </a:lnTo>
                      <a:lnTo>
                        <a:pt x="135" y="667"/>
                      </a:lnTo>
                      <a:lnTo>
                        <a:pt x="132" y="667"/>
                      </a:lnTo>
                      <a:lnTo>
                        <a:pt x="132" y="667"/>
                      </a:lnTo>
                      <a:lnTo>
                        <a:pt x="132" y="662"/>
                      </a:lnTo>
                      <a:lnTo>
                        <a:pt x="132" y="660"/>
                      </a:lnTo>
                      <a:lnTo>
                        <a:pt x="132" y="660"/>
                      </a:lnTo>
                      <a:lnTo>
                        <a:pt x="132" y="658"/>
                      </a:lnTo>
                      <a:lnTo>
                        <a:pt x="128" y="656"/>
                      </a:lnTo>
                      <a:lnTo>
                        <a:pt x="125" y="656"/>
                      </a:lnTo>
                      <a:lnTo>
                        <a:pt x="125" y="651"/>
                      </a:lnTo>
                      <a:lnTo>
                        <a:pt x="125" y="651"/>
                      </a:lnTo>
                      <a:lnTo>
                        <a:pt x="125" y="644"/>
                      </a:lnTo>
                      <a:lnTo>
                        <a:pt x="125" y="642"/>
                      </a:lnTo>
                      <a:lnTo>
                        <a:pt x="125" y="639"/>
                      </a:lnTo>
                      <a:lnTo>
                        <a:pt x="123" y="639"/>
                      </a:lnTo>
                      <a:lnTo>
                        <a:pt x="123" y="637"/>
                      </a:lnTo>
                      <a:lnTo>
                        <a:pt x="121" y="637"/>
                      </a:lnTo>
                      <a:lnTo>
                        <a:pt x="121" y="635"/>
                      </a:lnTo>
                      <a:lnTo>
                        <a:pt x="123" y="632"/>
                      </a:lnTo>
                      <a:lnTo>
                        <a:pt x="123" y="630"/>
                      </a:lnTo>
                      <a:lnTo>
                        <a:pt x="123" y="630"/>
                      </a:lnTo>
                      <a:lnTo>
                        <a:pt x="123" y="630"/>
                      </a:lnTo>
                      <a:lnTo>
                        <a:pt x="123" y="628"/>
                      </a:lnTo>
                      <a:lnTo>
                        <a:pt x="121" y="623"/>
                      </a:lnTo>
                      <a:lnTo>
                        <a:pt x="121" y="621"/>
                      </a:lnTo>
                      <a:lnTo>
                        <a:pt x="121" y="621"/>
                      </a:lnTo>
                      <a:lnTo>
                        <a:pt x="121" y="618"/>
                      </a:lnTo>
                      <a:lnTo>
                        <a:pt x="123" y="618"/>
                      </a:lnTo>
                      <a:lnTo>
                        <a:pt x="125" y="618"/>
                      </a:lnTo>
                      <a:lnTo>
                        <a:pt x="123" y="616"/>
                      </a:lnTo>
                      <a:lnTo>
                        <a:pt x="123" y="614"/>
                      </a:lnTo>
                      <a:lnTo>
                        <a:pt x="123" y="611"/>
                      </a:lnTo>
                      <a:lnTo>
                        <a:pt x="123" y="609"/>
                      </a:lnTo>
                      <a:lnTo>
                        <a:pt x="125" y="607"/>
                      </a:lnTo>
                      <a:lnTo>
                        <a:pt x="125" y="607"/>
                      </a:lnTo>
                      <a:lnTo>
                        <a:pt x="125" y="604"/>
                      </a:lnTo>
                      <a:lnTo>
                        <a:pt x="125" y="602"/>
                      </a:lnTo>
                      <a:lnTo>
                        <a:pt x="125" y="600"/>
                      </a:lnTo>
                      <a:lnTo>
                        <a:pt x="128" y="597"/>
                      </a:lnTo>
                      <a:lnTo>
                        <a:pt x="142" y="602"/>
                      </a:lnTo>
                      <a:lnTo>
                        <a:pt x="142" y="600"/>
                      </a:lnTo>
                      <a:lnTo>
                        <a:pt x="142" y="588"/>
                      </a:lnTo>
                      <a:lnTo>
                        <a:pt x="142" y="583"/>
                      </a:lnTo>
                      <a:lnTo>
                        <a:pt x="139" y="581"/>
                      </a:lnTo>
                      <a:lnTo>
                        <a:pt x="135" y="574"/>
                      </a:lnTo>
                      <a:lnTo>
                        <a:pt x="132" y="572"/>
                      </a:lnTo>
                      <a:lnTo>
                        <a:pt x="121" y="563"/>
                      </a:lnTo>
                      <a:lnTo>
                        <a:pt x="118" y="563"/>
                      </a:lnTo>
                      <a:lnTo>
                        <a:pt x="116" y="558"/>
                      </a:lnTo>
                      <a:lnTo>
                        <a:pt x="116" y="549"/>
                      </a:lnTo>
                      <a:lnTo>
                        <a:pt x="116" y="546"/>
                      </a:lnTo>
                      <a:lnTo>
                        <a:pt x="114" y="546"/>
                      </a:lnTo>
                      <a:lnTo>
                        <a:pt x="111" y="546"/>
                      </a:lnTo>
                      <a:lnTo>
                        <a:pt x="109" y="546"/>
                      </a:lnTo>
                      <a:lnTo>
                        <a:pt x="109" y="539"/>
                      </a:lnTo>
                      <a:lnTo>
                        <a:pt x="109" y="532"/>
                      </a:lnTo>
                      <a:lnTo>
                        <a:pt x="109" y="528"/>
                      </a:lnTo>
                      <a:lnTo>
                        <a:pt x="111" y="525"/>
                      </a:lnTo>
                      <a:lnTo>
                        <a:pt x="111" y="521"/>
                      </a:lnTo>
                      <a:lnTo>
                        <a:pt x="88" y="497"/>
                      </a:lnTo>
                      <a:lnTo>
                        <a:pt x="86" y="491"/>
                      </a:lnTo>
                      <a:lnTo>
                        <a:pt x="93" y="474"/>
                      </a:lnTo>
                      <a:lnTo>
                        <a:pt x="100" y="467"/>
                      </a:lnTo>
                      <a:lnTo>
                        <a:pt x="102" y="465"/>
                      </a:lnTo>
                      <a:lnTo>
                        <a:pt x="104" y="467"/>
                      </a:lnTo>
                      <a:lnTo>
                        <a:pt x="107" y="467"/>
                      </a:lnTo>
                      <a:lnTo>
                        <a:pt x="107" y="465"/>
                      </a:lnTo>
                      <a:lnTo>
                        <a:pt x="109" y="463"/>
                      </a:lnTo>
                      <a:lnTo>
                        <a:pt x="109" y="463"/>
                      </a:lnTo>
                      <a:lnTo>
                        <a:pt x="109" y="460"/>
                      </a:lnTo>
                      <a:lnTo>
                        <a:pt x="109" y="460"/>
                      </a:lnTo>
                      <a:lnTo>
                        <a:pt x="107" y="460"/>
                      </a:lnTo>
                      <a:lnTo>
                        <a:pt x="107" y="460"/>
                      </a:lnTo>
                      <a:lnTo>
                        <a:pt x="109" y="458"/>
                      </a:lnTo>
                      <a:lnTo>
                        <a:pt x="111" y="456"/>
                      </a:lnTo>
                      <a:lnTo>
                        <a:pt x="111" y="456"/>
                      </a:lnTo>
                      <a:lnTo>
                        <a:pt x="114" y="456"/>
                      </a:lnTo>
                      <a:lnTo>
                        <a:pt x="116" y="456"/>
                      </a:lnTo>
                      <a:lnTo>
                        <a:pt x="121" y="458"/>
                      </a:lnTo>
                      <a:lnTo>
                        <a:pt x="123" y="460"/>
                      </a:lnTo>
                      <a:lnTo>
                        <a:pt x="125" y="460"/>
                      </a:lnTo>
                      <a:lnTo>
                        <a:pt x="128" y="458"/>
                      </a:lnTo>
                      <a:lnTo>
                        <a:pt x="125" y="458"/>
                      </a:lnTo>
                      <a:lnTo>
                        <a:pt x="123" y="456"/>
                      </a:lnTo>
                      <a:lnTo>
                        <a:pt x="123" y="453"/>
                      </a:lnTo>
                      <a:lnTo>
                        <a:pt x="123" y="451"/>
                      </a:lnTo>
                      <a:lnTo>
                        <a:pt x="121" y="449"/>
                      </a:lnTo>
                      <a:lnTo>
                        <a:pt x="121" y="446"/>
                      </a:lnTo>
                      <a:lnTo>
                        <a:pt x="121" y="444"/>
                      </a:lnTo>
                      <a:lnTo>
                        <a:pt x="123" y="442"/>
                      </a:lnTo>
                      <a:lnTo>
                        <a:pt x="123" y="439"/>
                      </a:lnTo>
                      <a:lnTo>
                        <a:pt x="125" y="439"/>
                      </a:lnTo>
                      <a:lnTo>
                        <a:pt x="125" y="437"/>
                      </a:lnTo>
                      <a:lnTo>
                        <a:pt x="123" y="437"/>
                      </a:lnTo>
                      <a:lnTo>
                        <a:pt x="123" y="437"/>
                      </a:lnTo>
                      <a:lnTo>
                        <a:pt x="123" y="437"/>
                      </a:lnTo>
                      <a:lnTo>
                        <a:pt x="123" y="435"/>
                      </a:lnTo>
                      <a:lnTo>
                        <a:pt x="123" y="432"/>
                      </a:lnTo>
                      <a:lnTo>
                        <a:pt x="128" y="430"/>
                      </a:lnTo>
                      <a:lnTo>
                        <a:pt x="132" y="428"/>
                      </a:lnTo>
                      <a:lnTo>
                        <a:pt x="132" y="425"/>
                      </a:lnTo>
                      <a:lnTo>
                        <a:pt x="121" y="418"/>
                      </a:lnTo>
                      <a:lnTo>
                        <a:pt x="121" y="416"/>
                      </a:lnTo>
                      <a:lnTo>
                        <a:pt x="121" y="416"/>
                      </a:lnTo>
                      <a:lnTo>
                        <a:pt x="121" y="414"/>
                      </a:lnTo>
                      <a:lnTo>
                        <a:pt x="121" y="412"/>
                      </a:lnTo>
                      <a:lnTo>
                        <a:pt x="121" y="407"/>
                      </a:lnTo>
                      <a:lnTo>
                        <a:pt x="118" y="405"/>
                      </a:lnTo>
                      <a:lnTo>
                        <a:pt x="109" y="405"/>
                      </a:lnTo>
                      <a:lnTo>
                        <a:pt x="107" y="405"/>
                      </a:lnTo>
                      <a:lnTo>
                        <a:pt x="93" y="398"/>
                      </a:lnTo>
                      <a:lnTo>
                        <a:pt x="93" y="395"/>
                      </a:lnTo>
                      <a:lnTo>
                        <a:pt x="100" y="379"/>
                      </a:lnTo>
                      <a:lnTo>
                        <a:pt x="100" y="377"/>
                      </a:lnTo>
                      <a:lnTo>
                        <a:pt x="100" y="374"/>
                      </a:lnTo>
                      <a:lnTo>
                        <a:pt x="100" y="374"/>
                      </a:lnTo>
                      <a:lnTo>
                        <a:pt x="100" y="374"/>
                      </a:lnTo>
                      <a:lnTo>
                        <a:pt x="100" y="374"/>
                      </a:lnTo>
                      <a:lnTo>
                        <a:pt x="100" y="372"/>
                      </a:lnTo>
                      <a:lnTo>
                        <a:pt x="100" y="367"/>
                      </a:lnTo>
                      <a:lnTo>
                        <a:pt x="95" y="360"/>
                      </a:lnTo>
                      <a:lnTo>
                        <a:pt x="93" y="353"/>
                      </a:lnTo>
                      <a:lnTo>
                        <a:pt x="88" y="351"/>
                      </a:lnTo>
                      <a:lnTo>
                        <a:pt x="86" y="346"/>
                      </a:lnTo>
                      <a:lnTo>
                        <a:pt x="86" y="344"/>
                      </a:lnTo>
                      <a:lnTo>
                        <a:pt x="83" y="342"/>
                      </a:lnTo>
                      <a:lnTo>
                        <a:pt x="79" y="337"/>
                      </a:lnTo>
                      <a:lnTo>
                        <a:pt x="74" y="337"/>
                      </a:lnTo>
                      <a:lnTo>
                        <a:pt x="72" y="337"/>
                      </a:lnTo>
                      <a:lnTo>
                        <a:pt x="69" y="339"/>
                      </a:lnTo>
                      <a:lnTo>
                        <a:pt x="69" y="344"/>
                      </a:lnTo>
                      <a:lnTo>
                        <a:pt x="67" y="344"/>
                      </a:lnTo>
                      <a:lnTo>
                        <a:pt x="44" y="330"/>
                      </a:lnTo>
                      <a:lnTo>
                        <a:pt x="41" y="328"/>
                      </a:lnTo>
                      <a:lnTo>
                        <a:pt x="41" y="323"/>
                      </a:lnTo>
                      <a:lnTo>
                        <a:pt x="44" y="323"/>
                      </a:lnTo>
                      <a:lnTo>
                        <a:pt x="39" y="321"/>
                      </a:lnTo>
                      <a:lnTo>
                        <a:pt x="32" y="319"/>
                      </a:lnTo>
                      <a:lnTo>
                        <a:pt x="28" y="316"/>
                      </a:lnTo>
                      <a:lnTo>
                        <a:pt x="25" y="312"/>
                      </a:lnTo>
                      <a:lnTo>
                        <a:pt x="25" y="309"/>
                      </a:lnTo>
                      <a:lnTo>
                        <a:pt x="37" y="302"/>
                      </a:lnTo>
                      <a:lnTo>
                        <a:pt x="44" y="300"/>
                      </a:lnTo>
                      <a:lnTo>
                        <a:pt x="48" y="302"/>
                      </a:lnTo>
                      <a:lnTo>
                        <a:pt x="48" y="302"/>
                      </a:lnTo>
                      <a:lnTo>
                        <a:pt x="51" y="298"/>
                      </a:lnTo>
                      <a:lnTo>
                        <a:pt x="51" y="295"/>
                      </a:lnTo>
                      <a:lnTo>
                        <a:pt x="51" y="293"/>
                      </a:lnTo>
                      <a:lnTo>
                        <a:pt x="48" y="293"/>
                      </a:lnTo>
                      <a:lnTo>
                        <a:pt x="46" y="291"/>
                      </a:lnTo>
                      <a:lnTo>
                        <a:pt x="41" y="288"/>
                      </a:lnTo>
                      <a:lnTo>
                        <a:pt x="39" y="286"/>
                      </a:lnTo>
                      <a:lnTo>
                        <a:pt x="39" y="281"/>
                      </a:lnTo>
                      <a:lnTo>
                        <a:pt x="39" y="281"/>
                      </a:lnTo>
                      <a:lnTo>
                        <a:pt x="41" y="279"/>
                      </a:lnTo>
                      <a:lnTo>
                        <a:pt x="46" y="279"/>
                      </a:lnTo>
                      <a:lnTo>
                        <a:pt x="46" y="277"/>
                      </a:lnTo>
                      <a:lnTo>
                        <a:pt x="41" y="274"/>
                      </a:lnTo>
                      <a:lnTo>
                        <a:pt x="37" y="267"/>
                      </a:lnTo>
                      <a:lnTo>
                        <a:pt x="30" y="260"/>
                      </a:lnTo>
                      <a:lnTo>
                        <a:pt x="25" y="256"/>
                      </a:lnTo>
                      <a:lnTo>
                        <a:pt x="23" y="249"/>
                      </a:lnTo>
                      <a:lnTo>
                        <a:pt x="23" y="244"/>
                      </a:lnTo>
                      <a:lnTo>
                        <a:pt x="23" y="242"/>
                      </a:lnTo>
                      <a:lnTo>
                        <a:pt x="25" y="242"/>
                      </a:lnTo>
                      <a:lnTo>
                        <a:pt x="23" y="237"/>
                      </a:lnTo>
                      <a:lnTo>
                        <a:pt x="21" y="233"/>
                      </a:lnTo>
                      <a:lnTo>
                        <a:pt x="14" y="219"/>
                      </a:lnTo>
                      <a:lnTo>
                        <a:pt x="9" y="214"/>
                      </a:lnTo>
                      <a:lnTo>
                        <a:pt x="7" y="212"/>
                      </a:lnTo>
                      <a:lnTo>
                        <a:pt x="7" y="207"/>
                      </a:lnTo>
                      <a:lnTo>
                        <a:pt x="7" y="205"/>
                      </a:lnTo>
                      <a:lnTo>
                        <a:pt x="11" y="191"/>
                      </a:lnTo>
                      <a:lnTo>
                        <a:pt x="11" y="188"/>
                      </a:lnTo>
                      <a:lnTo>
                        <a:pt x="9" y="186"/>
                      </a:lnTo>
                      <a:lnTo>
                        <a:pt x="7" y="186"/>
                      </a:lnTo>
                      <a:lnTo>
                        <a:pt x="9" y="179"/>
                      </a:lnTo>
                      <a:lnTo>
                        <a:pt x="9" y="177"/>
                      </a:lnTo>
                      <a:lnTo>
                        <a:pt x="9" y="174"/>
                      </a:lnTo>
                      <a:lnTo>
                        <a:pt x="9" y="165"/>
                      </a:lnTo>
                      <a:lnTo>
                        <a:pt x="9" y="163"/>
                      </a:lnTo>
                      <a:lnTo>
                        <a:pt x="9" y="156"/>
                      </a:lnTo>
                      <a:lnTo>
                        <a:pt x="11" y="154"/>
                      </a:lnTo>
                      <a:lnTo>
                        <a:pt x="16" y="151"/>
                      </a:lnTo>
                      <a:lnTo>
                        <a:pt x="14" y="144"/>
                      </a:lnTo>
                      <a:lnTo>
                        <a:pt x="2" y="107"/>
                      </a:lnTo>
                      <a:lnTo>
                        <a:pt x="0" y="102"/>
                      </a:lnTo>
                      <a:lnTo>
                        <a:pt x="2" y="89"/>
                      </a:lnTo>
                      <a:lnTo>
                        <a:pt x="34" y="44"/>
                      </a:lnTo>
                      <a:lnTo>
                        <a:pt x="53" y="33"/>
                      </a:lnTo>
                      <a:lnTo>
                        <a:pt x="109" y="35"/>
                      </a:lnTo>
                      <a:lnTo>
                        <a:pt x="111" y="37"/>
                      </a:lnTo>
                      <a:lnTo>
                        <a:pt x="116" y="40"/>
                      </a:lnTo>
                      <a:lnTo>
                        <a:pt x="116" y="40"/>
                      </a:lnTo>
                      <a:close/>
                    </a:path>
                  </a:pathLst>
                </a:custGeom>
                <a:solidFill>
                  <a:srgbClr val="CDEAFF"/>
                </a:solidFill>
                <a:ln w="11906">
                  <a:solidFill>
                    <a:schemeClr val="bg1"/>
                  </a:solidFill>
                  <a:round/>
                  <a:headEnd/>
                  <a:tailEnd/>
                </a:ln>
              </p:spPr>
              <p:txBody>
                <a:bodyPr vert="horz" wrap="square" lIns="85725" tIns="42863" rIns="85725" bIns="42863" numCol="1" anchor="t" anchorCtr="0" compatLnSpc="1">
                  <a:prstTxWarp prst="textNoShape">
                    <a:avLst/>
                  </a:prstTxWarp>
                </a:bodyPr>
                <a:lstStyle/>
                <a:p>
                  <a:endParaRPr lang="en-US" sz="900" dirty="0">
                    <a:solidFill>
                      <a:schemeClr val="bg2">
                        <a:lumMod val="10000"/>
                      </a:schemeClr>
                    </a:solidFill>
                    <a:ea typeface="Verdana" panose="020B0604030504040204" pitchFamily="34" charset="0"/>
                  </a:endParaRPr>
                </a:p>
              </p:txBody>
            </p:sp>
            <p:sp>
              <p:nvSpPr>
                <p:cNvPr id="147" name="Freeform 29">
                  <a:extLst>
                    <a:ext uri="{FF2B5EF4-FFF2-40B4-BE49-F238E27FC236}">
                      <a16:creationId xmlns:a16="http://schemas.microsoft.com/office/drawing/2014/main" id="{CDF148BF-5A7B-5175-B660-C3A1AC214D07}"/>
                    </a:ext>
                  </a:extLst>
                </p:cNvPr>
                <p:cNvSpPr>
                  <a:spLocks noEditPoints="1"/>
                </p:cNvSpPr>
                <p:nvPr/>
              </p:nvSpPr>
              <p:spPr bwMode="auto">
                <a:xfrm>
                  <a:off x="5391150" y="4467225"/>
                  <a:ext cx="1049338" cy="1644650"/>
                </a:xfrm>
                <a:custGeom>
                  <a:avLst/>
                  <a:gdLst>
                    <a:gd name="T0" fmla="*/ 325 w 661"/>
                    <a:gd name="T1" fmla="*/ 990 h 1036"/>
                    <a:gd name="T2" fmla="*/ 328 w 661"/>
                    <a:gd name="T3" fmla="*/ 969 h 1036"/>
                    <a:gd name="T4" fmla="*/ 174 w 661"/>
                    <a:gd name="T5" fmla="*/ 985 h 1036"/>
                    <a:gd name="T6" fmla="*/ 193 w 661"/>
                    <a:gd name="T7" fmla="*/ 976 h 1036"/>
                    <a:gd name="T8" fmla="*/ 258 w 661"/>
                    <a:gd name="T9" fmla="*/ 962 h 1036"/>
                    <a:gd name="T10" fmla="*/ 218 w 661"/>
                    <a:gd name="T11" fmla="*/ 960 h 1036"/>
                    <a:gd name="T12" fmla="*/ 167 w 661"/>
                    <a:gd name="T13" fmla="*/ 955 h 1036"/>
                    <a:gd name="T14" fmla="*/ 293 w 661"/>
                    <a:gd name="T15" fmla="*/ 994 h 1036"/>
                    <a:gd name="T16" fmla="*/ 267 w 661"/>
                    <a:gd name="T17" fmla="*/ 948 h 1036"/>
                    <a:gd name="T18" fmla="*/ 211 w 661"/>
                    <a:gd name="T19" fmla="*/ 941 h 1036"/>
                    <a:gd name="T20" fmla="*/ 235 w 661"/>
                    <a:gd name="T21" fmla="*/ 941 h 1036"/>
                    <a:gd name="T22" fmla="*/ 253 w 661"/>
                    <a:gd name="T23" fmla="*/ 920 h 1036"/>
                    <a:gd name="T24" fmla="*/ 128 w 661"/>
                    <a:gd name="T25" fmla="*/ 934 h 1036"/>
                    <a:gd name="T26" fmla="*/ 188 w 661"/>
                    <a:gd name="T27" fmla="*/ 927 h 1036"/>
                    <a:gd name="T28" fmla="*/ 174 w 661"/>
                    <a:gd name="T29" fmla="*/ 902 h 1036"/>
                    <a:gd name="T30" fmla="*/ 130 w 661"/>
                    <a:gd name="T31" fmla="*/ 897 h 1036"/>
                    <a:gd name="T32" fmla="*/ 121 w 661"/>
                    <a:gd name="T33" fmla="*/ 890 h 1036"/>
                    <a:gd name="T34" fmla="*/ 109 w 661"/>
                    <a:gd name="T35" fmla="*/ 809 h 1036"/>
                    <a:gd name="T36" fmla="*/ 100 w 661"/>
                    <a:gd name="T37" fmla="*/ 639 h 1036"/>
                    <a:gd name="T38" fmla="*/ 9 w 661"/>
                    <a:gd name="T39" fmla="*/ 256 h 1036"/>
                    <a:gd name="T40" fmla="*/ 34 w 661"/>
                    <a:gd name="T41" fmla="*/ 269 h 1036"/>
                    <a:gd name="T42" fmla="*/ 97 w 661"/>
                    <a:gd name="T43" fmla="*/ 242 h 1036"/>
                    <a:gd name="T44" fmla="*/ 107 w 661"/>
                    <a:gd name="T45" fmla="*/ 242 h 1036"/>
                    <a:gd name="T46" fmla="*/ 25 w 661"/>
                    <a:gd name="T47" fmla="*/ 232 h 1036"/>
                    <a:gd name="T48" fmla="*/ 100 w 661"/>
                    <a:gd name="T49" fmla="*/ 216 h 1036"/>
                    <a:gd name="T50" fmla="*/ 293 w 661"/>
                    <a:gd name="T51" fmla="*/ 42 h 1036"/>
                    <a:gd name="T52" fmla="*/ 509 w 661"/>
                    <a:gd name="T53" fmla="*/ 125 h 1036"/>
                    <a:gd name="T54" fmla="*/ 567 w 661"/>
                    <a:gd name="T55" fmla="*/ 223 h 1036"/>
                    <a:gd name="T56" fmla="*/ 619 w 661"/>
                    <a:gd name="T57" fmla="*/ 297 h 1036"/>
                    <a:gd name="T58" fmla="*/ 642 w 661"/>
                    <a:gd name="T59" fmla="*/ 381 h 1036"/>
                    <a:gd name="T60" fmla="*/ 628 w 661"/>
                    <a:gd name="T61" fmla="*/ 476 h 1036"/>
                    <a:gd name="T62" fmla="*/ 623 w 661"/>
                    <a:gd name="T63" fmla="*/ 539 h 1036"/>
                    <a:gd name="T64" fmla="*/ 581 w 661"/>
                    <a:gd name="T65" fmla="*/ 513 h 1036"/>
                    <a:gd name="T66" fmla="*/ 495 w 661"/>
                    <a:gd name="T67" fmla="*/ 625 h 1036"/>
                    <a:gd name="T68" fmla="*/ 430 w 661"/>
                    <a:gd name="T69" fmla="*/ 695 h 1036"/>
                    <a:gd name="T70" fmla="*/ 381 w 661"/>
                    <a:gd name="T71" fmla="*/ 741 h 1036"/>
                    <a:gd name="T72" fmla="*/ 330 w 661"/>
                    <a:gd name="T73" fmla="*/ 795 h 1036"/>
                    <a:gd name="T74" fmla="*/ 419 w 661"/>
                    <a:gd name="T75" fmla="*/ 853 h 1036"/>
                    <a:gd name="T76" fmla="*/ 384 w 661"/>
                    <a:gd name="T77" fmla="*/ 941 h 1036"/>
                    <a:gd name="T78" fmla="*/ 321 w 661"/>
                    <a:gd name="T79" fmla="*/ 953 h 1036"/>
                    <a:gd name="T80" fmla="*/ 284 w 661"/>
                    <a:gd name="T81" fmla="*/ 934 h 1036"/>
                    <a:gd name="T82" fmla="*/ 218 w 661"/>
                    <a:gd name="T83" fmla="*/ 904 h 1036"/>
                    <a:gd name="T84" fmla="*/ 179 w 661"/>
                    <a:gd name="T85" fmla="*/ 878 h 1036"/>
                    <a:gd name="T86" fmla="*/ 142 w 661"/>
                    <a:gd name="T87" fmla="*/ 885 h 1036"/>
                    <a:gd name="T88" fmla="*/ 128 w 661"/>
                    <a:gd name="T89" fmla="*/ 846 h 1036"/>
                    <a:gd name="T90" fmla="*/ 123 w 661"/>
                    <a:gd name="T91" fmla="*/ 806 h 1036"/>
                    <a:gd name="T92" fmla="*/ 118 w 661"/>
                    <a:gd name="T93" fmla="*/ 755 h 1036"/>
                    <a:gd name="T94" fmla="*/ 114 w 661"/>
                    <a:gd name="T95" fmla="*/ 695 h 1036"/>
                    <a:gd name="T96" fmla="*/ 116 w 661"/>
                    <a:gd name="T97" fmla="*/ 637 h 1036"/>
                    <a:gd name="T98" fmla="*/ 83 w 661"/>
                    <a:gd name="T99" fmla="*/ 574 h 1036"/>
                    <a:gd name="T100" fmla="*/ 65 w 661"/>
                    <a:gd name="T101" fmla="*/ 497 h 1036"/>
                    <a:gd name="T102" fmla="*/ 37 w 661"/>
                    <a:gd name="T103" fmla="*/ 462 h 1036"/>
                    <a:gd name="T104" fmla="*/ 28 w 661"/>
                    <a:gd name="T105" fmla="*/ 390 h 1036"/>
                    <a:gd name="T106" fmla="*/ 48 w 661"/>
                    <a:gd name="T107" fmla="*/ 332 h 1036"/>
                    <a:gd name="T108" fmla="*/ 48 w 661"/>
                    <a:gd name="T109" fmla="*/ 279 h 1036"/>
                    <a:gd name="T110" fmla="*/ 86 w 661"/>
                    <a:gd name="T111" fmla="*/ 251 h 1036"/>
                    <a:gd name="T112" fmla="*/ 128 w 661"/>
                    <a:gd name="T113" fmla="*/ 230 h 1036"/>
                    <a:gd name="T114" fmla="*/ 118 w 661"/>
                    <a:gd name="T115" fmla="*/ 177 h 1036"/>
                    <a:gd name="T116" fmla="*/ 139 w 661"/>
                    <a:gd name="T117" fmla="*/ 146 h 1036"/>
                    <a:gd name="T118" fmla="*/ 172 w 661"/>
                    <a:gd name="T119" fmla="*/ 130 h 1036"/>
                    <a:gd name="T120" fmla="*/ 195 w 661"/>
                    <a:gd name="T121" fmla="*/ 81 h 1036"/>
                    <a:gd name="T122" fmla="*/ 228 w 661"/>
                    <a:gd name="T123" fmla="*/ 35 h 10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61" h="1036">
                      <a:moveTo>
                        <a:pt x="281" y="1034"/>
                      </a:moveTo>
                      <a:lnTo>
                        <a:pt x="279" y="1036"/>
                      </a:lnTo>
                      <a:lnTo>
                        <a:pt x="279" y="1034"/>
                      </a:lnTo>
                      <a:lnTo>
                        <a:pt x="277" y="1034"/>
                      </a:lnTo>
                      <a:lnTo>
                        <a:pt x="279" y="1032"/>
                      </a:lnTo>
                      <a:lnTo>
                        <a:pt x="281" y="1029"/>
                      </a:lnTo>
                      <a:lnTo>
                        <a:pt x="284" y="1029"/>
                      </a:lnTo>
                      <a:lnTo>
                        <a:pt x="286" y="1027"/>
                      </a:lnTo>
                      <a:lnTo>
                        <a:pt x="288" y="1027"/>
                      </a:lnTo>
                      <a:lnTo>
                        <a:pt x="288" y="1029"/>
                      </a:lnTo>
                      <a:lnTo>
                        <a:pt x="281" y="1034"/>
                      </a:lnTo>
                      <a:close/>
                      <a:moveTo>
                        <a:pt x="325" y="990"/>
                      </a:moveTo>
                      <a:lnTo>
                        <a:pt x="323" y="990"/>
                      </a:lnTo>
                      <a:lnTo>
                        <a:pt x="321" y="985"/>
                      </a:lnTo>
                      <a:lnTo>
                        <a:pt x="321" y="983"/>
                      </a:lnTo>
                      <a:lnTo>
                        <a:pt x="325" y="981"/>
                      </a:lnTo>
                      <a:lnTo>
                        <a:pt x="323" y="981"/>
                      </a:lnTo>
                      <a:lnTo>
                        <a:pt x="321" y="981"/>
                      </a:lnTo>
                      <a:lnTo>
                        <a:pt x="321" y="978"/>
                      </a:lnTo>
                      <a:lnTo>
                        <a:pt x="323" y="976"/>
                      </a:lnTo>
                      <a:lnTo>
                        <a:pt x="328" y="974"/>
                      </a:lnTo>
                      <a:lnTo>
                        <a:pt x="328" y="976"/>
                      </a:lnTo>
                      <a:lnTo>
                        <a:pt x="328" y="978"/>
                      </a:lnTo>
                      <a:lnTo>
                        <a:pt x="328" y="981"/>
                      </a:lnTo>
                      <a:lnTo>
                        <a:pt x="328" y="983"/>
                      </a:lnTo>
                      <a:lnTo>
                        <a:pt x="325" y="983"/>
                      </a:lnTo>
                      <a:lnTo>
                        <a:pt x="325" y="988"/>
                      </a:lnTo>
                      <a:lnTo>
                        <a:pt x="325" y="990"/>
                      </a:lnTo>
                      <a:close/>
                      <a:moveTo>
                        <a:pt x="274" y="985"/>
                      </a:moveTo>
                      <a:lnTo>
                        <a:pt x="274" y="992"/>
                      </a:lnTo>
                      <a:lnTo>
                        <a:pt x="274" y="997"/>
                      </a:lnTo>
                      <a:lnTo>
                        <a:pt x="274" y="1001"/>
                      </a:lnTo>
                      <a:lnTo>
                        <a:pt x="272" y="999"/>
                      </a:lnTo>
                      <a:lnTo>
                        <a:pt x="270" y="999"/>
                      </a:lnTo>
                      <a:lnTo>
                        <a:pt x="270" y="1001"/>
                      </a:lnTo>
                      <a:lnTo>
                        <a:pt x="267" y="1004"/>
                      </a:lnTo>
                      <a:lnTo>
                        <a:pt x="267" y="1001"/>
                      </a:lnTo>
                      <a:lnTo>
                        <a:pt x="265" y="997"/>
                      </a:lnTo>
                      <a:lnTo>
                        <a:pt x="263" y="994"/>
                      </a:lnTo>
                      <a:lnTo>
                        <a:pt x="263" y="990"/>
                      </a:lnTo>
                      <a:lnTo>
                        <a:pt x="263" y="988"/>
                      </a:lnTo>
                      <a:lnTo>
                        <a:pt x="263" y="985"/>
                      </a:lnTo>
                      <a:lnTo>
                        <a:pt x="263" y="983"/>
                      </a:lnTo>
                      <a:lnTo>
                        <a:pt x="265" y="983"/>
                      </a:lnTo>
                      <a:lnTo>
                        <a:pt x="265" y="988"/>
                      </a:lnTo>
                      <a:lnTo>
                        <a:pt x="267" y="990"/>
                      </a:lnTo>
                      <a:lnTo>
                        <a:pt x="270" y="988"/>
                      </a:lnTo>
                      <a:lnTo>
                        <a:pt x="267" y="983"/>
                      </a:lnTo>
                      <a:lnTo>
                        <a:pt x="267" y="981"/>
                      </a:lnTo>
                      <a:lnTo>
                        <a:pt x="270" y="981"/>
                      </a:lnTo>
                      <a:lnTo>
                        <a:pt x="274" y="985"/>
                      </a:lnTo>
                      <a:close/>
                      <a:moveTo>
                        <a:pt x="332" y="967"/>
                      </a:moveTo>
                      <a:lnTo>
                        <a:pt x="332" y="969"/>
                      </a:lnTo>
                      <a:lnTo>
                        <a:pt x="330" y="971"/>
                      </a:lnTo>
                      <a:lnTo>
                        <a:pt x="328" y="971"/>
                      </a:lnTo>
                      <a:lnTo>
                        <a:pt x="328" y="969"/>
                      </a:lnTo>
                      <a:lnTo>
                        <a:pt x="328" y="971"/>
                      </a:lnTo>
                      <a:lnTo>
                        <a:pt x="325" y="971"/>
                      </a:lnTo>
                      <a:lnTo>
                        <a:pt x="321" y="974"/>
                      </a:lnTo>
                      <a:lnTo>
                        <a:pt x="318" y="974"/>
                      </a:lnTo>
                      <a:lnTo>
                        <a:pt x="318" y="971"/>
                      </a:lnTo>
                      <a:lnTo>
                        <a:pt x="321" y="969"/>
                      </a:lnTo>
                      <a:lnTo>
                        <a:pt x="321" y="967"/>
                      </a:lnTo>
                      <a:lnTo>
                        <a:pt x="321" y="964"/>
                      </a:lnTo>
                      <a:lnTo>
                        <a:pt x="323" y="964"/>
                      </a:lnTo>
                      <a:lnTo>
                        <a:pt x="325" y="962"/>
                      </a:lnTo>
                      <a:lnTo>
                        <a:pt x="328" y="962"/>
                      </a:lnTo>
                      <a:lnTo>
                        <a:pt x="330" y="962"/>
                      </a:lnTo>
                      <a:lnTo>
                        <a:pt x="330" y="964"/>
                      </a:lnTo>
                      <a:lnTo>
                        <a:pt x="332" y="967"/>
                      </a:lnTo>
                      <a:close/>
                      <a:moveTo>
                        <a:pt x="218" y="983"/>
                      </a:moveTo>
                      <a:lnTo>
                        <a:pt x="216" y="983"/>
                      </a:lnTo>
                      <a:lnTo>
                        <a:pt x="214" y="983"/>
                      </a:lnTo>
                      <a:lnTo>
                        <a:pt x="211" y="983"/>
                      </a:lnTo>
                      <a:lnTo>
                        <a:pt x="211" y="981"/>
                      </a:lnTo>
                      <a:lnTo>
                        <a:pt x="211" y="978"/>
                      </a:lnTo>
                      <a:lnTo>
                        <a:pt x="214" y="978"/>
                      </a:lnTo>
                      <a:lnTo>
                        <a:pt x="216" y="978"/>
                      </a:lnTo>
                      <a:lnTo>
                        <a:pt x="218" y="978"/>
                      </a:lnTo>
                      <a:lnTo>
                        <a:pt x="221" y="981"/>
                      </a:lnTo>
                      <a:lnTo>
                        <a:pt x="221" y="983"/>
                      </a:lnTo>
                      <a:lnTo>
                        <a:pt x="218" y="983"/>
                      </a:lnTo>
                      <a:close/>
                      <a:moveTo>
                        <a:pt x="176" y="983"/>
                      </a:moveTo>
                      <a:lnTo>
                        <a:pt x="174" y="985"/>
                      </a:lnTo>
                      <a:lnTo>
                        <a:pt x="176" y="985"/>
                      </a:lnTo>
                      <a:lnTo>
                        <a:pt x="176" y="988"/>
                      </a:lnTo>
                      <a:lnTo>
                        <a:pt x="176" y="990"/>
                      </a:lnTo>
                      <a:lnTo>
                        <a:pt x="174" y="992"/>
                      </a:lnTo>
                      <a:lnTo>
                        <a:pt x="172" y="992"/>
                      </a:lnTo>
                      <a:lnTo>
                        <a:pt x="169" y="992"/>
                      </a:lnTo>
                      <a:lnTo>
                        <a:pt x="165" y="994"/>
                      </a:lnTo>
                      <a:lnTo>
                        <a:pt x="162" y="994"/>
                      </a:lnTo>
                      <a:lnTo>
                        <a:pt x="160" y="992"/>
                      </a:lnTo>
                      <a:lnTo>
                        <a:pt x="158" y="992"/>
                      </a:lnTo>
                      <a:lnTo>
                        <a:pt x="160" y="990"/>
                      </a:lnTo>
                      <a:lnTo>
                        <a:pt x="162" y="990"/>
                      </a:lnTo>
                      <a:lnTo>
                        <a:pt x="167" y="990"/>
                      </a:lnTo>
                      <a:lnTo>
                        <a:pt x="165" y="985"/>
                      </a:lnTo>
                      <a:lnTo>
                        <a:pt x="160" y="988"/>
                      </a:lnTo>
                      <a:lnTo>
                        <a:pt x="162" y="981"/>
                      </a:lnTo>
                      <a:lnTo>
                        <a:pt x="167" y="978"/>
                      </a:lnTo>
                      <a:lnTo>
                        <a:pt x="172" y="976"/>
                      </a:lnTo>
                      <a:lnTo>
                        <a:pt x="176" y="978"/>
                      </a:lnTo>
                      <a:lnTo>
                        <a:pt x="176" y="981"/>
                      </a:lnTo>
                      <a:lnTo>
                        <a:pt x="176" y="983"/>
                      </a:lnTo>
                      <a:close/>
                      <a:moveTo>
                        <a:pt x="204" y="969"/>
                      </a:moveTo>
                      <a:lnTo>
                        <a:pt x="202" y="969"/>
                      </a:lnTo>
                      <a:lnTo>
                        <a:pt x="202" y="971"/>
                      </a:lnTo>
                      <a:lnTo>
                        <a:pt x="200" y="971"/>
                      </a:lnTo>
                      <a:lnTo>
                        <a:pt x="200" y="974"/>
                      </a:lnTo>
                      <a:lnTo>
                        <a:pt x="202" y="976"/>
                      </a:lnTo>
                      <a:lnTo>
                        <a:pt x="193" y="976"/>
                      </a:lnTo>
                      <a:lnTo>
                        <a:pt x="197" y="978"/>
                      </a:lnTo>
                      <a:lnTo>
                        <a:pt x="195" y="978"/>
                      </a:lnTo>
                      <a:lnTo>
                        <a:pt x="195" y="981"/>
                      </a:lnTo>
                      <a:lnTo>
                        <a:pt x="193" y="985"/>
                      </a:lnTo>
                      <a:lnTo>
                        <a:pt x="190" y="988"/>
                      </a:lnTo>
                      <a:lnTo>
                        <a:pt x="186" y="988"/>
                      </a:lnTo>
                      <a:lnTo>
                        <a:pt x="183" y="985"/>
                      </a:lnTo>
                      <a:lnTo>
                        <a:pt x="183" y="981"/>
                      </a:lnTo>
                      <a:lnTo>
                        <a:pt x="186" y="981"/>
                      </a:lnTo>
                      <a:lnTo>
                        <a:pt x="186" y="978"/>
                      </a:lnTo>
                      <a:lnTo>
                        <a:pt x="183" y="976"/>
                      </a:lnTo>
                      <a:lnTo>
                        <a:pt x="183" y="974"/>
                      </a:lnTo>
                      <a:lnTo>
                        <a:pt x="183" y="971"/>
                      </a:lnTo>
                      <a:lnTo>
                        <a:pt x="186" y="969"/>
                      </a:lnTo>
                      <a:lnTo>
                        <a:pt x="193" y="967"/>
                      </a:lnTo>
                      <a:lnTo>
                        <a:pt x="200" y="967"/>
                      </a:lnTo>
                      <a:lnTo>
                        <a:pt x="204" y="969"/>
                      </a:lnTo>
                      <a:close/>
                      <a:moveTo>
                        <a:pt x="256" y="969"/>
                      </a:moveTo>
                      <a:lnTo>
                        <a:pt x="253" y="969"/>
                      </a:lnTo>
                      <a:lnTo>
                        <a:pt x="251" y="969"/>
                      </a:lnTo>
                      <a:lnTo>
                        <a:pt x="251" y="967"/>
                      </a:lnTo>
                      <a:lnTo>
                        <a:pt x="251" y="964"/>
                      </a:lnTo>
                      <a:lnTo>
                        <a:pt x="251" y="962"/>
                      </a:lnTo>
                      <a:lnTo>
                        <a:pt x="251" y="960"/>
                      </a:lnTo>
                      <a:lnTo>
                        <a:pt x="253" y="957"/>
                      </a:lnTo>
                      <a:lnTo>
                        <a:pt x="260" y="955"/>
                      </a:lnTo>
                      <a:lnTo>
                        <a:pt x="260" y="960"/>
                      </a:lnTo>
                      <a:lnTo>
                        <a:pt x="258" y="962"/>
                      </a:lnTo>
                      <a:lnTo>
                        <a:pt x="253" y="964"/>
                      </a:lnTo>
                      <a:lnTo>
                        <a:pt x="256" y="967"/>
                      </a:lnTo>
                      <a:lnTo>
                        <a:pt x="258" y="967"/>
                      </a:lnTo>
                      <a:lnTo>
                        <a:pt x="256" y="969"/>
                      </a:lnTo>
                      <a:close/>
                      <a:moveTo>
                        <a:pt x="146" y="976"/>
                      </a:moveTo>
                      <a:lnTo>
                        <a:pt x="153" y="974"/>
                      </a:lnTo>
                      <a:lnTo>
                        <a:pt x="153" y="976"/>
                      </a:lnTo>
                      <a:lnTo>
                        <a:pt x="149" y="976"/>
                      </a:lnTo>
                      <a:lnTo>
                        <a:pt x="146" y="978"/>
                      </a:lnTo>
                      <a:lnTo>
                        <a:pt x="146" y="983"/>
                      </a:lnTo>
                      <a:lnTo>
                        <a:pt x="144" y="981"/>
                      </a:lnTo>
                      <a:lnTo>
                        <a:pt x="142" y="981"/>
                      </a:lnTo>
                      <a:lnTo>
                        <a:pt x="139" y="981"/>
                      </a:lnTo>
                      <a:lnTo>
                        <a:pt x="137" y="981"/>
                      </a:lnTo>
                      <a:lnTo>
                        <a:pt x="135" y="978"/>
                      </a:lnTo>
                      <a:lnTo>
                        <a:pt x="132" y="978"/>
                      </a:lnTo>
                      <a:lnTo>
                        <a:pt x="132" y="974"/>
                      </a:lnTo>
                      <a:lnTo>
                        <a:pt x="135" y="974"/>
                      </a:lnTo>
                      <a:lnTo>
                        <a:pt x="139" y="971"/>
                      </a:lnTo>
                      <a:lnTo>
                        <a:pt x="142" y="974"/>
                      </a:lnTo>
                      <a:lnTo>
                        <a:pt x="146" y="976"/>
                      </a:lnTo>
                      <a:close/>
                      <a:moveTo>
                        <a:pt x="218" y="976"/>
                      </a:moveTo>
                      <a:lnTo>
                        <a:pt x="216" y="978"/>
                      </a:lnTo>
                      <a:lnTo>
                        <a:pt x="211" y="976"/>
                      </a:lnTo>
                      <a:lnTo>
                        <a:pt x="209" y="969"/>
                      </a:lnTo>
                      <a:lnTo>
                        <a:pt x="211" y="967"/>
                      </a:lnTo>
                      <a:lnTo>
                        <a:pt x="216" y="964"/>
                      </a:lnTo>
                      <a:lnTo>
                        <a:pt x="218" y="960"/>
                      </a:lnTo>
                      <a:lnTo>
                        <a:pt x="221" y="960"/>
                      </a:lnTo>
                      <a:lnTo>
                        <a:pt x="223" y="960"/>
                      </a:lnTo>
                      <a:lnTo>
                        <a:pt x="225" y="962"/>
                      </a:lnTo>
                      <a:lnTo>
                        <a:pt x="218" y="969"/>
                      </a:lnTo>
                      <a:lnTo>
                        <a:pt x="221" y="971"/>
                      </a:lnTo>
                      <a:lnTo>
                        <a:pt x="223" y="971"/>
                      </a:lnTo>
                      <a:lnTo>
                        <a:pt x="218" y="976"/>
                      </a:lnTo>
                      <a:close/>
                      <a:moveTo>
                        <a:pt x="246" y="957"/>
                      </a:moveTo>
                      <a:lnTo>
                        <a:pt x="244" y="962"/>
                      </a:lnTo>
                      <a:lnTo>
                        <a:pt x="239" y="957"/>
                      </a:lnTo>
                      <a:lnTo>
                        <a:pt x="242" y="953"/>
                      </a:lnTo>
                      <a:lnTo>
                        <a:pt x="242" y="948"/>
                      </a:lnTo>
                      <a:lnTo>
                        <a:pt x="246" y="946"/>
                      </a:lnTo>
                      <a:lnTo>
                        <a:pt x="249" y="946"/>
                      </a:lnTo>
                      <a:lnTo>
                        <a:pt x="249" y="953"/>
                      </a:lnTo>
                      <a:lnTo>
                        <a:pt x="246" y="957"/>
                      </a:lnTo>
                      <a:close/>
                      <a:moveTo>
                        <a:pt x="167" y="957"/>
                      </a:moveTo>
                      <a:lnTo>
                        <a:pt x="169" y="957"/>
                      </a:lnTo>
                      <a:lnTo>
                        <a:pt x="169" y="960"/>
                      </a:lnTo>
                      <a:lnTo>
                        <a:pt x="169" y="962"/>
                      </a:lnTo>
                      <a:lnTo>
                        <a:pt x="169" y="964"/>
                      </a:lnTo>
                      <a:lnTo>
                        <a:pt x="167" y="964"/>
                      </a:lnTo>
                      <a:lnTo>
                        <a:pt x="165" y="964"/>
                      </a:lnTo>
                      <a:lnTo>
                        <a:pt x="162" y="962"/>
                      </a:lnTo>
                      <a:lnTo>
                        <a:pt x="165" y="957"/>
                      </a:lnTo>
                      <a:lnTo>
                        <a:pt x="165" y="953"/>
                      </a:lnTo>
                      <a:lnTo>
                        <a:pt x="167" y="953"/>
                      </a:lnTo>
                      <a:lnTo>
                        <a:pt x="167" y="955"/>
                      </a:lnTo>
                      <a:lnTo>
                        <a:pt x="167" y="957"/>
                      </a:lnTo>
                      <a:close/>
                      <a:moveTo>
                        <a:pt x="314" y="948"/>
                      </a:moveTo>
                      <a:lnTo>
                        <a:pt x="314" y="950"/>
                      </a:lnTo>
                      <a:lnTo>
                        <a:pt x="314" y="953"/>
                      </a:lnTo>
                      <a:lnTo>
                        <a:pt x="314" y="955"/>
                      </a:lnTo>
                      <a:lnTo>
                        <a:pt x="311" y="955"/>
                      </a:lnTo>
                      <a:lnTo>
                        <a:pt x="314" y="955"/>
                      </a:lnTo>
                      <a:lnTo>
                        <a:pt x="316" y="955"/>
                      </a:lnTo>
                      <a:lnTo>
                        <a:pt x="314" y="957"/>
                      </a:lnTo>
                      <a:lnTo>
                        <a:pt x="314" y="960"/>
                      </a:lnTo>
                      <a:lnTo>
                        <a:pt x="318" y="967"/>
                      </a:lnTo>
                      <a:lnTo>
                        <a:pt x="314" y="974"/>
                      </a:lnTo>
                      <a:lnTo>
                        <a:pt x="307" y="983"/>
                      </a:lnTo>
                      <a:lnTo>
                        <a:pt x="307" y="985"/>
                      </a:lnTo>
                      <a:lnTo>
                        <a:pt x="309" y="985"/>
                      </a:lnTo>
                      <a:lnTo>
                        <a:pt x="311" y="985"/>
                      </a:lnTo>
                      <a:lnTo>
                        <a:pt x="309" y="988"/>
                      </a:lnTo>
                      <a:lnTo>
                        <a:pt x="309" y="992"/>
                      </a:lnTo>
                      <a:lnTo>
                        <a:pt x="304" y="992"/>
                      </a:lnTo>
                      <a:lnTo>
                        <a:pt x="304" y="994"/>
                      </a:lnTo>
                      <a:lnTo>
                        <a:pt x="302" y="997"/>
                      </a:lnTo>
                      <a:lnTo>
                        <a:pt x="300" y="992"/>
                      </a:lnTo>
                      <a:lnTo>
                        <a:pt x="297" y="988"/>
                      </a:lnTo>
                      <a:lnTo>
                        <a:pt x="297" y="990"/>
                      </a:lnTo>
                      <a:lnTo>
                        <a:pt x="295" y="997"/>
                      </a:lnTo>
                      <a:lnTo>
                        <a:pt x="295" y="1001"/>
                      </a:lnTo>
                      <a:lnTo>
                        <a:pt x="293" y="997"/>
                      </a:lnTo>
                      <a:lnTo>
                        <a:pt x="293" y="994"/>
                      </a:lnTo>
                      <a:lnTo>
                        <a:pt x="291" y="997"/>
                      </a:lnTo>
                      <a:lnTo>
                        <a:pt x="291" y="994"/>
                      </a:lnTo>
                      <a:lnTo>
                        <a:pt x="291" y="992"/>
                      </a:lnTo>
                      <a:lnTo>
                        <a:pt x="291" y="990"/>
                      </a:lnTo>
                      <a:lnTo>
                        <a:pt x="291" y="985"/>
                      </a:lnTo>
                      <a:lnTo>
                        <a:pt x="291" y="988"/>
                      </a:lnTo>
                      <a:lnTo>
                        <a:pt x="286" y="992"/>
                      </a:lnTo>
                      <a:lnTo>
                        <a:pt x="286" y="997"/>
                      </a:lnTo>
                      <a:lnTo>
                        <a:pt x="281" y="999"/>
                      </a:lnTo>
                      <a:lnTo>
                        <a:pt x="279" y="999"/>
                      </a:lnTo>
                      <a:lnTo>
                        <a:pt x="277" y="994"/>
                      </a:lnTo>
                      <a:lnTo>
                        <a:pt x="277" y="992"/>
                      </a:lnTo>
                      <a:lnTo>
                        <a:pt x="277" y="988"/>
                      </a:lnTo>
                      <a:lnTo>
                        <a:pt x="277" y="985"/>
                      </a:lnTo>
                      <a:lnTo>
                        <a:pt x="277" y="983"/>
                      </a:lnTo>
                      <a:lnTo>
                        <a:pt x="277" y="981"/>
                      </a:lnTo>
                      <a:lnTo>
                        <a:pt x="274" y="978"/>
                      </a:lnTo>
                      <a:lnTo>
                        <a:pt x="270" y="976"/>
                      </a:lnTo>
                      <a:lnTo>
                        <a:pt x="267" y="974"/>
                      </a:lnTo>
                      <a:lnTo>
                        <a:pt x="270" y="974"/>
                      </a:lnTo>
                      <a:lnTo>
                        <a:pt x="274" y="969"/>
                      </a:lnTo>
                      <a:lnTo>
                        <a:pt x="277" y="967"/>
                      </a:lnTo>
                      <a:lnTo>
                        <a:pt x="288" y="967"/>
                      </a:lnTo>
                      <a:lnTo>
                        <a:pt x="288" y="964"/>
                      </a:lnTo>
                      <a:lnTo>
                        <a:pt x="265" y="967"/>
                      </a:lnTo>
                      <a:lnTo>
                        <a:pt x="267" y="960"/>
                      </a:lnTo>
                      <a:lnTo>
                        <a:pt x="267" y="955"/>
                      </a:lnTo>
                      <a:lnTo>
                        <a:pt x="267" y="948"/>
                      </a:lnTo>
                      <a:lnTo>
                        <a:pt x="270" y="948"/>
                      </a:lnTo>
                      <a:lnTo>
                        <a:pt x="270" y="953"/>
                      </a:lnTo>
                      <a:lnTo>
                        <a:pt x="270" y="957"/>
                      </a:lnTo>
                      <a:lnTo>
                        <a:pt x="281" y="953"/>
                      </a:lnTo>
                      <a:lnTo>
                        <a:pt x="286" y="948"/>
                      </a:lnTo>
                      <a:lnTo>
                        <a:pt x="288" y="948"/>
                      </a:lnTo>
                      <a:lnTo>
                        <a:pt x="309" y="941"/>
                      </a:lnTo>
                      <a:lnTo>
                        <a:pt x="311" y="936"/>
                      </a:lnTo>
                      <a:lnTo>
                        <a:pt x="314" y="929"/>
                      </a:lnTo>
                      <a:lnTo>
                        <a:pt x="316" y="925"/>
                      </a:lnTo>
                      <a:lnTo>
                        <a:pt x="318" y="922"/>
                      </a:lnTo>
                      <a:lnTo>
                        <a:pt x="323" y="922"/>
                      </a:lnTo>
                      <a:lnTo>
                        <a:pt x="323" y="927"/>
                      </a:lnTo>
                      <a:lnTo>
                        <a:pt x="321" y="929"/>
                      </a:lnTo>
                      <a:lnTo>
                        <a:pt x="318" y="934"/>
                      </a:lnTo>
                      <a:lnTo>
                        <a:pt x="316" y="936"/>
                      </a:lnTo>
                      <a:lnTo>
                        <a:pt x="316" y="939"/>
                      </a:lnTo>
                      <a:lnTo>
                        <a:pt x="316" y="941"/>
                      </a:lnTo>
                      <a:lnTo>
                        <a:pt x="316" y="943"/>
                      </a:lnTo>
                      <a:lnTo>
                        <a:pt x="314" y="946"/>
                      </a:lnTo>
                      <a:lnTo>
                        <a:pt x="314" y="948"/>
                      </a:lnTo>
                      <a:close/>
                      <a:moveTo>
                        <a:pt x="211" y="943"/>
                      </a:moveTo>
                      <a:lnTo>
                        <a:pt x="209" y="943"/>
                      </a:lnTo>
                      <a:lnTo>
                        <a:pt x="209" y="941"/>
                      </a:lnTo>
                      <a:lnTo>
                        <a:pt x="211" y="941"/>
                      </a:lnTo>
                      <a:lnTo>
                        <a:pt x="214" y="939"/>
                      </a:lnTo>
                      <a:lnTo>
                        <a:pt x="214" y="941"/>
                      </a:lnTo>
                      <a:lnTo>
                        <a:pt x="211" y="941"/>
                      </a:lnTo>
                      <a:lnTo>
                        <a:pt x="211" y="943"/>
                      </a:lnTo>
                      <a:close/>
                      <a:moveTo>
                        <a:pt x="207" y="936"/>
                      </a:moveTo>
                      <a:lnTo>
                        <a:pt x="209" y="936"/>
                      </a:lnTo>
                      <a:lnTo>
                        <a:pt x="209" y="939"/>
                      </a:lnTo>
                      <a:lnTo>
                        <a:pt x="207" y="943"/>
                      </a:lnTo>
                      <a:lnTo>
                        <a:pt x="207" y="946"/>
                      </a:lnTo>
                      <a:lnTo>
                        <a:pt x="204" y="946"/>
                      </a:lnTo>
                      <a:lnTo>
                        <a:pt x="202" y="946"/>
                      </a:lnTo>
                      <a:lnTo>
                        <a:pt x="200" y="943"/>
                      </a:lnTo>
                      <a:lnTo>
                        <a:pt x="197" y="941"/>
                      </a:lnTo>
                      <a:lnTo>
                        <a:pt x="197" y="939"/>
                      </a:lnTo>
                      <a:lnTo>
                        <a:pt x="200" y="939"/>
                      </a:lnTo>
                      <a:lnTo>
                        <a:pt x="202" y="939"/>
                      </a:lnTo>
                      <a:lnTo>
                        <a:pt x="202" y="936"/>
                      </a:lnTo>
                      <a:lnTo>
                        <a:pt x="207" y="936"/>
                      </a:lnTo>
                      <a:close/>
                      <a:moveTo>
                        <a:pt x="251" y="936"/>
                      </a:moveTo>
                      <a:lnTo>
                        <a:pt x="251" y="939"/>
                      </a:lnTo>
                      <a:lnTo>
                        <a:pt x="249" y="941"/>
                      </a:lnTo>
                      <a:lnTo>
                        <a:pt x="246" y="939"/>
                      </a:lnTo>
                      <a:lnTo>
                        <a:pt x="246" y="941"/>
                      </a:lnTo>
                      <a:lnTo>
                        <a:pt x="244" y="943"/>
                      </a:lnTo>
                      <a:lnTo>
                        <a:pt x="239" y="946"/>
                      </a:lnTo>
                      <a:lnTo>
                        <a:pt x="237" y="946"/>
                      </a:lnTo>
                      <a:lnTo>
                        <a:pt x="239" y="943"/>
                      </a:lnTo>
                      <a:lnTo>
                        <a:pt x="237" y="941"/>
                      </a:lnTo>
                      <a:lnTo>
                        <a:pt x="235" y="939"/>
                      </a:lnTo>
                      <a:lnTo>
                        <a:pt x="230" y="941"/>
                      </a:lnTo>
                      <a:lnTo>
                        <a:pt x="235" y="941"/>
                      </a:lnTo>
                      <a:lnTo>
                        <a:pt x="232" y="946"/>
                      </a:lnTo>
                      <a:lnTo>
                        <a:pt x="230" y="946"/>
                      </a:lnTo>
                      <a:lnTo>
                        <a:pt x="225" y="943"/>
                      </a:lnTo>
                      <a:lnTo>
                        <a:pt x="223" y="943"/>
                      </a:lnTo>
                      <a:lnTo>
                        <a:pt x="221" y="941"/>
                      </a:lnTo>
                      <a:lnTo>
                        <a:pt x="221" y="936"/>
                      </a:lnTo>
                      <a:lnTo>
                        <a:pt x="223" y="934"/>
                      </a:lnTo>
                      <a:lnTo>
                        <a:pt x="228" y="932"/>
                      </a:lnTo>
                      <a:lnTo>
                        <a:pt x="239" y="932"/>
                      </a:lnTo>
                      <a:lnTo>
                        <a:pt x="249" y="934"/>
                      </a:lnTo>
                      <a:lnTo>
                        <a:pt x="251" y="936"/>
                      </a:lnTo>
                      <a:close/>
                      <a:moveTo>
                        <a:pt x="260" y="922"/>
                      </a:moveTo>
                      <a:lnTo>
                        <a:pt x="263" y="922"/>
                      </a:lnTo>
                      <a:lnTo>
                        <a:pt x="265" y="922"/>
                      </a:lnTo>
                      <a:lnTo>
                        <a:pt x="267" y="925"/>
                      </a:lnTo>
                      <a:lnTo>
                        <a:pt x="265" y="927"/>
                      </a:lnTo>
                      <a:lnTo>
                        <a:pt x="260" y="932"/>
                      </a:lnTo>
                      <a:lnTo>
                        <a:pt x="258" y="934"/>
                      </a:lnTo>
                      <a:lnTo>
                        <a:pt x="256" y="934"/>
                      </a:lnTo>
                      <a:lnTo>
                        <a:pt x="256" y="932"/>
                      </a:lnTo>
                      <a:lnTo>
                        <a:pt x="256" y="929"/>
                      </a:lnTo>
                      <a:lnTo>
                        <a:pt x="256" y="927"/>
                      </a:lnTo>
                      <a:lnTo>
                        <a:pt x="253" y="929"/>
                      </a:lnTo>
                      <a:lnTo>
                        <a:pt x="251" y="929"/>
                      </a:lnTo>
                      <a:lnTo>
                        <a:pt x="246" y="927"/>
                      </a:lnTo>
                      <a:lnTo>
                        <a:pt x="249" y="925"/>
                      </a:lnTo>
                      <a:lnTo>
                        <a:pt x="251" y="920"/>
                      </a:lnTo>
                      <a:lnTo>
                        <a:pt x="253" y="920"/>
                      </a:lnTo>
                      <a:lnTo>
                        <a:pt x="256" y="918"/>
                      </a:lnTo>
                      <a:lnTo>
                        <a:pt x="256" y="920"/>
                      </a:lnTo>
                      <a:lnTo>
                        <a:pt x="258" y="922"/>
                      </a:lnTo>
                      <a:lnTo>
                        <a:pt x="260" y="922"/>
                      </a:lnTo>
                      <a:close/>
                      <a:moveTo>
                        <a:pt x="235" y="925"/>
                      </a:moveTo>
                      <a:lnTo>
                        <a:pt x="232" y="925"/>
                      </a:lnTo>
                      <a:lnTo>
                        <a:pt x="230" y="925"/>
                      </a:lnTo>
                      <a:lnTo>
                        <a:pt x="228" y="925"/>
                      </a:lnTo>
                      <a:lnTo>
                        <a:pt x="228" y="922"/>
                      </a:lnTo>
                      <a:lnTo>
                        <a:pt x="239" y="918"/>
                      </a:lnTo>
                      <a:lnTo>
                        <a:pt x="242" y="915"/>
                      </a:lnTo>
                      <a:lnTo>
                        <a:pt x="244" y="918"/>
                      </a:lnTo>
                      <a:lnTo>
                        <a:pt x="244" y="920"/>
                      </a:lnTo>
                      <a:lnTo>
                        <a:pt x="235" y="925"/>
                      </a:lnTo>
                      <a:close/>
                      <a:moveTo>
                        <a:pt x="232" y="918"/>
                      </a:moveTo>
                      <a:lnTo>
                        <a:pt x="223" y="925"/>
                      </a:lnTo>
                      <a:lnTo>
                        <a:pt x="223" y="920"/>
                      </a:lnTo>
                      <a:lnTo>
                        <a:pt x="225" y="918"/>
                      </a:lnTo>
                      <a:lnTo>
                        <a:pt x="232" y="915"/>
                      </a:lnTo>
                      <a:lnTo>
                        <a:pt x="232" y="918"/>
                      </a:lnTo>
                      <a:close/>
                      <a:moveTo>
                        <a:pt x="135" y="934"/>
                      </a:moveTo>
                      <a:lnTo>
                        <a:pt x="135" y="936"/>
                      </a:lnTo>
                      <a:lnTo>
                        <a:pt x="135" y="939"/>
                      </a:lnTo>
                      <a:lnTo>
                        <a:pt x="132" y="939"/>
                      </a:lnTo>
                      <a:lnTo>
                        <a:pt x="132" y="936"/>
                      </a:lnTo>
                      <a:lnTo>
                        <a:pt x="130" y="936"/>
                      </a:lnTo>
                      <a:lnTo>
                        <a:pt x="128" y="936"/>
                      </a:lnTo>
                      <a:lnTo>
                        <a:pt x="128" y="934"/>
                      </a:lnTo>
                      <a:lnTo>
                        <a:pt x="128" y="932"/>
                      </a:lnTo>
                      <a:lnTo>
                        <a:pt x="130" y="929"/>
                      </a:lnTo>
                      <a:lnTo>
                        <a:pt x="132" y="932"/>
                      </a:lnTo>
                      <a:lnTo>
                        <a:pt x="135" y="934"/>
                      </a:lnTo>
                      <a:close/>
                      <a:moveTo>
                        <a:pt x="202" y="915"/>
                      </a:moveTo>
                      <a:lnTo>
                        <a:pt x="202" y="918"/>
                      </a:lnTo>
                      <a:lnTo>
                        <a:pt x="200" y="918"/>
                      </a:lnTo>
                      <a:lnTo>
                        <a:pt x="197" y="918"/>
                      </a:lnTo>
                      <a:lnTo>
                        <a:pt x="195" y="918"/>
                      </a:lnTo>
                      <a:lnTo>
                        <a:pt x="197" y="920"/>
                      </a:lnTo>
                      <a:lnTo>
                        <a:pt x="202" y="920"/>
                      </a:lnTo>
                      <a:lnTo>
                        <a:pt x="204" y="922"/>
                      </a:lnTo>
                      <a:lnTo>
                        <a:pt x="202" y="925"/>
                      </a:lnTo>
                      <a:lnTo>
                        <a:pt x="207" y="922"/>
                      </a:lnTo>
                      <a:lnTo>
                        <a:pt x="209" y="925"/>
                      </a:lnTo>
                      <a:lnTo>
                        <a:pt x="209" y="927"/>
                      </a:lnTo>
                      <a:lnTo>
                        <a:pt x="207" y="929"/>
                      </a:lnTo>
                      <a:lnTo>
                        <a:pt x="209" y="929"/>
                      </a:lnTo>
                      <a:lnTo>
                        <a:pt x="211" y="932"/>
                      </a:lnTo>
                      <a:lnTo>
                        <a:pt x="209" y="932"/>
                      </a:lnTo>
                      <a:lnTo>
                        <a:pt x="207" y="934"/>
                      </a:lnTo>
                      <a:lnTo>
                        <a:pt x="204" y="934"/>
                      </a:lnTo>
                      <a:lnTo>
                        <a:pt x="202" y="932"/>
                      </a:lnTo>
                      <a:lnTo>
                        <a:pt x="200" y="934"/>
                      </a:lnTo>
                      <a:lnTo>
                        <a:pt x="200" y="932"/>
                      </a:lnTo>
                      <a:lnTo>
                        <a:pt x="195" y="929"/>
                      </a:lnTo>
                      <a:lnTo>
                        <a:pt x="190" y="929"/>
                      </a:lnTo>
                      <a:lnTo>
                        <a:pt x="188" y="927"/>
                      </a:lnTo>
                      <a:lnTo>
                        <a:pt x="186" y="925"/>
                      </a:lnTo>
                      <a:lnTo>
                        <a:pt x="183" y="922"/>
                      </a:lnTo>
                      <a:lnTo>
                        <a:pt x="183" y="920"/>
                      </a:lnTo>
                      <a:lnTo>
                        <a:pt x="186" y="918"/>
                      </a:lnTo>
                      <a:lnTo>
                        <a:pt x="188" y="915"/>
                      </a:lnTo>
                      <a:lnTo>
                        <a:pt x="190" y="915"/>
                      </a:lnTo>
                      <a:lnTo>
                        <a:pt x="183" y="909"/>
                      </a:lnTo>
                      <a:lnTo>
                        <a:pt x="183" y="906"/>
                      </a:lnTo>
                      <a:lnTo>
                        <a:pt x="183" y="904"/>
                      </a:lnTo>
                      <a:lnTo>
                        <a:pt x="183" y="902"/>
                      </a:lnTo>
                      <a:lnTo>
                        <a:pt x="186" y="902"/>
                      </a:lnTo>
                      <a:lnTo>
                        <a:pt x="188" y="904"/>
                      </a:lnTo>
                      <a:lnTo>
                        <a:pt x="193" y="906"/>
                      </a:lnTo>
                      <a:lnTo>
                        <a:pt x="195" y="909"/>
                      </a:lnTo>
                      <a:lnTo>
                        <a:pt x="195" y="911"/>
                      </a:lnTo>
                      <a:lnTo>
                        <a:pt x="197" y="911"/>
                      </a:lnTo>
                      <a:lnTo>
                        <a:pt x="200" y="911"/>
                      </a:lnTo>
                      <a:lnTo>
                        <a:pt x="202" y="915"/>
                      </a:lnTo>
                      <a:close/>
                      <a:moveTo>
                        <a:pt x="172" y="906"/>
                      </a:moveTo>
                      <a:lnTo>
                        <a:pt x="169" y="909"/>
                      </a:lnTo>
                      <a:lnTo>
                        <a:pt x="169" y="906"/>
                      </a:lnTo>
                      <a:lnTo>
                        <a:pt x="169" y="902"/>
                      </a:lnTo>
                      <a:lnTo>
                        <a:pt x="172" y="895"/>
                      </a:lnTo>
                      <a:lnTo>
                        <a:pt x="174" y="890"/>
                      </a:lnTo>
                      <a:lnTo>
                        <a:pt x="176" y="890"/>
                      </a:lnTo>
                      <a:lnTo>
                        <a:pt x="176" y="895"/>
                      </a:lnTo>
                      <a:lnTo>
                        <a:pt x="176" y="897"/>
                      </a:lnTo>
                      <a:lnTo>
                        <a:pt x="174" y="902"/>
                      </a:lnTo>
                      <a:lnTo>
                        <a:pt x="172" y="904"/>
                      </a:lnTo>
                      <a:lnTo>
                        <a:pt x="172" y="906"/>
                      </a:lnTo>
                      <a:close/>
                      <a:moveTo>
                        <a:pt x="128" y="909"/>
                      </a:moveTo>
                      <a:lnTo>
                        <a:pt x="125" y="909"/>
                      </a:lnTo>
                      <a:lnTo>
                        <a:pt x="121" y="909"/>
                      </a:lnTo>
                      <a:lnTo>
                        <a:pt x="118" y="906"/>
                      </a:lnTo>
                      <a:lnTo>
                        <a:pt x="118" y="902"/>
                      </a:lnTo>
                      <a:lnTo>
                        <a:pt x="116" y="899"/>
                      </a:lnTo>
                      <a:lnTo>
                        <a:pt x="116" y="897"/>
                      </a:lnTo>
                      <a:lnTo>
                        <a:pt x="114" y="892"/>
                      </a:lnTo>
                      <a:lnTo>
                        <a:pt x="116" y="892"/>
                      </a:lnTo>
                      <a:lnTo>
                        <a:pt x="121" y="895"/>
                      </a:lnTo>
                      <a:lnTo>
                        <a:pt x="123" y="902"/>
                      </a:lnTo>
                      <a:lnTo>
                        <a:pt x="125" y="904"/>
                      </a:lnTo>
                      <a:lnTo>
                        <a:pt x="128" y="909"/>
                      </a:lnTo>
                      <a:close/>
                      <a:moveTo>
                        <a:pt x="142" y="892"/>
                      </a:moveTo>
                      <a:lnTo>
                        <a:pt x="144" y="897"/>
                      </a:lnTo>
                      <a:lnTo>
                        <a:pt x="142" y="897"/>
                      </a:lnTo>
                      <a:lnTo>
                        <a:pt x="142" y="899"/>
                      </a:lnTo>
                      <a:lnTo>
                        <a:pt x="142" y="902"/>
                      </a:lnTo>
                      <a:lnTo>
                        <a:pt x="144" y="904"/>
                      </a:lnTo>
                      <a:lnTo>
                        <a:pt x="142" y="904"/>
                      </a:lnTo>
                      <a:lnTo>
                        <a:pt x="139" y="906"/>
                      </a:lnTo>
                      <a:lnTo>
                        <a:pt x="142" y="909"/>
                      </a:lnTo>
                      <a:lnTo>
                        <a:pt x="137" y="909"/>
                      </a:lnTo>
                      <a:lnTo>
                        <a:pt x="135" y="906"/>
                      </a:lnTo>
                      <a:lnTo>
                        <a:pt x="132" y="902"/>
                      </a:lnTo>
                      <a:lnTo>
                        <a:pt x="130" y="897"/>
                      </a:lnTo>
                      <a:lnTo>
                        <a:pt x="128" y="899"/>
                      </a:lnTo>
                      <a:lnTo>
                        <a:pt x="125" y="899"/>
                      </a:lnTo>
                      <a:lnTo>
                        <a:pt x="125" y="895"/>
                      </a:lnTo>
                      <a:lnTo>
                        <a:pt x="125" y="892"/>
                      </a:lnTo>
                      <a:lnTo>
                        <a:pt x="128" y="890"/>
                      </a:lnTo>
                      <a:lnTo>
                        <a:pt x="132" y="890"/>
                      </a:lnTo>
                      <a:lnTo>
                        <a:pt x="135" y="892"/>
                      </a:lnTo>
                      <a:lnTo>
                        <a:pt x="142" y="892"/>
                      </a:lnTo>
                      <a:close/>
                      <a:moveTo>
                        <a:pt x="121" y="890"/>
                      </a:moveTo>
                      <a:lnTo>
                        <a:pt x="118" y="890"/>
                      </a:lnTo>
                      <a:lnTo>
                        <a:pt x="118" y="888"/>
                      </a:lnTo>
                      <a:lnTo>
                        <a:pt x="116" y="885"/>
                      </a:lnTo>
                      <a:lnTo>
                        <a:pt x="114" y="885"/>
                      </a:lnTo>
                      <a:lnTo>
                        <a:pt x="111" y="883"/>
                      </a:lnTo>
                      <a:lnTo>
                        <a:pt x="109" y="881"/>
                      </a:lnTo>
                      <a:lnTo>
                        <a:pt x="109" y="878"/>
                      </a:lnTo>
                      <a:lnTo>
                        <a:pt x="114" y="876"/>
                      </a:lnTo>
                      <a:lnTo>
                        <a:pt x="114" y="874"/>
                      </a:lnTo>
                      <a:lnTo>
                        <a:pt x="114" y="871"/>
                      </a:lnTo>
                      <a:lnTo>
                        <a:pt x="116" y="871"/>
                      </a:lnTo>
                      <a:lnTo>
                        <a:pt x="116" y="874"/>
                      </a:lnTo>
                      <a:lnTo>
                        <a:pt x="116" y="876"/>
                      </a:lnTo>
                      <a:lnTo>
                        <a:pt x="118" y="878"/>
                      </a:lnTo>
                      <a:lnTo>
                        <a:pt x="118" y="883"/>
                      </a:lnTo>
                      <a:lnTo>
                        <a:pt x="118" y="885"/>
                      </a:lnTo>
                      <a:lnTo>
                        <a:pt x="118" y="888"/>
                      </a:lnTo>
                      <a:lnTo>
                        <a:pt x="121" y="888"/>
                      </a:lnTo>
                      <a:lnTo>
                        <a:pt x="121" y="890"/>
                      </a:lnTo>
                      <a:close/>
                      <a:moveTo>
                        <a:pt x="102" y="825"/>
                      </a:moveTo>
                      <a:lnTo>
                        <a:pt x="104" y="825"/>
                      </a:lnTo>
                      <a:lnTo>
                        <a:pt x="107" y="825"/>
                      </a:lnTo>
                      <a:lnTo>
                        <a:pt x="107" y="823"/>
                      </a:lnTo>
                      <a:lnTo>
                        <a:pt x="107" y="825"/>
                      </a:lnTo>
                      <a:lnTo>
                        <a:pt x="107" y="827"/>
                      </a:lnTo>
                      <a:lnTo>
                        <a:pt x="107" y="829"/>
                      </a:lnTo>
                      <a:lnTo>
                        <a:pt x="107" y="827"/>
                      </a:lnTo>
                      <a:lnTo>
                        <a:pt x="102" y="827"/>
                      </a:lnTo>
                      <a:lnTo>
                        <a:pt x="100" y="827"/>
                      </a:lnTo>
                      <a:lnTo>
                        <a:pt x="100" y="825"/>
                      </a:lnTo>
                      <a:lnTo>
                        <a:pt x="97" y="825"/>
                      </a:lnTo>
                      <a:lnTo>
                        <a:pt x="97" y="823"/>
                      </a:lnTo>
                      <a:lnTo>
                        <a:pt x="100" y="823"/>
                      </a:lnTo>
                      <a:lnTo>
                        <a:pt x="102" y="823"/>
                      </a:lnTo>
                      <a:lnTo>
                        <a:pt x="102" y="825"/>
                      </a:lnTo>
                      <a:close/>
                      <a:moveTo>
                        <a:pt x="114" y="813"/>
                      </a:moveTo>
                      <a:lnTo>
                        <a:pt x="111" y="816"/>
                      </a:lnTo>
                      <a:lnTo>
                        <a:pt x="109" y="816"/>
                      </a:lnTo>
                      <a:lnTo>
                        <a:pt x="107" y="816"/>
                      </a:lnTo>
                      <a:lnTo>
                        <a:pt x="102" y="818"/>
                      </a:lnTo>
                      <a:lnTo>
                        <a:pt x="100" y="818"/>
                      </a:lnTo>
                      <a:lnTo>
                        <a:pt x="97" y="816"/>
                      </a:lnTo>
                      <a:lnTo>
                        <a:pt x="102" y="813"/>
                      </a:lnTo>
                      <a:lnTo>
                        <a:pt x="107" y="816"/>
                      </a:lnTo>
                      <a:lnTo>
                        <a:pt x="109" y="813"/>
                      </a:lnTo>
                      <a:lnTo>
                        <a:pt x="109" y="811"/>
                      </a:lnTo>
                      <a:lnTo>
                        <a:pt x="109" y="809"/>
                      </a:lnTo>
                      <a:lnTo>
                        <a:pt x="109" y="806"/>
                      </a:lnTo>
                      <a:lnTo>
                        <a:pt x="107" y="802"/>
                      </a:lnTo>
                      <a:lnTo>
                        <a:pt x="104" y="802"/>
                      </a:lnTo>
                      <a:lnTo>
                        <a:pt x="102" y="802"/>
                      </a:lnTo>
                      <a:lnTo>
                        <a:pt x="104" y="797"/>
                      </a:lnTo>
                      <a:lnTo>
                        <a:pt x="104" y="795"/>
                      </a:lnTo>
                      <a:lnTo>
                        <a:pt x="107" y="795"/>
                      </a:lnTo>
                      <a:lnTo>
                        <a:pt x="109" y="799"/>
                      </a:lnTo>
                      <a:lnTo>
                        <a:pt x="111" y="799"/>
                      </a:lnTo>
                      <a:lnTo>
                        <a:pt x="116" y="804"/>
                      </a:lnTo>
                      <a:lnTo>
                        <a:pt x="114" y="806"/>
                      </a:lnTo>
                      <a:lnTo>
                        <a:pt x="111" y="809"/>
                      </a:lnTo>
                      <a:lnTo>
                        <a:pt x="114" y="813"/>
                      </a:lnTo>
                      <a:close/>
                      <a:moveTo>
                        <a:pt x="109" y="741"/>
                      </a:moveTo>
                      <a:lnTo>
                        <a:pt x="114" y="746"/>
                      </a:lnTo>
                      <a:lnTo>
                        <a:pt x="109" y="744"/>
                      </a:lnTo>
                      <a:lnTo>
                        <a:pt x="107" y="746"/>
                      </a:lnTo>
                      <a:lnTo>
                        <a:pt x="104" y="746"/>
                      </a:lnTo>
                      <a:lnTo>
                        <a:pt x="104" y="744"/>
                      </a:lnTo>
                      <a:lnTo>
                        <a:pt x="104" y="741"/>
                      </a:lnTo>
                      <a:lnTo>
                        <a:pt x="104" y="739"/>
                      </a:lnTo>
                      <a:lnTo>
                        <a:pt x="107" y="737"/>
                      </a:lnTo>
                      <a:lnTo>
                        <a:pt x="109" y="739"/>
                      </a:lnTo>
                      <a:lnTo>
                        <a:pt x="109" y="741"/>
                      </a:lnTo>
                      <a:close/>
                      <a:moveTo>
                        <a:pt x="107" y="639"/>
                      </a:moveTo>
                      <a:lnTo>
                        <a:pt x="107" y="641"/>
                      </a:lnTo>
                      <a:lnTo>
                        <a:pt x="102" y="639"/>
                      </a:lnTo>
                      <a:lnTo>
                        <a:pt x="100" y="639"/>
                      </a:lnTo>
                      <a:lnTo>
                        <a:pt x="102" y="639"/>
                      </a:lnTo>
                      <a:lnTo>
                        <a:pt x="102" y="634"/>
                      </a:lnTo>
                      <a:lnTo>
                        <a:pt x="107" y="637"/>
                      </a:lnTo>
                      <a:lnTo>
                        <a:pt x="109" y="637"/>
                      </a:lnTo>
                      <a:lnTo>
                        <a:pt x="109" y="639"/>
                      </a:lnTo>
                      <a:lnTo>
                        <a:pt x="107" y="639"/>
                      </a:lnTo>
                      <a:close/>
                      <a:moveTo>
                        <a:pt x="25" y="325"/>
                      </a:moveTo>
                      <a:lnTo>
                        <a:pt x="25" y="330"/>
                      </a:lnTo>
                      <a:lnTo>
                        <a:pt x="28" y="332"/>
                      </a:lnTo>
                      <a:lnTo>
                        <a:pt x="25" y="332"/>
                      </a:lnTo>
                      <a:lnTo>
                        <a:pt x="23" y="332"/>
                      </a:lnTo>
                      <a:lnTo>
                        <a:pt x="21" y="335"/>
                      </a:lnTo>
                      <a:lnTo>
                        <a:pt x="18" y="332"/>
                      </a:lnTo>
                      <a:lnTo>
                        <a:pt x="16" y="330"/>
                      </a:lnTo>
                      <a:lnTo>
                        <a:pt x="18" y="330"/>
                      </a:lnTo>
                      <a:lnTo>
                        <a:pt x="18" y="328"/>
                      </a:lnTo>
                      <a:lnTo>
                        <a:pt x="18" y="325"/>
                      </a:lnTo>
                      <a:lnTo>
                        <a:pt x="16" y="325"/>
                      </a:lnTo>
                      <a:lnTo>
                        <a:pt x="16" y="323"/>
                      </a:lnTo>
                      <a:lnTo>
                        <a:pt x="16" y="321"/>
                      </a:lnTo>
                      <a:lnTo>
                        <a:pt x="16" y="318"/>
                      </a:lnTo>
                      <a:lnTo>
                        <a:pt x="18" y="321"/>
                      </a:lnTo>
                      <a:lnTo>
                        <a:pt x="21" y="321"/>
                      </a:lnTo>
                      <a:lnTo>
                        <a:pt x="23" y="323"/>
                      </a:lnTo>
                      <a:lnTo>
                        <a:pt x="25" y="325"/>
                      </a:lnTo>
                      <a:close/>
                      <a:moveTo>
                        <a:pt x="0" y="256"/>
                      </a:moveTo>
                      <a:lnTo>
                        <a:pt x="4" y="258"/>
                      </a:lnTo>
                      <a:lnTo>
                        <a:pt x="9" y="256"/>
                      </a:lnTo>
                      <a:lnTo>
                        <a:pt x="11" y="253"/>
                      </a:lnTo>
                      <a:lnTo>
                        <a:pt x="16" y="253"/>
                      </a:lnTo>
                      <a:lnTo>
                        <a:pt x="18" y="256"/>
                      </a:lnTo>
                      <a:lnTo>
                        <a:pt x="16" y="256"/>
                      </a:lnTo>
                      <a:lnTo>
                        <a:pt x="14" y="258"/>
                      </a:lnTo>
                      <a:lnTo>
                        <a:pt x="14" y="265"/>
                      </a:lnTo>
                      <a:lnTo>
                        <a:pt x="14" y="267"/>
                      </a:lnTo>
                      <a:lnTo>
                        <a:pt x="16" y="267"/>
                      </a:lnTo>
                      <a:lnTo>
                        <a:pt x="21" y="267"/>
                      </a:lnTo>
                      <a:lnTo>
                        <a:pt x="23" y="267"/>
                      </a:lnTo>
                      <a:lnTo>
                        <a:pt x="23" y="269"/>
                      </a:lnTo>
                      <a:lnTo>
                        <a:pt x="25" y="269"/>
                      </a:lnTo>
                      <a:lnTo>
                        <a:pt x="25" y="267"/>
                      </a:lnTo>
                      <a:lnTo>
                        <a:pt x="25" y="265"/>
                      </a:lnTo>
                      <a:lnTo>
                        <a:pt x="23" y="265"/>
                      </a:lnTo>
                      <a:lnTo>
                        <a:pt x="23" y="262"/>
                      </a:lnTo>
                      <a:lnTo>
                        <a:pt x="25" y="260"/>
                      </a:lnTo>
                      <a:lnTo>
                        <a:pt x="30" y="256"/>
                      </a:lnTo>
                      <a:lnTo>
                        <a:pt x="34" y="256"/>
                      </a:lnTo>
                      <a:lnTo>
                        <a:pt x="37" y="258"/>
                      </a:lnTo>
                      <a:lnTo>
                        <a:pt x="37" y="262"/>
                      </a:lnTo>
                      <a:lnTo>
                        <a:pt x="37" y="265"/>
                      </a:lnTo>
                      <a:lnTo>
                        <a:pt x="39" y="267"/>
                      </a:lnTo>
                      <a:lnTo>
                        <a:pt x="39" y="269"/>
                      </a:lnTo>
                      <a:lnTo>
                        <a:pt x="37" y="272"/>
                      </a:lnTo>
                      <a:lnTo>
                        <a:pt x="34" y="272"/>
                      </a:lnTo>
                      <a:lnTo>
                        <a:pt x="32" y="272"/>
                      </a:lnTo>
                      <a:lnTo>
                        <a:pt x="34" y="269"/>
                      </a:lnTo>
                      <a:lnTo>
                        <a:pt x="32" y="269"/>
                      </a:lnTo>
                      <a:lnTo>
                        <a:pt x="25" y="276"/>
                      </a:lnTo>
                      <a:lnTo>
                        <a:pt x="25" y="279"/>
                      </a:lnTo>
                      <a:lnTo>
                        <a:pt x="28" y="279"/>
                      </a:lnTo>
                      <a:lnTo>
                        <a:pt x="30" y="279"/>
                      </a:lnTo>
                      <a:lnTo>
                        <a:pt x="28" y="281"/>
                      </a:lnTo>
                      <a:lnTo>
                        <a:pt x="25" y="283"/>
                      </a:lnTo>
                      <a:lnTo>
                        <a:pt x="21" y="283"/>
                      </a:lnTo>
                      <a:lnTo>
                        <a:pt x="18" y="281"/>
                      </a:lnTo>
                      <a:lnTo>
                        <a:pt x="16" y="276"/>
                      </a:lnTo>
                      <a:lnTo>
                        <a:pt x="14" y="276"/>
                      </a:lnTo>
                      <a:lnTo>
                        <a:pt x="11" y="279"/>
                      </a:lnTo>
                      <a:lnTo>
                        <a:pt x="9" y="274"/>
                      </a:lnTo>
                      <a:lnTo>
                        <a:pt x="11" y="274"/>
                      </a:lnTo>
                      <a:lnTo>
                        <a:pt x="11" y="272"/>
                      </a:lnTo>
                      <a:lnTo>
                        <a:pt x="9" y="272"/>
                      </a:lnTo>
                      <a:lnTo>
                        <a:pt x="4" y="267"/>
                      </a:lnTo>
                      <a:lnTo>
                        <a:pt x="2" y="265"/>
                      </a:lnTo>
                      <a:lnTo>
                        <a:pt x="0" y="258"/>
                      </a:lnTo>
                      <a:lnTo>
                        <a:pt x="0" y="256"/>
                      </a:lnTo>
                      <a:close/>
                      <a:moveTo>
                        <a:pt x="100" y="230"/>
                      </a:moveTo>
                      <a:lnTo>
                        <a:pt x="102" y="235"/>
                      </a:lnTo>
                      <a:lnTo>
                        <a:pt x="102" y="237"/>
                      </a:lnTo>
                      <a:lnTo>
                        <a:pt x="102" y="239"/>
                      </a:lnTo>
                      <a:lnTo>
                        <a:pt x="100" y="242"/>
                      </a:lnTo>
                      <a:lnTo>
                        <a:pt x="97" y="242"/>
                      </a:lnTo>
                      <a:lnTo>
                        <a:pt x="97" y="239"/>
                      </a:lnTo>
                      <a:lnTo>
                        <a:pt x="97" y="242"/>
                      </a:lnTo>
                      <a:lnTo>
                        <a:pt x="95" y="242"/>
                      </a:lnTo>
                      <a:lnTo>
                        <a:pt x="95" y="239"/>
                      </a:lnTo>
                      <a:lnTo>
                        <a:pt x="95" y="237"/>
                      </a:lnTo>
                      <a:lnTo>
                        <a:pt x="95" y="235"/>
                      </a:lnTo>
                      <a:lnTo>
                        <a:pt x="97" y="232"/>
                      </a:lnTo>
                      <a:lnTo>
                        <a:pt x="100" y="235"/>
                      </a:lnTo>
                      <a:lnTo>
                        <a:pt x="100" y="232"/>
                      </a:lnTo>
                      <a:lnTo>
                        <a:pt x="97" y="232"/>
                      </a:lnTo>
                      <a:lnTo>
                        <a:pt x="97" y="230"/>
                      </a:lnTo>
                      <a:lnTo>
                        <a:pt x="100" y="230"/>
                      </a:lnTo>
                      <a:close/>
                      <a:moveTo>
                        <a:pt x="121" y="230"/>
                      </a:moveTo>
                      <a:lnTo>
                        <a:pt x="123" y="230"/>
                      </a:lnTo>
                      <a:lnTo>
                        <a:pt x="123" y="232"/>
                      </a:lnTo>
                      <a:lnTo>
                        <a:pt x="123" y="235"/>
                      </a:lnTo>
                      <a:lnTo>
                        <a:pt x="121" y="237"/>
                      </a:lnTo>
                      <a:lnTo>
                        <a:pt x="121" y="239"/>
                      </a:lnTo>
                      <a:lnTo>
                        <a:pt x="118" y="239"/>
                      </a:lnTo>
                      <a:lnTo>
                        <a:pt x="114" y="237"/>
                      </a:lnTo>
                      <a:lnTo>
                        <a:pt x="109" y="237"/>
                      </a:lnTo>
                      <a:lnTo>
                        <a:pt x="109" y="239"/>
                      </a:lnTo>
                      <a:lnTo>
                        <a:pt x="111" y="239"/>
                      </a:lnTo>
                      <a:lnTo>
                        <a:pt x="114" y="239"/>
                      </a:lnTo>
                      <a:lnTo>
                        <a:pt x="116" y="242"/>
                      </a:lnTo>
                      <a:lnTo>
                        <a:pt x="116" y="244"/>
                      </a:lnTo>
                      <a:lnTo>
                        <a:pt x="114" y="244"/>
                      </a:lnTo>
                      <a:lnTo>
                        <a:pt x="114" y="246"/>
                      </a:lnTo>
                      <a:lnTo>
                        <a:pt x="107" y="244"/>
                      </a:lnTo>
                      <a:lnTo>
                        <a:pt x="107" y="242"/>
                      </a:lnTo>
                      <a:lnTo>
                        <a:pt x="104" y="239"/>
                      </a:lnTo>
                      <a:lnTo>
                        <a:pt x="107" y="237"/>
                      </a:lnTo>
                      <a:lnTo>
                        <a:pt x="104" y="235"/>
                      </a:lnTo>
                      <a:lnTo>
                        <a:pt x="104" y="232"/>
                      </a:lnTo>
                      <a:lnTo>
                        <a:pt x="104" y="230"/>
                      </a:lnTo>
                      <a:lnTo>
                        <a:pt x="107" y="230"/>
                      </a:lnTo>
                      <a:lnTo>
                        <a:pt x="107" y="228"/>
                      </a:lnTo>
                      <a:lnTo>
                        <a:pt x="109" y="228"/>
                      </a:lnTo>
                      <a:lnTo>
                        <a:pt x="111" y="228"/>
                      </a:lnTo>
                      <a:lnTo>
                        <a:pt x="111" y="230"/>
                      </a:lnTo>
                      <a:lnTo>
                        <a:pt x="114" y="230"/>
                      </a:lnTo>
                      <a:lnTo>
                        <a:pt x="116" y="230"/>
                      </a:lnTo>
                      <a:lnTo>
                        <a:pt x="118" y="230"/>
                      </a:lnTo>
                      <a:lnTo>
                        <a:pt x="118" y="228"/>
                      </a:lnTo>
                      <a:lnTo>
                        <a:pt x="118" y="225"/>
                      </a:lnTo>
                      <a:lnTo>
                        <a:pt x="118" y="223"/>
                      </a:lnTo>
                      <a:lnTo>
                        <a:pt x="121" y="223"/>
                      </a:lnTo>
                      <a:lnTo>
                        <a:pt x="121" y="225"/>
                      </a:lnTo>
                      <a:lnTo>
                        <a:pt x="121" y="230"/>
                      </a:lnTo>
                      <a:close/>
                      <a:moveTo>
                        <a:pt x="28" y="244"/>
                      </a:moveTo>
                      <a:lnTo>
                        <a:pt x="25" y="251"/>
                      </a:lnTo>
                      <a:lnTo>
                        <a:pt x="23" y="246"/>
                      </a:lnTo>
                      <a:lnTo>
                        <a:pt x="21" y="249"/>
                      </a:lnTo>
                      <a:lnTo>
                        <a:pt x="14" y="242"/>
                      </a:lnTo>
                      <a:lnTo>
                        <a:pt x="16" y="242"/>
                      </a:lnTo>
                      <a:lnTo>
                        <a:pt x="18" y="239"/>
                      </a:lnTo>
                      <a:lnTo>
                        <a:pt x="21" y="235"/>
                      </a:lnTo>
                      <a:lnTo>
                        <a:pt x="25" y="232"/>
                      </a:lnTo>
                      <a:lnTo>
                        <a:pt x="28" y="235"/>
                      </a:lnTo>
                      <a:lnTo>
                        <a:pt x="30" y="239"/>
                      </a:lnTo>
                      <a:lnTo>
                        <a:pt x="28" y="244"/>
                      </a:lnTo>
                      <a:close/>
                      <a:moveTo>
                        <a:pt x="100" y="216"/>
                      </a:moveTo>
                      <a:lnTo>
                        <a:pt x="102" y="216"/>
                      </a:lnTo>
                      <a:lnTo>
                        <a:pt x="104" y="216"/>
                      </a:lnTo>
                      <a:lnTo>
                        <a:pt x="102" y="216"/>
                      </a:lnTo>
                      <a:lnTo>
                        <a:pt x="102" y="218"/>
                      </a:lnTo>
                      <a:lnTo>
                        <a:pt x="102" y="221"/>
                      </a:lnTo>
                      <a:lnTo>
                        <a:pt x="100" y="221"/>
                      </a:lnTo>
                      <a:lnTo>
                        <a:pt x="97" y="221"/>
                      </a:lnTo>
                      <a:lnTo>
                        <a:pt x="95" y="221"/>
                      </a:lnTo>
                      <a:lnTo>
                        <a:pt x="95" y="223"/>
                      </a:lnTo>
                      <a:lnTo>
                        <a:pt x="95" y="225"/>
                      </a:lnTo>
                      <a:lnTo>
                        <a:pt x="93" y="228"/>
                      </a:lnTo>
                      <a:lnTo>
                        <a:pt x="93" y="230"/>
                      </a:lnTo>
                      <a:lnTo>
                        <a:pt x="90" y="230"/>
                      </a:lnTo>
                      <a:lnTo>
                        <a:pt x="90" y="228"/>
                      </a:lnTo>
                      <a:lnTo>
                        <a:pt x="90" y="225"/>
                      </a:lnTo>
                      <a:lnTo>
                        <a:pt x="90" y="223"/>
                      </a:lnTo>
                      <a:lnTo>
                        <a:pt x="90" y="221"/>
                      </a:lnTo>
                      <a:lnTo>
                        <a:pt x="93" y="221"/>
                      </a:lnTo>
                      <a:lnTo>
                        <a:pt x="93" y="218"/>
                      </a:lnTo>
                      <a:lnTo>
                        <a:pt x="93" y="216"/>
                      </a:lnTo>
                      <a:lnTo>
                        <a:pt x="95" y="216"/>
                      </a:lnTo>
                      <a:lnTo>
                        <a:pt x="97" y="216"/>
                      </a:lnTo>
                      <a:lnTo>
                        <a:pt x="100" y="214"/>
                      </a:lnTo>
                      <a:lnTo>
                        <a:pt x="100" y="216"/>
                      </a:lnTo>
                      <a:close/>
                      <a:moveTo>
                        <a:pt x="162" y="109"/>
                      </a:moveTo>
                      <a:lnTo>
                        <a:pt x="165" y="109"/>
                      </a:lnTo>
                      <a:lnTo>
                        <a:pt x="165" y="111"/>
                      </a:lnTo>
                      <a:lnTo>
                        <a:pt x="165" y="114"/>
                      </a:lnTo>
                      <a:lnTo>
                        <a:pt x="165" y="116"/>
                      </a:lnTo>
                      <a:lnTo>
                        <a:pt x="165" y="118"/>
                      </a:lnTo>
                      <a:lnTo>
                        <a:pt x="162" y="118"/>
                      </a:lnTo>
                      <a:lnTo>
                        <a:pt x="160" y="118"/>
                      </a:lnTo>
                      <a:lnTo>
                        <a:pt x="162" y="121"/>
                      </a:lnTo>
                      <a:lnTo>
                        <a:pt x="160" y="123"/>
                      </a:lnTo>
                      <a:lnTo>
                        <a:pt x="158" y="123"/>
                      </a:lnTo>
                      <a:lnTo>
                        <a:pt x="156" y="123"/>
                      </a:lnTo>
                      <a:lnTo>
                        <a:pt x="153" y="121"/>
                      </a:lnTo>
                      <a:lnTo>
                        <a:pt x="151" y="118"/>
                      </a:lnTo>
                      <a:lnTo>
                        <a:pt x="151" y="116"/>
                      </a:lnTo>
                      <a:lnTo>
                        <a:pt x="151" y="114"/>
                      </a:lnTo>
                      <a:lnTo>
                        <a:pt x="153" y="111"/>
                      </a:lnTo>
                      <a:lnTo>
                        <a:pt x="156" y="109"/>
                      </a:lnTo>
                      <a:lnTo>
                        <a:pt x="158" y="107"/>
                      </a:lnTo>
                      <a:lnTo>
                        <a:pt x="160" y="107"/>
                      </a:lnTo>
                      <a:lnTo>
                        <a:pt x="160" y="109"/>
                      </a:lnTo>
                      <a:lnTo>
                        <a:pt x="162" y="109"/>
                      </a:lnTo>
                      <a:close/>
                      <a:moveTo>
                        <a:pt x="260" y="12"/>
                      </a:moveTo>
                      <a:lnTo>
                        <a:pt x="277" y="16"/>
                      </a:lnTo>
                      <a:lnTo>
                        <a:pt x="284" y="21"/>
                      </a:lnTo>
                      <a:lnTo>
                        <a:pt x="286" y="25"/>
                      </a:lnTo>
                      <a:lnTo>
                        <a:pt x="291" y="37"/>
                      </a:lnTo>
                      <a:lnTo>
                        <a:pt x="293" y="42"/>
                      </a:lnTo>
                      <a:lnTo>
                        <a:pt x="300" y="46"/>
                      </a:lnTo>
                      <a:lnTo>
                        <a:pt x="304" y="46"/>
                      </a:lnTo>
                      <a:lnTo>
                        <a:pt x="304" y="49"/>
                      </a:lnTo>
                      <a:lnTo>
                        <a:pt x="307" y="56"/>
                      </a:lnTo>
                      <a:lnTo>
                        <a:pt x="311" y="60"/>
                      </a:lnTo>
                      <a:lnTo>
                        <a:pt x="321" y="63"/>
                      </a:lnTo>
                      <a:lnTo>
                        <a:pt x="328" y="65"/>
                      </a:lnTo>
                      <a:lnTo>
                        <a:pt x="332" y="70"/>
                      </a:lnTo>
                      <a:lnTo>
                        <a:pt x="349" y="93"/>
                      </a:lnTo>
                      <a:lnTo>
                        <a:pt x="358" y="102"/>
                      </a:lnTo>
                      <a:lnTo>
                        <a:pt x="374" y="111"/>
                      </a:lnTo>
                      <a:lnTo>
                        <a:pt x="405" y="135"/>
                      </a:lnTo>
                      <a:lnTo>
                        <a:pt x="409" y="139"/>
                      </a:lnTo>
                      <a:lnTo>
                        <a:pt x="414" y="137"/>
                      </a:lnTo>
                      <a:lnTo>
                        <a:pt x="416" y="128"/>
                      </a:lnTo>
                      <a:lnTo>
                        <a:pt x="416" y="118"/>
                      </a:lnTo>
                      <a:lnTo>
                        <a:pt x="416" y="109"/>
                      </a:lnTo>
                      <a:lnTo>
                        <a:pt x="421" y="104"/>
                      </a:lnTo>
                      <a:lnTo>
                        <a:pt x="423" y="102"/>
                      </a:lnTo>
                      <a:lnTo>
                        <a:pt x="432" y="102"/>
                      </a:lnTo>
                      <a:lnTo>
                        <a:pt x="437" y="104"/>
                      </a:lnTo>
                      <a:lnTo>
                        <a:pt x="449" y="111"/>
                      </a:lnTo>
                      <a:lnTo>
                        <a:pt x="453" y="114"/>
                      </a:lnTo>
                      <a:lnTo>
                        <a:pt x="481" y="111"/>
                      </a:lnTo>
                      <a:lnTo>
                        <a:pt x="486" y="114"/>
                      </a:lnTo>
                      <a:lnTo>
                        <a:pt x="498" y="121"/>
                      </a:lnTo>
                      <a:lnTo>
                        <a:pt x="502" y="125"/>
                      </a:lnTo>
                      <a:lnTo>
                        <a:pt x="509" y="125"/>
                      </a:lnTo>
                      <a:lnTo>
                        <a:pt x="516" y="123"/>
                      </a:lnTo>
                      <a:lnTo>
                        <a:pt x="526" y="116"/>
                      </a:lnTo>
                      <a:lnTo>
                        <a:pt x="528" y="116"/>
                      </a:lnTo>
                      <a:lnTo>
                        <a:pt x="530" y="118"/>
                      </a:lnTo>
                      <a:lnTo>
                        <a:pt x="530" y="121"/>
                      </a:lnTo>
                      <a:lnTo>
                        <a:pt x="526" y="135"/>
                      </a:lnTo>
                      <a:lnTo>
                        <a:pt x="526" y="137"/>
                      </a:lnTo>
                      <a:lnTo>
                        <a:pt x="526" y="142"/>
                      </a:lnTo>
                      <a:lnTo>
                        <a:pt x="528" y="144"/>
                      </a:lnTo>
                      <a:lnTo>
                        <a:pt x="533" y="149"/>
                      </a:lnTo>
                      <a:lnTo>
                        <a:pt x="540" y="163"/>
                      </a:lnTo>
                      <a:lnTo>
                        <a:pt x="542" y="167"/>
                      </a:lnTo>
                      <a:lnTo>
                        <a:pt x="544" y="172"/>
                      </a:lnTo>
                      <a:lnTo>
                        <a:pt x="542" y="172"/>
                      </a:lnTo>
                      <a:lnTo>
                        <a:pt x="542" y="174"/>
                      </a:lnTo>
                      <a:lnTo>
                        <a:pt x="542" y="179"/>
                      </a:lnTo>
                      <a:lnTo>
                        <a:pt x="544" y="186"/>
                      </a:lnTo>
                      <a:lnTo>
                        <a:pt x="549" y="190"/>
                      </a:lnTo>
                      <a:lnTo>
                        <a:pt x="556" y="197"/>
                      </a:lnTo>
                      <a:lnTo>
                        <a:pt x="560" y="204"/>
                      </a:lnTo>
                      <a:lnTo>
                        <a:pt x="565" y="207"/>
                      </a:lnTo>
                      <a:lnTo>
                        <a:pt x="565" y="209"/>
                      </a:lnTo>
                      <a:lnTo>
                        <a:pt x="560" y="209"/>
                      </a:lnTo>
                      <a:lnTo>
                        <a:pt x="558" y="211"/>
                      </a:lnTo>
                      <a:lnTo>
                        <a:pt x="558" y="216"/>
                      </a:lnTo>
                      <a:lnTo>
                        <a:pt x="560" y="218"/>
                      </a:lnTo>
                      <a:lnTo>
                        <a:pt x="565" y="221"/>
                      </a:lnTo>
                      <a:lnTo>
                        <a:pt x="567" y="223"/>
                      </a:lnTo>
                      <a:lnTo>
                        <a:pt x="570" y="223"/>
                      </a:lnTo>
                      <a:lnTo>
                        <a:pt x="570" y="225"/>
                      </a:lnTo>
                      <a:lnTo>
                        <a:pt x="570" y="228"/>
                      </a:lnTo>
                      <a:lnTo>
                        <a:pt x="567" y="232"/>
                      </a:lnTo>
                      <a:lnTo>
                        <a:pt x="563" y="230"/>
                      </a:lnTo>
                      <a:lnTo>
                        <a:pt x="556" y="232"/>
                      </a:lnTo>
                      <a:lnTo>
                        <a:pt x="544" y="239"/>
                      </a:lnTo>
                      <a:lnTo>
                        <a:pt x="544" y="242"/>
                      </a:lnTo>
                      <a:lnTo>
                        <a:pt x="547" y="246"/>
                      </a:lnTo>
                      <a:lnTo>
                        <a:pt x="551" y="249"/>
                      </a:lnTo>
                      <a:lnTo>
                        <a:pt x="558" y="251"/>
                      </a:lnTo>
                      <a:lnTo>
                        <a:pt x="563" y="253"/>
                      </a:lnTo>
                      <a:lnTo>
                        <a:pt x="560" y="253"/>
                      </a:lnTo>
                      <a:lnTo>
                        <a:pt x="560" y="258"/>
                      </a:lnTo>
                      <a:lnTo>
                        <a:pt x="563" y="260"/>
                      </a:lnTo>
                      <a:lnTo>
                        <a:pt x="586" y="274"/>
                      </a:lnTo>
                      <a:lnTo>
                        <a:pt x="588" y="274"/>
                      </a:lnTo>
                      <a:lnTo>
                        <a:pt x="588" y="269"/>
                      </a:lnTo>
                      <a:lnTo>
                        <a:pt x="591" y="267"/>
                      </a:lnTo>
                      <a:lnTo>
                        <a:pt x="593" y="267"/>
                      </a:lnTo>
                      <a:lnTo>
                        <a:pt x="598" y="267"/>
                      </a:lnTo>
                      <a:lnTo>
                        <a:pt x="602" y="272"/>
                      </a:lnTo>
                      <a:lnTo>
                        <a:pt x="605" y="274"/>
                      </a:lnTo>
                      <a:lnTo>
                        <a:pt x="605" y="276"/>
                      </a:lnTo>
                      <a:lnTo>
                        <a:pt x="607" y="281"/>
                      </a:lnTo>
                      <a:lnTo>
                        <a:pt x="612" y="283"/>
                      </a:lnTo>
                      <a:lnTo>
                        <a:pt x="614" y="290"/>
                      </a:lnTo>
                      <a:lnTo>
                        <a:pt x="619" y="297"/>
                      </a:lnTo>
                      <a:lnTo>
                        <a:pt x="619" y="302"/>
                      </a:lnTo>
                      <a:lnTo>
                        <a:pt x="619" y="304"/>
                      </a:lnTo>
                      <a:lnTo>
                        <a:pt x="619" y="307"/>
                      </a:lnTo>
                      <a:lnTo>
                        <a:pt x="619" y="309"/>
                      </a:lnTo>
                      <a:lnTo>
                        <a:pt x="612" y="325"/>
                      </a:lnTo>
                      <a:lnTo>
                        <a:pt x="612" y="328"/>
                      </a:lnTo>
                      <a:lnTo>
                        <a:pt x="626" y="335"/>
                      </a:lnTo>
                      <a:lnTo>
                        <a:pt x="628" y="335"/>
                      </a:lnTo>
                      <a:lnTo>
                        <a:pt x="637" y="335"/>
                      </a:lnTo>
                      <a:lnTo>
                        <a:pt x="640" y="337"/>
                      </a:lnTo>
                      <a:lnTo>
                        <a:pt x="640" y="342"/>
                      </a:lnTo>
                      <a:lnTo>
                        <a:pt x="640" y="344"/>
                      </a:lnTo>
                      <a:lnTo>
                        <a:pt x="640" y="346"/>
                      </a:lnTo>
                      <a:lnTo>
                        <a:pt x="640" y="348"/>
                      </a:lnTo>
                      <a:lnTo>
                        <a:pt x="651" y="355"/>
                      </a:lnTo>
                      <a:lnTo>
                        <a:pt x="651" y="358"/>
                      </a:lnTo>
                      <a:lnTo>
                        <a:pt x="647" y="360"/>
                      </a:lnTo>
                      <a:lnTo>
                        <a:pt x="642" y="362"/>
                      </a:lnTo>
                      <a:lnTo>
                        <a:pt x="642" y="365"/>
                      </a:lnTo>
                      <a:lnTo>
                        <a:pt x="642" y="367"/>
                      </a:lnTo>
                      <a:lnTo>
                        <a:pt x="644" y="367"/>
                      </a:lnTo>
                      <a:lnTo>
                        <a:pt x="644" y="369"/>
                      </a:lnTo>
                      <a:lnTo>
                        <a:pt x="642" y="369"/>
                      </a:lnTo>
                      <a:lnTo>
                        <a:pt x="642" y="372"/>
                      </a:lnTo>
                      <a:lnTo>
                        <a:pt x="640" y="374"/>
                      </a:lnTo>
                      <a:lnTo>
                        <a:pt x="640" y="376"/>
                      </a:lnTo>
                      <a:lnTo>
                        <a:pt x="640" y="379"/>
                      </a:lnTo>
                      <a:lnTo>
                        <a:pt x="642" y="381"/>
                      </a:lnTo>
                      <a:lnTo>
                        <a:pt x="642" y="383"/>
                      </a:lnTo>
                      <a:lnTo>
                        <a:pt x="642" y="386"/>
                      </a:lnTo>
                      <a:lnTo>
                        <a:pt x="644" y="388"/>
                      </a:lnTo>
                      <a:lnTo>
                        <a:pt x="647" y="388"/>
                      </a:lnTo>
                      <a:lnTo>
                        <a:pt x="644" y="390"/>
                      </a:lnTo>
                      <a:lnTo>
                        <a:pt x="642" y="390"/>
                      </a:lnTo>
                      <a:lnTo>
                        <a:pt x="640" y="388"/>
                      </a:lnTo>
                      <a:lnTo>
                        <a:pt x="635" y="386"/>
                      </a:lnTo>
                      <a:lnTo>
                        <a:pt x="633" y="386"/>
                      </a:lnTo>
                      <a:lnTo>
                        <a:pt x="630" y="386"/>
                      </a:lnTo>
                      <a:lnTo>
                        <a:pt x="628" y="388"/>
                      </a:lnTo>
                      <a:lnTo>
                        <a:pt x="626" y="390"/>
                      </a:lnTo>
                      <a:lnTo>
                        <a:pt x="628" y="390"/>
                      </a:lnTo>
                      <a:lnTo>
                        <a:pt x="628" y="393"/>
                      </a:lnTo>
                      <a:lnTo>
                        <a:pt x="626" y="395"/>
                      </a:lnTo>
                      <a:lnTo>
                        <a:pt x="626" y="397"/>
                      </a:lnTo>
                      <a:lnTo>
                        <a:pt x="623" y="397"/>
                      </a:lnTo>
                      <a:lnTo>
                        <a:pt x="621" y="395"/>
                      </a:lnTo>
                      <a:lnTo>
                        <a:pt x="619" y="397"/>
                      </a:lnTo>
                      <a:lnTo>
                        <a:pt x="612" y="404"/>
                      </a:lnTo>
                      <a:lnTo>
                        <a:pt x="605" y="421"/>
                      </a:lnTo>
                      <a:lnTo>
                        <a:pt x="607" y="427"/>
                      </a:lnTo>
                      <a:lnTo>
                        <a:pt x="630" y="451"/>
                      </a:lnTo>
                      <a:lnTo>
                        <a:pt x="630" y="455"/>
                      </a:lnTo>
                      <a:lnTo>
                        <a:pt x="628" y="458"/>
                      </a:lnTo>
                      <a:lnTo>
                        <a:pt x="628" y="462"/>
                      </a:lnTo>
                      <a:lnTo>
                        <a:pt x="628" y="469"/>
                      </a:lnTo>
                      <a:lnTo>
                        <a:pt x="628" y="476"/>
                      </a:lnTo>
                      <a:lnTo>
                        <a:pt x="630" y="476"/>
                      </a:lnTo>
                      <a:lnTo>
                        <a:pt x="633" y="476"/>
                      </a:lnTo>
                      <a:lnTo>
                        <a:pt x="635" y="476"/>
                      </a:lnTo>
                      <a:lnTo>
                        <a:pt x="635" y="479"/>
                      </a:lnTo>
                      <a:lnTo>
                        <a:pt x="635" y="488"/>
                      </a:lnTo>
                      <a:lnTo>
                        <a:pt x="637" y="493"/>
                      </a:lnTo>
                      <a:lnTo>
                        <a:pt x="640" y="493"/>
                      </a:lnTo>
                      <a:lnTo>
                        <a:pt x="651" y="502"/>
                      </a:lnTo>
                      <a:lnTo>
                        <a:pt x="654" y="504"/>
                      </a:lnTo>
                      <a:lnTo>
                        <a:pt x="658" y="511"/>
                      </a:lnTo>
                      <a:lnTo>
                        <a:pt x="661" y="513"/>
                      </a:lnTo>
                      <a:lnTo>
                        <a:pt x="661" y="518"/>
                      </a:lnTo>
                      <a:lnTo>
                        <a:pt x="661" y="530"/>
                      </a:lnTo>
                      <a:lnTo>
                        <a:pt x="661" y="532"/>
                      </a:lnTo>
                      <a:lnTo>
                        <a:pt x="647" y="527"/>
                      </a:lnTo>
                      <a:lnTo>
                        <a:pt x="644" y="530"/>
                      </a:lnTo>
                      <a:lnTo>
                        <a:pt x="644" y="532"/>
                      </a:lnTo>
                      <a:lnTo>
                        <a:pt x="644" y="534"/>
                      </a:lnTo>
                      <a:lnTo>
                        <a:pt x="644" y="537"/>
                      </a:lnTo>
                      <a:lnTo>
                        <a:pt x="642" y="539"/>
                      </a:lnTo>
                      <a:lnTo>
                        <a:pt x="642" y="541"/>
                      </a:lnTo>
                      <a:lnTo>
                        <a:pt x="640" y="539"/>
                      </a:lnTo>
                      <a:lnTo>
                        <a:pt x="640" y="537"/>
                      </a:lnTo>
                      <a:lnTo>
                        <a:pt x="640" y="534"/>
                      </a:lnTo>
                      <a:lnTo>
                        <a:pt x="637" y="532"/>
                      </a:lnTo>
                      <a:lnTo>
                        <a:pt x="635" y="532"/>
                      </a:lnTo>
                      <a:lnTo>
                        <a:pt x="633" y="532"/>
                      </a:lnTo>
                      <a:lnTo>
                        <a:pt x="623" y="539"/>
                      </a:lnTo>
                      <a:lnTo>
                        <a:pt x="623" y="541"/>
                      </a:lnTo>
                      <a:lnTo>
                        <a:pt x="621" y="541"/>
                      </a:lnTo>
                      <a:lnTo>
                        <a:pt x="616" y="537"/>
                      </a:lnTo>
                      <a:lnTo>
                        <a:pt x="612" y="537"/>
                      </a:lnTo>
                      <a:lnTo>
                        <a:pt x="609" y="534"/>
                      </a:lnTo>
                      <a:lnTo>
                        <a:pt x="609" y="532"/>
                      </a:lnTo>
                      <a:lnTo>
                        <a:pt x="609" y="530"/>
                      </a:lnTo>
                      <a:lnTo>
                        <a:pt x="609" y="525"/>
                      </a:lnTo>
                      <a:lnTo>
                        <a:pt x="609" y="523"/>
                      </a:lnTo>
                      <a:lnTo>
                        <a:pt x="607" y="520"/>
                      </a:lnTo>
                      <a:lnTo>
                        <a:pt x="605" y="520"/>
                      </a:lnTo>
                      <a:lnTo>
                        <a:pt x="605" y="523"/>
                      </a:lnTo>
                      <a:lnTo>
                        <a:pt x="602" y="523"/>
                      </a:lnTo>
                      <a:lnTo>
                        <a:pt x="600" y="520"/>
                      </a:lnTo>
                      <a:lnTo>
                        <a:pt x="598" y="516"/>
                      </a:lnTo>
                      <a:lnTo>
                        <a:pt x="595" y="513"/>
                      </a:lnTo>
                      <a:lnTo>
                        <a:pt x="593" y="513"/>
                      </a:lnTo>
                      <a:lnTo>
                        <a:pt x="588" y="509"/>
                      </a:lnTo>
                      <a:lnTo>
                        <a:pt x="588" y="511"/>
                      </a:lnTo>
                      <a:lnTo>
                        <a:pt x="588" y="513"/>
                      </a:lnTo>
                      <a:lnTo>
                        <a:pt x="588" y="516"/>
                      </a:lnTo>
                      <a:lnTo>
                        <a:pt x="586" y="516"/>
                      </a:lnTo>
                      <a:lnTo>
                        <a:pt x="584" y="516"/>
                      </a:lnTo>
                      <a:lnTo>
                        <a:pt x="584" y="513"/>
                      </a:lnTo>
                      <a:lnTo>
                        <a:pt x="584" y="511"/>
                      </a:lnTo>
                      <a:lnTo>
                        <a:pt x="581" y="509"/>
                      </a:lnTo>
                      <a:lnTo>
                        <a:pt x="581" y="511"/>
                      </a:lnTo>
                      <a:lnTo>
                        <a:pt x="581" y="513"/>
                      </a:lnTo>
                      <a:lnTo>
                        <a:pt x="579" y="523"/>
                      </a:lnTo>
                      <a:lnTo>
                        <a:pt x="577" y="532"/>
                      </a:lnTo>
                      <a:lnTo>
                        <a:pt x="577" y="534"/>
                      </a:lnTo>
                      <a:lnTo>
                        <a:pt x="574" y="534"/>
                      </a:lnTo>
                      <a:lnTo>
                        <a:pt x="574" y="532"/>
                      </a:lnTo>
                      <a:lnTo>
                        <a:pt x="572" y="532"/>
                      </a:lnTo>
                      <a:lnTo>
                        <a:pt x="567" y="534"/>
                      </a:lnTo>
                      <a:lnTo>
                        <a:pt x="565" y="534"/>
                      </a:lnTo>
                      <a:lnTo>
                        <a:pt x="560" y="537"/>
                      </a:lnTo>
                      <a:lnTo>
                        <a:pt x="558" y="541"/>
                      </a:lnTo>
                      <a:lnTo>
                        <a:pt x="556" y="544"/>
                      </a:lnTo>
                      <a:lnTo>
                        <a:pt x="551" y="544"/>
                      </a:lnTo>
                      <a:lnTo>
                        <a:pt x="549" y="544"/>
                      </a:lnTo>
                      <a:lnTo>
                        <a:pt x="549" y="551"/>
                      </a:lnTo>
                      <a:lnTo>
                        <a:pt x="551" y="572"/>
                      </a:lnTo>
                      <a:lnTo>
                        <a:pt x="551" y="581"/>
                      </a:lnTo>
                      <a:lnTo>
                        <a:pt x="549" y="586"/>
                      </a:lnTo>
                      <a:lnTo>
                        <a:pt x="549" y="590"/>
                      </a:lnTo>
                      <a:lnTo>
                        <a:pt x="547" y="592"/>
                      </a:lnTo>
                      <a:lnTo>
                        <a:pt x="500" y="609"/>
                      </a:lnTo>
                      <a:lnTo>
                        <a:pt x="498" y="609"/>
                      </a:lnTo>
                      <a:lnTo>
                        <a:pt x="488" y="606"/>
                      </a:lnTo>
                      <a:lnTo>
                        <a:pt x="486" y="609"/>
                      </a:lnTo>
                      <a:lnTo>
                        <a:pt x="488" y="611"/>
                      </a:lnTo>
                      <a:lnTo>
                        <a:pt x="491" y="616"/>
                      </a:lnTo>
                      <a:lnTo>
                        <a:pt x="493" y="618"/>
                      </a:lnTo>
                      <a:lnTo>
                        <a:pt x="495" y="620"/>
                      </a:lnTo>
                      <a:lnTo>
                        <a:pt x="495" y="625"/>
                      </a:lnTo>
                      <a:lnTo>
                        <a:pt x="495" y="632"/>
                      </a:lnTo>
                      <a:lnTo>
                        <a:pt x="498" y="637"/>
                      </a:lnTo>
                      <a:lnTo>
                        <a:pt x="500" y="641"/>
                      </a:lnTo>
                      <a:lnTo>
                        <a:pt x="498" y="641"/>
                      </a:lnTo>
                      <a:lnTo>
                        <a:pt x="498" y="644"/>
                      </a:lnTo>
                      <a:lnTo>
                        <a:pt x="498" y="646"/>
                      </a:lnTo>
                      <a:lnTo>
                        <a:pt x="498" y="648"/>
                      </a:lnTo>
                      <a:lnTo>
                        <a:pt x="498" y="651"/>
                      </a:lnTo>
                      <a:lnTo>
                        <a:pt x="491" y="655"/>
                      </a:lnTo>
                      <a:lnTo>
                        <a:pt x="486" y="655"/>
                      </a:lnTo>
                      <a:lnTo>
                        <a:pt x="481" y="648"/>
                      </a:lnTo>
                      <a:lnTo>
                        <a:pt x="479" y="651"/>
                      </a:lnTo>
                      <a:lnTo>
                        <a:pt x="479" y="653"/>
                      </a:lnTo>
                      <a:lnTo>
                        <a:pt x="477" y="658"/>
                      </a:lnTo>
                      <a:lnTo>
                        <a:pt x="472" y="655"/>
                      </a:lnTo>
                      <a:lnTo>
                        <a:pt x="465" y="655"/>
                      </a:lnTo>
                      <a:lnTo>
                        <a:pt x="460" y="655"/>
                      </a:lnTo>
                      <a:lnTo>
                        <a:pt x="456" y="658"/>
                      </a:lnTo>
                      <a:lnTo>
                        <a:pt x="444" y="671"/>
                      </a:lnTo>
                      <a:lnTo>
                        <a:pt x="439" y="674"/>
                      </a:lnTo>
                      <a:lnTo>
                        <a:pt x="432" y="674"/>
                      </a:lnTo>
                      <a:lnTo>
                        <a:pt x="432" y="676"/>
                      </a:lnTo>
                      <a:lnTo>
                        <a:pt x="432" y="681"/>
                      </a:lnTo>
                      <a:lnTo>
                        <a:pt x="432" y="683"/>
                      </a:lnTo>
                      <a:lnTo>
                        <a:pt x="435" y="683"/>
                      </a:lnTo>
                      <a:lnTo>
                        <a:pt x="437" y="683"/>
                      </a:lnTo>
                      <a:lnTo>
                        <a:pt x="435" y="688"/>
                      </a:lnTo>
                      <a:lnTo>
                        <a:pt x="430" y="695"/>
                      </a:lnTo>
                      <a:lnTo>
                        <a:pt x="425" y="697"/>
                      </a:lnTo>
                      <a:lnTo>
                        <a:pt x="421" y="699"/>
                      </a:lnTo>
                      <a:lnTo>
                        <a:pt x="421" y="702"/>
                      </a:lnTo>
                      <a:lnTo>
                        <a:pt x="421" y="704"/>
                      </a:lnTo>
                      <a:lnTo>
                        <a:pt x="416" y="704"/>
                      </a:lnTo>
                      <a:lnTo>
                        <a:pt x="409" y="706"/>
                      </a:lnTo>
                      <a:lnTo>
                        <a:pt x="400" y="716"/>
                      </a:lnTo>
                      <a:lnTo>
                        <a:pt x="386" y="723"/>
                      </a:lnTo>
                      <a:lnTo>
                        <a:pt x="384" y="725"/>
                      </a:lnTo>
                      <a:lnTo>
                        <a:pt x="384" y="727"/>
                      </a:lnTo>
                      <a:lnTo>
                        <a:pt x="386" y="727"/>
                      </a:lnTo>
                      <a:lnTo>
                        <a:pt x="388" y="730"/>
                      </a:lnTo>
                      <a:lnTo>
                        <a:pt x="388" y="732"/>
                      </a:lnTo>
                      <a:lnTo>
                        <a:pt x="388" y="734"/>
                      </a:lnTo>
                      <a:lnTo>
                        <a:pt x="393" y="730"/>
                      </a:lnTo>
                      <a:lnTo>
                        <a:pt x="395" y="730"/>
                      </a:lnTo>
                      <a:lnTo>
                        <a:pt x="398" y="732"/>
                      </a:lnTo>
                      <a:lnTo>
                        <a:pt x="395" y="734"/>
                      </a:lnTo>
                      <a:lnTo>
                        <a:pt x="395" y="737"/>
                      </a:lnTo>
                      <a:lnTo>
                        <a:pt x="393" y="739"/>
                      </a:lnTo>
                      <a:lnTo>
                        <a:pt x="393" y="741"/>
                      </a:lnTo>
                      <a:lnTo>
                        <a:pt x="395" y="744"/>
                      </a:lnTo>
                      <a:lnTo>
                        <a:pt x="398" y="746"/>
                      </a:lnTo>
                      <a:lnTo>
                        <a:pt x="398" y="748"/>
                      </a:lnTo>
                      <a:lnTo>
                        <a:pt x="398" y="750"/>
                      </a:lnTo>
                      <a:lnTo>
                        <a:pt x="395" y="750"/>
                      </a:lnTo>
                      <a:lnTo>
                        <a:pt x="386" y="741"/>
                      </a:lnTo>
                      <a:lnTo>
                        <a:pt x="381" y="741"/>
                      </a:lnTo>
                      <a:lnTo>
                        <a:pt x="379" y="741"/>
                      </a:lnTo>
                      <a:lnTo>
                        <a:pt x="374" y="741"/>
                      </a:lnTo>
                      <a:lnTo>
                        <a:pt x="365" y="748"/>
                      </a:lnTo>
                      <a:lnTo>
                        <a:pt x="353" y="750"/>
                      </a:lnTo>
                      <a:lnTo>
                        <a:pt x="351" y="750"/>
                      </a:lnTo>
                      <a:lnTo>
                        <a:pt x="351" y="753"/>
                      </a:lnTo>
                      <a:lnTo>
                        <a:pt x="353" y="755"/>
                      </a:lnTo>
                      <a:lnTo>
                        <a:pt x="349" y="755"/>
                      </a:lnTo>
                      <a:lnTo>
                        <a:pt x="337" y="748"/>
                      </a:lnTo>
                      <a:lnTo>
                        <a:pt x="330" y="746"/>
                      </a:lnTo>
                      <a:lnTo>
                        <a:pt x="321" y="753"/>
                      </a:lnTo>
                      <a:lnTo>
                        <a:pt x="328" y="757"/>
                      </a:lnTo>
                      <a:lnTo>
                        <a:pt x="330" y="760"/>
                      </a:lnTo>
                      <a:lnTo>
                        <a:pt x="332" y="760"/>
                      </a:lnTo>
                      <a:lnTo>
                        <a:pt x="335" y="762"/>
                      </a:lnTo>
                      <a:lnTo>
                        <a:pt x="335" y="764"/>
                      </a:lnTo>
                      <a:lnTo>
                        <a:pt x="335" y="769"/>
                      </a:lnTo>
                      <a:lnTo>
                        <a:pt x="332" y="771"/>
                      </a:lnTo>
                      <a:lnTo>
                        <a:pt x="330" y="771"/>
                      </a:lnTo>
                      <a:lnTo>
                        <a:pt x="332" y="771"/>
                      </a:lnTo>
                      <a:lnTo>
                        <a:pt x="332" y="776"/>
                      </a:lnTo>
                      <a:lnTo>
                        <a:pt x="325" y="776"/>
                      </a:lnTo>
                      <a:lnTo>
                        <a:pt x="321" y="778"/>
                      </a:lnTo>
                      <a:lnTo>
                        <a:pt x="321" y="783"/>
                      </a:lnTo>
                      <a:lnTo>
                        <a:pt x="321" y="790"/>
                      </a:lnTo>
                      <a:lnTo>
                        <a:pt x="325" y="792"/>
                      </a:lnTo>
                      <a:lnTo>
                        <a:pt x="330" y="792"/>
                      </a:lnTo>
                      <a:lnTo>
                        <a:pt x="330" y="795"/>
                      </a:lnTo>
                      <a:lnTo>
                        <a:pt x="328" y="799"/>
                      </a:lnTo>
                      <a:lnTo>
                        <a:pt x="328" y="802"/>
                      </a:lnTo>
                      <a:lnTo>
                        <a:pt x="325" y="804"/>
                      </a:lnTo>
                      <a:lnTo>
                        <a:pt x="328" y="809"/>
                      </a:lnTo>
                      <a:lnTo>
                        <a:pt x="335" y="813"/>
                      </a:lnTo>
                      <a:lnTo>
                        <a:pt x="339" y="813"/>
                      </a:lnTo>
                      <a:lnTo>
                        <a:pt x="344" y="816"/>
                      </a:lnTo>
                      <a:lnTo>
                        <a:pt x="351" y="813"/>
                      </a:lnTo>
                      <a:lnTo>
                        <a:pt x="360" y="806"/>
                      </a:lnTo>
                      <a:lnTo>
                        <a:pt x="363" y="806"/>
                      </a:lnTo>
                      <a:lnTo>
                        <a:pt x="367" y="809"/>
                      </a:lnTo>
                      <a:lnTo>
                        <a:pt x="370" y="813"/>
                      </a:lnTo>
                      <a:lnTo>
                        <a:pt x="377" y="816"/>
                      </a:lnTo>
                      <a:lnTo>
                        <a:pt x="386" y="816"/>
                      </a:lnTo>
                      <a:lnTo>
                        <a:pt x="393" y="820"/>
                      </a:lnTo>
                      <a:lnTo>
                        <a:pt x="400" y="820"/>
                      </a:lnTo>
                      <a:lnTo>
                        <a:pt x="416" y="820"/>
                      </a:lnTo>
                      <a:lnTo>
                        <a:pt x="414" y="823"/>
                      </a:lnTo>
                      <a:lnTo>
                        <a:pt x="414" y="827"/>
                      </a:lnTo>
                      <a:lnTo>
                        <a:pt x="416" y="827"/>
                      </a:lnTo>
                      <a:lnTo>
                        <a:pt x="419" y="829"/>
                      </a:lnTo>
                      <a:lnTo>
                        <a:pt x="421" y="832"/>
                      </a:lnTo>
                      <a:lnTo>
                        <a:pt x="419" y="834"/>
                      </a:lnTo>
                      <a:lnTo>
                        <a:pt x="419" y="836"/>
                      </a:lnTo>
                      <a:lnTo>
                        <a:pt x="416" y="841"/>
                      </a:lnTo>
                      <a:lnTo>
                        <a:pt x="416" y="846"/>
                      </a:lnTo>
                      <a:lnTo>
                        <a:pt x="416" y="848"/>
                      </a:lnTo>
                      <a:lnTo>
                        <a:pt x="419" y="853"/>
                      </a:lnTo>
                      <a:lnTo>
                        <a:pt x="416" y="855"/>
                      </a:lnTo>
                      <a:lnTo>
                        <a:pt x="405" y="860"/>
                      </a:lnTo>
                      <a:lnTo>
                        <a:pt x="402" y="864"/>
                      </a:lnTo>
                      <a:lnTo>
                        <a:pt x="402" y="869"/>
                      </a:lnTo>
                      <a:lnTo>
                        <a:pt x="412" y="869"/>
                      </a:lnTo>
                      <a:lnTo>
                        <a:pt x="414" y="871"/>
                      </a:lnTo>
                      <a:lnTo>
                        <a:pt x="414" y="876"/>
                      </a:lnTo>
                      <a:lnTo>
                        <a:pt x="414" y="881"/>
                      </a:lnTo>
                      <a:lnTo>
                        <a:pt x="412" y="885"/>
                      </a:lnTo>
                      <a:lnTo>
                        <a:pt x="412" y="888"/>
                      </a:lnTo>
                      <a:lnTo>
                        <a:pt x="409" y="895"/>
                      </a:lnTo>
                      <a:lnTo>
                        <a:pt x="409" y="899"/>
                      </a:lnTo>
                      <a:lnTo>
                        <a:pt x="407" y="906"/>
                      </a:lnTo>
                      <a:lnTo>
                        <a:pt x="402" y="911"/>
                      </a:lnTo>
                      <a:lnTo>
                        <a:pt x="402" y="913"/>
                      </a:lnTo>
                      <a:lnTo>
                        <a:pt x="402" y="915"/>
                      </a:lnTo>
                      <a:lnTo>
                        <a:pt x="400" y="915"/>
                      </a:lnTo>
                      <a:lnTo>
                        <a:pt x="398" y="915"/>
                      </a:lnTo>
                      <a:lnTo>
                        <a:pt x="400" y="918"/>
                      </a:lnTo>
                      <a:lnTo>
                        <a:pt x="402" y="920"/>
                      </a:lnTo>
                      <a:lnTo>
                        <a:pt x="405" y="922"/>
                      </a:lnTo>
                      <a:lnTo>
                        <a:pt x="407" y="925"/>
                      </a:lnTo>
                      <a:lnTo>
                        <a:pt x="407" y="929"/>
                      </a:lnTo>
                      <a:lnTo>
                        <a:pt x="405" y="929"/>
                      </a:lnTo>
                      <a:lnTo>
                        <a:pt x="398" y="929"/>
                      </a:lnTo>
                      <a:lnTo>
                        <a:pt x="395" y="932"/>
                      </a:lnTo>
                      <a:lnTo>
                        <a:pt x="388" y="939"/>
                      </a:lnTo>
                      <a:lnTo>
                        <a:pt x="384" y="941"/>
                      </a:lnTo>
                      <a:lnTo>
                        <a:pt x="379" y="943"/>
                      </a:lnTo>
                      <a:lnTo>
                        <a:pt x="374" y="943"/>
                      </a:lnTo>
                      <a:lnTo>
                        <a:pt x="372" y="943"/>
                      </a:lnTo>
                      <a:lnTo>
                        <a:pt x="370" y="943"/>
                      </a:lnTo>
                      <a:lnTo>
                        <a:pt x="370" y="941"/>
                      </a:lnTo>
                      <a:lnTo>
                        <a:pt x="370" y="939"/>
                      </a:lnTo>
                      <a:lnTo>
                        <a:pt x="367" y="939"/>
                      </a:lnTo>
                      <a:lnTo>
                        <a:pt x="367" y="941"/>
                      </a:lnTo>
                      <a:lnTo>
                        <a:pt x="358" y="957"/>
                      </a:lnTo>
                      <a:lnTo>
                        <a:pt x="349" y="964"/>
                      </a:lnTo>
                      <a:lnTo>
                        <a:pt x="344" y="967"/>
                      </a:lnTo>
                      <a:lnTo>
                        <a:pt x="339" y="964"/>
                      </a:lnTo>
                      <a:lnTo>
                        <a:pt x="337" y="964"/>
                      </a:lnTo>
                      <a:lnTo>
                        <a:pt x="339" y="960"/>
                      </a:lnTo>
                      <a:lnTo>
                        <a:pt x="337" y="957"/>
                      </a:lnTo>
                      <a:lnTo>
                        <a:pt x="337" y="960"/>
                      </a:lnTo>
                      <a:lnTo>
                        <a:pt x="337" y="962"/>
                      </a:lnTo>
                      <a:lnTo>
                        <a:pt x="337" y="964"/>
                      </a:lnTo>
                      <a:lnTo>
                        <a:pt x="335" y="964"/>
                      </a:lnTo>
                      <a:lnTo>
                        <a:pt x="332" y="967"/>
                      </a:lnTo>
                      <a:lnTo>
                        <a:pt x="332" y="964"/>
                      </a:lnTo>
                      <a:lnTo>
                        <a:pt x="330" y="962"/>
                      </a:lnTo>
                      <a:lnTo>
                        <a:pt x="328" y="960"/>
                      </a:lnTo>
                      <a:lnTo>
                        <a:pt x="323" y="960"/>
                      </a:lnTo>
                      <a:lnTo>
                        <a:pt x="321" y="957"/>
                      </a:lnTo>
                      <a:lnTo>
                        <a:pt x="318" y="957"/>
                      </a:lnTo>
                      <a:lnTo>
                        <a:pt x="321" y="955"/>
                      </a:lnTo>
                      <a:lnTo>
                        <a:pt x="321" y="953"/>
                      </a:lnTo>
                      <a:lnTo>
                        <a:pt x="318" y="950"/>
                      </a:lnTo>
                      <a:lnTo>
                        <a:pt x="316" y="948"/>
                      </a:lnTo>
                      <a:lnTo>
                        <a:pt x="321" y="936"/>
                      </a:lnTo>
                      <a:lnTo>
                        <a:pt x="323" y="934"/>
                      </a:lnTo>
                      <a:lnTo>
                        <a:pt x="330" y="925"/>
                      </a:lnTo>
                      <a:lnTo>
                        <a:pt x="330" y="920"/>
                      </a:lnTo>
                      <a:lnTo>
                        <a:pt x="330" y="918"/>
                      </a:lnTo>
                      <a:lnTo>
                        <a:pt x="330" y="913"/>
                      </a:lnTo>
                      <a:lnTo>
                        <a:pt x="332" y="911"/>
                      </a:lnTo>
                      <a:lnTo>
                        <a:pt x="335" y="909"/>
                      </a:lnTo>
                      <a:lnTo>
                        <a:pt x="335" y="906"/>
                      </a:lnTo>
                      <a:lnTo>
                        <a:pt x="335" y="904"/>
                      </a:lnTo>
                      <a:lnTo>
                        <a:pt x="332" y="904"/>
                      </a:lnTo>
                      <a:lnTo>
                        <a:pt x="330" y="909"/>
                      </a:lnTo>
                      <a:lnTo>
                        <a:pt x="328" y="913"/>
                      </a:lnTo>
                      <a:lnTo>
                        <a:pt x="328" y="918"/>
                      </a:lnTo>
                      <a:lnTo>
                        <a:pt x="321" y="915"/>
                      </a:lnTo>
                      <a:lnTo>
                        <a:pt x="314" y="922"/>
                      </a:lnTo>
                      <a:lnTo>
                        <a:pt x="300" y="939"/>
                      </a:lnTo>
                      <a:lnTo>
                        <a:pt x="286" y="946"/>
                      </a:lnTo>
                      <a:lnTo>
                        <a:pt x="279" y="950"/>
                      </a:lnTo>
                      <a:lnTo>
                        <a:pt x="277" y="950"/>
                      </a:lnTo>
                      <a:lnTo>
                        <a:pt x="279" y="948"/>
                      </a:lnTo>
                      <a:lnTo>
                        <a:pt x="284" y="943"/>
                      </a:lnTo>
                      <a:lnTo>
                        <a:pt x="281" y="943"/>
                      </a:lnTo>
                      <a:lnTo>
                        <a:pt x="281" y="941"/>
                      </a:lnTo>
                      <a:lnTo>
                        <a:pt x="281" y="936"/>
                      </a:lnTo>
                      <a:lnTo>
                        <a:pt x="284" y="934"/>
                      </a:lnTo>
                      <a:lnTo>
                        <a:pt x="288" y="932"/>
                      </a:lnTo>
                      <a:lnTo>
                        <a:pt x="281" y="934"/>
                      </a:lnTo>
                      <a:lnTo>
                        <a:pt x="279" y="934"/>
                      </a:lnTo>
                      <a:lnTo>
                        <a:pt x="274" y="939"/>
                      </a:lnTo>
                      <a:lnTo>
                        <a:pt x="272" y="941"/>
                      </a:lnTo>
                      <a:lnTo>
                        <a:pt x="267" y="943"/>
                      </a:lnTo>
                      <a:lnTo>
                        <a:pt x="267" y="941"/>
                      </a:lnTo>
                      <a:lnTo>
                        <a:pt x="267" y="939"/>
                      </a:lnTo>
                      <a:lnTo>
                        <a:pt x="267" y="936"/>
                      </a:lnTo>
                      <a:lnTo>
                        <a:pt x="270" y="934"/>
                      </a:lnTo>
                      <a:lnTo>
                        <a:pt x="272" y="929"/>
                      </a:lnTo>
                      <a:lnTo>
                        <a:pt x="274" y="925"/>
                      </a:lnTo>
                      <a:lnTo>
                        <a:pt x="274" y="920"/>
                      </a:lnTo>
                      <a:lnTo>
                        <a:pt x="279" y="913"/>
                      </a:lnTo>
                      <a:lnTo>
                        <a:pt x="281" y="909"/>
                      </a:lnTo>
                      <a:lnTo>
                        <a:pt x="281" y="906"/>
                      </a:lnTo>
                      <a:lnTo>
                        <a:pt x="281" y="904"/>
                      </a:lnTo>
                      <a:lnTo>
                        <a:pt x="277" y="911"/>
                      </a:lnTo>
                      <a:lnTo>
                        <a:pt x="272" y="911"/>
                      </a:lnTo>
                      <a:lnTo>
                        <a:pt x="263" y="913"/>
                      </a:lnTo>
                      <a:lnTo>
                        <a:pt x="265" y="906"/>
                      </a:lnTo>
                      <a:lnTo>
                        <a:pt x="246" y="913"/>
                      </a:lnTo>
                      <a:lnTo>
                        <a:pt x="242" y="913"/>
                      </a:lnTo>
                      <a:lnTo>
                        <a:pt x="237" y="911"/>
                      </a:lnTo>
                      <a:lnTo>
                        <a:pt x="228" y="906"/>
                      </a:lnTo>
                      <a:lnTo>
                        <a:pt x="225" y="904"/>
                      </a:lnTo>
                      <a:lnTo>
                        <a:pt x="221" y="904"/>
                      </a:lnTo>
                      <a:lnTo>
                        <a:pt x="218" y="904"/>
                      </a:lnTo>
                      <a:lnTo>
                        <a:pt x="218" y="899"/>
                      </a:lnTo>
                      <a:lnTo>
                        <a:pt x="216" y="904"/>
                      </a:lnTo>
                      <a:lnTo>
                        <a:pt x="214" y="906"/>
                      </a:lnTo>
                      <a:lnTo>
                        <a:pt x="211" y="906"/>
                      </a:lnTo>
                      <a:lnTo>
                        <a:pt x="209" y="902"/>
                      </a:lnTo>
                      <a:lnTo>
                        <a:pt x="207" y="902"/>
                      </a:lnTo>
                      <a:lnTo>
                        <a:pt x="207" y="899"/>
                      </a:lnTo>
                      <a:lnTo>
                        <a:pt x="204" y="899"/>
                      </a:lnTo>
                      <a:lnTo>
                        <a:pt x="202" y="899"/>
                      </a:lnTo>
                      <a:lnTo>
                        <a:pt x="202" y="897"/>
                      </a:lnTo>
                      <a:lnTo>
                        <a:pt x="202" y="895"/>
                      </a:lnTo>
                      <a:lnTo>
                        <a:pt x="197" y="895"/>
                      </a:lnTo>
                      <a:lnTo>
                        <a:pt x="197" y="890"/>
                      </a:lnTo>
                      <a:lnTo>
                        <a:pt x="195" y="888"/>
                      </a:lnTo>
                      <a:lnTo>
                        <a:pt x="193" y="888"/>
                      </a:lnTo>
                      <a:lnTo>
                        <a:pt x="188" y="888"/>
                      </a:lnTo>
                      <a:lnTo>
                        <a:pt x="186" y="890"/>
                      </a:lnTo>
                      <a:lnTo>
                        <a:pt x="186" y="892"/>
                      </a:lnTo>
                      <a:lnTo>
                        <a:pt x="186" y="895"/>
                      </a:lnTo>
                      <a:lnTo>
                        <a:pt x="190" y="899"/>
                      </a:lnTo>
                      <a:lnTo>
                        <a:pt x="186" y="899"/>
                      </a:lnTo>
                      <a:lnTo>
                        <a:pt x="183" y="899"/>
                      </a:lnTo>
                      <a:lnTo>
                        <a:pt x="181" y="902"/>
                      </a:lnTo>
                      <a:lnTo>
                        <a:pt x="181" y="897"/>
                      </a:lnTo>
                      <a:lnTo>
                        <a:pt x="181" y="890"/>
                      </a:lnTo>
                      <a:lnTo>
                        <a:pt x="181" y="885"/>
                      </a:lnTo>
                      <a:lnTo>
                        <a:pt x="179" y="881"/>
                      </a:lnTo>
                      <a:lnTo>
                        <a:pt x="179" y="878"/>
                      </a:lnTo>
                      <a:lnTo>
                        <a:pt x="181" y="876"/>
                      </a:lnTo>
                      <a:lnTo>
                        <a:pt x="183" y="874"/>
                      </a:lnTo>
                      <a:lnTo>
                        <a:pt x="181" y="874"/>
                      </a:lnTo>
                      <a:lnTo>
                        <a:pt x="181" y="871"/>
                      </a:lnTo>
                      <a:lnTo>
                        <a:pt x="181" y="869"/>
                      </a:lnTo>
                      <a:lnTo>
                        <a:pt x="181" y="864"/>
                      </a:lnTo>
                      <a:lnTo>
                        <a:pt x="174" y="871"/>
                      </a:lnTo>
                      <a:lnTo>
                        <a:pt x="172" y="876"/>
                      </a:lnTo>
                      <a:lnTo>
                        <a:pt x="169" y="878"/>
                      </a:lnTo>
                      <a:lnTo>
                        <a:pt x="165" y="881"/>
                      </a:lnTo>
                      <a:lnTo>
                        <a:pt x="162" y="883"/>
                      </a:lnTo>
                      <a:lnTo>
                        <a:pt x="162" y="885"/>
                      </a:lnTo>
                      <a:lnTo>
                        <a:pt x="165" y="888"/>
                      </a:lnTo>
                      <a:lnTo>
                        <a:pt x="165" y="890"/>
                      </a:lnTo>
                      <a:lnTo>
                        <a:pt x="165" y="892"/>
                      </a:lnTo>
                      <a:lnTo>
                        <a:pt x="165" y="895"/>
                      </a:lnTo>
                      <a:lnTo>
                        <a:pt x="165" y="897"/>
                      </a:lnTo>
                      <a:lnTo>
                        <a:pt x="162" y="899"/>
                      </a:lnTo>
                      <a:lnTo>
                        <a:pt x="160" y="902"/>
                      </a:lnTo>
                      <a:lnTo>
                        <a:pt x="156" y="904"/>
                      </a:lnTo>
                      <a:lnTo>
                        <a:pt x="153" y="902"/>
                      </a:lnTo>
                      <a:lnTo>
                        <a:pt x="156" y="899"/>
                      </a:lnTo>
                      <a:lnTo>
                        <a:pt x="153" y="895"/>
                      </a:lnTo>
                      <a:lnTo>
                        <a:pt x="146" y="885"/>
                      </a:lnTo>
                      <a:lnTo>
                        <a:pt x="149" y="885"/>
                      </a:lnTo>
                      <a:lnTo>
                        <a:pt x="153" y="885"/>
                      </a:lnTo>
                      <a:lnTo>
                        <a:pt x="151" y="883"/>
                      </a:lnTo>
                      <a:lnTo>
                        <a:pt x="142" y="885"/>
                      </a:lnTo>
                      <a:lnTo>
                        <a:pt x="139" y="888"/>
                      </a:lnTo>
                      <a:lnTo>
                        <a:pt x="137" y="888"/>
                      </a:lnTo>
                      <a:lnTo>
                        <a:pt x="135" y="885"/>
                      </a:lnTo>
                      <a:lnTo>
                        <a:pt x="132" y="885"/>
                      </a:lnTo>
                      <a:lnTo>
                        <a:pt x="132" y="883"/>
                      </a:lnTo>
                      <a:lnTo>
                        <a:pt x="135" y="883"/>
                      </a:lnTo>
                      <a:lnTo>
                        <a:pt x="135" y="881"/>
                      </a:lnTo>
                      <a:lnTo>
                        <a:pt x="132" y="878"/>
                      </a:lnTo>
                      <a:lnTo>
                        <a:pt x="137" y="878"/>
                      </a:lnTo>
                      <a:lnTo>
                        <a:pt x="139" y="878"/>
                      </a:lnTo>
                      <a:lnTo>
                        <a:pt x="139" y="876"/>
                      </a:lnTo>
                      <a:lnTo>
                        <a:pt x="132" y="874"/>
                      </a:lnTo>
                      <a:lnTo>
                        <a:pt x="130" y="871"/>
                      </a:lnTo>
                      <a:lnTo>
                        <a:pt x="128" y="869"/>
                      </a:lnTo>
                      <a:lnTo>
                        <a:pt x="125" y="867"/>
                      </a:lnTo>
                      <a:lnTo>
                        <a:pt x="123" y="862"/>
                      </a:lnTo>
                      <a:lnTo>
                        <a:pt x="123" y="860"/>
                      </a:lnTo>
                      <a:lnTo>
                        <a:pt x="132" y="862"/>
                      </a:lnTo>
                      <a:lnTo>
                        <a:pt x="132" y="860"/>
                      </a:lnTo>
                      <a:lnTo>
                        <a:pt x="135" y="857"/>
                      </a:lnTo>
                      <a:lnTo>
                        <a:pt x="132" y="855"/>
                      </a:lnTo>
                      <a:lnTo>
                        <a:pt x="130" y="853"/>
                      </a:lnTo>
                      <a:lnTo>
                        <a:pt x="130" y="850"/>
                      </a:lnTo>
                      <a:lnTo>
                        <a:pt x="135" y="850"/>
                      </a:lnTo>
                      <a:lnTo>
                        <a:pt x="135" y="848"/>
                      </a:lnTo>
                      <a:lnTo>
                        <a:pt x="132" y="848"/>
                      </a:lnTo>
                      <a:lnTo>
                        <a:pt x="130" y="848"/>
                      </a:lnTo>
                      <a:lnTo>
                        <a:pt x="128" y="846"/>
                      </a:lnTo>
                      <a:lnTo>
                        <a:pt x="125" y="846"/>
                      </a:lnTo>
                      <a:lnTo>
                        <a:pt x="125" y="843"/>
                      </a:lnTo>
                      <a:lnTo>
                        <a:pt x="128" y="843"/>
                      </a:lnTo>
                      <a:lnTo>
                        <a:pt x="125" y="839"/>
                      </a:lnTo>
                      <a:lnTo>
                        <a:pt x="123" y="839"/>
                      </a:lnTo>
                      <a:lnTo>
                        <a:pt x="123" y="834"/>
                      </a:lnTo>
                      <a:lnTo>
                        <a:pt x="121" y="832"/>
                      </a:lnTo>
                      <a:lnTo>
                        <a:pt x="118" y="829"/>
                      </a:lnTo>
                      <a:lnTo>
                        <a:pt x="118" y="832"/>
                      </a:lnTo>
                      <a:lnTo>
                        <a:pt x="116" y="829"/>
                      </a:lnTo>
                      <a:lnTo>
                        <a:pt x="116" y="827"/>
                      </a:lnTo>
                      <a:lnTo>
                        <a:pt x="114" y="827"/>
                      </a:lnTo>
                      <a:lnTo>
                        <a:pt x="116" y="825"/>
                      </a:lnTo>
                      <a:lnTo>
                        <a:pt x="114" y="820"/>
                      </a:lnTo>
                      <a:lnTo>
                        <a:pt x="114" y="818"/>
                      </a:lnTo>
                      <a:lnTo>
                        <a:pt x="121" y="818"/>
                      </a:lnTo>
                      <a:lnTo>
                        <a:pt x="123" y="818"/>
                      </a:lnTo>
                      <a:lnTo>
                        <a:pt x="125" y="816"/>
                      </a:lnTo>
                      <a:lnTo>
                        <a:pt x="123" y="813"/>
                      </a:lnTo>
                      <a:lnTo>
                        <a:pt x="118" y="816"/>
                      </a:lnTo>
                      <a:lnTo>
                        <a:pt x="118" y="813"/>
                      </a:lnTo>
                      <a:lnTo>
                        <a:pt x="116" y="811"/>
                      </a:lnTo>
                      <a:lnTo>
                        <a:pt x="116" y="809"/>
                      </a:lnTo>
                      <a:lnTo>
                        <a:pt x="118" y="806"/>
                      </a:lnTo>
                      <a:lnTo>
                        <a:pt x="121" y="806"/>
                      </a:lnTo>
                      <a:lnTo>
                        <a:pt x="121" y="809"/>
                      </a:lnTo>
                      <a:lnTo>
                        <a:pt x="123" y="809"/>
                      </a:lnTo>
                      <a:lnTo>
                        <a:pt x="123" y="806"/>
                      </a:lnTo>
                      <a:lnTo>
                        <a:pt x="123" y="804"/>
                      </a:lnTo>
                      <a:lnTo>
                        <a:pt x="121" y="802"/>
                      </a:lnTo>
                      <a:lnTo>
                        <a:pt x="118" y="802"/>
                      </a:lnTo>
                      <a:lnTo>
                        <a:pt x="118" y="799"/>
                      </a:lnTo>
                      <a:lnTo>
                        <a:pt x="116" y="797"/>
                      </a:lnTo>
                      <a:lnTo>
                        <a:pt x="109" y="788"/>
                      </a:lnTo>
                      <a:lnTo>
                        <a:pt x="107" y="785"/>
                      </a:lnTo>
                      <a:lnTo>
                        <a:pt x="109" y="783"/>
                      </a:lnTo>
                      <a:lnTo>
                        <a:pt x="109" y="781"/>
                      </a:lnTo>
                      <a:lnTo>
                        <a:pt x="107" y="778"/>
                      </a:lnTo>
                      <a:lnTo>
                        <a:pt x="104" y="778"/>
                      </a:lnTo>
                      <a:lnTo>
                        <a:pt x="104" y="774"/>
                      </a:lnTo>
                      <a:lnTo>
                        <a:pt x="107" y="774"/>
                      </a:lnTo>
                      <a:lnTo>
                        <a:pt x="111" y="776"/>
                      </a:lnTo>
                      <a:lnTo>
                        <a:pt x="114" y="778"/>
                      </a:lnTo>
                      <a:lnTo>
                        <a:pt x="116" y="776"/>
                      </a:lnTo>
                      <a:lnTo>
                        <a:pt x="116" y="774"/>
                      </a:lnTo>
                      <a:lnTo>
                        <a:pt x="114" y="774"/>
                      </a:lnTo>
                      <a:lnTo>
                        <a:pt x="111" y="774"/>
                      </a:lnTo>
                      <a:lnTo>
                        <a:pt x="114" y="771"/>
                      </a:lnTo>
                      <a:lnTo>
                        <a:pt x="121" y="774"/>
                      </a:lnTo>
                      <a:lnTo>
                        <a:pt x="125" y="771"/>
                      </a:lnTo>
                      <a:lnTo>
                        <a:pt x="123" y="769"/>
                      </a:lnTo>
                      <a:lnTo>
                        <a:pt x="121" y="767"/>
                      </a:lnTo>
                      <a:lnTo>
                        <a:pt x="118" y="764"/>
                      </a:lnTo>
                      <a:lnTo>
                        <a:pt x="121" y="762"/>
                      </a:lnTo>
                      <a:lnTo>
                        <a:pt x="118" y="757"/>
                      </a:lnTo>
                      <a:lnTo>
                        <a:pt x="118" y="755"/>
                      </a:lnTo>
                      <a:lnTo>
                        <a:pt x="116" y="753"/>
                      </a:lnTo>
                      <a:lnTo>
                        <a:pt x="121" y="750"/>
                      </a:lnTo>
                      <a:lnTo>
                        <a:pt x="118" y="750"/>
                      </a:lnTo>
                      <a:lnTo>
                        <a:pt x="116" y="750"/>
                      </a:lnTo>
                      <a:lnTo>
                        <a:pt x="118" y="746"/>
                      </a:lnTo>
                      <a:lnTo>
                        <a:pt x="116" y="746"/>
                      </a:lnTo>
                      <a:lnTo>
                        <a:pt x="116" y="744"/>
                      </a:lnTo>
                      <a:lnTo>
                        <a:pt x="118" y="744"/>
                      </a:lnTo>
                      <a:lnTo>
                        <a:pt x="123" y="744"/>
                      </a:lnTo>
                      <a:lnTo>
                        <a:pt x="121" y="741"/>
                      </a:lnTo>
                      <a:lnTo>
                        <a:pt x="123" y="737"/>
                      </a:lnTo>
                      <a:lnTo>
                        <a:pt x="128" y="737"/>
                      </a:lnTo>
                      <a:lnTo>
                        <a:pt x="125" y="732"/>
                      </a:lnTo>
                      <a:lnTo>
                        <a:pt x="123" y="730"/>
                      </a:lnTo>
                      <a:lnTo>
                        <a:pt x="116" y="727"/>
                      </a:lnTo>
                      <a:lnTo>
                        <a:pt x="118" y="725"/>
                      </a:lnTo>
                      <a:lnTo>
                        <a:pt x="121" y="723"/>
                      </a:lnTo>
                      <a:lnTo>
                        <a:pt x="118" y="720"/>
                      </a:lnTo>
                      <a:lnTo>
                        <a:pt x="123" y="718"/>
                      </a:lnTo>
                      <a:lnTo>
                        <a:pt x="123" y="716"/>
                      </a:lnTo>
                      <a:lnTo>
                        <a:pt x="123" y="711"/>
                      </a:lnTo>
                      <a:lnTo>
                        <a:pt x="121" y="709"/>
                      </a:lnTo>
                      <a:lnTo>
                        <a:pt x="121" y="706"/>
                      </a:lnTo>
                      <a:lnTo>
                        <a:pt x="118" y="704"/>
                      </a:lnTo>
                      <a:lnTo>
                        <a:pt x="118" y="702"/>
                      </a:lnTo>
                      <a:lnTo>
                        <a:pt x="118" y="697"/>
                      </a:lnTo>
                      <a:lnTo>
                        <a:pt x="116" y="695"/>
                      </a:lnTo>
                      <a:lnTo>
                        <a:pt x="114" y="695"/>
                      </a:lnTo>
                      <a:lnTo>
                        <a:pt x="114" y="692"/>
                      </a:lnTo>
                      <a:lnTo>
                        <a:pt x="109" y="692"/>
                      </a:lnTo>
                      <a:lnTo>
                        <a:pt x="111" y="690"/>
                      </a:lnTo>
                      <a:lnTo>
                        <a:pt x="118" y="688"/>
                      </a:lnTo>
                      <a:lnTo>
                        <a:pt x="121" y="685"/>
                      </a:lnTo>
                      <a:lnTo>
                        <a:pt x="118" y="683"/>
                      </a:lnTo>
                      <a:lnTo>
                        <a:pt x="116" y="681"/>
                      </a:lnTo>
                      <a:lnTo>
                        <a:pt x="114" y="678"/>
                      </a:lnTo>
                      <a:lnTo>
                        <a:pt x="104" y="674"/>
                      </a:lnTo>
                      <a:lnTo>
                        <a:pt x="102" y="674"/>
                      </a:lnTo>
                      <a:lnTo>
                        <a:pt x="118" y="674"/>
                      </a:lnTo>
                      <a:lnTo>
                        <a:pt x="121" y="669"/>
                      </a:lnTo>
                      <a:lnTo>
                        <a:pt x="118" y="662"/>
                      </a:lnTo>
                      <a:lnTo>
                        <a:pt x="116" y="662"/>
                      </a:lnTo>
                      <a:lnTo>
                        <a:pt x="111" y="665"/>
                      </a:lnTo>
                      <a:lnTo>
                        <a:pt x="111" y="662"/>
                      </a:lnTo>
                      <a:lnTo>
                        <a:pt x="104" y="658"/>
                      </a:lnTo>
                      <a:lnTo>
                        <a:pt x="104" y="655"/>
                      </a:lnTo>
                      <a:lnTo>
                        <a:pt x="104" y="653"/>
                      </a:lnTo>
                      <a:lnTo>
                        <a:pt x="107" y="653"/>
                      </a:lnTo>
                      <a:lnTo>
                        <a:pt x="109" y="651"/>
                      </a:lnTo>
                      <a:lnTo>
                        <a:pt x="123" y="655"/>
                      </a:lnTo>
                      <a:lnTo>
                        <a:pt x="130" y="660"/>
                      </a:lnTo>
                      <a:lnTo>
                        <a:pt x="135" y="660"/>
                      </a:lnTo>
                      <a:lnTo>
                        <a:pt x="132" y="658"/>
                      </a:lnTo>
                      <a:lnTo>
                        <a:pt x="125" y="651"/>
                      </a:lnTo>
                      <a:lnTo>
                        <a:pt x="121" y="646"/>
                      </a:lnTo>
                      <a:lnTo>
                        <a:pt x="116" y="637"/>
                      </a:lnTo>
                      <a:lnTo>
                        <a:pt x="114" y="634"/>
                      </a:lnTo>
                      <a:lnTo>
                        <a:pt x="111" y="634"/>
                      </a:lnTo>
                      <a:lnTo>
                        <a:pt x="109" y="632"/>
                      </a:lnTo>
                      <a:lnTo>
                        <a:pt x="109" y="630"/>
                      </a:lnTo>
                      <a:lnTo>
                        <a:pt x="109" y="627"/>
                      </a:lnTo>
                      <a:lnTo>
                        <a:pt x="109" y="625"/>
                      </a:lnTo>
                      <a:lnTo>
                        <a:pt x="104" y="620"/>
                      </a:lnTo>
                      <a:lnTo>
                        <a:pt x="104" y="618"/>
                      </a:lnTo>
                      <a:lnTo>
                        <a:pt x="107" y="618"/>
                      </a:lnTo>
                      <a:lnTo>
                        <a:pt x="111" y="620"/>
                      </a:lnTo>
                      <a:lnTo>
                        <a:pt x="109" y="616"/>
                      </a:lnTo>
                      <a:lnTo>
                        <a:pt x="100" y="613"/>
                      </a:lnTo>
                      <a:lnTo>
                        <a:pt x="97" y="606"/>
                      </a:lnTo>
                      <a:lnTo>
                        <a:pt x="97" y="604"/>
                      </a:lnTo>
                      <a:lnTo>
                        <a:pt x="97" y="602"/>
                      </a:lnTo>
                      <a:lnTo>
                        <a:pt x="97" y="597"/>
                      </a:lnTo>
                      <a:lnTo>
                        <a:pt x="97" y="595"/>
                      </a:lnTo>
                      <a:lnTo>
                        <a:pt x="95" y="595"/>
                      </a:lnTo>
                      <a:lnTo>
                        <a:pt x="93" y="595"/>
                      </a:lnTo>
                      <a:lnTo>
                        <a:pt x="93" y="592"/>
                      </a:lnTo>
                      <a:lnTo>
                        <a:pt x="93" y="588"/>
                      </a:lnTo>
                      <a:lnTo>
                        <a:pt x="88" y="583"/>
                      </a:lnTo>
                      <a:lnTo>
                        <a:pt x="86" y="581"/>
                      </a:lnTo>
                      <a:lnTo>
                        <a:pt x="83" y="579"/>
                      </a:lnTo>
                      <a:lnTo>
                        <a:pt x="86" y="579"/>
                      </a:lnTo>
                      <a:lnTo>
                        <a:pt x="86" y="576"/>
                      </a:lnTo>
                      <a:lnTo>
                        <a:pt x="86" y="574"/>
                      </a:lnTo>
                      <a:lnTo>
                        <a:pt x="83" y="574"/>
                      </a:lnTo>
                      <a:lnTo>
                        <a:pt x="83" y="572"/>
                      </a:lnTo>
                      <a:lnTo>
                        <a:pt x="81" y="569"/>
                      </a:lnTo>
                      <a:lnTo>
                        <a:pt x="81" y="567"/>
                      </a:lnTo>
                      <a:lnTo>
                        <a:pt x="79" y="567"/>
                      </a:lnTo>
                      <a:lnTo>
                        <a:pt x="74" y="569"/>
                      </a:lnTo>
                      <a:lnTo>
                        <a:pt x="74" y="567"/>
                      </a:lnTo>
                      <a:lnTo>
                        <a:pt x="69" y="567"/>
                      </a:lnTo>
                      <a:lnTo>
                        <a:pt x="69" y="560"/>
                      </a:lnTo>
                      <a:lnTo>
                        <a:pt x="67" y="560"/>
                      </a:lnTo>
                      <a:lnTo>
                        <a:pt x="62" y="558"/>
                      </a:lnTo>
                      <a:lnTo>
                        <a:pt x="65" y="544"/>
                      </a:lnTo>
                      <a:lnTo>
                        <a:pt x="65" y="537"/>
                      </a:lnTo>
                      <a:lnTo>
                        <a:pt x="65" y="525"/>
                      </a:lnTo>
                      <a:lnTo>
                        <a:pt x="65" y="523"/>
                      </a:lnTo>
                      <a:lnTo>
                        <a:pt x="67" y="527"/>
                      </a:lnTo>
                      <a:lnTo>
                        <a:pt x="67" y="520"/>
                      </a:lnTo>
                      <a:lnTo>
                        <a:pt x="67" y="518"/>
                      </a:lnTo>
                      <a:lnTo>
                        <a:pt x="67" y="516"/>
                      </a:lnTo>
                      <a:lnTo>
                        <a:pt x="67" y="511"/>
                      </a:lnTo>
                      <a:lnTo>
                        <a:pt x="69" y="509"/>
                      </a:lnTo>
                      <a:lnTo>
                        <a:pt x="72" y="506"/>
                      </a:lnTo>
                      <a:lnTo>
                        <a:pt x="72" y="504"/>
                      </a:lnTo>
                      <a:lnTo>
                        <a:pt x="69" y="502"/>
                      </a:lnTo>
                      <a:lnTo>
                        <a:pt x="67" y="500"/>
                      </a:lnTo>
                      <a:lnTo>
                        <a:pt x="67" y="490"/>
                      </a:lnTo>
                      <a:lnTo>
                        <a:pt x="65" y="490"/>
                      </a:lnTo>
                      <a:lnTo>
                        <a:pt x="65" y="493"/>
                      </a:lnTo>
                      <a:lnTo>
                        <a:pt x="65" y="497"/>
                      </a:lnTo>
                      <a:lnTo>
                        <a:pt x="62" y="500"/>
                      </a:lnTo>
                      <a:lnTo>
                        <a:pt x="62" y="495"/>
                      </a:lnTo>
                      <a:lnTo>
                        <a:pt x="62" y="488"/>
                      </a:lnTo>
                      <a:lnTo>
                        <a:pt x="62" y="486"/>
                      </a:lnTo>
                      <a:lnTo>
                        <a:pt x="60" y="474"/>
                      </a:lnTo>
                      <a:lnTo>
                        <a:pt x="60" y="469"/>
                      </a:lnTo>
                      <a:lnTo>
                        <a:pt x="55" y="474"/>
                      </a:lnTo>
                      <a:lnTo>
                        <a:pt x="53" y="472"/>
                      </a:lnTo>
                      <a:lnTo>
                        <a:pt x="53" y="469"/>
                      </a:lnTo>
                      <a:lnTo>
                        <a:pt x="51" y="467"/>
                      </a:lnTo>
                      <a:lnTo>
                        <a:pt x="51" y="465"/>
                      </a:lnTo>
                      <a:lnTo>
                        <a:pt x="53" y="462"/>
                      </a:lnTo>
                      <a:lnTo>
                        <a:pt x="51" y="458"/>
                      </a:lnTo>
                      <a:lnTo>
                        <a:pt x="46" y="472"/>
                      </a:lnTo>
                      <a:lnTo>
                        <a:pt x="46" y="474"/>
                      </a:lnTo>
                      <a:lnTo>
                        <a:pt x="48" y="476"/>
                      </a:lnTo>
                      <a:lnTo>
                        <a:pt x="46" y="476"/>
                      </a:lnTo>
                      <a:lnTo>
                        <a:pt x="44" y="474"/>
                      </a:lnTo>
                      <a:lnTo>
                        <a:pt x="44" y="469"/>
                      </a:lnTo>
                      <a:lnTo>
                        <a:pt x="44" y="465"/>
                      </a:lnTo>
                      <a:lnTo>
                        <a:pt x="44" y="462"/>
                      </a:lnTo>
                      <a:lnTo>
                        <a:pt x="41" y="462"/>
                      </a:lnTo>
                      <a:lnTo>
                        <a:pt x="41" y="460"/>
                      </a:lnTo>
                      <a:lnTo>
                        <a:pt x="44" y="458"/>
                      </a:lnTo>
                      <a:lnTo>
                        <a:pt x="41" y="455"/>
                      </a:lnTo>
                      <a:lnTo>
                        <a:pt x="39" y="458"/>
                      </a:lnTo>
                      <a:lnTo>
                        <a:pt x="37" y="460"/>
                      </a:lnTo>
                      <a:lnTo>
                        <a:pt x="37" y="462"/>
                      </a:lnTo>
                      <a:lnTo>
                        <a:pt x="37" y="460"/>
                      </a:lnTo>
                      <a:lnTo>
                        <a:pt x="37" y="451"/>
                      </a:lnTo>
                      <a:lnTo>
                        <a:pt x="37" y="448"/>
                      </a:lnTo>
                      <a:lnTo>
                        <a:pt x="34" y="448"/>
                      </a:lnTo>
                      <a:lnTo>
                        <a:pt x="34" y="451"/>
                      </a:lnTo>
                      <a:lnTo>
                        <a:pt x="32" y="448"/>
                      </a:lnTo>
                      <a:lnTo>
                        <a:pt x="32" y="444"/>
                      </a:lnTo>
                      <a:lnTo>
                        <a:pt x="32" y="441"/>
                      </a:lnTo>
                      <a:lnTo>
                        <a:pt x="32" y="437"/>
                      </a:lnTo>
                      <a:lnTo>
                        <a:pt x="32" y="434"/>
                      </a:lnTo>
                      <a:lnTo>
                        <a:pt x="34" y="432"/>
                      </a:lnTo>
                      <a:lnTo>
                        <a:pt x="34" y="430"/>
                      </a:lnTo>
                      <a:lnTo>
                        <a:pt x="30" y="427"/>
                      </a:lnTo>
                      <a:lnTo>
                        <a:pt x="32" y="425"/>
                      </a:lnTo>
                      <a:lnTo>
                        <a:pt x="34" y="421"/>
                      </a:lnTo>
                      <a:lnTo>
                        <a:pt x="37" y="418"/>
                      </a:lnTo>
                      <a:lnTo>
                        <a:pt x="39" y="418"/>
                      </a:lnTo>
                      <a:lnTo>
                        <a:pt x="37" y="414"/>
                      </a:lnTo>
                      <a:lnTo>
                        <a:pt x="28" y="414"/>
                      </a:lnTo>
                      <a:lnTo>
                        <a:pt x="25" y="411"/>
                      </a:lnTo>
                      <a:lnTo>
                        <a:pt x="23" y="414"/>
                      </a:lnTo>
                      <a:lnTo>
                        <a:pt x="23" y="418"/>
                      </a:lnTo>
                      <a:lnTo>
                        <a:pt x="23" y="411"/>
                      </a:lnTo>
                      <a:lnTo>
                        <a:pt x="23" y="402"/>
                      </a:lnTo>
                      <a:lnTo>
                        <a:pt x="21" y="397"/>
                      </a:lnTo>
                      <a:lnTo>
                        <a:pt x="23" y="397"/>
                      </a:lnTo>
                      <a:lnTo>
                        <a:pt x="25" y="395"/>
                      </a:lnTo>
                      <a:lnTo>
                        <a:pt x="28" y="390"/>
                      </a:lnTo>
                      <a:lnTo>
                        <a:pt x="28" y="388"/>
                      </a:lnTo>
                      <a:lnTo>
                        <a:pt x="28" y="386"/>
                      </a:lnTo>
                      <a:lnTo>
                        <a:pt x="28" y="383"/>
                      </a:lnTo>
                      <a:lnTo>
                        <a:pt x="28" y="386"/>
                      </a:lnTo>
                      <a:lnTo>
                        <a:pt x="25" y="383"/>
                      </a:lnTo>
                      <a:lnTo>
                        <a:pt x="23" y="383"/>
                      </a:lnTo>
                      <a:lnTo>
                        <a:pt x="23" y="381"/>
                      </a:lnTo>
                      <a:lnTo>
                        <a:pt x="21" y="376"/>
                      </a:lnTo>
                      <a:lnTo>
                        <a:pt x="21" y="374"/>
                      </a:lnTo>
                      <a:lnTo>
                        <a:pt x="23" y="372"/>
                      </a:lnTo>
                      <a:lnTo>
                        <a:pt x="25" y="369"/>
                      </a:lnTo>
                      <a:lnTo>
                        <a:pt x="28" y="372"/>
                      </a:lnTo>
                      <a:lnTo>
                        <a:pt x="30" y="369"/>
                      </a:lnTo>
                      <a:lnTo>
                        <a:pt x="30" y="365"/>
                      </a:lnTo>
                      <a:lnTo>
                        <a:pt x="30" y="360"/>
                      </a:lnTo>
                      <a:lnTo>
                        <a:pt x="30" y="355"/>
                      </a:lnTo>
                      <a:lnTo>
                        <a:pt x="30" y="353"/>
                      </a:lnTo>
                      <a:lnTo>
                        <a:pt x="32" y="351"/>
                      </a:lnTo>
                      <a:lnTo>
                        <a:pt x="34" y="351"/>
                      </a:lnTo>
                      <a:lnTo>
                        <a:pt x="41" y="353"/>
                      </a:lnTo>
                      <a:lnTo>
                        <a:pt x="44" y="351"/>
                      </a:lnTo>
                      <a:lnTo>
                        <a:pt x="46" y="348"/>
                      </a:lnTo>
                      <a:lnTo>
                        <a:pt x="46" y="346"/>
                      </a:lnTo>
                      <a:lnTo>
                        <a:pt x="48" y="346"/>
                      </a:lnTo>
                      <a:lnTo>
                        <a:pt x="48" y="344"/>
                      </a:lnTo>
                      <a:lnTo>
                        <a:pt x="48" y="342"/>
                      </a:lnTo>
                      <a:lnTo>
                        <a:pt x="48" y="337"/>
                      </a:lnTo>
                      <a:lnTo>
                        <a:pt x="48" y="332"/>
                      </a:lnTo>
                      <a:lnTo>
                        <a:pt x="48" y="330"/>
                      </a:lnTo>
                      <a:lnTo>
                        <a:pt x="53" y="328"/>
                      </a:lnTo>
                      <a:lnTo>
                        <a:pt x="48" y="321"/>
                      </a:lnTo>
                      <a:lnTo>
                        <a:pt x="48" y="316"/>
                      </a:lnTo>
                      <a:lnTo>
                        <a:pt x="48" y="309"/>
                      </a:lnTo>
                      <a:lnTo>
                        <a:pt x="46" y="309"/>
                      </a:lnTo>
                      <a:lnTo>
                        <a:pt x="46" y="307"/>
                      </a:lnTo>
                      <a:lnTo>
                        <a:pt x="48" y="304"/>
                      </a:lnTo>
                      <a:lnTo>
                        <a:pt x="51" y="307"/>
                      </a:lnTo>
                      <a:lnTo>
                        <a:pt x="51" y="302"/>
                      </a:lnTo>
                      <a:lnTo>
                        <a:pt x="51" y="300"/>
                      </a:lnTo>
                      <a:lnTo>
                        <a:pt x="55" y="300"/>
                      </a:lnTo>
                      <a:lnTo>
                        <a:pt x="60" y="304"/>
                      </a:lnTo>
                      <a:lnTo>
                        <a:pt x="62" y="307"/>
                      </a:lnTo>
                      <a:lnTo>
                        <a:pt x="67" y="307"/>
                      </a:lnTo>
                      <a:lnTo>
                        <a:pt x="72" y="309"/>
                      </a:lnTo>
                      <a:lnTo>
                        <a:pt x="74" y="307"/>
                      </a:lnTo>
                      <a:lnTo>
                        <a:pt x="67" y="300"/>
                      </a:lnTo>
                      <a:lnTo>
                        <a:pt x="60" y="295"/>
                      </a:lnTo>
                      <a:lnTo>
                        <a:pt x="58" y="293"/>
                      </a:lnTo>
                      <a:lnTo>
                        <a:pt x="55" y="288"/>
                      </a:lnTo>
                      <a:lnTo>
                        <a:pt x="58" y="286"/>
                      </a:lnTo>
                      <a:lnTo>
                        <a:pt x="55" y="288"/>
                      </a:lnTo>
                      <a:lnTo>
                        <a:pt x="53" y="286"/>
                      </a:lnTo>
                      <a:lnTo>
                        <a:pt x="51" y="283"/>
                      </a:lnTo>
                      <a:lnTo>
                        <a:pt x="51" y="281"/>
                      </a:lnTo>
                      <a:lnTo>
                        <a:pt x="51" y="279"/>
                      </a:lnTo>
                      <a:lnTo>
                        <a:pt x="48" y="279"/>
                      </a:lnTo>
                      <a:lnTo>
                        <a:pt x="48" y="276"/>
                      </a:lnTo>
                      <a:lnTo>
                        <a:pt x="51" y="274"/>
                      </a:lnTo>
                      <a:lnTo>
                        <a:pt x="53" y="274"/>
                      </a:lnTo>
                      <a:lnTo>
                        <a:pt x="53" y="272"/>
                      </a:lnTo>
                      <a:lnTo>
                        <a:pt x="48" y="272"/>
                      </a:lnTo>
                      <a:lnTo>
                        <a:pt x="48" y="269"/>
                      </a:lnTo>
                      <a:lnTo>
                        <a:pt x="46" y="267"/>
                      </a:lnTo>
                      <a:lnTo>
                        <a:pt x="46" y="265"/>
                      </a:lnTo>
                      <a:lnTo>
                        <a:pt x="48" y="262"/>
                      </a:lnTo>
                      <a:lnTo>
                        <a:pt x="51" y="260"/>
                      </a:lnTo>
                      <a:lnTo>
                        <a:pt x="53" y="260"/>
                      </a:lnTo>
                      <a:lnTo>
                        <a:pt x="60" y="265"/>
                      </a:lnTo>
                      <a:lnTo>
                        <a:pt x="62" y="267"/>
                      </a:lnTo>
                      <a:lnTo>
                        <a:pt x="65" y="260"/>
                      </a:lnTo>
                      <a:lnTo>
                        <a:pt x="67" y="262"/>
                      </a:lnTo>
                      <a:lnTo>
                        <a:pt x="69" y="265"/>
                      </a:lnTo>
                      <a:lnTo>
                        <a:pt x="74" y="265"/>
                      </a:lnTo>
                      <a:lnTo>
                        <a:pt x="74" y="262"/>
                      </a:lnTo>
                      <a:lnTo>
                        <a:pt x="69" y="260"/>
                      </a:lnTo>
                      <a:lnTo>
                        <a:pt x="67" y="260"/>
                      </a:lnTo>
                      <a:lnTo>
                        <a:pt x="67" y="258"/>
                      </a:lnTo>
                      <a:lnTo>
                        <a:pt x="72" y="256"/>
                      </a:lnTo>
                      <a:lnTo>
                        <a:pt x="74" y="253"/>
                      </a:lnTo>
                      <a:lnTo>
                        <a:pt x="76" y="253"/>
                      </a:lnTo>
                      <a:lnTo>
                        <a:pt x="79" y="253"/>
                      </a:lnTo>
                      <a:lnTo>
                        <a:pt x="83" y="249"/>
                      </a:lnTo>
                      <a:lnTo>
                        <a:pt x="88" y="249"/>
                      </a:lnTo>
                      <a:lnTo>
                        <a:pt x="86" y="251"/>
                      </a:lnTo>
                      <a:lnTo>
                        <a:pt x="86" y="253"/>
                      </a:lnTo>
                      <a:lnTo>
                        <a:pt x="88" y="262"/>
                      </a:lnTo>
                      <a:lnTo>
                        <a:pt x="90" y="265"/>
                      </a:lnTo>
                      <a:lnTo>
                        <a:pt x="88" y="267"/>
                      </a:lnTo>
                      <a:lnTo>
                        <a:pt x="90" y="267"/>
                      </a:lnTo>
                      <a:lnTo>
                        <a:pt x="102" y="274"/>
                      </a:lnTo>
                      <a:lnTo>
                        <a:pt x="100" y="269"/>
                      </a:lnTo>
                      <a:lnTo>
                        <a:pt x="97" y="265"/>
                      </a:lnTo>
                      <a:lnTo>
                        <a:pt x="100" y="262"/>
                      </a:lnTo>
                      <a:lnTo>
                        <a:pt x="100" y="260"/>
                      </a:lnTo>
                      <a:lnTo>
                        <a:pt x="100" y="258"/>
                      </a:lnTo>
                      <a:lnTo>
                        <a:pt x="102" y="256"/>
                      </a:lnTo>
                      <a:lnTo>
                        <a:pt x="102" y="253"/>
                      </a:lnTo>
                      <a:lnTo>
                        <a:pt x="102" y="251"/>
                      </a:lnTo>
                      <a:lnTo>
                        <a:pt x="104" y="249"/>
                      </a:lnTo>
                      <a:lnTo>
                        <a:pt x="107" y="251"/>
                      </a:lnTo>
                      <a:lnTo>
                        <a:pt x="107" y="253"/>
                      </a:lnTo>
                      <a:lnTo>
                        <a:pt x="109" y="253"/>
                      </a:lnTo>
                      <a:lnTo>
                        <a:pt x="111" y="249"/>
                      </a:lnTo>
                      <a:lnTo>
                        <a:pt x="114" y="249"/>
                      </a:lnTo>
                      <a:lnTo>
                        <a:pt x="116" y="249"/>
                      </a:lnTo>
                      <a:lnTo>
                        <a:pt x="118" y="249"/>
                      </a:lnTo>
                      <a:lnTo>
                        <a:pt x="118" y="246"/>
                      </a:lnTo>
                      <a:lnTo>
                        <a:pt x="121" y="246"/>
                      </a:lnTo>
                      <a:lnTo>
                        <a:pt x="123" y="239"/>
                      </a:lnTo>
                      <a:lnTo>
                        <a:pt x="125" y="235"/>
                      </a:lnTo>
                      <a:lnTo>
                        <a:pt x="125" y="230"/>
                      </a:lnTo>
                      <a:lnTo>
                        <a:pt x="128" y="230"/>
                      </a:lnTo>
                      <a:lnTo>
                        <a:pt x="130" y="237"/>
                      </a:lnTo>
                      <a:lnTo>
                        <a:pt x="132" y="235"/>
                      </a:lnTo>
                      <a:lnTo>
                        <a:pt x="135" y="228"/>
                      </a:lnTo>
                      <a:lnTo>
                        <a:pt x="135" y="225"/>
                      </a:lnTo>
                      <a:lnTo>
                        <a:pt x="135" y="223"/>
                      </a:lnTo>
                      <a:lnTo>
                        <a:pt x="132" y="223"/>
                      </a:lnTo>
                      <a:lnTo>
                        <a:pt x="132" y="218"/>
                      </a:lnTo>
                      <a:lnTo>
                        <a:pt x="130" y="216"/>
                      </a:lnTo>
                      <a:lnTo>
                        <a:pt x="125" y="214"/>
                      </a:lnTo>
                      <a:lnTo>
                        <a:pt x="121" y="207"/>
                      </a:lnTo>
                      <a:lnTo>
                        <a:pt x="118" y="207"/>
                      </a:lnTo>
                      <a:lnTo>
                        <a:pt x="116" y="207"/>
                      </a:lnTo>
                      <a:lnTo>
                        <a:pt x="116" y="204"/>
                      </a:lnTo>
                      <a:lnTo>
                        <a:pt x="114" y="204"/>
                      </a:lnTo>
                      <a:lnTo>
                        <a:pt x="111" y="202"/>
                      </a:lnTo>
                      <a:lnTo>
                        <a:pt x="111" y="195"/>
                      </a:lnTo>
                      <a:lnTo>
                        <a:pt x="114" y="193"/>
                      </a:lnTo>
                      <a:lnTo>
                        <a:pt x="116" y="193"/>
                      </a:lnTo>
                      <a:lnTo>
                        <a:pt x="121" y="195"/>
                      </a:lnTo>
                      <a:lnTo>
                        <a:pt x="123" y="200"/>
                      </a:lnTo>
                      <a:lnTo>
                        <a:pt x="128" y="200"/>
                      </a:lnTo>
                      <a:lnTo>
                        <a:pt x="130" y="200"/>
                      </a:lnTo>
                      <a:lnTo>
                        <a:pt x="135" y="202"/>
                      </a:lnTo>
                      <a:lnTo>
                        <a:pt x="123" y="193"/>
                      </a:lnTo>
                      <a:lnTo>
                        <a:pt x="118" y="188"/>
                      </a:lnTo>
                      <a:lnTo>
                        <a:pt x="116" y="181"/>
                      </a:lnTo>
                      <a:lnTo>
                        <a:pt x="118" y="179"/>
                      </a:lnTo>
                      <a:lnTo>
                        <a:pt x="118" y="177"/>
                      </a:lnTo>
                      <a:lnTo>
                        <a:pt x="121" y="177"/>
                      </a:lnTo>
                      <a:lnTo>
                        <a:pt x="123" y="179"/>
                      </a:lnTo>
                      <a:lnTo>
                        <a:pt x="123" y="181"/>
                      </a:lnTo>
                      <a:lnTo>
                        <a:pt x="123" y="183"/>
                      </a:lnTo>
                      <a:lnTo>
                        <a:pt x="125" y="186"/>
                      </a:lnTo>
                      <a:lnTo>
                        <a:pt x="128" y="186"/>
                      </a:lnTo>
                      <a:lnTo>
                        <a:pt x="130" y="186"/>
                      </a:lnTo>
                      <a:lnTo>
                        <a:pt x="132" y="188"/>
                      </a:lnTo>
                      <a:lnTo>
                        <a:pt x="132" y="193"/>
                      </a:lnTo>
                      <a:lnTo>
                        <a:pt x="135" y="193"/>
                      </a:lnTo>
                      <a:lnTo>
                        <a:pt x="135" y="188"/>
                      </a:lnTo>
                      <a:lnTo>
                        <a:pt x="137" y="188"/>
                      </a:lnTo>
                      <a:lnTo>
                        <a:pt x="135" y="186"/>
                      </a:lnTo>
                      <a:lnTo>
                        <a:pt x="135" y="183"/>
                      </a:lnTo>
                      <a:lnTo>
                        <a:pt x="135" y="181"/>
                      </a:lnTo>
                      <a:lnTo>
                        <a:pt x="135" y="179"/>
                      </a:lnTo>
                      <a:lnTo>
                        <a:pt x="135" y="177"/>
                      </a:lnTo>
                      <a:lnTo>
                        <a:pt x="135" y="167"/>
                      </a:lnTo>
                      <a:lnTo>
                        <a:pt x="137" y="167"/>
                      </a:lnTo>
                      <a:lnTo>
                        <a:pt x="137" y="165"/>
                      </a:lnTo>
                      <a:lnTo>
                        <a:pt x="137" y="163"/>
                      </a:lnTo>
                      <a:lnTo>
                        <a:pt x="137" y="160"/>
                      </a:lnTo>
                      <a:lnTo>
                        <a:pt x="139" y="160"/>
                      </a:lnTo>
                      <a:lnTo>
                        <a:pt x="144" y="163"/>
                      </a:lnTo>
                      <a:lnTo>
                        <a:pt x="142" y="158"/>
                      </a:lnTo>
                      <a:lnTo>
                        <a:pt x="137" y="151"/>
                      </a:lnTo>
                      <a:lnTo>
                        <a:pt x="137" y="149"/>
                      </a:lnTo>
                      <a:lnTo>
                        <a:pt x="139" y="146"/>
                      </a:lnTo>
                      <a:lnTo>
                        <a:pt x="139" y="144"/>
                      </a:lnTo>
                      <a:lnTo>
                        <a:pt x="137" y="142"/>
                      </a:lnTo>
                      <a:lnTo>
                        <a:pt x="142" y="144"/>
                      </a:lnTo>
                      <a:lnTo>
                        <a:pt x="144" y="142"/>
                      </a:lnTo>
                      <a:lnTo>
                        <a:pt x="144" y="137"/>
                      </a:lnTo>
                      <a:lnTo>
                        <a:pt x="144" y="132"/>
                      </a:lnTo>
                      <a:lnTo>
                        <a:pt x="144" y="130"/>
                      </a:lnTo>
                      <a:lnTo>
                        <a:pt x="146" y="132"/>
                      </a:lnTo>
                      <a:lnTo>
                        <a:pt x="149" y="135"/>
                      </a:lnTo>
                      <a:lnTo>
                        <a:pt x="149" y="132"/>
                      </a:lnTo>
                      <a:lnTo>
                        <a:pt x="149" y="130"/>
                      </a:lnTo>
                      <a:lnTo>
                        <a:pt x="151" y="130"/>
                      </a:lnTo>
                      <a:lnTo>
                        <a:pt x="153" y="130"/>
                      </a:lnTo>
                      <a:lnTo>
                        <a:pt x="156" y="132"/>
                      </a:lnTo>
                      <a:lnTo>
                        <a:pt x="156" y="137"/>
                      </a:lnTo>
                      <a:lnTo>
                        <a:pt x="156" y="139"/>
                      </a:lnTo>
                      <a:lnTo>
                        <a:pt x="158" y="142"/>
                      </a:lnTo>
                      <a:lnTo>
                        <a:pt x="160" y="146"/>
                      </a:lnTo>
                      <a:lnTo>
                        <a:pt x="162" y="146"/>
                      </a:lnTo>
                      <a:lnTo>
                        <a:pt x="165" y="146"/>
                      </a:lnTo>
                      <a:lnTo>
                        <a:pt x="167" y="144"/>
                      </a:lnTo>
                      <a:lnTo>
                        <a:pt x="167" y="142"/>
                      </a:lnTo>
                      <a:lnTo>
                        <a:pt x="169" y="142"/>
                      </a:lnTo>
                      <a:lnTo>
                        <a:pt x="169" y="139"/>
                      </a:lnTo>
                      <a:lnTo>
                        <a:pt x="169" y="137"/>
                      </a:lnTo>
                      <a:lnTo>
                        <a:pt x="169" y="135"/>
                      </a:lnTo>
                      <a:lnTo>
                        <a:pt x="169" y="132"/>
                      </a:lnTo>
                      <a:lnTo>
                        <a:pt x="172" y="130"/>
                      </a:lnTo>
                      <a:lnTo>
                        <a:pt x="174" y="128"/>
                      </a:lnTo>
                      <a:lnTo>
                        <a:pt x="176" y="125"/>
                      </a:lnTo>
                      <a:lnTo>
                        <a:pt x="174" y="123"/>
                      </a:lnTo>
                      <a:lnTo>
                        <a:pt x="167" y="121"/>
                      </a:lnTo>
                      <a:lnTo>
                        <a:pt x="174" y="121"/>
                      </a:lnTo>
                      <a:lnTo>
                        <a:pt x="172" y="116"/>
                      </a:lnTo>
                      <a:lnTo>
                        <a:pt x="174" y="116"/>
                      </a:lnTo>
                      <a:lnTo>
                        <a:pt x="176" y="116"/>
                      </a:lnTo>
                      <a:lnTo>
                        <a:pt x="176" y="114"/>
                      </a:lnTo>
                      <a:lnTo>
                        <a:pt x="176" y="111"/>
                      </a:lnTo>
                      <a:lnTo>
                        <a:pt x="176" y="109"/>
                      </a:lnTo>
                      <a:lnTo>
                        <a:pt x="174" y="109"/>
                      </a:lnTo>
                      <a:lnTo>
                        <a:pt x="172" y="107"/>
                      </a:lnTo>
                      <a:lnTo>
                        <a:pt x="172" y="104"/>
                      </a:lnTo>
                      <a:lnTo>
                        <a:pt x="174" y="102"/>
                      </a:lnTo>
                      <a:lnTo>
                        <a:pt x="176" y="102"/>
                      </a:lnTo>
                      <a:lnTo>
                        <a:pt x="181" y="107"/>
                      </a:lnTo>
                      <a:lnTo>
                        <a:pt x="183" y="109"/>
                      </a:lnTo>
                      <a:lnTo>
                        <a:pt x="183" y="107"/>
                      </a:lnTo>
                      <a:lnTo>
                        <a:pt x="181" y="104"/>
                      </a:lnTo>
                      <a:lnTo>
                        <a:pt x="181" y="100"/>
                      </a:lnTo>
                      <a:lnTo>
                        <a:pt x="181" y="98"/>
                      </a:lnTo>
                      <a:lnTo>
                        <a:pt x="186" y="91"/>
                      </a:lnTo>
                      <a:lnTo>
                        <a:pt x="186" y="86"/>
                      </a:lnTo>
                      <a:lnTo>
                        <a:pt x="188" y="86"/>
                      </a:lnTo>
                      <a:lnTo>
                        <a:pt x="193" y="86"/>
                      </a:lnTo>
                      <a:lnTo>
                        <a:pt x="195" y="84"/>
                      </a:lnTo>
                      <a:lnTo>
                        <a:pt x="195" y="81"/>
                      </a:lnTo>
                      <a:lnTo>
                        <a:pt x="193" y="81"/>
                      </a:lnTo>
                      <a:lnTo>
                        <a:pt x="193" y="79"/>
                      </a:lnTo>
                      <a:lnTo>
                        <a:pt x="195" y="79"/>
                      </a:lnTo>
                      <a:lnTo>
                        <a:pt x="195" y="77"/>
                      </a:lnTo>
                      <a:lnTo>
                        <a:pt x="200" y="74"/>
                      </a:lnTo>
                      <a:lnTo>
                        <a:pt x="207" y="74"/>
                      </a:lnTo>
                      <a:lnTo>
                        <a:pt x="209" y="72"/>
                      </a:lnTo>
                      <a:lnTo>
                        <a:pt x="211" y="67"/>
                      </a:lnTo>
                      <a:lnTo>
                        <a:pt x="214" y="70"/>
                      </a:lnTo>
                      <a:lnTo>
                        <a:pt x="216" y="70"/>
                      </a:lnTo>
                      <a:lnTo>
                        <a:pt x="218" y="67"/>
                      </a:lnTo>
                      <a:lnTo>
                        <a:pt x="221" y="63"/>
                      </a:lnTo>
                      <a:lnTo>
                        <a:pt x="216" y="60"/>
                      </a:lnTo>
                      <a:lnTo>
                        <a:pt x="214" y="58"/>
                      </a:lnTo>
                      <a:lnTo>
                        <a:pt x="214" y="56"/>
                      </a:lnTo>
                      <a:lnTo>
                        <a:pt x="214" y="53"/>
                      </a:lnTo>
                      <a:lnTo>
                        <a:pt x="214" y="51"/>
                      </a:lnTo>
                      <a:lnTo>
                        <a:pt x="211" y="49"/>
                      </a:lnTo>
                      <a:lnTo>
                        <a:pt x="211" y="46"/>
                      </a:lnTo>
                      <a:lnTo>
                        <a:pt x="211" y="35"/>
                      </a:lnTo>
                      <a:lnTo>
                        <a:pt x="211" y="32"/>
                      </a:lnTo>
                      <a:lnTo>
                        <a:pt x="214" y="32"/>
                      </a:lnTo>
                      <a:lnTo>
                        <a:pt x="218" y="32"/>
                      </a:lnTo>
                      <a:lnTo>
                        <a:pt x="218" y="35"/>
                      </a:lnTo>
                      <a:lnTo>
                        <a:pt x="221" y="35"/>
                      </a:lnTo>
                      <a:lnTo>
                        <a:pt x="221" y="37"/>
                      </a:lnTo>
                      <a:lnTo>
                        <a:pt x="223" y="35"/>
                      </a:lnTo>
                      <a:lnTo>
                        <a:pt x="228" y="35"/>
                      </a:lnTo>
                      <a:lnTo>
                        <a:pt x="235" y="35"/>
                      </a:lnTo>
                      <a:lnTo>
                        <a:pt x="237" y="32"/>
                      </a:lnTo>
                      <a:lnTo>
                        <a:pt x="235" y="28"/>
                      </a:lnTo>
                      <a:lnTo>
                        <a:pt x="230" y="23"/>
                      </a:lnTo>
                      <a:lnTo>
                        <a:pt x="228" y="21"/>
                      </a:lnTo>
                      <a:lnTo>
                        <a:pt x="228" y="16"/>
                      </a:lnTo>
                      <a:lnTo>
                        <a:pt x="230" y="16"/>
                      </a:lnTo>
                      <a:lnTo>
                        <a:pt x="232" y="19"/>
                      </a:lnTo>
                      <a:lnTo>
                        <a:pt x="232" y="16"/>
                      </a:lnTo>
                      <a:lnTo>
                        <a:pt x="235" y="12"/>
                      </a:lnTo>
                      <a:lnTo>
                        <a:pt x="235" y="9"/>
                      </a:lnTo>
                      <a:lnTo>
                        <a:pt x="235" y="7"/>
                      </a:lnTo>
                      <a:lnTo>
                        <a:pt x="237" y="5"/>
                      </a:lnTo>
                      <a:lnTo>
                        <a:pt x="239" y="0"/>
                      </a:lnTo>
                      <a:lnTo>
                        <a:pt x="260" y="12"/>
                      </a:lnTo>
                      <a:close/>
                    </a:path>
                  </a:pathLst>
                </a:custGeom>
                <a:solidFill>
                  <a:srgbClr val="CDEAFF"/>
                </a:solidFill>
                <a:ln w="11906">
                  <a:solidFill>
                    <a:schemeClr val="bg1"/>
                  </a:solidFill>
                  <a:round/>
                  <a:headEnd/>
                  <a:tailEnd/>
                </a:ln>
              </p:spPr>
              <p:txBody>
                <a:bodyPr vert="horz" wrap="square" lIns="85725" tIns="42863" rIns="85725" bIns="42863" numCol="1" anchor="t" anchorCtr="0" compatLnSpc="1">
                  <a:prstTxWarp prst="textNoShape">
                    <a:avLst/>
                  </a:prstTxWarp>
                </a:bodyPr>
                <a:lstStyle/>
                <a:p>
                  <a:endParaRPr lang="en-US" sz="900" dirty="0">
                    <a:solidFill>
                      <a:schemeClr val="bg2">
                        <a:lumMod val="10000"/>
                      </a:schemeClr>
                    </a:solidFill>
                    <a:ea typeface="Verdana" panose="020B0604030504040204" pitchFamily="34" charset="0"/>
                  </a:endParaRPr>
                </a:p>
              </p:txBody>
            </p:sp>
            <p:sp>
              <p:nvSpPr>
                <p:cNvPr id="148" name="Freeform 30">
                  <a:extLst>
                    <a:ext uri="{FF2B5EF4-FFF2-40B4-BE49-F238E27FC236}">
                      <a16:creationId xmlns:a16="http://schemas.microsoft.com/office/drawing/2014/main" id="{B3BD0F1D-E5E2-4AE3-E86A-570442A1DA2B}"/>
                    </a:ext>
                  </a:extLst>
                </p:cNvPr>
                <p:cNvSpPr>
                  <a:spLocks/>
                </p:cNvSpPr>
                <p:nvPr/>
              </p:nvSpPr>
              <p:spPr bwMode="auto">
                <a:xfrm>
                  <a:off x="4995863" y="2095500"/>
                  <a:ext cx="1495425" cy="1795463"/>
                </a:xfrm>
                <a:custGeom>
                  <a:avLst/>
                  <a:gdLst>
                    <a:gd name="T0" fmla="*/ 714 w 942"/>
                    <a:gd name="T1" fmla="*/ 274 h 1131"/>
                    <a:gd name="T2" fmla="*/ 754 w 942"/>
                    <a:gd name="T3" fmla="*/ 437 h 1131"/>
                    <a:gd name="T4" fmla="*/ 903 w 942"/>
                    <a:gd name="T5" fmla="*/ 525 h 1131"/>
                    <a:gd name="T6" fmla="*/ 884 w 942"/>
                    <a:gd name="T7" fmla="*/ 634 h 1131"/>
                    <a:gd name="T8" fmla="*/ 917 w 942"/>
                    <a:gd name="T9" fmla="*/ 797 h 1131"/>
                    <a:gd name="T10" fmla="*/ 863 w 942"/>
                    <a:gd name="T11" fmla="*/ 839 h 1131"/>
                    <a:gd name="T12" fmla="*/ 851 w 942"/>
                    <a:gd name="T13" fmla="*/ 876 h 1131"/>
                    <a:gd name="T14" fmla="*/ 877 w 942"/>
                    <a:gd name="T15" fmla="*/ 892 h 1131"/>
                    <a:gd name="T16" fmla="*/ 882 w 942"/>
                    <a:gd name="T17" fmla="*/ 918 h 1131"/>
                    <a:gd name="T18" fmla="*/ 889 w 942"/>
                    <a:gd name="T19" fmla="*/ 941 h 1131"/>
                    <a:gd name="T20" fmla="*/ 861 w 942"/>
                    <a:gd name="T21" fmla="*/ 959 h 1131"/>
                    <a:gd name="T22" fmla="*/ 877 w 942"/>
                    <a:gd name="T23" fmla="*/ 987 h 1131"/>
                    <a:gd name="T24" fmla="*/ 800 w 942"/>
                    <a:gd name="T25" fmla="*/ 1006 h 1131"/>
                    <a:gd name="T26" fmla="*/ 726 w 942"/>
                    <a:gd name="T27" fmla="*/ 1066 h 1131"/>
                    <a:gd name="T28" fmla="*/ 584 w 942"/>
                    <a:gd name="T29" fmla="*/ 1090 h 1131"/>
                    <a:gd name="T30" fmla="*/ 551 w 942"/>
                    <a:gd name="T31" fmla="*/ 1124 h 1131"/>
                    <a:gd name="T32" fmla="*/ 523 w 942"/>
                    <a:gd name="T33" fmla="*/ 1127 h 1131"/>
                    <a:gd name="T34" fmla="*/ 500 w 942"/>
                    <a:gd name="T35" fmla="*/ 1101 h 1131"/>
                    <a:gd name="T36" fmla="*/ 502 w 942"/>
                    <a:gd name="T37" fmla="*/ 1069 h 1131"/>
                    <a:gd name="T38" fmla="*/ 488 w 942"/>
                    <a:gd name="T39" fmla="*/ 1094 h 1131"/>
                    <a:gd name="T40" fmla="*/ 470 w 942"/>
                    <a:gd name="T41" fmla="*/ 1099 h 1131"/>
                    <a:gd name="T42" fmla="*/ 449 w 942"/>
                    <a:gd name="T43" fmla="*/ 1076 h 1131"/>
                    <a:gd name="T44" fmla="*/ 421 w 942"/>
                    <a:gd name="T45" fmla="*/ 1022 h 1131"/>
                    <a:gd name="T46" fmla="*/ 388 w 942"/>
                    <a:gd name="T47" fmla="*/ 980 h 1131"/>
                    <a:gd name="T48" fmla="*/ 386 w 942"/>
                    <a:gd name="T49" fmla="*/ 946 h 1131"/>
                    <a:gd name="T50" fmla="*/ 398 w 942"/>
                    <a:gd name="T51" fmla="*/ 915 h 1131"/>
                    <a:gd name="T52" fmla="*/ 393 w 942"/>
                    <a:gd name="T53" fmla="*/ 866 h 1131"/>
                    <a:gd name="T54" fmla="*/ 370 w 942"/>
                    <a:gd name="T55" fmla="*/ 822 h 1131"/>
                    <a:gd name="T56" fmla="*/ 353 w 942"/>
                    <a:gd name="T57" fmla="*/ 797 h 1131"/>
                    <a:gd name="T58" fmla="*/ 342 w 942"/>
                    <a:gd name="T59" fmla="*/ 771 h 1131"/>
                    <a:gd name="T60" fmla="*/ 349 w 942"/>
                    <a:gd name="T61" fmla="*/ 725 h 1131"/>
                    <a:gd name="T62" fmla="*/ 314 w 942"/>
                    <a:gd name="T63" fmla="*/ 708 h 1131"/>
                    <a:gd name="T64" fmla="*/ 316 w 942"/>
                    <a:gd name="T65" fmla="*/ 667 h 1131"/>
                    <a:gd name="T66" fmla="*/ 304 w 942"/>
                    <a:gd name="T67" fmla="*/ 609 h 1131"/>
                    <a:gd name="T68" fmla="*/ 283 w 942"/>
                    <a:gd name="T69" fmla="*/ 571 h 1131"/>
                    <a:gd name="T70" fmla="*/ 260 w 942"/>
                    <a:gd name="T71" fmla="*/ 553 h 1131"/>
                    <a:gd name="T72" fmla="*/ 246 w 942"/>
                    <a:gd name="T73" fmla="*/ 520 h 1131"/>
                    <a:gd name="T74" fmla="*/ 202 w 942"/>
                    <a:gd name="T75" fmla="*/ 495 h 1131"/>
                    <a:gd name="T76" fmla="*/ 146 w 942"/>
                    <a:gd name="T77" fmla="*/ 490 h 1131"/>
                    <a:gd name="T78" fmla="*/ 107 w 942"/>
                    <a:gd name="T79" fmla="*/ 460 h 1131"/>
                    <a:gd name="T80" fmla="*/ 69 w 942"/>
                    <a:gd name="T81" fmla="*/ 434 h 1131"/>
                    <a:gd name="T82" fmla="*/ 30 w 942"/>
                    <a:gd name="T83" fmla="*/ 397 h 1131"/>
                    <a:gd name="T84" fmla="*/ 34 w 942"/>
                    <a:gd name="T85" fmla="*/ 369 h 1131"/>
                    <a:gd name="T86" fmla="*/ 81 w 942"/>
                    <a:gd name="T87" fmla="*/ 304 h 1131"/>
                    <a:gd name="T88" fmla="*/ 167 w 942"/>
                    <a:gd name="T89" fmla="*/ 425 h 1131"/>
                    <a:gd name="T90" fmla="*/ 242 w 942"/>
                    <a:gd name="T91" fmla="*/ 439 h 1131"/>
                    <a:gd name="T92" fmla="*/ 323 w 942"/>
                    <a:gd name="T93" fmla="*/ 390 h 1131"/>
                    <a:gd name="T94" fmla="*/ 400 w 942"/>
                    <a:gd name="T95" fmla="*/ 423 h 1131"/>
                    <a:gd name="T96" fmla="*/ 411 w 942"/>
                    <a:gd name="T97" fmla="*/ 392 h 1131"/>
                    <a:gd name="T98" fmla="*/ 442 w 942"/>
                    <a:gd name="T99" fmla="*/ 337 h 1131"/>
                    <a:gd name="T100" fmla="*/ 453 w 942"/>
                    <a:gd name="T101" fmla="*/ 304 h 1131"/>
                    <a:gd name="T102" fmla="*/ 444 w 942"/>
                    <a:gd name="T103" fmla="*/ 269 h 1131"/>
                    <a:gd name="T104" fmla="*/ 435 w 942"/>
                    <a:gd name="T105" fmla="*/ 200 h 1131"/>
                    <a:gd name="T106" fmla="*/ 437 w 942"/>
                    <a:gd name="T107" fmla="*/ 165 h 1131"/>
                    <a:gd name="T108" fmla="*/ 437 w 942"/>
                    <a:gd name="T109" fmla="*/ 128 h 1131"/>
                    <a:gd name="T110" fmla="*/ 460 w 942"/>
                    <a:gd name="T111" fmla="*/ 76 h 1131"/>
                    <a:gd name="T112" fmla="*/ 514 w 942"/>
                    <a:gd name="T113" fmla="*/ 58 h 1131"/>
                    <a:gd name="T114" fmla="*/ 549 w 942"/>
                    <a:gd name="T115" fmla="*/ 9 h 1131"/>
                    <a:gd name="T116" fmla="*/ 626 w 942"/>
                    <a:gd name="T117" fmla="*/ 51 h 1131"/>
                    <a:gd name="T118" fmla="*/ 705 w 942"/>
                    <a:gd name="T119" fmla="*/ 186 h 1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2" h="1131">
                      <a:moveTo>
                        <a:pt x="723" y="230"/>
                      </a:moveTo>
                      <a:lnTo>
                        <a:pt x="716" y="244"/>
                      </a:lnTo>
                      <a:lnTo>
                        <a:pt x="707" y="251"/>
                      </a:lnTo>
                      <a:lnTo>
                        <a:pt x="688" y="272"/>
                      </a:lnTo>
                      <a:lnTo>
                        <a:pt x="686" y="274"/>
                      </a:lnTo>
                      <a:lnTo>
                        <a:pt x="686" y="276"/>
                      </a:lnTo>
                      <a:lnTo>
                        <a:pt x="688" y="279"/>
                      </a:lnTo>
                      <a:lnTo>
                        <a:pt x="691" y="281"/>
                      </a:lnTo>
                      <a:lnTo>
                        <a:pt x="707" y="274"/>
                      </a:lnTo>
                      <a:lnTo>
                        <a:pt x="714" y="274"/>
                      </a:lnTo>
                      <a:lnTo>
                        <a:pt x="723" y="279"/>
                      </a:lnTo>
                      <a:lnTo>
                        <a:pt x="723" y="299"/>
                      </a:lnTo>
                      <a:lnTo>
                        <a:pt x="723" y="306"/>
                      </a:lnTo>
                      <a:lnTo>
                        <a:pt x="712" y="358"/>
                      </a:lnTo>
                      <a:lnTo>
                        <a:pt x="712" y="360"/>
                      </a:lnTo>
                      <a:lnTo>
                        <a:pt x="712" y="365"/>
                      </a:lnTo>
                      <a:lnTo>
                        <a:pt x="714" y="369"/>
                      </a:lnTo>
                      <a:lnTo>
                        <a:pt x="719" y="376"/>
                      </a:lnTo>
                      <a:lnTo>
                        <a:pt x="749" y="434"/>
                      </a:lnTo>
                      <a:lnTo>
                        <a:pt x="754" y="437"/>
                      </a:lnTo>
                      <a:lnTo>
                        <a:pt x="758" y="439"/>
                      </a:lnTo>
                      <a:lnTo>
                        <a:pt x="786" y="444"/>
                      </a:lnTo>
                      <a:lnTo>
                        <a:pt x="814" y="448"/>
                      </a:lnTo>
                      <a:lnTo>
                        <a:pt x="816" y="448"/>
                      </a:lnTo>
                      <a:lnTo>
                        <a:pt x="821" y="453"/>
                      </a:lnTo>
                      <a:lnTo>
                        <a:pt x="833" y="464"/>
                      </a:lnTo>
                      <a:lnTo>
                        <a:pt x="837" y="471"/>
                      </a:lnTo>
                      <a:lnTo>
                        <a:pt x="863" y="499"/>
                      </a:lnTo>
                      <a:lnTo>
                        <a:pt x="870" y="506"/>
                      </a:lnTo>
                      <a:lnTo>
                        <a:pt x="903" y="525"/>
                      </a:lnTo>
                      <a:lnTo>
                        <a:pt x="903" y="527"/>
                      </a:lnTo>
                      <a:lnTo>
                        <a:pt x="903" y="530"/>
                      </a:lnTo>
                      <a:lnTo>
                        <a:pt x="903" y="534"/>
                      </a:lnTo>
                      <a:lnTo>
                        <a:pt x="905" y="548"/>
                      </a:lnTo>
                      <a:lnTo>
                        <a:pt x="907" y="553"/>
                      </a:lnTo>
                      <a:lnTo>
                        <a:pt x="907" y="564"/>
                      </a:lnTo>
                      <a:lnTo>
                        <a:pt x="907" y="569"/>
                      </a:lnTo>
                      <a:lnTo>
                        <a:pt x="884" y="627"/>
                      </a:lnTo>
                      <a:lnTo>
                        <a:pt x="884" y="629"/>
                      </a:lnTo>
                      <a:lnTo>
                        <a:pt x="884" y="634"/>
                      </a:lnTo>
                      <a:lnTo>
                        <a:pt x="884" y="636"/>
                      </a:lnTo>
                      <a:lnTo>
                        <a:pt x="884" y="639"/>
                      </a:lnTo>
                      <a:lnTo>
                        <a:pt x="879" y="646"/>
                      </a:lnTo>
                      <a:lnTo>
                        <a:pt x="865" y="711"/>
                      </a:lnTo>
                      <a:lnTo>
                        <a:pt x="865" y="732"/>
                      </a:lnTo>
                      <a:lnTo>
                        <a:pt x="872" y="746"/>
                      </a:lnTo>
                      <a:lnTo>
                        <a:pt x="905" y="778"/>
                      </a:lnTo>
                      <a:lnTo>
                        <a:pt x="912" y="790"/>
                      </a:lnTo>
                      <a:lnTo>
                        <a:pt x="917" y="794"/>
                      </a:lnTo>
                      <a:lnTo>
                        <a:pt x="917" y="797"/>
                      </a:lnTo>
                      <a:lnTo>
                        <a:pt x="919" y="799"/>
                      </a:lnTo>
                      <a:lnTo>
                        <a:pt x="919" y="801"/>
                      </a:lnTo>
                      <a:lnTo>
                        <a:pt x="921" y="801"/>
                      </a:lnTo>
                      <a:lnTo>
                        <a:pt x="935" y="818"/>
                      </a:lnTo>
                      <a:lnTo>
                        <a:pt x="937" y="820"/>
                      </a:lnTo>
                      <a:lnTo>
                        <a:pt x="942" y="832"/>
                      </a:lnTo>
                      <a:lnTo>
                        <a:pt x="919" y="836"/>
                      </a:lnTo>
                      <a:lnTo>
                        <a:pt x="912" y="843"/>
                      </a:lnTo>
                      <a:lnTo>
                        <a:pt x="907" y="843"/>
                      </a:lnTo>
                      <a:lnTo>
                        <a:pt x="863" y="839"/>
                      </a:lnTo>
                      <a:lnTo>
                        <a:pt x="858" y="843"/>
                      </a:lnTo>
                      <a:lnTo>
                        <a:pt x="858" y="848"/>
                      </a:lnTo>
                      <a:lnTo>
                        <a:pt x="861" y="853"/>
                      </a:lnTo>
                      <a:lnTo>
                        <a:pt x="861" y="857"/>
                      </a:lnTo>
                      <a:lnTo>
                        <a:pt x="858" y="857"/>
                      </a:lnTo>
                      <a:lnTo>
                        <a:pt x="856" y="860"/>
                      </a:lnTo>
                      <a:lnTo>
                        <a:pt x="854" y="862"/>
                      </a:lnTo>
                      <a:lnTo>
                        <a:pt x="851" y="866"/>
                      </a:lnTo>
                      <a:lnTo>
                        <a:pt x="851" y="871"/>
                      </a:lnTo>
                      <a:lnTo>
                        <a:pt x="851" y="876"/>
                      </a:lnTo>
                      <a:lnTo>
                        <a:pt x="856" y="883"/>
                      </a:lnTo>
                      <a:lnTo>
                        <a:pt x="858" y="890"/>
                      </a:lnTo>
                      <a:lnTo>
                        <a:pt x="863" y="892"/>
                      </a:lnTo>
                      <a:lnTo>
                        <a:pt x="868" y="892"/>
                      </a:lnTo>
                      <a:lnTo>
                        <a:pt x="868" y="894"/>
                      </a:lnTo>
                      <a:lnTo>
                        <a:pt x="868" y="897"/>
                      </a:lnTo>
                      <a:lnTo>
                        <a:pt x="870" y="894"/>
                      </a:lnTo>
                      <a:lnTo>
                        <a:pt x="872" y="892"/>
                      </a:lnTo>
                      <a:lnTo>
                        <a:pt x="875" y="892"/>
                      </a:lnTo>
                      <a:lnTo>
                        <a:pt x="877" y="892"/>
                      </a:lnTo>
                      <a:lnTo>
                        <a:pt x="877" y="894"/>
                      </a:lnTo>
                      <a:lnTo>
                        <a:pt x="879" y="894"/>
                      </a:lnTo>
                      <a:lnTo>
                        <a:pt x="879" y="897"/>
                      </a:lnTo>
                      <a:lnTo>
                        <a:pt x="879" y="904"/>
                      </a:lnTo>
                      <a:lnTo>
                        <a:pt x="879" y="906"/>
                      </a:lnTo>
                      <a:lnTo>
                        <a:pt x="884" y="906"/>
                      </a:lnTo>
                      <a:lnTo>
                        <a:pt x="884" y="908"/>
                      </a:lnTo>
                      <a:lnTo>
                        <a:pt x="882" y="913"/>
                      </a:lnTo>
                      <a:lnTo>
                        <a:pt x="882" y="915"/>
                      </a:lnTo>
                      <a:lnTo>
                        <a:pt x="882" y="918"/>
                      </a:lnTo>
                      <a:lnTo>
                        <a:pt x="882" y="920"/>
                      </a:lnTo>
                      <a:lnTo>
                        <a:pt x="879" y="922"/>
                      </a:lnTo>
                      <a:lnTo>
                        <a:pt x="877" y="925"/>
                      </a:lnTo>
                      <a:lnTo>
                        <a:pt x="872" y="927"/>
                      </a:lnTo>
                      <a:lnTo>
                        <a:pt x="875" y="932"/>
                      </a:lnTo>
                      <a:lnTo>
                        <a:pt x="877" y="934"/>
                      </a:lnTo>
                      <a:lnTo>
                        <a:pt x="877" y="936"/>
                      </a:lnTo>
                      <a:lnTo>
                        <a:pt x="877" y="939"/>
                      </a:lnTo>
                      <a:lnTo>
                        <a:pt x="884" y="941"/>
                      </a:lnTo>
                      <a:lnTo>
                        <a:pt x="889" y="941"/>
                      </a:lnTo>
                      <a:lnTo>
                        <a:pt x="891" y="941"/>
                      </a:lnTo>
                      <a:lnTo>
                        <a:pt x="893" y="948"/>
                      </a:lnTo>
                      <a:lnTo>
                        <a:pt x="891" y="950"/>
                      </a:lnTo>
                      <a:lnTo>
                        <a:pt x="891" y="952"/>
                      </a:lnTo>
                      <a:lnTo>
                        <a:pt x="886" y="955"/>
                      </a:lnTo>
                      <a:lnTo>
                        <a:pt x="875" y="957"/>
                      </a:lnTo>
                      <a:lnTo>
                        <a:pt x="865" y="962"/>
                      </a:lnTo>
                      <a:lnTo>
                        <a:pt x="863" y="962"/>
                      </a:lnTo>
                      <a:lnTo>
                        <a:pt x="861" y="962"/>
                      </a:lnTo>
                      <a:lnTo>
                        <a:pt x="861" y="959"/>
                      </a:lnTo>
                      <a:lnTo>
                        <a:pt x="858" y="959"/>
                      </a:lnTo>
                      <a:lnTo>
                        <a:pt x="858" y="962"/>
                      </a:lnTo>
                      <a:lnTo>
                        <a:pt x="861" y="964"/>
                      </a:lnTo>
                      <a:lnTo>
                        <a:pt x="861" y="966"/>
                      </a:lnTo>
                      <a:lnTo>
                        <a:pt x="858" y="966"/>
                      </a:lnTo>
                      <a:lnTo>
                        <a:pt x="858" y="969"/>
                      </a:lnTo>
                      <a:lnTo>
                        <a:pt x="861" y="971"/>
                      </a:lnTo>
                      <a:lnTo>
                        <a:pt x="863" y="971"/>
                      </a:lnTo>
                      <a:lnTo>
                        <a:pt x="875" y="980"/>
                      </a:lnTo>
                      <a:lnTo>
                        <a:pt x="877" y="987"/>
                      </a:lnTo>
                      <a:lnTo>
                        <a:pt x="877" y="992"/>
                      </a:lnTo>
                      <a:lnTo>
                        <a:pt x="877" y="997"/>
                      </a:lnTo>
                      <a:lnTo>
                        <a:pt x="872" y="999"/>
                      </a:lnTo>
                      <a:lnTo>
                        <a:pt x="863" y="1004"/>
                      </a:lnTo>
                      <a:lnTo>
                        <a:pt x="856" y="1011"/>
                      </a:lnTo>
                      <a:lnTo>
                        <a:pt x="851" y="1011"/>
                      </a:lnTo>
                      <a:lnTo>
                        <a:pt x="809" y="1015"/>
                      </a:lnTo>
                      <a:lnTo>
                        <a:pt x="807" y="1013"/>
                      </a:lnTo>
                      <a:lnTo>
                        <a:pt x="805" y="1011"/>
                      </a:lnTo>
                      <a:lnTo>
                        <a:pt x="800" y="1006"/>
                      </a:lnTo>
                      <a:lnTo>
                        <a:pt x="796" y="994"/>
                      </a:lnTo>
                      <a:lnTo>
                        <a:pt x="789" y="990"/>
                      </a:lnTo>
                      <a:lnTo>
                        <a:pt x="786" y="992"/>
                      </a:lnTo>
                      <a:lnTo>
                        <a:pt x="784" y="997"/>
                      </a:lnTo>
                      <a:lnTo>
                        <a:pt x="782" y="999"/>
                      </a:lnTo>
                      <a:lnTo>
                        <a:pt x="770" y="994"/>
                      </a:lnTo>
                      <a:lnTo>
                        <a:pt x="768" y="999"/>
                      </a:lnTo>
                      <a:lnTo>
                        <a:pt x="754" y="1041"/>
                      </a:lnTo>
                      <a:lnTo>
                        <a:pt x="749" y="1050"/>
                      </a:lnTo>
                      <a:lnTo>
                        <a:pt x="726" y="1066"/>
                      </a:lnTo>
                      <a:lnTo>
                        <a:pt x="661" y="1078"/>
                      </a:lnTo>
                      <a:lnTo>
                        <a:pt x="658" y="1076"/>
                      </a:lnTo>
                      <a:lnTo>
                        <a:pt x="658" y="1073"/>
                      </a:lnTo>
                      <a:lnTo>
                        <a:pt x="656" y="1066"/>
                      </a:lnTo>
                      <a:lnTo>
                        <a:pt x="654" y="1057"/>
                      </a:lnTo>
                      <a:lnTo>
                        <a:pt x="651" y="1057"/>
                      </a:lnTo>
                      <a:lnTo>
                        <a:pt x="630" y="1076"/>
                      </a:lnTo>
                      <a:lnTo>
                        <a:pt x="619" y="1080"/>
                      </a:lnTo>
                      <a:lnTo>
                        <a:pt x="593" y="1085"/>
                      </a:lnTo>
                      <a:lnTo>
                        <a:pt x="584" y="1090"/>
                      </a:lnTo>
                      <a:lnTo>
                        <a:pt x="567" y="1115"/>
                      </a:lnTo>
                      <a:lnTo>
                        <a:pt x="563" y="1127"/>
                      </a:lnTo>
                      <a:lnTo>
                        <a:pt x="560" y="1131"/>
                      </a:lnTo>
                      <a:lnTo>
                        <a:pt x="560" y="1129"/>
                      </a:lnTo>
                      <a:lnTo>
                        <a:pt x="560" y="1127"/>
                      </a:lnTo>
                      <a:lnTo>
                        <a:pt x="558" y="1127"/>
                      </a:lnTo>
                      <a:lnTo>
                        <a:pt x="556" y="1124"/>
                      </a:lnTo>
                      <a:lnTo>
                        <a:pt x="553" y="1127"/>
                      </a:lnTo>
                      <a:lnTo>
                        <a:pt x="553" y="1124"/>
                      </a:lnTo>
                      <a:lnTo>
                        <a:pt x="551" y="1124"/>
                      </a:lnTo>
                      <a:lnTo>
                        <a:pt x="546" y="1127"/>
                      </a:lnTo>
                      <a:lnTo>
                        <a:pt x="544" y="1127"/>
                      </a:lnTo>
                      <a:lnTo>
                        <a:pt x="542" y="1124"/>
                      </a:lnTo>
                      <a:lnTo>
                        <a:pt x="540" y="1122"/>
                      </a:lnTo>
                      <a:lnTo>
                        <a:pt x="540" y="1120"/>
                      </a:lnTo>
                      <a:lnTo>
                        <a:pt x="535" y="1120"/>
                      </a:lnTo>
                      <a:lnTo>
                        <a:pt x="530" y="1120"/>
                      </a:lnTo>
                      <a:lnTo>
                        <a:pt x="528" y="1120"/>
                      </a:lnTo>
                      <a:lnTo>
                        <a:pt x="523" y="1124"/>
                      </a:lnTo>
                      <a:lnTo>
                        <a:pt x="523" y="1127"/>
                      </a:lnTo>
                      <a:lnTo>
                        <a:pt x="521" y="1129"/>
                      </a:lnTo>
                      <a:lnTo>
                        <a:pt x="519" y="1129"/>
                      </a:lnTo>
                      <a:lnTo>
                        <a:pt x="516" y="1127"/>
                      </a:lnTo>
                      <a:lnTo>
                        <a:pt x="516" y="1117"/>
                      </a:lnTo>
                      <a:lnTo>
                        <a:pt x="514" y="1115"/>
                      </a:lnTo>
                      <a:lnTo>
                        <a:pt x="507" y="1113"/>
                      </a:lnTo>
                      <a:lnTo>
                        <a:pt x="505" y="1110"/>
                      </a:lnTo>
                      <a:lnTo>
                        <a:pt x="502" y="1108"/>
                      </a:lnTo>
                      <a:lnTo>
                        <a:pt x="500" y="1106"/>
                      </a:lnTo>
                      <a:lnTo>
                        <a:pt x="500" y="1101"/>
                      </a:lnTo>
                      <a:lnTo>
                        <a:pt x="500" y="1094"/>
                      </a:lnTo>
                      <a:lnTo>
                        <a:pt x="500" y="1090"/>
                      </a:lnTo>
                      <a:lnTo>
                        <a:pt x="502" y="1076"/>
                      </a:lnTo>
                      <a:lnTo>
                        <a:pt x="505" y="1071"/>
                      </a:lnTo>
                      <a:lnTo>
                        <a:pt x="505" y="1069"/>
                      </a:lnTo>
                      <a:lnTo>
                        <a:pt x="507" y="1066"/>
                      </a:lnTo>
                      <a:lnTo>
                        <a:pt x="509" y="1066"/>
                      </a:lnTo>
                      <a:lnTo>
                        <a:pt x="509" y="1062"/>
                      </a:lnTo>
                      <a:lnTo>
                        <a:pt x="507" y="1064"/>
                      </a:lnTo>
                      <a:lnTo>
                        <a:pt x="502" y="1069"/>
                      </a:lnTo>
                      <a:lnTo>
                        <a:pt x="500" y="1069"/>
                      </a:lnTo>
                      <a:lnTo>
                        <a:pt x="500" y="1071"/>
                      </a:lnTo>
                      <a:lnTo>
                        <a:pt x="500" y="1073"/>
                      </a:lnTo>
                      <a:lnTo>
                        <a:pt x="500" y="1076"/>
                      </a:lnTo>
                      <a:lnTo>
                        <a:pt x="500" y="1078"/>
                      </a:lnTo>
                      <a:lnTo>
                        <a:pt x="498" y="1090"/>
                      </a:lnTo>
                      <a:lnTo>
                        <a:pt x="495" y="1094"/>
                      </a:lnTo>
                      <a:lnTo>
                        <a:pt x="493" y="1094"/>
                      </a:lnTo>
                      <a:lnTo>
                        <a:pt x="491" y="1094"/>
                      </a:lnTo>
                      <a:lnTo>
                        <a:pt x="488" y="1094"/>
                      </a:lnTo>
                      <a:lnTo>
                        <a:pt x="486" y="1097"/>
                      </a:lnTo>
                      <a:lnTo>
                        <a:pt x="486" y="1099"/>
                      </a:lnTo>
                      <a:lnTo>
                        <a:pt x="486" y="1101"/>
                      </a:lnTo>
                      <a:lnTo>
                        <a:pt x="479" y="1101"/>
                      </a:lnTo>
                      <a:lnTo>
                        <a:pt x="477" y="1097"/>
                      </a:lnTo>
                      <a:lnTo>
                        <a:pt x="474" y="1097"/>
                      </a:lnTo>
                      <a:lnTo>
                        <a:pt x="472" y="1094"/>
                      </a:lnTo>
                      <a:lnTo>
                        <a:pt x="467" y="1092"/>
                      </a:lnTo>
                      <a:lnTo>
                        <a:pt x="467" y="1097"/>
                      </a:lnTo>
                      <a:lnTo>
                        <a:pt x="470" y="1099"/>
                      </a:lnTo>
                      <a:lnTo>
                        <a:pt x="470" y="1101"/>
                      </a:lnTo>
                      <a:lnTo>
                        <a:pt x="467" y="1104"/>
                      </a:lnTo>
                      <a:lnTo>
                        <a:pt x="465" y="1104"/>
                      </a:lnTo>
                      <a:lnTo>
                        <a:pt x="463" y="1101"/>
                      </a:lnTo>
                      <a:lnTo>
                        <a:pt x="460" y="1099"/>
                      </a:lnTo>
                      <a:lnTo>
                        <a:pt x="460" y="1097"/>
                      </a:lnTo>
                      <a:lnTo>
                        <a:pt x="458" y="1094"/>
                      </a:lnTo>
                      <a:lnTo>
                        <a:pt x="458" y="1090"/>
                      </a:lnTo>
                      <a:lnTo>
                        <a:pt x="453" y="1083"/>
                      </a:lnTo>
                      <a:lnTo>
                        <a:pt x="449" y="1076"/>
                      </a:lnTo>
                      <a:lnTo>
                        <a:pt x="446" y="1071"/>
                      </a:lnTo>
                      <a:lnTo>
                        <a:pt x="442" y="1066"/>
                      </a:lnTo>
                      <a:lnTo>
                        <a:pt x="442" y="1062"/>
                      </a:lnTo>
                      <a:lnTo>
                        <a:pt x="442" y="1057"/>
                      </a:lnTo>
                      <a:lnTo>
                        <a:pt x="437" y="1045"/>
                      </a:lnTo>
                      <a:lnTo>
                        <a:pt x="435" y="1043"/>
                      </a:lnTo>
                      <a:lnTo>
                        <a:pt x="432" y="1041"/>
                      </a:lnTo>
                      <a:lnTo>
                        <a:pt x="430" y="1038"/>
                      </a:lnTo>
                      <a:lnTo>
                        <a:pt x="428" y="1036"/>
                      </a:lnTo>
                      <a:lnTo>
                        <a:pt x="421" y="1022"/>
                      </a:lnTo>
                      <a:lnTo>
                        <a:pt x="416" y="1018"/>
                      </a:lnTo>
                      <a:lnTo>
                        <a:pt x="407" y="1018"/>
                      </a:lnTo>
                      <a:lnTo>
                        <a:pt x="402" y="1015"/>
                      </a:lnTo>
                      <a:lnTo>
                        <a:pt x="400" y="1011"/>
                      </a:lnTo>
                      <a:lnTo>
                        <a:pt x="393" y="999"/>
                      </a:lnTo>
                      <a:lnTo>
                        <a:pt x="391" y="994"/>
                      </a:lnTo>
                      <a:lnTo>
                        <a:pt x="388" y="987"/>
                      </a:lnTo>
                      <a:lnTo>
                        <a:pt x="388" y="985"/>
                      </a:lnTo>
                      <a:lnTo>
                        <a:pt x="388" y="983"/>
                      </a:lnTo>
                      <a:lnTo>
                        <a:pt x="388" y="980"/>
                      </a:lnTo>
                      <a:lnTo>
                        <a:pt x="388" y="978"/>
                      </a:lnTo>
                      <a:lnTo>
                        <a:pt x="388" y="973"/>
                      </a:lnTo>
                      <a:lnTo>
                        <a:pt x="386" y="969"/>
                      </a:lnTo>
                      <a:lnTo>
                        <a:pt x="386" y="966"/>
                      </a:lnTo>
                      <a:lnTo>
                        <a:pt x="384" y="964"/>
                      </a:lnTo>
                      <a:lnTo>
                        <a:pt x="381" y="959"/>
                      </a:lnTo>
                      <a:lnTo>
                        <a:pt x="381" y="957"/>
                      </a:lnTo>
                      <a:lnTo>
                        <a:pt x="381" y="952"/>
                      </a:lnTo>
                      <a:lnTo>
                        <a:pt x="384" y="948"/>
                      </a:lnTo>
                      <a:lnTo>
                        <a:pt x="386" y="946"/>
                      </a:lnTo>
                      <a:lnTo>
                        <a:pt x="388" y="943"/>
                      </a:lnTo>
                      <a:lnTo>
                        <a:pt x="386" y="941"/>
                      </a:lnTo>
                      <a:lnTo>
                        <a:pt x="388" y="936"/>
                      </a:lnTo>
                      <a:lnTo>
                        <a:pt x="391" y="936"/>
                      </a:lnTo>
                      <a:lnTo>
                        <a:pt x="393" y="932"/>
                      </a:lnTo>
                      <a:lnTo>
                        <a:pt x="393" y="929"/>
                      </a:lnTo>
                      <a:lnTo>
                        <a:pt x="398" y="925"/>
                      </a:lnTo>
                      <a:lnTo>
                        <a:pt x="398" y="922"/>
                      </a:lnTo>
                      <a:lnTo>
                        <a:pt x="398" y="920"/>
                      </a:lnTo>
                      <a:lnTo>
                        <a:pt x="398" y="915"/>
                      </a:lnTo>
                      <a:lnTo>
                        <a:pt x="398" y="911"/>
                      </a:lnTo>
                      <a:lnTo>
                        <a:pt x="395" y="906"/>
                      </a:lnTo>
                      <a:lnTo>
                        <a:pt x="395" y="901"/>
                      </a:lnTo>
                      <a:lnTo>
                        <a:pt x="395" y="897"/>
                      </a:lnTo>
                      <a:lnTo>
                        <a:pt x="395" y="892"/>
                      </a:lnTo>
                      <a:lnTo>
                        <a:pt x="393" y="887"/>
                      </a:lnTo>
                      <a:lnTo>
                        <a:pt x="391" y="880"/>
                      </a:lnTo>
                      <a:lnTo>
                        <a:pt x="391" y="878"/>
                      </a:lnTo>
                      <a:lnTo>
                        <a:pt x="393" y="871"/>
                      </a:lnTo>
                      <a:lnTo>
                        <a:pt x="393" y="866"/>
                      </a:lnTo>
                      <a:lnTo>
                        <a:pt x="395" y="866"/>
                      </a:lnTo>
                      <a:lnTo>
                        <a:pt x="398" y="866"/>
                      </a:lnTo>
                      <a:lnTo>
                        <a:pt x="398" y="864"/>
                      </a:lnTo>
                      <a:lnTo>
                        <a:pt x="398" y="862"/>
                      </a:lnTo>
                      <a:lnTo>
                        <a:pt x="393" y="850"/>
                      </a:lnTo>
                      <a:lnTo>
                        <a:pt x="388" y="843"/>
                      </a:lnTo>
                      <a:lnTo>
                        <a:pt x="386" y="841"/>
                      </a:lnTo>
                      <a:lnTo>
                        <a:pt x="381" y="836"/>
                      </a:lnTo>
                      <a:lnTo>
                        <a:pt x="374" y="825"/>
                      </a:lnTo>
                      <a:lnTo>
                        <a:pt x="370" y="822"/>
                      </a:lnTo>
                      <a:lnTo>
                        <a:pt x="367" y="822"/>
                      </a:lnTo>
                      <a:lnTo>
                        <a:pt x="365" y="820"/>
                      </a:lnTo>
                      <a:lnTo>
                        <a:pt x="363" y="818"/>
                      </a:lnTo>
                      <a:lnTo>
                        <a:pt x="358" y="811"/>
                      </a:lnTo>
                      <a:lnTo>
                        <a:pt x="356" y="808"/>
                      </a:lnTo>
                      <a:lnTo>
                        <a:pt x="356" y="806"/>
                      </a:lnTo>
                      <a:lnTo>
                        <a:pt x="356" y="804"/>
                      </a:lnTo>
                      <a:lnTo>
                        <a:pt x="353" y="801"/>
                      </a:lnTo>
                      <a:lnTo>
                        <a:pt x="353" y="799"/>
                      </a:lnTo>
                      <a:lnTo>
                        <a:pt x="353" y="797"/>
                      </a:lnTo>
                      <a:lnTo>
                        <a:pt x="351" y="797"/>
                      </a:lnTo>
                      <a:lnTo>
                        <a:pt x="349" y="792"/>
                      </a:lnTo>
                      <a:lnTo>
                        <a:pt x="346" y="790"/>
                      </a:lnTo>
                      <a:lnTo>
                        <a:pt x="344" y="787"/>
                      </a:lnTo>
                      <a:lnTo>
                        <a:pt x="342" y="783"/>
                      </a:lnTo>
                      <a:lnTo>
                        <a:pt x="342" y="781"/>
                      </a:lnTo>
                      <a:lnTo>
                        <a:pt x="344" y="778"/>
                      </a:lnTo>
                      <a:lnTo>
                        <a:pt x="344" y="776"/>
                      </a:lnTo>
                      <a:lnTo>
                        <a:pt x="344" y="771"/>
                      </a:lnTo>
                      <a:lnTo>
                        <a:pt x="342" y="771"/>
                      </a:lnTo>
                      <a:lnTo>
                        <a:pt x="342" y="769"/>
                      </a:lnTo>
                      <a:lnTo>
                        <a:pt x="339" y="764"/>
                      </a:lnTo>
                      <a:lnTo>
                        <a:pt x="339" y="760"/>
                      </a:lnTo>
                      <a:lnTo>
                        <a:pt x="342" y="757"/>
                      </a:lnTo>
                      <a:lnTo>
                        <a:pt x="351" y="750"/>
                      </a:lnTo>
                      <a:lnTo>
                        <a:pt x="353" y="746"/>
                      </a:lnTo>
                      <a:lnTo>
                        <a:pt x="353" y="739"/>
                      </a:lnTo>
                      <a:lnTo>
                        <a:pt x="351" y="736"/>
                      </a:lnTo>
                      <a:lnTo>
                        <a:pt x="349" y="732"/>
                      </a:lnTo>
                      <a:lnTo>
                        <a:pt x="349" y="725"/>
                      </a:lnTo>
                      <a:lnTo>
                        <a:pt x="349" y="720"/>
                      </a:lnTo>
                      <a:lnTo>
                        <a:pt x="346" y="718"/>
                      </a:lnTo>
                      <a:lnTo>
                        <a:pt x="344" y="718"/>
                      </a:lnTo>
                      <a:lnTo>
                        <a:pt x="337" y="718"/>
                      </a:lnTo>
                      <a:lnTo>
                        <a:pt x="330" y="715"/>
                      </a:lnTo>
                      <a:lnTo>
                        <a:pt x="328" y="715"/>
                      </a:lnTo>
                      <a:lnTo>
                        <a:pt x="323" y="718"/>
                      </a:lnTo>
                      <a:lnTo>
                        <a:pt x="321" y="718"/>
                      </a:lnTo>
                      <a:lnTo>
                        <a:pt x="316" y="715"/>
                      </a:lnTo>
                      <a:lnTo>
                        <a:pt x="314" y="708"/>
                      </a:lnTo>
                      <a:lnTo>
                        <a:pt x="314" y="704"/>
                      </a:lnTo>
                      <a:lnTo>
                        <a:pt x="316" y="699"/>
                      </a:lnTo>
                      <a:lnTo>
                        <a:pt x="316" y="695"/>
                      </a:lnTo>
                      <a:lnTo>
                        <a:pt x="316" y="692"/>
                      </a:lnTo>
                      <a:lnTo>
                        <a:pt x="316" y="690"/>
                      </a:lnTo>
                      <a:lnTo>
                        <a:pt x="321" y="685"/>
                      </a:lnTo>
                      <a:lnTo>
                        <a:pt x="321" y="683"/>
                      </a:lnTo>
                      <a:lnTo>
                        <a:pt x="321" y="678"/>
                      </a:lnTo>
                      <a:lnTo>
                        <a:pt x="318" y="674"/>
                      </a:lnTo>
                      <a:lnTo>
                        <a:pt x="316" y="667"/>
                      </a:lnTo>
                      <a:lnTo>
                        <a:pt x="314" y="664"/>
                      </a:lnTo>
                      <a:lnTo>
                        <a:pt x="311" y="655"/>
                      </a:lnTo>
                      <a:lnTo>
                        <a:pt x="309" y="650"/>
                      </a:lnTo>
                      <a:lnTo>
                        <a:pt x="309" y="648"/>
                      </a:lnTo>
                      <a:lnTo>
                        <a:pt x="304" y="634"/>
                      </a:lnTo>
                      <a:lnTo>
                        <a:pt x="304" y="629"/>
                      </a:lnTo>
                      <a:lnTo>
                        <a:pt x="302" y="622"/>
                      </a:lnTo>
                      <a:lnTo>
                        <a:pt x="302" y="618"/>
                      </a:lnTo>
                      <a:lnTo>
                        <a:pt x="302" y="613"/>
                      </a:lnTo>
                      <a:lnTo>
                        <a:pt x="304" y="609"/>
                      </a:lnTo>
                      <a:lnTo>
                        <a:pt x="311" y="606"/>
                      </a:lnTo>
                      <a:lnTo>
                        <a:pt x="314" y="604"/>
                      </a:lnTo>
                      <a:lnTo>
                        <a:pt x="316" y="597"/>
                      </a:lnTo>
                      <a:lnTo>
                        <a:pt x="314" y="595"/>
                      </a:lnTo>
                      <a:lnTo>
                        <a:pt x="311" y="590"/>
                      </a:lnTo>
                      <a:lnTo>
                        <a:pt x="307" y="590"/>
                      </a:lnTo>
                      <a:lnTo>
                        <a:pt x="295" y="581"/>
                      </a:lnTo>
                      <a:lnTo>
                        <a:pt x="293" y="578"/>
                      </a:lnTo>
                      <a:lnTo>
                        <a:pt x="286" y="574"/>
                      </a:lnTo>
                      <a:lnTo>
                        <a:pt x="283" y="571"/>
                      </a:lnTo>
                      <a:lnTo>
                        <a:pt x="283" y="569"/>
                      </a:lnTo>
                      <a:lnTo>
                        <a:pt x="277" y="555"/>
                      </a:lnTo>
                      <a:lnTo>
                        <a:pt x="274" y="553"/>
                      </a:lnTo>
                      <a:lnTo>
                        <a:pt x="272" y="553"/>
                      </a:lnTo>
                      <a:lnTo>
                        <a:pt x="265" y="560"/>
                      </a:lnTo>
                      <a:lnTo>
                        <a:pt x="263" y="560"/>
                      </a:lnTo>
                      <a:lnTo>
                        <a:pt x="260" y="560"/>
                      </a:lnTo>
                      <a:lnTo>
                        <a:pt x="260" y="557"/>
                      </a:lnTo>
                      <a:lnTo>
                        <a:pt x="260" y="555"/>
                      </a:lnTo>
                      <a:lnTo>
                        <a:pt x="260" y="553"/>
                      </a:lnTo>
                      <a:lnTo>
                        <a:pt x="260" y="546"/>
                      </a:lnTo>
                      <a:lnTo>
                        <a:pt x="258" y="546"/>
                      </a:lnTo>
                      <a:lnTo>
                        <a:pt x="258" y="543"/>
                      </a:lnTo>
                      <a:lnTo>
                        <a:pt x="258" y="537"/>
                      </a:lnTo>
                      <a:lnTo>
                        <a:pt x="256" y="534"/>
                      </a:lnTo>
                      <a:lnTo>
                        <a:pt x="251" y="530"/>
                      </a:lnTo>
                      <a:lnTo>
                        <a:pt x="249" y="527"/>
                      </a:lnTo>
                      <a:lnTo>
                        <a:pt x="249" y="525"/>
                      </a:lnTo>
                      <a:lnTo>
                        <a:pt x="246" y="523"/>
                      </a:lnTo>
                      <a:lnTo>
                        <a:pt x="246" y="520"/>
                      </a:lnTo>
                      <a:lnTo>
                        <a:pt x="244" y="520"/>
                      </a:lnTo>
                      <a:lnTo>
                        <a:pt x="230" y="513"/>
                      </a:lnTo>
                      <a:lnTo>
                        <a:pt x="225" y="509"/>
                      </a:lnTo>
                      <a:lnTo>
                        <a:pt x="221" y="502"/>
                      </a:lnTo>
                      <a:lnTo>
                        <a:pt x="218" y="499"/>
                      </a:lnTo>
                      <a:lnTo>
                        <a:pt x="214" y="504"/>
                      </a:lnTo>
                      <a:lnTo>
                        <a:pt x="209" y="499"/>
                      </a:lnTo>
                      <a:lnTo>
                        <a:pt x="207" y="497"/>
                      </a:lnTo>
                      <a:lnTo>
                        <a:pt x="204" y="495"/>
                      </a:lnTo>
                      <a:lnTo>
                        <a:pt x="202" y="495"/>
                      </a:lnTo>
                      <a:lnTo>
                        <a:pt x="200" y="495"/>
                      </a:lnTo>
                      <a:lnTo>
                        <a:pt x="195" y="495"/>
                      </a:lnTo>
                      <a:lnTo>
                        <a:pt x="190" y="495"/>
                      </a:lnTo>
                      <a:lnTo>
                        <a:pt x="183" y="492"/>
                      </a:lnTo>
                      <a:lnTo>
                        <a:pt x="176" y="492"/>
                      </a:lnTo>
                      <a:lnTo>
                        <a:pt x="176" y="490"/>
                      </a:lnTo>
                      <a:lnTo>
                        <a:pt x="176" y="488"/>
                      </a:lnTo>
                      <a:lnTo>
                        <a:pt x="169" y="488"/>
                      </a:lnTo>
                      <a:lnTo>
                        <a:pt x="149" y="490"/>
                      </a:lnTo>
                      <a:lnTo>
                        <a:pt x="146" y="490"/>
                      </a:lnTo>
                      <a:lnTo>
                        <a:pt x="146" y="488"/>
                      </a:lnTo>
                      <a:lnTo>
                        <a:pt x="144" y="485"/>
                      </a:lnTo>
                      <a:lnTo>
                        <a:pt x="144" y="483"/>
                      </a:lnTo>
                      <a:lnTo>
                        <a:pt x="142" y="483"/>
                      </a:lnTo>
                      <a:lnTo>
                        <a:pt x="142" y="481"/>
                      </a:lnTo>
                      <a:lnTo>
                        <a:pt x="137" y="476"/>
                      </a:lnTo>
                      <a:lnTo>
                        <a:pt x="132" y="471"/>
                      </a:lnTo>
                      <a:lnTo>
                        <a:pt x="114" y="469"/>
                      </a:lnTo>
                      <a:lnTo>
                        <a:pt x="111" y="462"/>
                      </a:lnTo>
                      <a:lnTo>
                        <a:pt x="107" y="460"/>
                      </a:lnTo>
                      <a:lnTo>
                        <a:pt x="97" y="453"/>
                      </a:lnTo>
                      <a:lnTo>
                        <a:pt x="90" y="451"/>
                      </a:lnTo>
                      <a:lnTo>
                        <a:pt x="86" y="448"/>
                      </a:lnTo>
                      <a:lnTo>
                        <a:pt x="86" y="446"/>
                      </a:lnTo>
                      <a:lnTo>
                        <a:pt x="81" y="439"/>
                      </a:lnTo>
                      <a:lnTo>
                        <a:pt x="81" y="437"/>
                      </a:lnTo>
                      <a:lnTo>
                        <a:pt x="79" y="434"/>
                      </a:lnTo>
                      <a:lnTo>
                        <a:pt x="76" y="434"/>
                      </a:lnTo>
                      <a:lnTo>
                        <a:pt x="72" y="434"/>
                      </a:lnTo>
                      <a:lnTo>
                        <a:pt x="69" y="434"/>
                      </a:lnTo>
                      <a:lnTo>
                        <a:pt x="69" y="432"/>
                      </a:lnTo>
                      <a:lnTo>
                        <a:pt x="67" y="432"/>
                      </a:lnTo>
                      <a:lnTo>
                        <a:pt x="67" y="430"/>
                      </a:lnTo>
                      <a:lnTo>
                        <a:pt x="60" y="420"/>
                      </a:lnTo>
                      <a:lnTo>
                        <a:pt x="53" y="416"/>
                      </a:lnTo>
                      <a:lnTo>
                        <a:pt x="46" y="409"/>
                      </a:lnTo>
                      <a:lnTo>
                        <a:pt x="30" y="406"/>
                      </a:lnTo>
                      <a:lnTo>
                        <a:pt x="27" y="402"/>
                      </a:lnTo>
                      <a:lnTo>
                        <a:pt x="27" y="397"/>
                      </a:lnTo>
                      <a:lnTo>
                        <a:pt x="30" y="397"/>
                      </a:lnTo>
                      <a:lnTo>
                        <a:pt x="30" y="392"/>
                      </a:lnTo>
                      <a:lnTo>
                        <a:pt x="30" y="388"/>
                      </a:lnTo>
                      <a:lnTo>
                        <a:pt x="27" y="385"/>
                      </a:lnTo>
                      <a:lnTo>
                        <a:pt x="23" y="383"/>
                      </a:lnTo>
                      <a:lnTo>
                        <a:pt x="16" y="379"/>
                      </a:lnTo>
                      <a:lnTo>
                        <a:pt x="4" y="379"/>
                      </a:lnTo>
                      <a:lnTo>
                        <a:pt x="0" y="374"/>
                      </a:lnTo>
                      <a:lnTo>
                        <a:pt x="4" y="358"/>
                      </a:lnTo>
                      <a:lnTo>
                        <a:pt x="7" y="355"/>
                      </a:lnTo>
                      <a:lnTo>
                        <a:pt x="34" y="369"/>
                      </a:lnTo>
                      <a:lnTo>
                        <a:pt x="39" y="369"/>
                      </a:lnTo>
                      <a:lnTo>
                        <a:pt x="41" y="367"/>
                      </a:lnTo>
                      <a:lnTo>
                        <a:pt x="44" y="355"/>
                      </a:lnTo>
                      <a:lnTo>
                        <a:pt x="30" y="334"/>
                      </a:lnTo>
                      <a:lnTo>
                        <a:pt x="32" y="325"/>
                      </a:lnTo>
                      <a:lnTo>
                        <a:pt x="32" y="320"/>
                      </a:lnTo>
                      <a:lnTo>
                        <a:pt x="34" y="318"/>
                      </a:lnTo>
                      <a:lnTo>
                        <a:pt x="51" y="304"/>
                      </a:lnTo>
                      <a:lnTo>
                        <a:pt x="79" y="304"/>
                      </a:lnTo>
                      <a:lnTo>
                        <a:pt x="81" y="304"/>
                      </a:lnTo>
                      <a:lnTo>
                        <a:pt x="114" y="351"/>
                      </a:lnTo>
                      <a:lnTo>
                        <a:pt x="123" y="362"/>
                      </a:lnTo>
                      <a:lnTo>
                        <a:pt x="137" y="374"/>
                      </a:lnTo>
                      <a:lnTo>
                        <a:pt x="139" y="376"/>
                      </a:lnTo>
                      <a:lnTo>
                        <a:pt x="142" y="381"/>
                      </a:lnTo>
                      <a:lnTo>
                        <a:pt x="144" y="383"/>
                      </a:lnTo>
                      <a:lnTo>
                        <a:pt x="151" y="395"/>
                      </a:lnTo>
                      <a:lnTo>
                        <a:pt x="160" y="399"/>
                      </a:lnTo>
                      <a:lnTo>
                        <a:pt x="162" y="402"/>
                      </a:lnTo>
                      <a:lnTo>
                        <a:pt x="167" y="425"/>
                      </a:lnTo>
                      <a:lnTo>
                        <a:pt x="169" y="430"/>
                      </a:lnTo>
                      <a:lnTo>
                        <a:pt x="172" y="430"/>
                      </a:lnTo>
                      <a:lnTo>
                        <a:pt x="181" y="423"/>
                      </a:lnTo>
                      <a:lnTo>
                        <a:pt x="183" y="423"/>
                      </a:lnTo>
                      <a:lnTo>
                        <a:pt x="186" y="423"/>
                      </a:lnTo>
                      <a:lnTo>
                        <a:pt x="209" y="432"/>
                      </a:lnTo>
                      <a:lnTo>
                        <a:pt x="225" y="425"/>
                      </a:lnTo>
                      <a:lnTo>
                        <a:pt x="230" y="427"/>
                      </a:lnTo>
                      <a:lnTo>
                        <a:pt x="232" y="430"/>
                      </a:lnTo>
                      <a:lnTo>
                        <a:pt x="242" y="439"/>
                      </a:lnTo>
                      <a:lnTo>
                        <a:pt x="244" y="439"/>
                      </a:lnTo>
                      <a:lnTo>
                        <a:pt x="265" y="418"/>
                      </a:lnTo>
                      <a:lnTo>
                        <a:pt x="279" y="413"/>
                      </a:lnTo>
                      <a:lnTo>
                        <a:pt x="286" y="406"/>
                      </a:lnTo>
                      <a:lnTo>
                        <a:pt x="288" y="397"/>
                      </a:lnTo>
                      <a:lnTo>
                        <a:pt x="288" y="385"/>
                      </a:lnTo>
                      <a:lnTo>
                        <a:pt x="293" y="381"/>
                      </a:lnTo>
                      <a:lnTo>
                        <a:pt x="300" y="379"/>
                      </a:lnTo>
                      <a:lnTo>
                        <a:pt x="318" y="385"/>
                      </a:lnTo>
                      <a:lnTo>
                        <a:pt x="323" y="390"/>
                      </a:lnTo>
                      <a:lnTo>
                        <a:pt x="325" y="392"/>
                      </a:lnTo>
                      <a:lnTo>
                        <a:pt x="339" y="399"/>
                      </a:lnTo>
                      <a:lnTo>
                        <a:pt x="353" y="402"/>
                      </a:lnTo>
                      <a:lnTo>
                        <a:pt x="370" y="404"/>
                      </a:lnTo>
                      <a:lnTo>
                        <a:pt x="381" y="409"/>
                      </a:lnTo>
                      <a:lnTo>
                        <a:pt x="388" y="418"/>
                      </a:lnTo>
                      <a:lnTo>
                        <a:pt x="393" y="425"/>
                      </a:lnTo>
                      <a:lnTo>
                        <a:pt x="395" y="427"/>
                      </a:lnTo>
                      <a:lnTo>
                        <a:pt x="398" y="425"/>
                      </a:lnTo>
                      <a:lnTo>
                        <a:pt x="400" y="423"/>
                      </a:lnTo>
                      <a:lnTo>
                        <a:pt x="400" y="418"/>
                      </a:lnTo>
                      <a:lnTo>
                        <a:pt x="400" y="413"/>
                      </a:lnTo>
                      <a:lnTo>
                        <a:pt x="402" y="411"/>
                      </a:lnTo>
                      <a:lnTo>
                        <a:pt x="405" y="409"/>
                      </a:lnTo>
                      <a:lnTo>
                        <a:pt x="409" y="404"/>
                      </a:lnTo>
                      <a:lnTo>
                        <a:pt x="411" y="404"/>
                      </a:lnTo>
                      <a:lnTo>
                        <a:pt x="411" y="402"/>
                      </a:lnTo>
                      <a:lnTo>
                        <a:pt x="414" y="399"/>
                      </a:lnTo>
                      <a:lnTo>
                        <a:pt x="414" y="395"/>
                      </a:lnTo>
                      <a:lnTo>
                        <a:pt x="411" y="392"/>
                      </a:lnTo>
                      <a:lnTo>
                        <a:pt x="411" y="390"/>
                      </a:lnTo>
                      <a:lnTo>
                        <a:pt x="411" y="388"/>
                      </a:lnTo>
                      <a:lnTo>
                        <a:pt x="409" y="376"/>
                      </a:lnTo>
                      <a:lnTo>
                        <a:pt x="409" y="372"/>
                      </a:lnTo>
                      <a:lnTo>
                        <a:pt x="409" y="365"/>
                      </a:lnTo>
                      <a:lnTo>
                        <a:pt x="411" y="358"/>
                      </a:lnTo>
                      <a:lnTo>
                        <a:pt x="423" y="339"/>
                      </a:lnTo>
                      <a:lnTo>
                        <a:pt x="428" y="337"/>
                      </a:lnTo>
                      <a:lnTo>
                        <a:pt x="432" y="334"/>
                      </a:lnTo>
                      <a:lnTo>
                        <a:pt x="442" y="337"/>
                      </a:lnTo>
                      <a:lnTo>
                        <a:pt x="444" y="334"/>
                      </a:lnTo>
                      <a:lnTo>
                        <a:pt x="446" y="332"/>
                      </a:lnTo>
                      <a:lnTo>
                        <a:pt x="446" y="330"/>
                      </a:lnTo>
                      <a:lnTo>
                        <a:pt x="446" y="325"/>
                      </a:lnTo>
                      <a:lnTo>
                        <a:pt x="449" y="323"/>
                      </a:lnTo>
                      <a:lnTo>
                        <a:pt x="451" y="318"/>
                      </a:lnTo>
                      <a:lnTo>
                        <a:pt x="451" y="313"/>
                      </a:lnTo>
                      <a:lnTo>
                        <a:pt x="451" y="311"/>
                      </a:lnTo>
                      <a:lnTo>
                        <a:pt x="451" y="309"/>
                      </a:lnTo>
                      <a:lnTo>
                        <a:pt x="453" y="304"/>
                      </a:lnTo>
                      <a:lnTo>
                        <a:pt x="453" y="299"/>
                      </a:lnTo>
                      <a:lnTo>
                        <a:pt x="451" y="297"/>
                      </a:lnTo>
                      <a:lnTo>
                        <a:pt x="449" y="297"/>
                      </a:lnTo>
                      <a:lnTo>
                        <a:pt x="449" y="295"/>
                      </a:lnTo>
                      <a:lnTo>
                        <a:pt x="449" y="293"/>
                      </a:lnTo>
                      <a:lnTo>
                        <a:pt x="446" y="288"/>
                      </a:lnTo>
                      <a:lnTo>
                        <a:pt x="446" y="283"/>
                      </a:lnTo>
                      <a:lnTo>
                        <a:pt x="444" y="274"/>
                      </a:lnTo>
                      <a:lnTo>
                        <a:pt x="444" y="272"/>
                      </a:lnTo>
                      <a:lnTo>
                        <a:pt x="444" y="269"/>
                      </a:lnTo>
                      <a:lnTo>
                        <a:pt x="444" y="267"/>
                      </a:lnTo>
                      <a:lnTo>
                        <a:pt x="442" y="265"/>
                      </a:lnTo>
                      <a:lnTo>
                        <a:pt x="439" y="262"/>
                      </a:lnTo>
                      <a:lnTo>
                        <a:pt x="437" y="258"/>
                      </a:lnTo>
                      <a:lnTo>
                        <a:pt x="437" y="251"/>
                      </a:lnTo>
                      <a:lnTo>
                        <a:pt x="435" y="230"/>
                      </a:lnTo>
                      <a:lnTo>
                        <a:pt x="435" y="225"/>
                      </a:lnTo>
                      <a:lnTo>
                        <a:pt x="439" y="211"/>
                      </a:lnTo>
                      <a:lnTo>
                        <a:pt x="439" y="209"/>
                      </a:lnTo>
                      <a:lnTo>
                        <a:pt x="435" y="200"/>
                      </a:lnTo>
                      <a:lnTo>
                        <a:pt x="435" y="193"/>
                      </a:lnTo>
                      <a:lnTo>
                        <a:pt x="437" y="193"/>
                      </a:lnTo>
                      <a:lnTo>
                        <a:pt x="437" y="190"/>
                      </a:lnTo>
                      <a:lnTo>
                        <a:pt x="435" y="183"/>
                      </a:lnTo>
                      <a:lnTo>
                        <a:pt x="435" y="181"/>
                      </a:lnTo>
                      <a:lnTo>
                        <a:pt x="437" y="179"/>
                      </a:lnTo>
                      <a:lnTo>
                        <a:pt x="435" y="176"/>
                      </a:lnTo>
                      <a:lnTo>
                        <a:pt x="432" y="174"/>
                      </a:lnTo>
                      <a:lnTo>
                        <a:pt x="435" y="172"/>
                      </a:lnTo>
                      <a:lnTo>
                        <a:pt x="437" y="165"/>
                      </a:lnTo>
                      <a:lnTo>
                        <a:pt x="439" y="162"/>
                      </a:lnTo>
                      <a:lnTo>
                        <a:pt x="439" y="155"/>
                      </a:lnTo>
                      <a:lnTo>
                        <a:pt x="439" y="151"/>
                      </a:lnTo>
                      <a:lnTo>
                        <a:pt x="435" y="144"/>
                      </a:lnTo>
                      <a:lnTo>
                        <a:pt x="432" y="144"/>
                      </a:lnTo>
                      <a:lnTo>
                        <a:pt x="432" y="141"/>
                      </a:lnTo>
                      <a:lnTo>
                        <a:pt x="432" y="137"/>
                      </a:lnTo>
                      <a:lnTo>
                        <a:pt x="432" y="135"/>
                      </a:lnTo>
                      <a:lnTo>
                        <a:pt x="435" y="130"/>
                      </a:lnTo>
                      <a:lnTo>
                        <a:pt x="437" y="128"/>
                      </a:lnTo>
                      <a:lnTo>
                        <a:pt x="449" y="123"/>
                      </a:lnTo>
                      <a:lnTo>
                        <a:pt x="449" y="121"/>
                      </a:lnTo>
                      <a:lnTo>
                        <a:pt x="451" y="118"/>
                      </a:lnTo>
                      <a:lnTo>
                        <a:pt x="451" y="116"/>
                      </a:lnTo>
                      <a:lnTo>
                        <a:pt x="453" y="109"/>
                      </a:lnTo>
                      <a:lnTo>
                        <a:pt x="456" y="100"/>
                      </a:lnTo>
                      <a:lnTo>
                        <a:pt x="460" y="88"/>
                      </a:lnTo>
                      <a:lnTo>
                        <a:pt x="463" y="81"/>
                      </a:lnTo>
                      <a:lnTo>
                        <a:pt x="460" y="79"/>
                      </a:lnTo>
                      <a:lnTo>
                        <a:pt x="460" y="76"/>
                      </a:lnTo>
                      <a:lnTo>
                        <a:pt x="463" y="72"/>
                      </a:lnTo>
                      <a:lnTo>
                        <a:pt x="463" y="65"/>
                      </a:lnTo>
                      <a:lnTo>
                        <a:pt x="465" y="62"/>
                      </a:lnTo>
                      <a:lnTo>
                        <a:pt x="479" y="58"/>
                      </a:lnTo>
                      <a:lnTo>
                        <a:pt x="486" y="58"/>
                      </a:lnTo>
                      <a:lnTo>
                        <a:pt x="493" y="53"/>
                      </a:lnTo>
                      <a:lnTo>
                        <a:pt x="495" y="55"/>
                      </a:lnTo>
                      <a:lnTo>
                        <a:pt x="502" y="58"/>
                      </a:lnTo>
                      <a:lnTo>
                        <a:pt x="505" y="55"/>
                      </a:lnTo>
                      <a:lnTo>
                        <a:pt x="514" y="58"/>
                      </a:lnTo>
                      <a:lnTo>
                        <a:pt x="530" y="49"/>
                      </a:lnTo>
                      <a:lnTo>
                        <a:pt x="533" y="42"/>
                      </a:lnTo>
                      <a:lnTo>
                        <a:pt x="530" y="39"/>
                      </a:lnTo>
                      <a:lnTo>
                        <a:pt x="530" y="37"/>
                      </a:lnTo>
                      <a:lnTo>
                        <a:pt x="533" y="37"/>
                      </a:lnTo>
                      <a:lnTo>
                        <a:pt x="535" y="35"/>
                      </a:lnTo>
                      <a:lnTo>
                        <a:pt x="537" y="28"/>
                      </a:lnTo>
                      <a:lnTo>
                        <a:pt x="546" y="21"/>
                      </a:lnTo>
                      <a:lnTo>
                        <a:pt x="546" y="16"/>
                      </a:lnTo>
                      <a:lnTo>
                        <a:pt x="549" y="9"/>
                      </a:lnTo>
                      <a:lnTo>
                        <a:pt x="551" y="7"/>
                      </a:lnTo>
                      <a:lnTo>
                        <a:pt x="563" y="7"/>
                      </a:lnTo>
                      <a:lnTo>
                        <a:pt x="567" y="0"/>
                      </a:lnTo>
                      <a:lnTo>
                        <a:pt x="572" y="2"/>
                      </a:lnTo>
                      <a:lnTo>
                        <a:pt x="574" y="4"/>
                      </a:lnTo>
                      <a:lnTo>
                        <a:pt x="581" y="14"/>
                      </a:lnTo>
                      <a:lnTo>
                        <a:pt x="605" y="39"/>
                      </a:lnTo>
                      <a:lnTo>
                        <a:pt x="607" y="39"/>
                      </a:lnTo>
                      <a:lnTo>
                        <a:pt x="623" y="44"/>
                      </a:lnTo>
                      <a:lnTo>
                        <a:pt x="626" y="51"/>
                      </a:lnTo>
                      <a:lnTo>
                        <a:pt x="630" y="55"/>
                      </a:lnTo>
                      <a:lnTo>
                        <a:pt x="633" y="58"/>
                      </a:lnTo>
                      <a:lnTo>
                        <a:pt x="637" y="58"/>
                      </a:lnTo>
                      <a:lnTo>
                        <a:pt x="668" y="65"/>
                      </a:lnTo>
                      <a:lnTo>
                        <a:pt x="698" y="72"/>
                      </a:lnTo>
                      <a:lnTo>
                        <a:pt x="700" y="74"/>
                      </a:lnTo>
                      <a:lnTo>
                        <a:pt x="709" y="90"/>
                      </a:lnTo>
                      <a:lnTo>
                        <a:pt x="730" y="116"/>
                      </a:lnTo>
                      <a:lnTo>
                        <a:pt x="726" y="139"/>
                      </a:lnTo>
                      <a:lnTo>
                        <a:pt x="705" y="186"/>
                      </a:lnTo>
                      <a:lnTo>
                        <a:pt x="705" y="190"/>
                      </a:lnTo>
                      <a:lnTo>
                        <a:pt x="705" y="195"/>
                      </a:lnTo>
                      <a:lnTo>
                        <a:pt x="709" y="214"/>
                      </a:lnTo>
                      <a:lnTo>
                        <a:pt x="709" y="218"/>
                      </a:lnTo>
                      <a:lnTo>
                        <a:pt x="712" y="220"/>
                      </a:lnTo>
                      <a:lnTo>
                        <a:pt x="723" y="230"/>
                      </a:lnTo>
                      <a:close/>
                    </a:path>
                  </a:pathLst>
                </a:custGeom>
                <a:solidFill>
                  <a:srgbClr val="CDEAFF"/>
                </a:solidFill>
                <a:ln w="11906">
                  <a:solidFill>
                    <a:schemeClr val="bg1"/>
                  </a:solidFill>
                  <a:round/>
                  <a:headEnd/>
                  <a:tailEnd/>
                </a:ln>
              </p:spPr>
              <p:txBody>
                <a:bodyPr vert="horz" wrap="square" lIns="85725" tIns="42863" rIns="85725" bIns="42863" numCol="1" anchor="t" anchorCtr="0" compatLnSpc="1">
                  <a:prstTxWarp prst="textNoShape">
                    <a:avLst/>
                  </a:prstTxWarp>
                </a:bodyPr>
                <a:lstStyle/>
                <a:p>
                  <a:endParaRPr lang="en-US" sz="900" dirty="0">
                    <a:solidFill>
                      <a:schemeClr val="bg2">
                        <a:lumMod val="10000"/>
                      </a:schemeClr>
                    </a:solidFill>
                    <a:ea typeface="Verdana" panose="020B0604030504040204" pitchFamily="34" charset="0"/>
                    <a:cs typeface="Verdana" panose="020B0604030504040204" pitchFamily="34" charset="0"/>
                  </a:endParaRPr>
                </a:p>
              </p:txBody>
            </p:sp>
            <p:sp>
              <p:nvSpPr>
                <p:cNvPr id="149" name="Freeform 31">
                  <a:extLst>
                    <a:ext uri="{FF2B5EF4-FFF2-40B4-BE49-F238E27FC236}">
                      <a16:creationId xmlns:a16="http://schemas.microsoft.com/office/drawing/2014/main" id="{D332CD20-FF73-6853-A490-CE6205E337FF}"/>
                    </a:ext>
                  </a:extLst>
                </p:cNvPr>
                <p:cNvSpPr>
                  <a:spLocks noEditPoints="1"/>
                </p:cNvSpPr>
                <p:nvPr/>
              </p:nvSpPr>
              <p:spPr bwMode="auto">
                <a:xfrm>
                  <a:off x="5770563" y="3416300"/>
                  <a:ext cx="1123950" cy="1271588"/>
                </a:xfrm>
                <a:custGeom>
                  <a:avLst/>
                  <a:gdLst>
                    <a:gd name="T0" fmla="*/ 93 w 708"/>
                    <a:gd name="T1" fmla="*/ 432 h 801"/>
                    <a:gd name="T2" fmla="*/ 77 w 708"/>
                    <a:gd name="T3" fmla="*/ 450 h 801"/>
                    <a:gd name="T4" fmla="*/ 63 w 708"/>
                    <a:gd name="T5" fmla="*/ 450 h 801"/>
                    <a:gd name="T6" fmla="*/ 49 w 708"/>
                    <a:gd name="T7" fmla="*/ 437 h 801"/>
                    <a:gd name="T8" fmla="*/ 424 w 708"/>
                    <a:gd name="T9" fmla="*/ 11 h 801"/>
                    <a:gd name="T10" fmla="*/ 503 w 708"/>
                    <a:gd name="T11" fmla="*/ 60 h 801"/>
                    <a:gd name="T12" fmla="*/ 543 w 708"/>
                    <a:gd name="T13" fmla="*/ 127 h 801"/>
                    <a:gd name="T14" fmla="*/ 524 w 708"/>
                    <a:gd name="T15" fmla="*/ 176 h 801"/>
                    <a:gd name="T16" fmla="*/ 533 w 708"/>
                    <a:gd name="T17" fmla="*/ 223 h 801"/>
                    <a:gd name="T18" fmla="*/ 564 w 708"/>
                    <a:gd name="T19" fmla="*/ 285 h 801"/>
                    <a:gd name="T20" fmla="*/ 566 w 708"/>
                    <a:gd name="T21" fmla="*/ 304 h 801"/>
                    <a:gd name="T22" fmla="*/ 591 w 708"/>
                    <a:gd name="T23" fmla="*/ 374 h 801"/>
                    <a:gd name="T24" fmla="*/ 619 w 708"/>
                    <a:gd name="T25" fmla="*/ 385 h 801"/>
                    <a:gd name="T26" fmla="*/ 612 w 708"/>
                    <a:gd name="T27" fmla="*/ 423 h 801"/>
                    <a:gd name="T28" fmla="*/ 631 w 708"/>
                    <a:gd name="T29" fmla="*/ 441 h 801"/>
                    <a:gd name="T30" fmla="*/ 671 w 708"/>
                    <a:gd name="T31" fmla="*/ 471 h 801"/>
                    <a:gd name="T32" fmla="*/ 696 w 708"/>
                    <a:gd name="T33" fmla="*/ 497 h 801"/>
                    <a:gd name="T34" fmla="*/ 694 w 708"/>
                    <a:gd name="T35" fmla="*/ 567 h 801"/>
                    <a:gd name="T36" fmla="*/ 647 w 708"/>
                    <a:gd name="T37" fmla="*/ 625 h 801"/>
                    <a:gd name="T38" fmla="*/ 510 w 708"/>
                    <a:gd name="T39" fmla="*/ 620 h 801"/>
                    <a:gd name="T40" fmla="*/ 498 w 708"/>
                    <a:gd name="T41" fmla="*/ 669 h 801"/>
                    <a:gd name="T42" fmla="*/ 461 w 708"/>
                    <a:gd name="T43" fmla="*/ 653 h 801"/>
                    <a:gd name="T44" fmla="*/ 396 w 708"/>
                    <a:gd name="T45" fmla="*/ 632 h 801"/>
                    <a:gd name="T46" fmla="*/ 294 w 708"/>
                    <a:gd name="T47" fmla="*/ 736 h 801"/>
                    <a:gd name="T48" fmla="*/ 289 w 708"/>
                    <a:gd name="T49" fmla="*/ 771 h 801"/>
                    <a:gd name="T50" fmla="*/ 214 w 708"/>
                    <a:gd name="T51" fmla="*/ 776 h 801"/>
                    <a:gd name="T52" fmla="*/ 177 w 708"/>
                    <a:gd name="T53" fmla="*/ 790 h 801"/>
                    <a:gd name="T54" fmla="*/ 89 w 708"/>
                    <a:gd name="T55" fmla="*/ 727 h 801"/>
                    <a:gd name="T56" fmla="*/ 52 w 708"/>
                    <a:gd name="T57" fmla="*/ 699 h 801"/>
                    <a:gd name="T58" fmla="*/ 0 w 708"/>
                    <a:gd name="T59" fmla="*/ 655 h 801"/>
                    <a:gd name="T60" fmla="*/ 12 w 708"/>
                    <a:gd name="T61" fmla="*/ 636 h 801"/>
                    <a:gd name="T62" fmla="*/ 17 w 708"/>
                    <a:gd name="T63" fmla="*/ 622 h 801"/>
                    <a:gd name="T64" fmla="*/ 26 w 708"/>
                    <a:gd name="T65" fmla="*/ 592 h 801"/>
                    <a:gd name="T66" fmla="*/ 38 w 708"/>
                    <a:gd name="T67" fmla="*/ 578 h 801"/>
                    <a:gd name="T68" fmla="*/ 49 w 708"/>
                    <a:gd name="T69" fmla="*/ 564 h 801"/>
                    <a:gd name="T70" fmla="*/ 49 w 708"/>
                    <a:gd name="T71" fmla="*/ 541 h 801"/>
                    <a:gd name="T72" fmla="*/ 61 w 708"/>
                    <a:gd name="T73" fmla="*/ 513 h 801"/>
                    <a:gd name="T74" fmla="*/ 58 w 708"/>
                    <a:gd name="T75" fmla="*/ 495 h 801"/>
                    <a:gd name="T76" fmla="*/ 75 w 708"/>
                    <a:gd name="T77" fmla="*/ 485 h 801"/>
                    <a:gd name="T78" fmla="*/ 112 w 708"/>
                    <a:gd name="T79" fmla="*/ 464 h 801"/>
                    <a:gd name="T80" fmla="*/ 124 w 708"/>
                    <a:gd name="T81" fmla="*/ 474 h 801"/>
                    <a:gd name="T82" fmla="*/ 135 w 708"/>
                    <a:gd name="T83" fmla="*/ 469 h 801"/>
                    <a:gd name="T84" fmla="*/ 119 w 708"/>
                    <a:gd name="T85" fmla="*/ 450 h 801"/>
                    <a:gd name="T86" fmla="*/ 138 w 708"/>
                    <a:gd name="T87" fmla="*/ 443 h 801"/>
                    <a:gd name="T88" fmla="*/ 133 w 708"/>
                    <a:gd name="T89" fmla="*/ 425 h 801"/>
                    <a:gd name="T90" fmla="*/ 119 w 708"/>
                    <a:gd name="T91" fmla="*/ 409 h 801"/>
                    <a:gd name="T92" fmla="*/ 110 w 708"/>
                    <a:gd name="T93" fmla="*/ 383 h 801"/>
                    <a:gd name="T94" fmla="*/ 110 w 708"/>
                    <a:gd name="T95" fmla="*/ 369 h 801"/>
                    <a:gd name="T96" fmla="*/ 103 w 708"/>
                    <a:gd name="T97" fmla="*/ 344 h 801"/>
                    <a:gd name="T98" fmla="*/ 96 w 708"/>
                    <a:gd name="T99" fmla="*/ 311 h 801"/>
                    <a:gd name="T100" fmla="*/ 72 w 708"/>
                    <a:gd name="T101" fmla="*/ 299 h 801"/>
                    <a:gd name="T102" fmla="*/ 166 w 708"/>
                    <a:gd name="T103" fmla="*/ 225 h 801"/>
                    <a:gd name="T104" fmla="*/ 280 w 708"/>
                    <a:gd name="T105" fmla="*/ 167 h 801"/>
                    <a:gd name="T106" fmla="*/ 317 w 708"/>
                    <a:gd name="T107" fmla="*/ 179 h 801"/>
                    <a:gd name="T108" fmla="*/ 389 w 708"/>
                    <a:gd name="T109" fmla="*/ 160 h 801"/>
                    <a:gd name="T110" fmla="*/ 373 w 708"/>
                    <a:gd name="T111" fmla="*/ 132 h 801"/>
                    <a:gd name="T112" fmla="*/ 398 w 708"/>
                    <a:gd name="T113" fmla="*/ 123 h 801"/>
                    <a:gd name="T114" fmla="*/ 389 w 708"/>
                    <a:gd name="T115" fmla="*/ 104 h 801"/>
                    <a:gd name="T116" fmla="*/ 394 w 708"/>
                    <a:gd name="T117" fmla="*/ 83 h 801"/>
                    <a:gd name="T118" fmla="*/ 389 w 708"/>
                    <a:gd name="T119" fmla="*/ 62 h 801"/>
                    <a:gd name="T120" fmla="*/ 375 w 708"/>
                    <a:gd name="T121" fmla="*/ 60 h 801"/>
                    <a:gd name="T122" fmla="*/ 370 w 708"/>
                    <a:gd name="T123" fmla="*/ 25 h 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8" h="801">
                      <a:moveTo>
                        <a:pt x="77" y="427"/>
                      </a:moveTo>
                      <a:lnTo>
                        <a:pt x="77" y="430"/>
                      </a:lnTo>
                      <a:lnTo>
                        <a:pt x="79" y="427"/>
                      </a:lnTo>
                      <a:lnTo>
                        <a:pt x="84" y="427"/>
                      </a:lnTo>
                      <a:lnTo>
                        <a:pt x="89" y="427"/>
                      </a:lnTo>
                      <a:lnTo>
                        <a:pt x="93" y="425"/>
                      </a:lnTo>
                      <a:lnTo>
                        <a:pt x="96" y="430"/>
                      </a:lnTo>
                      <a:lnTo>
                        <a:pt x="93" y="432"/>
                      </a:lnTo>
                      <a:lnTo>
                        <a:pt x="86" y="432"/>
                      </a:lnTo>
                      <a:lnTo>
                        <a:pt x="79" y="432"/>
                      </a:lnTo>
                      <a:lnTo>
                        <a:pt x="72" y="434"/>
                      </a:lnTo>
                      <a:lnTo>
                        <a:pt x="72" y="439"/>
                      </a:lnTo>
                      <a:lnTo>
                        <a:pt x="65" y="446"/>
                      </a:lnTo>
                      <a:lnTo>
                        <a:pt x="70" y="450"/>
                      </a:lnTo>
                      <a:lnTo>
                        <a:pt x="75" y="448"/>
                      </a:lnTo>
                      <a:lnTo>
                        <a:pt x="77" y="450"/>
                      </a:lnTo>
                      <a:lnTo>
                        <a:pt x="75" y="453"/>
                      </a:lnTo>
                      <a:lnTo>
                        <a:pt x="72" y="453"/>
                      </a:lnTo>
                      <a:lnTo>
                        <a:pt x="70" y="455"/>
                      </a:lnTo>
                      <a:lnTo>
                        <a:pt x="70" y="457"/>
                      </a:lnTo>
                      <a:lnTo>
                        <a:pt x="68" y="457"/>
                      </a:lnTo>
                      <a:lnTo>
                        <a:pt x="65" y="457"/>
                      </a:lnTo>
                      <a:lnTo>
                        <a:pt x="65" y="453"/>
                      </a:lnTo>
                      <a:lnTo>
                        <a:pt x="63" y="450"/>
                      </a:lnTo>
                      <a:lnTo>
                        <a:pt x="61" y="448"/>
                      </a:lnTo>
                      <a:lnTo>
                        <a:pt x="61" y="453"/>
                      </a:lnTo>
                      <a:lnTo>
                        <a:pt x="58" y="455"/>
                      </a:lnTo>
                      <a:lnTo>
                        <a:pt x="54" y="450"/>
                      </a:lnTo>
                      <a:lnTo>
                        <a:pt x="49" y="446"/>
                      </a:lnTo>
                      <a:lnTo>
                        <a:pt x="49" y="443"/>
                      </a:lnTo>
                      <a:lnTo>
                        <a:pt x="47" y="441"/>
                      </a:lnTo>
                      <a:lnTo>
                        <a:pt x="49" y="437"/>
                      </a:lnTo>
                      <a:lnTo>
                        <a:pt x="54" y="430"/>
                      </a:lnTo>
                      <a:lnTo>
                        <a:pt x="63" y="425"/>
                      </a:lnTo>
                      <a:lnTo>
                        <a:pt x="72" y="420"/>
                      </a:lnTo>
                      <a:lnTo>
                        <a:pt x="77" y="423"/>
                      </a:lnTo>
                      <a:lnTo>
                        <a:pt x="79" y="425"/>
                      </a:lnTo>
                      <a:lnTo>
                        <a:pt x="77" y="427"/>
                      </a:lnTo>
                      <a:close/>
                      <a:moveTo>
                        <a:pt x="419" y="11"/>
                      </a:moveTo>
                      <a:lnTo>
                        <a:pt x="424" y="11"/>
                      </a:lnTo>
                      <a:lnTo>
                        <a:pt x="431" y="4"/>
                      </a:lnTo>
                      <a:lnTo>
                        <a:pt x="454" y="0"/>
                      </a:lnTo>
                      <a:lnTo>
                        <a:pt x="456" y="2"/>
                      </a:lnTo>
                      <a:lnTo>
                        <a:pt x="459" y="11"/>
                      </a:lnTo>
                      <a:lnTo>
                        <a:pt x="463" y="18"/>
                      </a:lnTo>
                      <a:lnTo>
                        <a:pt x="473" y="30"/>
                      </a:lnTo>
                      <a:lnTo>
                        <a:pt x="494" y="51"/>
                      </a:lnTo>
                      <a:lnTo>
                        <a:pt x="503" y="60"/>
                      </a:lnTo>
                      <a:lnTo>
                        <a:pt x="508" y="65"/>
                      </a:lnTo>
                      <a:lnTo>
                        <a:pt x="512" y="74"/>
                      </a:lnTo>
                      <a:lnTo>
                        <a:pt x="519" y="90"/>
                      </a:lnTo>
                      <a:lnTo>
                        <a:pt x="522" y="95"/>
                      </a:lnTo>
                      <a:lnTo>
                        <a:pt x="529" y="104"/>
                      </a:lnTo>
                      <a:lnTo>
                        <a:pt x="531" y="107"/>
                      </a:lnTo>
                      <a:lnTo>
                        <a:pt x="538" y="118"/>
                      </a:lnTo>
                      <a:lnTo>
                        <a:pt x="543" y="127"/>
                      </a:lnTo>
                      <a:lnTo>
                        <a:pt x="545" y="132"/>
                      </a:lnTo>
                      <a:lnTo>
                        <a:pt x="554" y="153"/>
                      </a:lnTo>
                      <a:lnTo>
                        <a:pt x="557" y="158"/>
                      </a:lnTo>
                      <a:lnTo>
                        <a:pt x="557" y="162"/>
                      </a:lnTo>
                      <a:lnTo>
                        <a:pt x="557" y="165"/>
                      </a:lnTo>
                      <a:lnTo>
                        <a:pt x="552" y="165"/>
                      </a:lnTo>
                      <a:lnTo>
                        <a:pt x="545" y="162"/>
                      </a:lnTo>
                      <a:lnTo>
                        <a:pt x="524" y="176"/>
                      </a:lnTo>
                      <a:lnTo>
                        <a:pt x="519" y="183"/>
                      </a:lnTo>
                      <a:lnTo>
                        <a:pt x="524" y="186"/>
                      </a:lnTo>
                      <a:lnTo>
                        <a:pt x="533" y="190"/>
                      </a:lnTo>
                      <a:lnTo>
                        <a:pt x="538" y="195"/>
                      </a:lnTo>
                      <a:lnTo>
                        <a:pt x="536" y="197"/>
                      </a:lnTo>
                      <a:lnTo>
                        <a:pt x="531" y="209"/>
                      </a:lnTo>
                      <a:lnTo>
                        <a:pt x="531" y="213"/>
                      </a:lnTo>
                      <a:lnTo>
                        <a:pt x="533" y="223"/>
                      </a:lnTo>
                      <a:lnTo>
                        <a:pt x="540" y="244"/>
                      </a:lnTo>
                      <a:lnTo>
                        <a:pt x="540" y="251"/>
                      </a:lnTo>
                      <a:lnTo>
                        <a:pt x="533" y="269"/>
                      </a:lnTo>
                      <a:lnTo>
                        <a:pt x="533" y="276"/>
                      </a:lnTo>
                      <a:lnTo>
                        <a:pt x="538" y="281"/>
                      </a:lnTo>
                      <a:lnTo>
                        <a:pt x="552" y="276"/>
                      </a:lnTo>
                      <a:lnTo>
                        <a:pt x="559" y="278"/>
                      </a:lnTo>
                      <a:lnTo>
                        <a:pt x="564" y="285"/>
                      </a:lnTo>
                      <a:lnTo>
                        <a:pt x="561" y="288"/>
                      </a:lnTo>
                      <a:lnTo>
                        <a:pt x="561" y="290"/>
                      </a:lnTo>
                      <a:lnTo>
                        <a:pt x="561" y="292"/>
                      </a:lnTo>
                      <a:lnTo>
                        <a:pt x="561" y="295"/>
                      </a:lnTo>
                      <a:lnTo>
                        <a:pt x="564" y="297"/>
                      </a:lnTo>
                      <a:lnTo>
                        <a:pt x="566" y="297"/>
                      </a:lnTo>
                      <a:lnTo>
                        <a:pt x="566" y="299"/>
                      </a:lnTo>
                      <a:lnTo>
                        <a:pt x="566" y="304"/>
                      </a:lnTo>
                      <a:lnTo>
                        <a:pt x="552" y="311"/>
                      </a:lnTo>
                      <a:lnTo>
                        <a:pt x="547" y="316"/>
                      </a:lnTo>
                      <a:lnTo>
                        <a:pt x="547" y="323"/>
                      </a:lnTo>
                      <a:lnTo>
                        <a:pt x="550" y="334"/>
                      </a:lnTo>
                      <a:lnTo>
                        <a:pt x="559" y="353"/>
                      </a:lnTo>
                      <a:lnTo>
                        <a:pt x="570" y="367"/>
                      </a:lnTo>
                      <a:lnTo>
                        <a:pt x="580" y="374"/>
                      </a:lnTo>
                      <a:lnTo>
                        <a:pt x="591" y="374"/>
                      </a:lnTo>
                      <a:lnTo>
                        <a:pt x="610" y="369"/>
                      </a:lnTo>
                      <a:lnTo>
                        <a:pt x="615" y="369"/>
                      </a:lnTo>
                      <a:lnTo>
                        <a:pt x="615" y="371"/>
                      </a:lnTo>
                      <a:lnTo>
                        <a:pt x="617" y="374"/>
                      </a:lnTo>
                      <a:lnTo>
                        <a:pt x="617" y="376"/>
                      </a:lnTo>
                      <a:lnTo>
                        <a:pt x="617" y="381"/>
                      </a:lnTo>
                      <a:lnTo>
                        <a:pt x="617" y="383"/>
                      </a:lnTo>
                      <a:lnTo>
                        <a:pt x="619" y="385"/>
                      </a:lnTo>
                      <a:lnTo>
                        <a:pt x="622" y="385"/>
                      </a:lnTo>
                      <a:lnTo>
                        <a:pt x="626" y="390"/>
                      </a:lnTo>
                      <a:lnTo>
                        <a:pt x="629" y="395"/>
                      </a:lnTo>
                      <a:lnTo>
                        <a:pt x="631" y="399"/>
                      </a:lnTo>
                      <a:lnTo>
                        <a:pt x="629" y="404"/>
                      </a:lnTo>
                      <a:lnTo>
                        <a:pt x="626" y="406"/>
                      </a:lnTo>
                      <a:lnTo>
                        <a:pt x="612" y="420"/>
                      </a:lnTo>
                      <a:lnTo>
                        <a:pt x="612" y="423"/>
                      </a:lnTo>
                      <a:lnTo>
                        <a:pt x="615" y="423"/>
                      </a:lnTo>
                      <a:lnTo>
                        <a:pt x="615" y="427"/>
                      </a:lnTo>
                      <a:lnTo>
                        <a:pt x="617" y="430"/>
                      </a:lnTo>
                      <a:lnTo>
                        <a:pt x="617" y="432"/>
                      </a:lnTo>
                      <a:lnTo>
                        <a:pt x="619" y="434"/>
                      </a:lnTo>
                      <a:lnTo>
                        <a:pt x="619" y="437"/>
                      </a:lnTo>
                      <a:lnTo>
                        <a:pt x="626" y="437"/>
                      </a:lnTo>
                      <a:lnTo>
                        <a:pt x="631" y="441"/>
                      </a:lnTo>
                      <a:lnTo>
                        <a:pt x="631" y="446"/>
                      </a:lnTo>
                      <a:lnTo>
                        <a:pt x="631" y="453"/>
                      </a:lnTo>
                      <a:lnTo>
                        <a:pt x="631" y="460"/>
                      </a:lnTo>
                      <a:lnTo>
                        <a:pt x="633" y="464"/>
                      </a:lnTo>
                      <a:lnTo>
                        <a:pt x="640" y="467"/>
                      </a:lnTo>
                      <a:lnTo>
                        <a:pt x="647" y="469"/>
                      </a:lnTo>
                      <a:lnTo>
                        <a:pt x="666" y="469"/>
                      </a:lnTo>
                      <a:lnTo>
                        <a:pt x="671" y="471"/>
                      </a:lnTo>
                      <a:lnTo>
                        <a:pt x="675" y="476"/>
                      </a:lnTo>
                      <a:lnTo>
                        <a:pt x="680" y="478"/>
                      </a:lnTo>
                      <a:lnTo>
                        <a:pt x="682" y="481"/>
                      </a:lnTo>
                      <a:lnTo>
                        <a:pt x="689" y="481"/>
                      </a:lnTo>
                      <a:lnTo>
                        <a:pt x="692" y="483"/>
                      </a:lnTo>
                      <a:lnTo>
                        <a:pt x="696" y="485"/>
                      </a:lnTo>
                      <a:lnTo>
                        <a:pt x="696" y="490"/>
                      </a:lnTo>
                      <a:lnTo>
                        <a:pt x="696" y="497"/>
                      </a:lnTo>
                      <a:lnTo>
                        <a:pt x="696" y="499"/>
                      </a:lnTo>
                      <a:lnTo>
                        <a:pt x="699" y="504"/>
                      </a:lnTo>
                      <a:lnTo>
                        <a:pt x="701" y="506"/>
                      </a:lnTo>
                      <a:lnTo>
                        <a:pt x="708" y="516"/>
                      </a:lnTo>
                      <a:lnTo>
                        <a:pt x="708" y="525"/>
                      </a:lnTo>
                      <a:lnTo>
                        <a:pt x="708" y="532"/>
                      </a:lnTo>
                      <a:lnTo>
                        <a:pt x="705" y="539"/>
                      </a:lnTo>
                      <a:lnTo>
                        <a:pt x="694" y="567"/>
                      </a:lnTo>
                      <a:lnTo>
                        <a:pt x="692" y="583"/>
                      </a:lnTo>
                      <a:lnTo>
                        <a:pt x="687" y="595"/>
                      </a:lnTo>
                      <a:lnTo>
                        <a:pt x="673" y="606"/>
                      </a:lnTo>
                      <a:lnTo>
                        <a:pt x="671" y="611"/>
                      </a:lnTo>
                      <a:lnTo>
                        <a:pt x="668" y="611"/>
                      </a:lnTo>
                      <a:lnTo>
                        <a:pt x="661" y="613"/>
                      </a:lnTo>
                      <a:lnTo>
                        <a:pt x="650" y="625"/>
                      </a:lnTo>
                      <a:lnTo>
                        <a:pt x="647" y="625"/>
                      </a:lnTo>
                      <a:lnTo>
                        <a:pt x="645" y="622"/>
                      </a:lnTo>
                      <a:lnTo>
                        <a:pt x="643" y="622"/>
                      </a:lnTo>
                      <a:lnTo>
                        <a:pt x="631" y="595"/>
                      </a:lnTo>
                      <a:lnTo>
                        <a:pt x="629" y="592"/>
                      </a:lnTo>
                      <a:lnTo>
                        <a:pt x="626" y="592"/>
                      </a:lnTo>
                      <a:lnTo>
                        <a:pt x="554" y="618"/>
                      </a:lnTo>
                      <a:lnTo>
                        <a:pt x="515" y="618"/>
                      </a:lnTo>
                      <a:lnTo>
                        <a:pt x="510" y="620"/>
                      </a:lnTo>
                      <a:lnTo>
                        <a:pt x="505" y="625"/>
                      </a:lnTo>
                      <a:lnTo>
                        <a:pt x="505" y="627"/>
                      </a:lnTo>
                      <a:lnTo>
                        <a:pt x="505" y="632"/>
                      </a:lnTo>
                      <a:lnTo>
                        <a:pt x="505" y="634"/>
                      </a:lnTo>
                      <a:lnTo>
                        <a:pt x="501" y="655"/>
                      </a:lnTo>
                      <a:lnTo>
                        <a:pt x="501" y="660"/>
                      </a:lnTo>
                      <a:lnTo>
                        <a:pt x="501" y="664"/>
                      </a:lnTo>
                      <a:lnTo>
                        <a:pt x="498" y="669"/>
                      </a:lnTo>
                      <a:lnTo>
                        <a:pt x="498" y="671"/>
                      </a:lnTo>
                      <a:lnTo>
                        <a:pt x="496" y="674"/>
                      </a:lnTo>
                      <a:lnTo>
                        <a:pt x="494" y="671"/>
                      </a:lnTo>
                      <a:lnTo>
                        <a:pt x="491" y="669"/>
                      </a:lnTo>
                      <a:lnTo>
                        <a:pt x="482" y="667"/>
                      </a:lnTo>
                      <a:lnTo>
                        <a:pt x="470" y="655"/>
                      </a:lnTo>
                      <a:lnTo>
                        <a:pt x="466" y="653"/>
                      </a:lnTo>
                      <a:lnTo>
                        <a:pt x="461" y="653"/>
                      </a:lnTo>
                      <a:lnTo>
                        <a:pt x="429" y="634"/>
                      </a:lnTo>
                      <a:lnTo>
                        <a:pt x="417" y="632"/>
                      </a:lnTo>
                      <a:lnTo>
                        <a:pt x="405" y="627"/>
                      </a:lnTo>
                      <a:lnTo>
                        <a:pt x="403" y="627"/>
                      </a:lnTo>
                      <a:lnTo>
                        <a:pt x="401" y="629"/>
                      </a:lnTo>
                      <a:lnTo>
                        <a:pt x="401" y="632"/>
                      </a:lnTo>
                      <a:lnTo>
                        <a:pt x="398" y="632"/>
                      </a:lnTo>
                      <a:lnTo>
                        <a:pt x="396" y="632"/>
                      </a:lnTo>
                      <a:lnTo>
                        <a:pt x="391" y="629"/>
                      </a:lnTo>
                      <a:lnTo>
                        <a:pt x="389" y="627"/>
                      </a:lnTo>
                      <a:lnTo>
                        <a:pt x="333" y="625"/>
                      </a:lnTo>
                      <a:lnTo>
                        <a:pt x="314" y="636"/>
                      </a:lnTo>
                      <a:lnTo>
                        <a:pt x="282" y="681"/>
                      </a:lnTo>
                      <a:lnTo>
                        <a:pt x="280" y="694"/>
                      </a:lnTo>
                      <a:lnTo>
                        <a:pt x="282" y="699"/>
                      </a:lnTo>
                      <a:lnTo>
                        <a:pt x="294" y="736"/>
                      </a:lnTo>
                      <a:lnTo>
                        <a:pt x="296" y="743"/>
                      </a:lnTo>
                      <a:lnTo>
                        <a:pt x="291" y="746"/>
                      </a:lnTo>
                      <a:lnTo>
                        <a:pt x="289" y="748"/>
                      </a:lnTo>
                      <a:lnTo>
                        <a:pt x="289" y="755"/>
                      </a:lnTo>
                      <a:lnTo>
                        <a:pt x="289" y="757"/>
                      </a:lnTo>
                      <a:lnTo>
                        <a:pt x="289" y="766"/>
                      </a:lnTo>
                      <a:lnTo>
                        <a:pt x="289" y="769"/>
                      </a:lnTo>
                      <a:lnTo>
                        <a:pt x="289" y="771"/>
                      </a:lnTo>
                      <a:lnTo>
                        <a:pt x="287" y="778"/>
                      </a:lnTo>
                      <a:lnTo>
                        <a:pt x="277" y="785"/>
                      </a:lnTo>
                      <a:lnTo>
                        <a:pt x="270" y="787"/>
                      </a:lnTo>
                      <a:lnTo>
                        <a:pt x="263" y="787"/>
                      </a:lnTo>
                      <a:lnTo>
                        <a:pt x="259" y="783"/>
                      </a:lnTo>
                      <a:lnTo>
                        <a:pt x="247" y="776"/>
                      </a:lnTo>
                      <a:lnTo>
                        <a:pt x="242" y="773"/>
                      </a:lnTo>
                      <a:lnTo>
                        <a:pt x="214" y="776"/>
                      </a:lnTo>
                      <a:lnTo>
                        <a:pt x="210" y="773"/>
                      </a:lnTo>
                      <a:lnTo>
                        <a:pt x="198" y="766"/>
                      </a:lnTo>
                      <a:lnTo>
                        <a:pt x="193" y="764"/>
                      </a:lnTo>
                      <a:lnTo>
                        <a:pt x="184" y="764"/>
                      </a:lnTo>
                      <a:lnTo>
                        <a:pt x="182" y="766"/>
                      </a:lnTo>
                      <a:lnTo>
                        <a:pt x="177" y="771"/>
                      </a:lnTo>
                      <a:lnTo>
                        <a:pt x="177" y="780"/>
                      </a:lnTo>
                      <a:lnTo>
                        <a:pt x="177" y="790"/>
                      </a:lnTo>
                      <a:lnTo>
                        <a:pt x="175" y="799"/>
                      </a:lnTo>
                      <a:lnTo>
                        <a:pt x="170" y="801"/>
                      </a:lnTo>
                      <a:lnTo>
                        <a:pt x="166" y="797"/>
                      </a:lnTo>
                      <a:lnTo>
                        <a:pt x="135" y="773"/>
                      </a:lnTo>
                      <a:lnTo>
                        <a:pt x="119" y="764"/>
                      </a:lnTo>
                      <a:lnTo>
                        <a:pt x="110" y="755"/>
                      </a:lnTo>
                      <a:lnTo>
                        <a:pt x="93" y="732"/>
                      </a:lnTo>
                      <a:lnTo>
                        <a:pt x="89" y="727"/>
                      </a:lnTo>
                      <a:lnTo>
                        <a:pt x="82" y="725"/>
                      </a:lnTo>
                      <a:lnTo>
                        <a:pt x="72" y="722"/>
                      </a:lnTo>
                      <a:lnTo>
                        <a:pt x="68" y="718"/>
                      </a:lnTo>
                      <a:lnTo>
                        <a:pt x="65" y="711"/>
                      </a:lnTo>
                      <a:lnTo>
                        <a:pt x="65" y="708"/>
                      </a:lnTo>
                      <a:lnTo>
                        <a:pt x="61" y="708"/>
                      </a:lnTo>
                      <a:lnTo>
                        <a:pt x="54" y="704"/>
                      </a:lnTo>
                      <a:lnTo>
                        <a:pt x="52" y="699"/>
                      </a:lnTo>
                      <a:lnTo>
                        <a:pt x="47" y="687"/>
                      </a:lnTo>
                      <a:lnTo>
                        <a:pt x="45" y="683"/>
                      </a:lnTo>
                      <a:lnTo>
                        <a:pt x="38" y="678"/>
                      </a:lnTo>
                      <a:lnTo>
                        <a:pt x="21" y="674"/>
                      </a:lnTo>
                      <a:lnTo>
                        <a:pt x="0" y="662"/>
                      </a:lnTo>
                      <a:lnTo>
                        <a:pt x="3" y="660"/>
                      </a:lnTo>
                      <a:lnTo>
                        <a:pt x="0" y="660"/>
                      </a:lnTo>
                      <a:lnTo>
                        <a:pt x="0" y="655"/>
                      </a:lnTo>
                      <a:lnTo>
                        <a:pt x="0" y="653"/>
                      </a:lnTo>
                      <a:lnTo>
                        <a:pt x="0" y="650"/>
                      </a:lnTo>
                      <a:lnTo>
                        <a:pt x="3" y="653"/>
                      </a:lnTo>
                      <a:lnTo>
                        <a:pt x="5" y="650"/>
                      </a:lnTo>
                      <a:lnTo>
                        <a:pt x="10" y="648"/>
                      </a:lnTo>
                      <a:lnTo>
                        <a:pt x="10" y="646"/>
                      </a:lnTo>
                      <a:lnTo>
                        <a:pt x="12" y="643"/>
                      </a:lnTo>
                      <a:lnTo>
                        <a:pt x="12" y="636"/>
                      </a:lnTo>
                      <a:lnTo>
                        <a:pt x="14" y="636"/>
                      </a:lnTo>
                      <a:lnTo>
                        <a:pt x="19" y="639"/>
                      </a:lnTo>
                      <a:lnTo>
                        <a:pt x="21" y="639"/>
                      </a:lnTo>
                      <a:lnTo>
                        <a:pt x="19" y="636"/>
                      </a:lnTo>
                      <a:lnTo>
                        <a:pt x="19" y="634"/>
                      </a:lnTo>
                      <a:lnTo>
                        <a:pt x="17" y="629"/>
                      </a:lnTo>
                      <a:lnTo>
                        <a:pt x="17" y="627"/>
                      </a:lnTo>
                      <a:lnTo>
                        <a:pt x="17" y="622"/>
                      </a:lnTo>
                      <a:lnTo>
                        <a:pt x="19" y="618"/>
                      </a:lnTo>
                      <a:lnTo>
                        <a:pt x="21" y="613"/>
                      </a:lnTo>
                      <a:lnTo>
                        <a:pt x="21" y="606"/>
                      </a:lnTo>
                      <a:lnTo>
                        <a:pt x="21" y="604"/>
                      </a:lnTo>
                      <a:lnTo>
                        <a:pt x="24" y="601"/>
                      </a:lnTo>
                      <a:lnTo>
                        <a:pt x="26" y="599"/>
                      </a:lnTo>
                      <a:lnTo>
                        <a:pt x="28" y="597"/>
                      </a:lnTo>
                      <a:lnTo>
                        <a:pt x="26" y="592"/>
                      </a:lnTo>
                      <a:lnTo>
                        <a:pt x="28" y="592"/>
                      </a:lnTo>
                      <a:lnTo>
                        <a:pt x="31" y="592"/>
                      </a:lnTo>
                      <a:lnTo>
                        <a:pt x="31" y="590"/>
                      </a:lnTo>
                      <a:lnTo>
                        <a:pt x="35" y="585"/>
                      </a:lnTo>
                      <a:lnTo>
                        <a:pt x="38" y="585"/>
                      </a:lnTo>
                      <a:lnTo>
                        <a:pt x="40" y="585"/>
                      </a:lnTo>
                      <a:lnTo>
                        <a:pt x="38" y="581"/>
                      </a:lnTo>
                      <a:lnTo>
                        <a:pt x="38" y="578"/>
                      </a:lnTo>
                      <a:lnTo>
                        <a:pt x="40" y="576"/>
                      </a:lnTo>
                      <a:lnTo>
                        <a:pt x="42" y="576"/>
                      </a:lnTo>
                      <a:lnTo>
                        <a:pt x="45" y="574"/>
                      </a:lnTo>
                      <a:lnTo>
                        <a:pt x="45" y="571"/>
                      </a:lnTo>
                      <a:lnTo>
                        <a:pt x="45" y="569"/>
                      </a:lnTo>
                      <a:lnTo>
                        <a:pt x="45" y="567"/>
                      </a:lnTo>
                      <a:lnTo>
                        <a:pt x="47" y="567"/>
                      </a:lnTo>
                      <a:lnTo>
                        <a:pt x="49" y="564"/>
                      </a:lnTo>
                      <a:lnTo>
                        <a:pt x="49" y="560"/>
                      </a:lnTo>
                      <a:lnTo>
                        <a:pt x="49" y="557"/>
                      </a:lnTo>
                      <a:lnTo>
                        <a:pt x="49" y="555"/>
                      </a:lnTo>
                      <a:lnTo>
                        <a:pt x="49" y="553"/>
                      </a:lnTo>
                      <a:lnTo>
                        <a:pt x="49" y="550"/>
                      </a:lnTo>
                      <a:lnTo>
                        <a:pt x="49" y="548"/>
                      </a:lnTo>
                      <a:lnTo>
                        <a:pt x="49" y="543"/>
                      </a:lnTo>
                      <a:lnTo>
                        <a:pt x="49" y="541"/>
                      </a:lnTo>
                      <a:lnTo>
                        <a:pt x="49" y="534"/>
                      </a:lnTo>
                      <a:lnTo>
                        <a:pt x="49" y="532"/>
                      </a:lnTo>
                      <a:lnTo>
                        <a:pt x="49" y="529"/>
                      </a:lnTo>
                      <a:lnTo>
                        <a:pt x="52" y="527"/>
                      </a:lnTo>
                      <a:lnTo>
                        <a:pt x="54" y="522"/>
                      </a:lnTo>
                      <a:lnTo>
                        <a:pt x="58" y="518"/>
                      </a:lnTo>
                      <a:lnTo>
                        <a:pt x="58" y="516"/>
                      </a:lnTo>
                      <a:lnTo>
                        <a:pt x="61" y="513"/>
                      </a:lnTo>
                      <a:lnTo>
                        <a:pt x="58" y="511"/>
                      </a:lnTo>
                      <a:lnTo>
                        <a:pt x="58" y="509"/>
                      </a:lnTo>
                      <a:lnTo>
                        <a:pt x="58" y="506"/>
                      </a:lnTo>
                      <a:lnTo>
                        <a:pt x="58" y="504"/>
                      </a:lnTo>
                      <a:lnTo>
                        <a:pt x="61" y="499"/>
                      </a:lnTo>
                      <a:lnTo>
                        <a:pt x="58" y="497"/>
                      </a:lnTo>
                      <a:lnTo>
                        <a:pt x="56" y="495"/>
                      </a:lnTo>
                      <a:lnTo>
                        <a:pt x="58" y="495"/>
                      </a:lnTo>
                      <a:lnTo>
                        <a:pt x="61" y="495"/>
                      </a:lnTo>
                      <a:lnTo>
                        <a:pt x="68" y="497"/>
                      </a:lnTo>
                      <a:lnTo>
                        <a:pt x="70" y="497"/>
                      </a:lnTo>
                      <a:lnTo>
                        <a:pt x="70" y="495"/>
                      </a:lnTo>
                      <a:lnTo>
                        <a:pt x="68" y="492"/>
                      </a:lnTo>
                      <a:lnTo>
                        <a:pt x="68" y="488"/>
                      </a:lnTo>
                      <a:lnTo>
                        <a:pt x="70" y="485"/>
                      </a:lnTo>
                      <a:lnTo>
                        <a:pt x="75" y="485"/>
                      </a:lnTo>
                      <a:lnTo>
                        <a:pt x="72" y="481"/>
                      </a:lnTo>
                      <a:lnTo>
                        <a:pt x="77" y="476"/>
                      </a:lnTo>
                      <a:lnTo>
                        <a:pt x="89" y="471"/>
                      </a:lnTo>
                      <a:lnTo>
                        <a:pt x="105" y="460"/>
                      </a:lnTo>
                      <a:lnTo>
                        <a:pt x="107" y="457"/>
                      </a:lnTo>
                      <a:lnTo>
                        <a:pt x="110" y="460"/>
                      </a:lnTo>
                      <a:lnTo>
                        <a:pt x="112" y="462"/>
                      </a:lnTo>
                      <a:lnTo>
                        <a:pt x="112" y="464"/>
                      </a:lnTo>
                      <a:lnTo>
                        <a:pt x="114" y="464"/>
                      </a:lnTo>
                      <a:lnTo>
                        <a:pt x="114" y="462"/>
                      </a:lnTo>
                      <a:lnTo>
                        <a:pt x="117" y="464"/>
                      </a:lnTo>
                      <a:lnTo>
                        <a:pt x="117" y="469"/>
                      </a:lnTo>
                      <a:lnTo>
                        <a:pt x="119" y="469"/>
                      </a:lnTo>
                      <a:lnTo>
                        <a:pt x="121" y="471"/>
                      </a:lnTo>
                      <a:lnTo>
                        <a:pt x="121" y="474"/>
                      </a:lnTo>
                      <a:lnTo>
                        <a:pt x="124" y="474"/>
                      </a:lnTo>
                      <a:lnTo>
                        <a:pt x="126" y="474"/>
                      </a:lnTo>
                      <a:lnTo>
                        <a:pt x="128" y="476"/>
                      </a:lnTo>
                      <a:lnTo>
                        <a:pt x="126" y="476"/>
                      </a:lnTo>
                      <a:lnTo>
                        <a:pt x="124" y="478"/>
                      </a:lnTo>
                      <a:lnTo>
                        <a:pt x="128" y="478"/>
                      </a:lnTo>
                      <a:lnTo>
                        <a:pt x="138" y="474"/>
                      </a:lnTo>
                      <a:lnTo>
                        <a:pt x="138" y="471"/>
                      </a:lnTo>
                      <a:lnTo>
                        <a:pt x="135" y="469"/>
                      </a:lnTo>
                      <a:lnTo>
                        <a:pt x="135" y="467"/>
                      </a:lnTo>
                      <a:lnTo>
                        <a:pt x="135" y="457"/>
                      </a:lnTo>
                      <a:lnTo>
                        <a:pt x="133" y="453"/>
                      </a:lnTo>
                      <a:lnTo>
                        <a:pt x="131" y="455"/>
                      </a:lnTo>
                      <a:lnTo>
                        <a:pt x="128" y="455"/>
                      </a:lnTo>
                      <a:lnTo>
                        <a:pt x="124" y="453"/>
                      </a:lnTo>
                      <a:lnTo>
                        <a:pt x="121" y="453"/>
                      </a:lnTo>
                      <a:lnTo>
                        <a:pt x="119" y="450"/>
                      </a:lnTo>
                      <a:lnTo>
                        <a:pt x="114" y="443"/>
                      </a:lnTo>
                      <a:lnTo>
                        <a:pt x="114" y="441"/>
                      </a:lnTo>
                      <a:lnTo>
                        <a:pt x="114" y="439"/>
                      </a:lnTo>
                      <a:lnTo>
                        <a:pt x="126" y="437"/>
                      </a:lnTo>
                      <a:lnTo>
                        <a:pt x="128" y="439"/>
                      </a:lnTo>
                      <a:lnTo>
                        <a:pt x="133" y="441"/>
                      </a:lnTo>
                      <a:lnTo>
                        <a:pt x="135" y="443"/>
                      </a:lnTo>
                      <a:lnTo>
                        <a:pt x="138" y="443"/>
                      </a:lnTo>
                      <a:lnTo>
                        <a:pt x="140" y="441"/>
                      </a:lnTo>
                      <a:lnTo>
                        <a:pt x="140" y="439"/>
                      </a:lnTo>
                      <a:lnTo>
                        <a:pt x="138" y="437"/>
                      </a:lnTo>
                      <a:lnTo>
                        <a:pt x="135" y="434"/>
                      </a:lnTo>
                      <a:lnTo>
                        <a:pt x="135" y="432"/>
                      </a:lnTo>
                      <a:lnTo>
                        <a:pt x="135" y="427"/>
                      </a:lnTo>
                      <a:lnTo>
                        <a:pt x="133" y="427"/>
                      </a:lnTo>
                      <a:lnTo>
                        <a:pt x="133" y="425"/>
                      </a:lnTo>
                      <a:lnTo>
                        <a:pt x="133" y="423"/>
                      </a:lnTo>
                      <a:lnTo>
                        <a:pt x="131" y="420"/>
                      </a:lnTo>
                      <a:lnTo>
                        <a:pt x="128" y="420"/>
                      </a:lnTo>
                      <a:lnTo>
                        <a:pt x="126" y="418"/>
                      </a:lnTo>
                      <a:lnTo>
                        <a:pt x="126" y="416"/>
                      </a:lnTo>
                      <a:lnTo>
                        <a:pt x="126" y="413"/>
                      </a:lnTo>
                      <a:lnTo>
                        <a:pt x="124" y="411"/>
                      </a:lnTo>
                      <a:lnTo>
                        <a:pt x="119" y="409"/>
                      </a:lnTo>
                      <a:lnTo>
                        <a:pt x="107" y="406"/>
                      </a:lnTo>
                      <a:lnTo>
                        <a:pt x="107" y="402"/>
                      </a:lnTo>
                      <a:lnTo>
                        <a:pt x="107" y="399"/>
                      </a:lnTo>
                      <a:lnTo>
                        <a:pt x="110" y="395"/>
                      </a:lnTo>
                      <a:lnTo>
                        <a:pt x="112" y="392"/>
                      </a:lnTo>
                      <a:lnTo>
                        <a:pt x="112" y="390"/>
                      </a:lnTo>
                      <a:lnTo>
                        <a:pt x="112" y="385"/>
                      </a:lnTo>
                      <a:lnTo>
                        <a:pt x="110" y="383"/>
                      </a:lnTo>
                      <a:lnTo>
                        <a:pt x="112" y="383"/>
                      </a:lnTo>
                      <a:lnTo>
                        <a:pt x="114" y="381"/>
                      </a:lnTo>
                      <a:lnTo>
                        <a:pt x="112" y="378"/>
                      </a:lnTo>
                      <a:lnTo>
                        <a:pt x="112" y="376"/>
                      </a:lnTo>
                      <a:lnTo>
                        <a:pt x="112" y="374"/>
                      </a:lnTo>
                      <a:lnTo>
                        <a:pt x="110" y="374"/>
                      </a:lnTo>
                      <a:lnTo>
                        <a:pt x="107" y="374"/>
                      </a:lnTo>
                      <a:lnTo>
                        <a:pt x="110" y="369"/>
                      </a:lnTo>
                      <a:lnTo>
                        <a:pt x="110" y="362"/>
                      </a:lnTo>
                      <a:lnTo>
                        <a:pt x="110" y="360"/>
                      </a:lnTo>
                      <a:lnTo>
                        <a:pt x="110" y="357"/>
                      </a:lnTo>
                      <a:lnTo>
                        <a:pt x="107" y="357"/>
                      </a:lnTo>
                      <a:lnTo>
                        <a:pt x="107" y="355"/>
                      </a:lnTo>
                      <a:lnTo>
                        <a:pt x="110" y="353"/>
                      </a:lnTo>
                      <a:lnTo>
                        <a:pt x="100" y="346"/>
                      </a:lnTo>
                      <a:lnTo>
                        <a:pt x="103" y="344"/>
                      </a:lnTo>
                      <a:lnTo>
                        <a:pt x="105" y="344"/>
                      </a:lnTo>
                      <a:lnTo>
                        <a:pt x="107" y="341"/>
                      </a:lnTo>
                      <a:lnTo>
                        <a:pt x="107" y="337"/>
                      </a:lnTo>
                      <a:lnTo>
                        <a:pt x="105" y="332"/>
                      </a:lnTo>
                      <a:lnTo>
                        <a:pt x="105" y="323"/>
                      </a:lnTo>
                      <a:lnTo>
                        <a:pt x="103" y="318"/>
                      </a:lnTo>
                      <a:lnTo>
                        <a:pt x="100" y="313"/>
                      </a:lnTo>
                      <a:lnTo>
                        <a:pt x="96" y="311"/>
                      </a:lnTo>
                      <a:lnTo>
                        <a:pt x="86" y="304"/>
                      </a:lnTo>
                      <a:lnTo>
                        <a:pt x="84" y="304"/>
                      </a:lnTo>
                      <a:lnTo>
                        <a:pt x="82" y="304"/>
                      </a:lnTo>
                      <a:lnTo>
                        <a:pt x="79" y="304"/>
                      </a:lnTo>
                      <a:lnTo>
                        <a:pt x="77" y="304"/>
                      </a:lnTo>
                      <a:lnTo>
                        <a:pt x="75" y="302"/>
                      </a:lnTo>
                      <a:lnTo>
                        <a:pt x="75" y="299"/>
                      </a:lnTo>
                      <a:lnTo>
                        <a:pt x="72" y="299"/>
                      </a:lnTo>
                      <a:lnTo>
                        <a:pt x="75" y="295"/>
                      </a:lnTo>
                      <a:lnTo>
                        <a:pt x="79" y="283"/>
                      </a:lnTo>
                      <a:lnTo>
                        <a:pt x="96" y="258"/>
                      </a:lnTo>
                      <a:lnTo>
                        <a:pt x="105" y="253"/>
                      </a:lnTo>
                      <a:lnTo>
                        <a:pt x="131" y="248"/>
                      </a:lnTo>
                      <a:lnTo>
                        <a:pt x="142" y="244"/>
                      </a:lnTo>
                      <a:lnTo>
                        <a:pt x="163" y="225"/>
                      </a:lnTo>
                      <a:lnTo>
                        <a:pt x="166" y="225"/>
                      </a:lnTo>
                      <a:lnTo>
                        <a:pt x="168" y="234"/>
                      </a:lnTo>
                      <a:lnTo>
                        <a:pt x="170" y="241"/>
                      </a:lnTo>
                      <a:lnTo>
                        <a:pt x="170" y="244"/>
                      </a:lnTo>
                      <a:lnTo>
                        <a:pt x="173" y="246"/>
                      </a:lnTo>
                      <a:lnTo>
                        <a:pt x="238" y="234"/>
                      </a:lnTo>
                      <a:lnTo>
                        <a:pt x="261" y="218"/>
                      </a:lnTo>
                      <a:lnTo>
                        <a:pt x="266" y="209"/>
                      </a:lnTo>
                      <a:lnTo>
                        <a:pt x="280" y="167"/>
                      </a:lnTo>
                      <a:lnTo>
                        <a:pt x="282" y="162"/>
                      </a:lnTo>
                      <a:lnTo>
                        <a:pt x="294" y="167"/>
                      </a:lnTo>
                      <a:lnTo>
                        <a:pt x="296" y="165"/>
                      </a:lnTo>
                      <a:lnTo>
                        <a:pt x="298" y="160"/>
                      </a:lnTo>
                      <a:lnTo>
                        <a:pt x="301" y="158"/>
                      </a:lnTo>
                      <a:lnTo>
                        <a:pt x="308" y="162"/>
                      </a:lnTo>
                      <a:lnTo>
                        <a:pt x="312" y="174"/>
                      </a:lnTo>
                      <a:lnTo>
                        <a:pt x="317" y="179"/>
                      </a:lnTo>
                      <a:lnTo>
                        <a:pt x="319" y="181"/>
                      </a:lnTo>
                      <a:lnTo>
                        <a:pt x="321" y="183"/>
                      </a:lnTo>
                      <a:lnTo>
                        <a:pt x="363" y="179"/>
                      </a:lnTo>
                      <a:lnTo>
                        <a:pt x="368" y="179"/>
                      </a:lnTo>
                      <a:lnTo>
                        <a:pt x="375" y="172"/>
                      </a:lnTo>
                      <a:lnTo>
                        <a:pt x="384" y="167"/>
                      </a:lnTo>
                      <a:lnTo>
                        <a:pt x="389" y="165"/>
                      </a:lnTo>
                      <a:lnTo>
                        <a:pt x="389" y="160"/>
                      </a:lnTo>
                      <a:lnTo>
                        <a:pt x="389" y="155"/>
                      </a:lnTo>
                      <a:lnTo>
                        <a:pt x="387" y="148"/>
                      </a:lnTo>
                      <a:lnTo>
                        <a:pt x="375" y="139"/>
                      </a:lnTo>
                      <a:lnTo>
                        <a:pt x="373" y="139"/>
                      </a:lnTo>
                      <a:lnTo>
                        <a:pt x="370" y="137"/>
                      </a:lnTo>
                      <a:lnTo>
                        <a:pt x="370" y="134"/>
                      </a:lnTo>
                      <a:lnTo>
                        <a:pt x="373" y="134"/>
                      </a:lnTo>
                      <a:lnTo>
                        <a:pt x="373" y="132"/>
                      </a:lnTo>
                      <a:lnTo>
                        <a:pt x="370" y="130"/>
                      </a:lnTo>
                      <a:lnTo>
                        <a:pt x="370" y="127"/>
                      </a:lnTo>
                      <a:lnTo>
                        <a:pt x="373" y="127"/>
                      </a:lnTo>
                      <a:lnTo>
                        <a:pt x="373" y="130"/>
                      </a:lnTo>
                      <a:lnTo>
                        <a:pt x="375" y="130"/>
                      </a:lnTo>
                      <a:lnTo>
                        <a:pt x="377" y="130"/>
                      </a:lnTo>
                      <a:lnTo>
                        <a:pt x="387" y="125"/>
                      </a:lnTo>
                      <a:lnTo>
                        <a:pt x="398" y="123"/>
                      </a:lnTo>
                      <a:lnTo>
                        <a:pt x="403" y="120"/>
                      </a:lnTo>
                      <a:lnTo>
                        <a:pt x="403" y="118"/>
                      </a:lnTo>
                      <a:lnTo>
                        <a:pt x="405" y="116"/>
                      </a:lnTo>
                      <a:lnTo>
                        <a:pt x="403" y="109"/>
                      </a:lnTo>
                      <a:lnTo>
                        <a:pt x="401" y="109"/>
                      </a:lnTo>
                      <a:lnTo>
                        <a:pt x="396" y="109"/>
                      </a:lnTo>
                      <a:lnTo>
                        <a:pt x="389" y="107"/>
                      </a:lnTo>
                      <a:lnTo>
                        <a:pt x="389" y="104"/>
                      </a:lnTo>
                      <a:lnTo>
                        <a:pt x="389" y="102"/>
                      </a:lnTo>
                      <a:lnTo>
                        <a:pt x="387" y="100"/>
                      </a:lnTo>
                      <a:lnTo>
                        <a:pt x="384" y="95"/>
                      </a:lnTo>
                      <a:lnTo>
                        <a:pt x="389" y="93"/>
                      </a:lnTo>
                      <a:lnTo>
                        <a:pt x="391" y="90"/>
                      </a:lnTo>
                      <a:lnTo>
                        <a:pt x="394" y="88"/>
                      </a:lnTo>
                      <a:lnTo>
                        <a:pt x="394" y="86"/>
                      </a:lnTo>
                      <a:lnTo>
                        <a:pt x="394" y="83"/>
                      </a:lnTo>
                      <a:lnTo>
                        <a:pt x="394" y="81"/>
                      </a:lnTo>
                      <a:lnTo>
                        <a:pt x="396" y="76"/>
                      </a:lnTo>
                      <a:lnTo>
                        <a:pt x="396" y="74"/>
                      </a:lnTo>
                      <a:lnTo>
                        <a:pt x="391" y="74"/>
                      </a:lnTo>
                      <a:lnTo>
                        <a:pt x="391" y="72"/>
                      </a:lnTo>
                      <a:lnTo>
                        <a:pt x="391" y="65"/>
                      </a:lnTo>
                      <a:lnTo>
                        <a:pt x="391" y="62"/>
                      </a:lnTo>
                      <a:lnTo>
                        <a:pt x="389" y="62"/>
                      </a:lnTo>
                      <a:lnTo>
                        <a:pt x="389" y="60"/>
                      </a:lnTo>
                      <a:lnTo>
                        <a:pt x="387" y="60"/>
                      </a:lnTo>
                      <a:lnTo>
                        <a:pt x="384" y="60"/>
                      </a:lnTo>
                      <a:lnTo>
                        <a:pt x="382" y="62"/>
                      </a:lnTo>
                      <a:lnTo>
                        <a:pt x="380" y="65"/>
                      </a:lnTo>
                      <a:lnTo>
                        <a:pt x="380" y="62"/>
                      </a:lnTo>
                      <a:lnTo>
                        <a:pt x="380" y="60"/>
                      </a:lnTo>
                      <a:lnTo>
                        <a:pt x="375" y="60"/>
                      </a:lnTo>
                      <a:lnTo>
                        <a:pt x="370" y="58"/>
                      </a:lnTo>
                      <a:lnTo>
                        <a:pt x="368" y="51"/>
                      </a:lnTo>
                      <a:lnTo>
                        <a:pt x="363" y="44"/>
                      </a:lnTo>
                      <a:lnTo>
                        <a:pt x="363" y="39"/>
                      </a:lnTo>
                      <a:lnTo>
                        <a:pt x="363" y="34"/>
                      </a:lnTo>
                      <a:lnTo>
                        <a:pt x="366" y="30"/>
                      </a:lnTo>
                      <a:lnTo>
                        <a:pt x="368" y="28"/>
                      </a:lnTo>
                      <a:lnTo>
                        <a:pt x="370" y="25"/>
                      </a:lnTo>
                      <a:lnTo>
                        <a:pt x="373" y="25"/>
                      </a:lnTo>
                      <a:lnTo>
                        <a:pt x="373" y="21"/>
                      </a:lnTo>
                      <a:lnTo>
                        <a:pt x="370" y="16"/>
                      </a:lnTo>
                      <a:lnTo>
                        <a:pt x="370" y="11"/>
                      </a:lnTo>
                      <a:lnTo>
                        <a:pt x="375" y="7"/>
                      </a:lnTo>
                      <a:lnTo>
                        <a:pt x="419" y="11"/>
                      </a:lnTo>
                      <a:close/>
                    </a:path>
                  </a:pathLst>
                </a:custGeom>
                <a:solidFill>
                  <a:srgbClr val="CDEAFF"/>
                </a:solidFill>
                <a:ln w="11906">
                  <a:solidFill>
                    <a:schemeClr val="bg1"/>
                  </a:solidFill>
                  <a:round/>
                  <a:headEnd/>
                  <a:tailEnd/>
                </a:ln>
              </p:spPr>
              <p:txBody>
                <a:bodyPr vert="horz" wrap="square" lIns="85725" tIns="42863" rIns="85725" bIns="42863" numCol="1" anchor="t" anchorCtr="0" compatLnSpc="1">
                  <a:prstTxWarp prst="textNoShape">
                    <a:avLst/>
                  </a:prstTxWarp>
                </a:bodyPr>
                <a:lstStyle/>
                <a:p>
                  <a:endParaRPr lang="en-US" sz="900" dirty="0">
                    <a:solidFill>
                      <a:schemeClr val="bg2">
                        <a:lumMod val="10000"/>
                      </a:schemeClr>
                    </a:solidFill>
                    <a:ea typeface="Verdana" panose="020B0604030504040204" pitchFamily="34" charset="0"/>
                  </a:endParaRPr>
                </a:p>
              </p:txBody>
            </p:sp>
          </p:grpSp>
          <p:sp>
            <p:nvSpPr>
              <p:cNvPr id="144" name="Rectangle 36">
                <a:extLst>
                  <a:ext uri="{FF2B5EF4-FFF2-40B4-BE49-F238E27FC236}">
                    <a16:creationId xmlns:a16="http://schemas.microsoft.com/office/drawing/2014/main" id="{E05F0E71-EFBB-9D13-7338-210D6F8319AC}"/>
                  </a:ext>
                </a:extLst>
              </p:cNvPr>
              <p:cNvSpPr>
                <a:spLocks noChangeArrowheads="1"/>
              </p:cNvSpPr>
              <p:nvPr/>
            </p:nvSpPr>
            <p:spPr bwMode="auto">
              <a:xfrm>
                <a:off x="6450010" y="4673127"/>
                <a:ext cx="72" cy="206502"/>
              </a:xfrm>
              <a:prstGeom prst="rect">
                <a:avLst/>
              </a:prstGeom>
              <a:grpFill/>
              <a:ln w="11906">
                <a:solidFill>
                  <a:schemeClr val="bg1"/>
                </a:solidFill>
                <a:miter lim="800000"/>
                <a:headEnd/>
                <a:tailEnd/>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defTabSz="685800"/>
                <a:endParaRPr lang="en-US" altLang="en-US" sz="1100" dirty="0">
                  <a:solidFill>
                    <a:schemeClr val="bg2">
                      <a:lumMod val="10000"/>
                    </a:schemeClr>
                  </a:solidFill>
                  <a:latin typeface="+mn-lt"/>
                  <a:ea typeface="Verdana" panose="020B0604030504040204" pitchFamily="34" charset="0"/>
                  <a:cs typeface="Verdana" panose="020B0604030504040204" pitchFamily="34" charset="0"/>
                </a:endParaRPr>
              </a:p>
            </p:txBody>
          </p:sp>
        </p:grpSp>
        <p:sp>
          <p:nvSpPr>
            <p:cNvPr id="138" name="Oval 137">
              <a:extLst>
                <a:ext uri="{FF2B5EF4-FFF2-40B4-BE49-F238E27FC236}">
                  <a16:creationId xmlns:a16="http://schemas.microsoft.com/office/drawing/2014/main" id="{97C5479B-7FC7-9489-47FC-68C7FACC4921}"/>
                </a:ext>
              </a:extLst>
            </p:cNvPr>
            <p:cNvSpPr/>
            <p:nvPr/>
          </p:nvSpPr>
          <p:spPr>
            <a:xfrm>
              <a:off x="953227" y="3797513"/>
              <a:ext cx="180000" cy="180000"/>
            </a:xfrm>
            <a:prstGeom prst="ellipse">
              <a:avLst/>
            </a:prstGeom>
            <a:solidFill>
              <a:srgbClr val="0070C0"/>
            </a:solidFill>
            <a:ln w="11906" cap="rnd" cmpd="sng" algn="ctr">
              <a:solidFill>
                <a:srgbClr val="0070C0"/>
              </a:solidFill>
              <a:prstDash val="solid"/>
              <a:round/>
              <a:headEnd type="none" w="med" len="med"/>
              <a:tailEnd type="none" w="med" len="med"/>
            </a:ln>
            <a:effectLst>
              <a:glow rad="228600">
                <a:srgbClr val="0070C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42863" rIns="85725" bIns="42863" numCol="1" spcCol="0" rtlCol="0" fromWordArt="0" anchor="ctr" anchorCtr="0" forceAA="0" compatLnSpc="1">
              <a:prstTxWarp prst="textNoShape">
                <a:avLst/>
              </a:prstTxWarp>
              <a:noAutofit/>
            </a:bodyPr>
            <a:lstStyle/>
            <a:p>
              <a:pPr algn="ctr"/>
              <a:endParaRPr lang="en-US" sz="700" dirty="0">
                <a:solidFill>
                  <a:schemeClr val="bg2">
                    <a:lumMod val="10000"/>
                  </a:schemeClr>
                </a:solidFill>
                <a:ea typeface="Verdana" panose="020B0604030504040204" pitchFamily="34" charset="0"/>
              </a:endParaRPr>
            </a:p>
          </p:txBody>
        </p:sp>
        <p:sp>
          <p:nvSpPr>
            <p:cNvPr id="139" name="Oval 138">
              <a:extLst>
                <a:ext uri="{FF2B5EF4-FFF2-40B4-BE49-F238E27FC236}">
                  <a16:creationId xmlns:a16="http://schemas.microsoft.com/office/drawing/2014/main" id="{9D5362B1-89EF-27B3-4F5A-2C81CBD6AAD7}"/>
                </a:ext>
              </a:extLst>
            </p:cNvPr>
            <p:cNvSpPr/>
            <p:nvPr/>
          </p:nvSpPr>
          <p:spPr>
            <a:xfrm>
              <a:off x="592045" y="3798253"/>
              <a:ext cx="180000" cy="180000"/>
            </a:xfrm>
            <a:prstGeom prst="ellipse">
              <a:avLst/>
            </a:prstGeom>
            <a:solidFill>
              <a:srgbClr val="0070C0"/>
            </a:solidFill>
            <a:ln w="11906" cap="rnd" cmpd="sng" algn="ctr">
              <a:solidFill>
                <a:srgbClr val="0070C0"/>
              </a:solidFill>
              <a:prstDash val="solid"/>
              <a:round/>
              <a:headEnd type="none" w="med" len="med"/>
              <a:tailEnd type="none" w="med" len="med"/>
            </a:ln>
            <a:effectLst>
              <a:glow rad="228600">
                <a:srgbClr val="0070C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42863" rIns="85725" bIns="42863" numCol="1" spcCol="0" rtlCol="0" fromWordArt="0" anchor="ctr" anchorCtr="0" forceAA="0" compatLnSpc="1">
              <a:prstTxWarp prst="textNoShape">
                <a:avLst/>
              </a:prstTxWarp>
              <a:noAutofit/>
            </a:bodyPr>
            <a:lstStyle/>
            <a:p>
              <a:pPr algn="ctr"/>
              <a:endParaRPr lang="en-US" sz="700" dirty="0">
                <a:solidFill>
                  <a:schemeClr val="bg2">
                    <a:lumMod val="10000"/>
                  </a:schemeClr>
                </a:solidFill>
                <a:ea typeface="Verdana" panose="020B0604030504040204" pitchFamily="34" charset="0"/>
              </a:endParaRPr>
            </a:p>
          </p:txBody>
        </p:sp>
        <p:sp>
          <p:nvSpPr>
            <p:cNvPr id="140" name="Oval 139">
              <a:extLst>
                <a:ext uri="{FF2B5EF4-FFF2-40B4-BE49-F238E27FC236}">
                  <a16:creationId xmlns:a16="http://schemas.microsoft.com/office/drawing/2014/main" id="{2FEA8DB2-A002-B372-37DF-810E88616A3F}"/>
                </a:ext>
              </a:extLst>
            </p:cNvPr>
            <p:cNvSpPr/>
            <p:nvPr/>
          </p:nvSpPr>
          <p:spPr>
            <a:xfrm>
              <a:off x="940227" y="2285491"/>
              <a:ext cx="180000" cy="180000"/>
            </a:xfrm>
            <a:prstGeom prst="ellipse">
              <a:avLst/>
            </a:prstGeom>
            <a:solidFill>
              <a:srgbClr val="0070C0"/>
            </a:solidFill>
            <a:ln w="11906" cap="rnd" cmpd="sng" algn="ctr">
              <a:solidFill>
                <a:srgbClr val="0070C0"/>
              </a:solidFill>
              <a:prstDash val="solid"/>
              <a:round/>
              <a:headEnd type="none" w="med" len="med"/>
              <a:tailEnd type="none" w="med" len="med"/>
            </a:ln>
            <a:effectLst>
              <a:glow rad="228600">
                <a:srgbClr val="0070C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42863" rIns="85725" bIns="42863" numCol="1" spcCol="0" rtlCol="0" fromWordArt="0" anchor="ctr" anchorCtr="0" forceAA="0" compatLnSpc="1">
              <a:prstTxWarp prst="textNoShape">
                <a:avLst/>
              </a:prstTxWarp>
              <a:noAutofit/>
            </a:bodyPr>
            <a:lstStyle/>
            <a:p>
              <a:pPr algn="ctr"/>
              <a:endParaRPr lang="en-US" sz="700" dirty="0">
                <a:solidFill>
                  <a:schemeClr val="bg2">
                    <a:lumMod val="10000"/>
                  </a:schemeClr>
                </a:solidFill>
                <a:ea typeface="Verdana" panose="020B0604030504040204" pitchFamily="34" charset="0"/>
              </a:endParaRPr>
            </a:p>
          </p:txBody>
        </p:sp>
        <p:sp>
          <p:nvSpPr>
            <p:cNvPr id="141" name="Oval 140">
              <a:extLst>
                <a:ext uri="{FF2B5EF4-FFF2-40B4-BE49-F238E27FC236}">
                  <a16:creationId xmlns:a16="http://schemas.microsoft.com/office/drawing/2014/main" id="{7F2891EC-DC0D-F5B9-5D94-11D4031C7E41}"/>
                </a:ext>
              </a:extLst>
            </p:cNvPr>
            <p:cNvSpPr/>
            <p:nvPr/>
          </p:nvSpPr>
          <p:spPr>
            <a:xfrm>
              <a:off x="1534312" y="2998699"/>
              <a:ext cx="180000" cy="180000"/>
            </a:xfrm>
            <a:prstGeom prst="ellipse">
              <a:avLst/>
            </a:prstGeom>
            <a:solidFill>
              <a:srgbClr val="0070C0"/>
            </a:solidFill>
            <a:ln w="11906" cap="rnd" cmpd="sng" algn="ctr">
              <a:solidFill>
                <a:srgbClr val="0070C0"/>
              </a:solidFill>
              <a:prstDash val="solid"/>
              <a:round/>
              <a:headEnd type="none" w="med" len="med"/>
              <a:tailEnd type="none" w="med" len="med"/>
            </a:ln>
            <a:effectLst>
              <a:glow rad="228600">
                <a:srgbClr val="0070C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42863" rIns="85725" bIns="42863" numCol="1" spcCol="0" rtlCol="0" fromWordArt="0" anchor="ctr" anchorCtr="0" forceAA="0" compatLnSpc="1">
              <a:prstTxWarp prst="textNoShape">
                <a:avLst/>
              </a:prstTxWarp>
              <a:noAutofit/>
            </a:bodyPr>
            <a:lstStyle/>
            <a:p>
              <a:pPr algn="ctr"/>
              <a:endParaRPr lang="en-US" sz="700" dirty="0">
                <a:solidFill>
                  <a:schemeClr val="bg2">
                    <a:lumMod val="10000"/>
                  </a:schemeClr>
                </a:solidFill>
                <a:ea typeface="Verdana" panose="020B0604030504040204" pitchFamily="34" charset="0"/>
              </a:endParaRPr>
            </a:p>
          </p:txBody>
        </p:sp>
        <p:sp>
          <p:nvSpPr>
            <p:cNvPr id="142" name="Oval 141">
              <a:extLst>
                <a:ext uri="{FF2B5EF4-FFF2-40B4-BE49-F238E27FC236}">
                  <a16:creationId xmlns:a16="http://schemas.microsoft.com/office/drawing/2014/main" id="{2D049AE0-87EC-97D4-D736-9FFE5EF88D64}"/>
                </a:ext>
              </a:extLst>
            </p:cNvPr>
            <p:cNvSpPr/>
            <p:nvPr/>
          </p:nvSpPr>
          <p:spPr>
            <a:xfrm>
              <a:off x="775491" y="3293421"/>
              <a:ext cx="180000" cy="180000"/>
            </a:xfrm>
            <a:prstGeom prst="ellipse">
              <a:avLst/>
            </a:prstGeom>
            <a:solidFill>
              <a:srgbClr val="0070C0"/>
            </a:solidFill>
            <a:ln w="11906" cap="rnd" cmpd="sng" algn="ctr">
              <a:solidFill>
                <a:srgbClr val="0070C0"/>
              </a:solidFill>
              <a:prstDash val="solid"/>
              <a:round/>
              <a:headEnd type="none" w="med" len="med"/>
              <a:tailEnd type="none" w="med" len="med"/>
            </a:ln>
            <a:effectLst>
              <a:glow rad="228600">
                <a:srgbClr val="0070C0">
                  <a:alpha val="40000"/>
                </a:srgbClr>
              </a:glo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5725" tIns="42863" rIns="85725" bIns="42863" numCol="1" spcCol="0" rtlCol="0" fromWordArt="0" anchor="ctr" anchorCtr="0" forceAA="0" compatLnSpc="1">
              <a:prstTxWarp prst="textNoShape">
                <a:avLst/>
              </a:prstTxWarp>
              <a:noAutofit/>
            </a:bodyPr>
            <a:lstStyle/>
            <a:p>
              <a:pPr algn="ctr"/>
              <a:endParaRPr lang="en-US" sz="700" dirty="0">
                <a:solidFill>
                  <a:schemeClr val="bg2">
                    <a:lumMod val="10000"/>
                  </a:schemeClr>
                </a:solidFill>
                <a:ea typeface="Verdana" panose="020B0604030504040204" pitchFamily="34" charset="0"/>
              </a:endParaRPr>
            </a:p>
          </p:txBody>
        </p:sp>
      </p:grpSp>
      <p:sp>
        <p:nvSpPr>
          <p:cNvPr id="1044" name="Rectangle 6">
            <a:extLst>
              <a:ext uri="{FF2B5EF4-FFF2-40B4-BE49-F238E27FC236}">
                <a16:creationId xmlns:a16="http://schemas.microsoft.com/office/drawing/2014/main" id="{38FDD428-3AEE-F1CC-75C4-4B788BE63906}"/>
              </a:ext>
            </a:extLst>
          </p:cNvPr>
          <p:cNvSpPr>
            <a:spLocks noChangeArrowheads="1"/>
          </p:cNvSpPr>
          <p:nvPr/>
        </p:nvSpPr>
        <p:spPr bwMode="gray">
          <a:xfrm>
            <a:off x="2141675" y="4085894"/>
            <a:ext cx="1514334" cy="5768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altLang="ja-JP" sz="1000" b="1" dirty="0">
                <a:solidFill>
                  <a:srgbClr val="0F78B2"/>
                </a:solidFill>
                <a:ea typeface="Verdana" panose="020B0604030504040204" pitchFamily="34" charset="0"/>
                <a:cs typeface="Verdana" panose="020B0604030504040204" pitchFamily="34" charset="0"/>
                <a:sym typeface="+mn-lt"/>
              </a:rPr>
              <a:t>Turku region</a:t>
            </a:r>
            <a:endParaRPr lang="en-US" altLang="ja-JP" sz="1000" b="1" baseline="30000" dirty="0">
              <a:solidFill>
                <a:srgbClr val="0F78B2"/>
              </a:solidFill>
              <a:ea typeface="Verdana" panose="020B0604030504040204" pitchFamily="34" charset="0"/>
              <a:cs typeface="Verdana" panose="020B0604030504040204" pitchFamily="34" charset="0"/>
              <a:sym typeface="+mn-lt"/>
            </a:endParaRPr>
          </a:p>
          <a:p>
            <a:endParaRPr lang="en-US" altLang="ja-JP" sz="200" b="1" baseline="30000" dirty="0">
              <a:solidFill>
                <a:schemeClr val="bg2">
                  <a:lumMod val="10000"/>
                </a:schemeClr>
              </a:solidFill>
              <a:ea typeface="Verdana" panose="020B0604030504040204" pitchFamily="34" charset="0"/>
              <a:cs typeface="Verdana" panose="020B0604030504040204" pitchFamily="34" charset="0"/>
              <a:sym typeface="+mn-lt"/>
            </a:endParaRPr>
          </a:p>
          <a:p>
            <a:pPr defTabSz="685800">
              <a:defRPr/>
            </a:pPr>
            <a:r>
              <a:rPr lang="en-US" sz="700" b="1" dirty="0">
                <a:solidFill>
                  <a:schemeClr val="bg2">
                    <a:lumMod val="10000"/>
                  </a:schemeClr>
                </a:solidFill>
                <a:ea typeface="Verdana" panose="020B0604030504040204" pitchFamily="34" charset="0"/>
                <a:cs typeface="Verdana" panose="020B0604030504040204" pitchFamily="34" charset="0"/>
              </a:rPr>
              <a:t>€45M</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9 companies</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200 employees</a:t>
            </a:r>
          </a:p>
        </p:txBody>
      </p:sp>
      <p:sp>
        <p:nvSpPr>
          <p:cNvPr id="1045" name="Rectangle 6">
            <a:extLst>
              <a:ext uri="{FF2B5EF4-FFF2-40B4-BE49-F238E27FC236}">
                <a16:creationId xmlns:a16="http://schemas.microsoft.com/office/drawing/2014/main" id="{7834CF9E-7938-9578-37E5-90D562635B74}"/>
              </a:ext>
            </a:extLst>
          </p:cNvPr>
          <p:cNvSpPr>
            <a:spLocks noChangeArrowheads="1"/>
          </p:cNvSpPr>
          <p:nvPr/>
        </p:nvSpPr>
        <p:spPr bwMode="gray">
          <a:xfrm>
            <a:off x="2152627" y="3362514"/>
            <a:ext cx="1514334" cy="5768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altLang="ja-JP" sz="1000" b="1" dirty="0">
                <a:solidFill>
                  <a:srgbClr val="0F78B2"/>
                </a:solidFill>
                <a:ea typeface="Verdana" panose="020B0604030504040204" pitchFamily="34" charset="0"/>
                <a:cs typeface="Verdana" panose="020B0604030504040204" pitchFamily="34" charset="0"/>
                <a:sym typeface="+mn-lt"/>
              </a:rPr>
              <a:t>Capital region</a:t>
            </a:r>
            <a:endParaRPr lang="en-US" altLang="ja-JP" sz="1000" b="1" baseline="30000" dirty="0">
              <a:solidFill>
                <a:srgbClr val="0F78B2"/>
              </a:solidFill>
              <a:ea typeface="Verdana" panose="020B0604030504040204" pitchFamily="34" charset="0"/>
              <a:cs typeface="Verdana" panose="020B0604030504040204" pitchFamily="34" charset="0"/>
              <a:sym typeface="+mn-lt"/>
            </a:endParaRPr>
          </a:p>
          <a:p>
            <a:endParaRPr lang="en-US" altLang="ja-JP" sz="200" b="1" baseline="30000" dirty="0">
              <a:solidFill>
                <a:schemeClr val="bg2">
                  <a:lumMod val="10000"/>
                </a:schemeClr>
              </a:solidFill>
              <a:ea typeface="Verdana" panose="020B0604030504040204" pitchFamily="34" charset="0"/>
              <a:cs typeface="Verdana" panose="020B0604030504040204" pitchFamily="34" charset="0"/>
              <a:sym typeface="+mn-lt"/>
            </a:endParaRPr>
          </a:p>
          <a:p>
            <a:r>
              <a:rPr lang="en-US" altLang="ja-JP" sz="600" b="1" baseline="30000" dirty="0">
                <a:solidFill>
                  <a:schemeClr val="bg2">
                    <a:lumMod val="10000"/>
                  </a:schemeClr>
                </a:solidFill>
                <a:ea typeface="Verdana" panose="020B0604030504040204" pitchFamily="34" charset="0"/>
                <a:cs typeface="Verdana" panose="020B0604030504040204" pitchFamily="34" charset="0"/>
                <a:sym typeface="+mn-lt"/>
              </a:rPr>
              <a:t>(Helsinki, Espoo, Vantaa)</a:t>
            </a:r>
            <a:endParaRPr lang="en-US" altLang="ja-JP" sz="200" b="1" baseline="30000" dirty="0">
              <a:solidFill>
                <a:schemeClr val="bg2">
                  <a:lumMod val="10000"/>
                </a:schemeClr>
              </a:solidFill>
              <a:ea typeface="Verdana" panose="020B0604030504040204" pitchFamily="34" charset="0"/>
              <a:cs typeface="Verdana" panose="020B0604030504040204" pitchFamily="34" charset="0"/>
              <a:sym typeface="+mn-lt"/>
            </a:endParaRPr>
          </a:p>
          <a:p>
            <a:pPr defTabSz="685800">
              <a:defRPr/>
            </a:pPr>
            <a:r>
              <a:rPr lang="en-US" sz="700" b="1" dirty="0">
                <a:solidFill>
                  <a:schemeClr val="bg2">
                    <a:lumMod val="10000"/>
                  </a:schemeClr>
                </a:solidFill>
                <a:ea typeface="Verdana" panose="020B0604030504040204" pitchFamily="34" charset="0"/>
                <a:cs typeface="Verdana" panose="020B0604030504040204" pitchFamily="34" charset="0"/>
              </a:rPr>
              <a:t>€1130M</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43 companies</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4400 employees</a:t>
            </a:r>
          </a:p>
        </p:txBody>
      </p:sp>
      <p:sp>
        <p:nvSpPr>
          <p:cNvPr id="1046" name="TextBox 1045">
            <a:extLst>
              <a:ext uri="{FF2B5EF4-FFF2-40B4-BE49-F238E27FC236}">
                <a16:creationId xmlns:a16="http://schemas.microsoft.com/office/drawing/2014/main" id="{A93C1470-51B1-9436-6A03-DB9112B240E4}"/>
              </a:ext>
            </a:extLst>
          </p:cNvPr>
          <p:cNvSpPr txBox="1"/>
          <p:nvPr/>
        </p:nvSpPr>
        <p:spPr>
          <a:xfrm>
            <a:off x="3726239" y="1944126"/>
            <a:ext cx="1993649" cy="15686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SzPct val="100000"/>
              <a:buFont typeface="Trebuchet MS" panose="020B0703020202090204" pitchFamily="34" charset="0"/>
              <a:buChar char="​"/>
            </a:pPr>
            <a:r>
              <a:rPr lang="en-US" sz="700" b="1" dirty="0">
                <a:solidFill>
                  <a:srgbClr val="000000"/>
                </a:solidFill>
                <a:latin typeface="Verdana" panose="020B0604030504040204" pitchFamily="34" charset="0"/>
                <a:ea typeface="Verdana" panose="020B0604030504040204" pitchFamily="34" charset="0"/>
                <a:cs typeface="Verdana" panose="020B0604030504040204" pitchFamily="34" charset="0"/>
              </a:rPr>
              <a:t>Photonics cluster</a:t>
            </a:r>
          </a:p>
        </p:txBody>
      </p:sp>
      <p:sp>
        <p:nvSpPr>
          <p:cNvPr id="1047" name="TextBox 1046">
            <a:extLst>
              <a:ext uri="{FF2B5EF4-FFF2-40B4-BE49-F238E27FC236}">
                <a16:creationId xmlns:a16="http://schemas.microsoft.com/office/drawing/2014/main" id="{CA7FD7C0-7B61-14BD-9951-A22F2D873991}"/>
              </a:ext>
            </a:extLst>
          </p:cNvPr>
          <p:cNvSpPr txBox="1"/>
          <p:nvPr/>
        </p:nvSpPr>
        <p:spPr>
          <a:xfrm>
            <a:off x="3726239" y="2667506"/>
            <a:ext cx="1993649" cy="15686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SzPct val="100000"/>
              <a:buFont typeface="Trebuchet MS" panose="020B0703020202090204" pitchFamily="34" charset="0"/>
              <a:buChar char="​"/>
            </a:pPr>
            <a:r>
              <a:rPr lang="en-US" sz="700" b="1" dirty="0">
                <a:solidFill>
                  <a:srgbClr val="000000"/>
                </a:solidFill>
                <a:latin typeface="Verdana" panose="020B0604030504040204" pitchFamily="34" charset="0"/>
                <a:ea typeface="Verdana" panose="020B0604030504040204" pitchFamily="34" charset="0"/>
                <a:cs typeface="Verdana" panose="020B0604030504040204" pitchFamily="34" charset="0"/>
              </a:rPr>
              <a:t>Chip R&amp;D and design hub</a:t>
            </a:r>
          </a:p>
        </p:txBody>
      </p:sp>
      <p:sp>
        <p:nvSpPr>
          <p:cNvPr id="1048" name="TextBox 1047">
            <a:extLst>
              <a:ext uri="{FF2B5EF4-FFF2-40B4-BE49-F238E27FC236}">
                <a16:creationId xmlns:a16="http://schemas.microsoft.com/office/drawing/2014/main" id="{09F79E9D-5356-4194-71DF-2C593BC4544C}"/>
              </a:ext>
            </a:extLst>
          </p:cNvPr>
          <p:cNvSpPr txBox="1"/>
          <p:nvPr/>
        </p:nvSpPr>
        <p:spPr>
          <a:xfrm>
            <a:off x="3726239" y="1220746"/>
            <a:ext cx="1993649" cy="15686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Clr>
                <a:srgbClr val="000000"/>
              </a:buClr>
              <a:buSzPct val="100000"/>
              <a:buFont typeface="Trebuchet MS" panose="020B0703020202090204" pitchFamily="34" charset="0"/>
              <a:buChar char="​"/>
            </a:pPr>
            <a:r>
              <a:rPr lang="en-US" sz="700" b="1" dirty="0">
                <a:solidFill>
                  <a:srgbClr val="000000"/>
                </a:solidFill>
                <a:latin typeface="Verdana" panose="020B0604030504040204" pitchFamily="34" charset="0"/>
                <a:ea typeface="Verdana" panose="020B0604030504040204" pitchFamily="34" charset="0"/>
                <a:cs typeface="Verdana" panose="020B0604030504040204" pitchFamily="34" charset="0"/>
              </a:rPr>
              <a:t>Wireless and sensor cluster</a:t>
            </a:r>
          </a:p>
        </p:txBody>
      </p:sp>
      <p:sp>
        <p:nvSpPr>
          <p:cNvPr id="1049" name="TextBox 1048">
            <a:extLst>
              <a:ext uri="{FF2B5EF4-FFF2-40B4-BE49-F238E27FC236}">
                <a16:creationId xmlns:a16="http://schemas.microsoft.com/office/drawing/2014/main" id="{F32CE3C8-6EF1-FB3A-1C8D-827D094D9582}"/>
              </a:ext>
            </a:extLst>
          </p:cNvPr>
          <p:cNvSpPr txBox="1"/>
          <p:nvPr/>
        </p:nvSpPr>
        <p:spPr>
          <a:xfrm>
            <a:off x="3726239" y="4114266"/>
            <a:ext cx="1993649" cy="15686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SzPct val="100000"/>
              <a:buFont typeface="Trebuchet MS" panose="020B0703020202090204" pitchFamily="34" charset="0"/>
              <a:buChar char="​"/>
            </a:pPr>
            <a:r>
              <a:rPr lang="en-US" sz="700" b="1" dirty="0">
                <a:solidFill>
                  <a:srgbClr val="000000"/>
                </a:solidFill>
                <a:latin typeface="Verdana" panose="020B0604030504040204" pitchFamily="34" charset="0"/>
                <a:ea typeface="Verdana" panose="020B0604030504040204" pitchFamily="34" charset="0"/>
                <a:cs typeface="Verdana" panose="020B0604030504040204" pitchFamily="34" charset="0"/>
              </a:rPr>
              <a:t>Medical cluster</a:t>
            </a:r>
          </a:p>
        </p:txBody>
      </p:sp>
      <p:sp>
        <p:nvSpPr>
          <p:cNvPr id="1050" name="Rectangle 6">
            <a:extLst>
              <a:ext uri="{FF2B5EF4-FFF2-40B4-BE49-F238E27FC236}">
                <a16:creationId xmlns:a16="http://schemas.microsoft.com/office/drawing/2014/main" id="{43729751-4A47-E5DB-8ED9-093DA6A8C5D2}"/>
              </a:ext>
            </a:extLst>
          </p:cNvPr>
          <p:cNvSpPr>
            <a:spLocks noChangeArrowheads="1"/>
          </p:cNvSpPr>
          <p:nvPr/>
        </p:nvSpPr>
        <p:spPr bwMode="gray">
          <a:xfrm>
            <a:off x="2153992" y="1915754"/>
            <a:ext cx="1514334" cy="5768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altLang="ja-JP" sz="1000" b="1" dirty="0">
                <a:solidFill>
                  <a:srgbClr val="0F78B2"/>
                </a:solidFill>
                <a:ea typeface="Verdana" panose="020B0604030504040204" pitchFamily="34" charset="0"/>
                <a:cs typeface="Verdana" panose="020B0604030504040204" pitchFamily="34" charset="0"/>
                <a:sym typeface="+mn-lt"/>
              </a:rPr>
              <a:t>Joensuu region</a:t>
            </a:r>
            <a:endParaRPr lang="en-US" altLang="ja-JP" sz="1000" b="1" baseline="30000" dirty="0">
              <a:solidFill>
                <a:srgbClr val="0F78B2"/>
              </a:solidFill>
              <a:ea typeface="Verdana" panose="020B0604030504040204" pitchFamily="34" charset="0"/>
              <a:cs typeface="Verdana" panose="020B0604030504040204" pitchFamily="34" charset="0"/>
              <a:sym typeface="+mn-lt"/>
            </a:endParaRPr>
          </a:p>
          <a:p>
            <a:endParaRPr lang="en-US" altLang="ja-JP" sz="200" b="1" dirty="0">
              <a:solidFill>
                <a:schemeClr val="bg2">
                  <a:lumMod val="10000"/>
                </a:schemeClr>
              </a:solidFill>
              <a:ea typeface="Verdana" panose="020B0604030504040204" pitchFamily="34" charset="0"/>
              <a:cs typeface="Verdana" panose="020B0604030504040204" pitchFamily="34" charset="0"/>
              <a:sym typeface="+mn-lt"/>
            </a:endParaRPr>
          </a:p>
          <a:p>
            <a:pPr defTabSz="685800">
              <a:defRPr/>
            </a:pPr>
            <a:r>
              <a:rPr lang="en-US" sz="700" b="1" dirty="0">
                <a:solidFill>
                  <a:schemeClr val="bg2">
                    <a:lumMod val="10000"/>
                  </a:schemeClr>
                </a:solidFill>
                <a:ea typeface="Verdana" panose="020B0604030504040204" pitchFamily="34" charset="0"/>
                <a:cs typeface="Verdana" panose="020B0604030504040204" pitchFamily="34" charset="0"/>
              </a:rPr>
              <a:t>€10M</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5 companies</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90 employees</a:t>
            </a:r>
            <a:endParaRPr lang="en-US" sz="700" dirty="0">
              <a:solidFill>
                <a:schemeClr val="bg2">
                  <a:lumMod val="10000"/>
                </a:schemeClr>
              </a:solidFill>
              <a:ea typeface="Verdana" panose="020B0604030504040204" pitchFamily="34" charset="0"/>
              <a:cs typeface="Verdana" panose="020B0604030504040204" pitchFamily="34" charset="0"/>
              <a:sym typeface="+mn-lt"/>
            </a:endParaRPr>
          </a:p>
        </p:txBody>
      </p:sp>
      <p:sp>
        <p:nvSpPr>
          <p:cNvPr id="1051" name="Rectangle 6">
            <a:extLst>
              <a:ext uri="{FF2B5EF4-FFF2-40B4-BE49-F238E27FC236}">
                <a16:creationId xmlns:a16="http://schemas.microsoft.com/office/drawing/2014/main" id="{2A86486B-95A4-435D-9079-859EDB48944E}"/>
              </a:ext>
            </a:extLst>
          </p:cNvPr>
          <p:cNvSpPr>
            <a:spLocks noChangeArrowheads="1"/>
          </p:cNvSpPr>
          <p:nvPr/>
        </p:nvSpPr>
        <p:spPr bwMode="gray">
          <a:xfrm>
            <a:off x="2152627" y="2639134"/>
            <a:ext cx="1514334" cy="5768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altLang="ja-JP" sz="1000" b="1" dirty="0">
                <a:solidFill>
                  <a:srgbClr val="0F78B2"/>
                </a:solidFill>
                <a:ea typeface="Verdana" panose="020B0604030504040204" pitchFamily="34" charset="0"/>
                <a:cs typeface="Verdana" panose="020B0604030504040204" pitchFamily="34" charset="0"/>
                <a:sym typeface="+mn-lt"/>
              </a:rPr>
              <a:t>Tampere region</a:t>
            </a:r>
            <a:endParaRPr lang="en-US" altLang="ja-JP" sz="1000" b="1" baseline="30000" dirty="0">
              <a:solidFill>
                <a:srgbClr val="0F78B2"/>
              </a:solidFill>
              <a:ea typeface="Verdana" panose="020B0604030504040204" pitchFamily="34" charset="0"/>
              <a:cs typeface="Verdana" panose="020B0604030504040204" pitchFamily="34" charset="0"/>
              <a:sym typeface="+mn-lt"/>
            </a:endParaRPr>
          </a:p>
          <a:p>
            <a:endParaRPr lang="en-US" altLang="ja-JP" sz="200" b="1" baseline="30000" dirty="0">
              <a:solidFill>
                <a:schemeClr val="bg2">
                  <a:lumMod val="10000"/>
                </a:schemeClr>
              </a:solidFill>
              <a:ea typeface="Verdana" panose="020B0604030504040204" pitchFamily="34" charset="0"/>
              <a:cs typeface="Verdana" panose="020B0604030504040204" pitchFamily="34" charset="0"/>
              <a:sym typeface="+mn-lt"/>
            </a:endParaRPr>
          </a:p>
          <a:p>
            <a:pPr defTabSz="685800">
              <a:defRPr/>
            </a:pPr>
            <a:r>
              <a:rPr lang="en-US" sz="700" b="1" dirty="0">
                <a:solidFill>
                  <a:schemeClr val="bg2">
                    <a:lumMod val="10000"/>
                  </a:schemeClr>
                </a:solidFill>
                <a:ea typeface="Verdana" panose="020B0604030504040204" pitchFamily="34" charset="0"/>
                <a:cs typeface="Verdana" panose="020B0604030504040204" pitchFamily="34" charset="0"/>
              </a:rPr>
              <a:t>€130M</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17 companies </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550 employees</a:t>
            </a:r>
          </a:p>
        </p:txBody>
      </p:sp>
      <p:sp>
        <p:nvSpPr>
          <p:cNvPr id="1052" name="Rectangle 6">
            <a:extLst>
              <a:ext uri="{FF2B5EF4-FFF2-40B4-BE49-F238E27FC236}">
                <a16:creationId xmlns:a16="http://schemas.microsoft.com/office/drawing/2014/main" id="{48EDFD6A-AA04-E229-84D4-C3E5708356CC}"/>
              </a:ext>
            </a:extLst>
          </p:cNvPr>
          <p:cNvSpPr>
            <a:spLocks noChangeArrowheads="1"/>
          </p:cNvSpPr>
          <p:nvPr/>
        </p:nvSpPr>
        <p:spPr bwMode="gray">
          <a:xfrm>
            <a:off x="2164323" y="1192374"/>
            <a:ext cx="1279291" cy="576885"/>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altLang="ja-JP" sz="1000" b="1" dirty="0">
                <a:solidFill>
                  <a:srgbClr val="0F78B2"/>
                </a:solidFill>
                <a:ea typeface="Verdana" panose="020B0604030504040204" pitchFamily="34" charset="0"/>
                <a:cs typeface="Verdana" panose="020B0604030504040204" pitchFamily="34" charset="0"/>
                <a:sym typeface="+mn-lt"/>
              </a:rPr>
              <a:t>Oulu region</a:t>
            </a:r>
            <a:endParaRPr lang="en-US" altLang="ja-JP" sz="1000" b="1" baseline="30000" dirty="0">
              <a:solidFill>
                <a:srgbClr val="0F78B2"/>
              </a:solidFill>
              <a:ea typeface="Verdana" panose="020B0604030504040204" pitchFamily="34" charset="0"/>
              <a:cs typeface="Verdana" panose="020B0604030504040204" pitchFamily="34" charset="0"/>
              <a:sym typeface="+mn-lt"/>
            </a:endParaRPr>
          </a:p>
          <a:p>
            <a:endParaRPr lang="en-US" altLang="ja-JP" sz="200" b="1" dirty="0">
              <a:solidFill>
                <a:schemeClr val="bg2">
                  <a:lumMod val="10000"/>
                </a:schemeClr>
              </a:solidFill>
              <a:ea typeface="Verdana" panose="020B0604030504040204" pitchFamily="34" charset="0"/>
              <a:cs typeface="Verdana" panose="020B0604030504040204" pitchFamily="34" charset="0"/>
              <a:sym typeface="+mn-lt"/>
            </a:endParaRPr>
          </a:p>
          <a:p>
            <a:pPr defTabSz="685800">
              <a:defRPr/>
            </a:pPr>
            <a:r>
              <a:rPr lang="en-US" sz="700" b="1" dirty="0">
                <a:solidFill>
                  <a:schemeClr val="bg2">
                    <a:lumMod val="10000"/>
                  </a:schemeClr>
                </a:solidFill>
                <a:ea typeface="Verdana" panose="020B0604030504040204" pitchFamily="34" charset="0"/>
                <a:cs typeface="Verdana" panose="020B0604030504040204" pitchFamily="34" charset="0"/>
              </a:rPr>
              <a:t>€260M</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14 companies</a:t>
            </a:r>
          </a:p>
          <a:p>
            <a:pPr defTabSz="685800">
              <a:defRPr/>
            </a:pPr>
            <a:r>
              <a:rPr lang="en-US" sz="700" dirty="0">
                <a:solidFill>
                  <a:schemeClr val="bg2">
                    <a:lumMod val="10000"/>
                  </a:schemeClr>
                </a:solidFill>
                <a:ea typeface="Verdana" panose="020B0604030504040204" pitchFamily="34" charset="0"/>
                <a:cs typeface="Verdana" panose="020B0604030504040204" pitchFamily="34" charset="0"/>
              </a:rPr>
              <a:t>1400 employees</a:t>
            </a:r>
          </a:p>
        </p:txBody>
      </p:sp>
      <p:sp>
        <p:nvSpPr>
          <p:cNvPr id="1053" name="TextBox 1052">
            <a:extLst>
              <a:ext uri="{FF2B5EF4-FFF2-40B4-BE49-F238E27FC236}">
                <a16:creationId xmlns:a16="http://schemas.microsoft.com/office/drawing/2014/main" id="{B27AD876-986C-3B23-9620-F08349FED248}"/>
              </a:ext>
            </a:extLst>
          </p:cNvPr>
          <p:cNvSpPr txBox="1"/>
          <p:nvPr/>
        </p:nvSpPr>
        <p:spPr>
          <a:xfrm>
            <a:off x="3726239" y="3356761"/>
            <a:ext cx="1993649" cy="15686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pPr>
              <a:buSzPct val="100000"/>
              <a:buFont typeface="Trebuchet MS" panose="020B0703020202090204" pitchFamily="34" charset="0"/>
              <a:buChar char="​"/>
            </a:pPr>
            <a:r>
              <a:rPr lang="en-US" sz="700" b="1" dirty="0">
                <a:solidFill>
                  <a:srgbClr val="000000"/>
                </a:solidFill>
                <a:latin typeface="Verdana" panose="020B0604030504040204" pitchFamily="34" charset="0"/>
                <a:ea typeface="Verdana" panose="020B0604030504040204" pitchFamily="34" charset="0"/>
                <a:cs typeface="Verdana" panose="020B0604030504040204" pitchFamily="34" charset="0"/>
              </a:rPr>
              <a:t>Broad research and expertise cluster</a:t>
            </a:r>
          </a:p>
        </p:txBody>
      </p:sp>
      <p:pic>
        <p:nvPicPr>
          <p:cNvPr id="1054" name="Picture 22" descr="OPTOFIDELITY VLOGO2016 RGB - Suomen Teollisuussijoitus Oy">
            <a:extLst>
              <a:ext uri="{FF2B5EF4-FFF2-40B4-BE49-F238E27FC236}">
                <a16:creationId xmlns:a16="http://schemas.microsoft.com/office/drawing/2014/main" id="{D5F3E2C1-596F-1A41-67CE-8C2D5B090324}"/>
              </a:ext>
            </a:extLst>
          </p:cNvPr>
          <p:cNvPicPr>
            <a:picLocks noChangeAspect="1" noChangeArrowheads="1"/>
          </p:cNvPicPr>
          <p:nvPr/>
        </p:nvPicPr>
        <p:blipFill>
          <a:blip r:embed="rId36" cstate="print">
            <a:extLst>
              <a:ext uri="{28A0092B-C50C-407E-A947-70E740481C1C}">
                <a14:useLocalDpi xmlns:a14="http://schemas.microsoft.com/office/drawing/2010/main" val="0"/>
              </a:ext>
            </a:extLst>
          </a:blip>
          <a:srcRect/>
          <a:stretch>
            <a:fillRect/>
          </a:stretch>
        </p:blipFill>
        <p:spPr bwMode="auto">
          <a:xfrm>
            <a:off x="4335254" y="2879364"/>
            <a:ext cx="322201" cy="140490"/>
          </a:xfrm>
          <a:prstGeom prst="rect">
            <a:avLst/>
          </a:prstGeom>
          <a:noFill/>
          <a:extLst>
            <a:ext uri="{909E8E84-426E-40DD-AFC4-6F175D3DCCD1}">
              <a14:hiddenFill xmlns:a14="http://schemas.microsoft.com/office/drawing/2010/main">
                <a:solidFill>
                  <a:srgbClr val="FFFFFF"/>
                </a:solidFill>
              </a14:hiddenFill>
            </a:ext>
          </a:extLst>
        </p:spPr>
      </p:pic>
      <p:pic>
        <p:nvPicPr>
          <p:cNvPr id="1055" name="Picture 6">
            <a:extLst>
              <a:ext uri="{FF2B5EF4-FFF2-40B4-BE49-F238E27FC236}">
                <a16:creationId xmlns:a16="http://schemas.microsoft.com/office/drawing/2014/main" id="{63F81F97-95F5-82F4-ED06-407DE8373BBC}"/>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912527" y="2947437"/>
            <a:ext cx="260711" cy="61102"/>
          </a:xfrm>
          <a:prstGeom prst="rect">
            <a:avLst/>
          </a:prstGeom>
          <a:noFill/>
          <a:extLst>
            <a:ext uri="{909E8E84-426E-40DD-AFC4-6F175D3DCCD1}">
              <a14:hiddenFill xmlns:a14="http://schemas.microsoft.com/office/drawing/2010/main">
                <a:solidFill>
                  <a:srgbClr val="FFFFFF"/>
                </a:solidFill>
              </a14:hiddenFill>
            </a:ext>
          </a:extLst>
        </p:spPr>
      </p:pic>
      <p:pic>
        <p:nvPicPr>
          <p:cNvPr id="1056" name="Picture 6">
            <a:extLst>
              <a:ext uri="{FF2B5EF4-FFF2-40B4-BE49-F238E27FC236}">
                <a16:creationId xmlns:a16="http://schemas.microsoft.com/office/drawing/2014/main" id="{F80406A4-1D7D-4A75-4CEE-1B125F5A26A7}"/>
              </a:ext>
            </a:extLst>
          </p:cNvPr>
          <p:cNvPicPr>
            <a:picLocks noChangeAspect="1" noChangeArrowheads="1"/>
          </p:cNvPicPr>
          <p:nvPr/>
        </p:nvPicPr>
        <p:blipFill>
          <a:blip r:embed="rId38"/>
          <a:srcRect l="228" r="228"/>
          <a:stretch/>
        </p:blipFill>
        <p:spPr bwMode="auto">
          <a:xfrm>
            <a:off x="4743084" y="2920483"/>
            <a:ext cx="374243" cy="102903"/>
          </a:xfrm>
          <a:prstGeom prst="rect">
            <a:avLst/>
          </a:prstGeom>
          <a:noFill/>
          <a:extLst>
            <a:ext uri="{909E8E84-426E-40DD-AFC4-6F175D3DCCD1}">
              <a14:hiddenFill xmlns:a14="http://schemas.microsoft.com/office/drawing/2010/main">
                <a:solidFill>
                  <a:srgbClr val="FFFFFF"/>
                </a:solidFill>
              </a14:hiddenFill>
            </a:ext>
          </a:extLst>
        </p:spPr>
      </p:pic>
      <p:pic>
        <p:nvPicPr>
          <p:cNvPr id="1057" name="Picture 6">
            <a:extLst>
              <a:ext uri="{FF2B5EF4-FFF2-40B4-BE49-F238E27FC236}">
                <a16:creationId xmlns:a16="http://schemas.microsoft.com/office/drawing/2014/main" id="{C04B70D6-F235-5CAB-061A-DB6443BA585E}"/>
              </a:ext>
            </a:extLst>
          </p:cNvPr>
          <p:cNvPicPr>
            <a:picLocks noChangeAspect="1" noChangeArrowheads="1"/>
          </p:cNvPicPr>
          <p:nvPr/>
        </p:nvPicPr>
        <p:blipFill rotWithShape="1">
          <a:blip r:embed="rId39" cstate="print">
            <a:extLst>
              <a:ext uri="{28A0092B-C50C-407E-A947-70E740481C1C}">
                <a14:useLocalDpi xmlns:a14="http://schemas.microsoft.com/office/drawing/2010/main" val="0"/>
              </a:ext>
            </a:extLst>
          </a:blip>
          <a:srcRect t="16558" b="12813"/>
          <a:stretch/>
        </p:blipFill>
        <p:spPr bwMode="auto">
          <a:xfrm>
            <a:off x="3917777" y="3062088"/>
            <a:ext cx="548583" cy="150839"/>
          </a:xfrm>
          <a:prstGeom prst="rect">
            <a:avLst/>
          </a:prstGeom>
          <a:noFill/>
          <a:extLst>
            <a:ext uri="{909E8E84-426E-40DD-AFC4-6F175D3DCCD1}">
              <a14:hiddenFill xmlns:a14="http://schemas.microsoft.com/office/drawing/2010/main">
                <a:solidFill>
                  <a:srgbClr val="FFFFFF"/>
                </a:solidFill>
              </a14:hiddenFill>
            </a:ext>
          </a:extLst>
        </p:spPr>
      </p:pic>
      <p:pic>
        <p:nvPicPr>
          <p:cNvPr id="1058" name="Picture 6">
            <a:extLst>
              <a:ext uri="{FF2B5EF4-FFF2-40B4-BE49-F238E27FC236}">
                <a16:creationId xmlns:a16="http://schemas.microsoft.com/office/drawing/2014/main" id="{A2C997A8-015D-0157-590B-F4D88E216629}"/>
              </a:ext>
            </a:extLst>
          </p:cNvPr>
          <p:cNvPicPr>
            <a:picLocks noChangeAspect="1" noChangeArrowheads="1"/>
          </p:cNvPicPr>
          <p:nvPr/>
        </p:nvPicPr>
        <p:blipFill>
          <a:blip r:embed="rId40"/>
          <a:srcRect/>
          <a:stretch/>
        </p:blipFill>
        <p:spPr bwMode="auto">
          <a:xfrm>
            <a:off x="4625078" y="3102683"/>
            <a:ext cx="381944" cy="94980"/>
          </a:xfrm>
          <a:prstGeom prst="rect">
            <a:avLst/>
          </a:prstGeom>
          <a:noFill/>
          <a:extLst>
            <a:ext uri="{909E8E84-426E-40DD-AFC4-6F175D3DCCD1}">
              <a14:hiddenFill xmlns:a14="http://schemas.microsoft.com/office/drawing/2010/main">
                <a:solidFill>
                  <a:srgbClr val="FFFFFF"/>
                </a:solidFill>
              </a14:hiddenFill>
            </a:ext>
          </a:extLst>
        </p:spPr>
      </p:pic>
      <p:pic>
        <p:nvPicPr>
          <p:cNvPr id="1059" name="Picture 14" descr="Detection Technology – Global provider of X-ray imaging solutions">
            <a:extLst>
              <a:ext uri="{FF2B5EF4-FFF2-40B4-BE49-F238E27FC236}">
                <a16:creationId xmlns:a16="http://schemas.microsoft.com/office/drawing/2014/main" id="{105AC460-3888-6441-AF6D-AB668FFD7DEF}"/>
              </a:ext>
            </a:extLst>
          </p:cNvPr>
          <p:cNvPicPr>
            <a:picLocks noChangeAspect="1" noChangeArrowheads="1"/>
          </p:cNvPicPr>
          <p:nvPr/>
        </p:nvPicPr>
        <p:blipFill>
          <a:blip r:embed="rId41" cstate="print">
            <a:extLst>
              <a:ext uri="{28A0092B-C50C-407E-A947-70E740481C1C}">
                <a14:useLocalDpi xmlns:a14="http://schemas.microsoft.com/office/drawing/2010/main" val="0"/>
              </a:ext>
            </a:extLst>
          </a:blip>
          <a:srcRect/>
          <a:stretch>
            <a:fillRect/>
          </a:stretch>
        </p:blipFill>
        <p:spPr bwMode="auto">
          <a:xfrm>
            <a:off x="4266017" y="1446949"/>
            <a:ext cx="272160" cy="171212"/>
          </a:xfrm>
          <a:prstGeom prst="rect">
            <a:avLst/>
          </a:prstGeom>
          <a:noFill/>
          <a:extLst>
            <a:ext uri="{909E8E84-426E-40DD-AFC4-6F175D3DCCD1}">
              <a14:hiddenFill xmlns:a14="http://schemas.microsoft.com/office/drawing/2010/main">
                <a:solidFill>
                  <a:srgbClr val="FFFFFF"/>
                </a:solidFill>
              </a14:hiddenFill>
            </a:ext>
          </a:extLst>
        </p:spPr>
      </p:pic>
      <p:pic>
        <p:nvPicPr>
          <p:cNvPr id="1060" name="Picture 2">
            <a:extLst>
              <a:ext uri="{FF2B5EF4-FFF2-40B4-BE49-F238E27FC236}">
                <a16:creationId xmlns:a16="http://schemas.microsoft.com/office/drawing/2014/main" id="{562843F6-77B8-CB01-2399-F3B30F131404}"/>
              </a:ext>
            </a:extLst>
          </p:cNvPr>
          <p:cNvPicPr>
            <a:picLocks noChangeAspect="1" noChangeArrowheads="1"/>
          </p:cNvPicPr>
          <p:nvPr/>
        </p:nvPicPr>
        <p:blipFill rotWithShape="1">
          <a:blip r:embed="rId42"/>
          <a:srcRect l="886" r="2459"/>
          <a:stretch/>
        </p:blipFill>
        <p:spPr bwMode="auto">
          <a:xfrm>
            <a:off x="4333110" y="2258837"/>
            <a:ext cx="346956" cy="159651"/>
          </a:xfrm>
          <a:prstGeom prst="rect">
            <a:avLst/>
          </a:prstGeom>
          <a:noFill/>
          <a:extLst>
            <a:ext uri="{909E8E84-426E-40DD-AFC4-6F175D3DCCD1}">
              <a14:hiddenFill xmlns:a14="http://schemas.microsoft.com/office/drawing/2010/main">
                <a:solidFill>
                  <a:srgbClr val="FFFFFF"/>
                </a:solidFill>
              </a14:hiddenFill>
            </a:ext>
          </a:extLst>
        </p:spPr>
      </p:pic>
      <p:pic>
        <p:nvPicPr>
          <p:cNvPr id="1061" name="Picture 2" descr="The Åbo Akademi University logo | Åbo Akademi University">
            <a:extLst>
              <a:ext uri="{FF2B5EF4-FFF2-40B4-BE49-F238E27FC236}">
                <a16:creationId xmlns:a16="http://schemas.microsoft.com/office/drawing/2014/main" id="{CADAE351-648E-DBF1-A728-8414A6119ED2}"/>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4743522" y="4360363"/>
            <a:ext cx="157888" cy="156867"/>
          </a:xfrm>
          <a:prstGeom prst="rect">
            <a:avLst/>
          </a:prstGeom>
          <a:noFill/>
          <a:extLst>
            <a:ext uri="{909E8E84-426E-40DD-AFC4-6F175D3DCCD1}">
              <a14:hiddenFill xmlns:a14="http://schemas.microsoft.com/office/drawing/2010/main">
                <a:solidFill>
                  <a:srgbClr val="FFFFFF"/>
                </a:solidFill>
              </a14:hiddenFill>
            </a:ext>
          </a:extLst>
        </p:spPr>
      </p:pic>
      <p:pic>
        <p:nvPicPr>
          <p:cNvPr id="1062" name="Picture 10" descr="ICMBE 2022">
            <a:extLst>
              <a:ext uri="{FF2B5EF4-FFF2-40B4-BE49-F238E27FC236}">
                <a16:creationId xmlns:a16="http://schemas.microsoft.com/office/drawing/2014/main" id="{D4B81564-14EE-EBF5-498B-0D1F83C5763E}"/>
              </a:ext>
            </a:extLst>
          </p:cNvPr>
          <p:cNvPicPr>
            <a:picLocks noChangeAspect="1" noChangeArrowheads="1"/>
          </p:cNvPicPr>
          <p:nvPr/>
        </p:nvPicPr>
        <p:blipFill>
          <a:blip r:embed="rId44" cstate="print">
            <a:extLst>
              <a:ext uri="{28A0092B-C50C-407E-A947-70E740481C1C}">
                <a14:useLocalDpi xmlns:a14="http://schemas.microsoft.com/office/drawing/2010/main" val="0"/>
              </a:ext>
            </a:extLst>
          </a:blip>
          <a:srcRect/>
          <a:stretch>
            <a:fillRect/>
          </a:stretch>
        </p:blipFill>
        <p:spPr bwMode="auto">
          <a:xfrm>
            <a:off x="3949908" y="4400314"/>
            <a:ext cx="263764" cy="100462"/>
          </a:xfrm>
          <a:prstGeom prst="rect">
            <a:avLst/>
          </a:prstGeom>
          <a:noFill/>
          <a:extLst>
            <a:ext uri="{909E8E84-426E-40DD-AFC4-6F175D3DCCD1}">
              <a14:hiddenFill xmlns:a14="http://schemas.microsoft.com/office/drawing/2010/main">
                <a:solidFill>
                  <a:srgbClr val="FFFFFF"/>
                </a:solidFill>
              </a14:hiddenFill>
            </a:ext>
          </a:extLst>
        </p:spPr>
      </p:pic>
      <p:pic>
        <p:nvPicPr>
          <p:cNvPr id="1063" name="Picture 14" descr="Logo, Photos and Brochure of the University of Turku ...">
            <a:extLst>
              <a:ext uri="{FF2B5EF4-FFF2-40B4-BE49-F238E27FC236}">
                <a16:creationId xmlns:a16="http://schemas.microsoft.com/office/drawing/2014/main" id="{40D7EC64-D416-2EE2-BC10-83200D27CEEE}"/>
              </a:ext>
            </a:extLst>
          </p:cNvPr>
          <p:cNvPicPr>
            <a:picLocks noChangeAspect="1" noChangeArrowheads="1"/>
          </p:cNvPicPr>
          <p:nvPr/>
        </p:nvPicPr>
        <p:blipFill>
          <a:blip r:embed="rId45" cstate="print">
            <a:extLst>
              <a:ext uri="{28A0092B-C50C-407E-A947-70E740481C1C}">
                <a14:useLocalDpi xmlns:a14="http://schemas.microsoft.com/office/drawing/2010/main" val="0"/>
              </a:ext>
            </a:extLst>
          </a:blip>
          <a:srcRect/>
          <a:stretch>
            <a:fillRect/>
          </a:stretch>
        </p:blipFill>
        <p:spPr bwMode="auto">
          <a:xfrm>
            <a:off x="4986195" y="4381054"/>
            <a:ext cx="361954" cy="134188"/>
          </a:xfrm>
          <a:prstGeom prst="rect">
            <a:avLst/>
          </a:prstGeom>
          <a:noFill/>
          <a:extLst>
            <a:ext uri="{909E8E84-426E-40DD-AFC4-6F175D3DCCD1}">
              <a14:hiddenFill xmlns:a14="http://schemas.microsoft.com/office/drawing/2010/main">
                <a:solidFill>
                  <a:srgbClr val="FFFFFF"/>
                </a:solidFill>
              </a14:hiddenFill>
            </a:ext>
          </a:extLst>
        </p:spPr>
      </p:pic>
      <p:pic>
        <p:nvPicPr>
          <p:cNvPr id="1064" name="Picture 4" descr="AEM enters MEMS market with Afore acquisition">
            <a:extLst>
              <a:ext uri="{FF2B5EF4-FFF2-40B4-BE49-F238E27FC236}">
                <a16:creationId xmlns:a16="http://schemas.microsoft.com/office/drawing/2014/main" id="{A1A08F9E-86B3-2AE1-2CA4-65D43746659E}"/>
              </a:ext>
            </a:extLst>
          </p:cNvPr>
          <p:cNvPicPr>
            <a:picLocks noChangeAspect="1" noChangeArrowheads="1"/>
          </p:cNvPicPr>
          <p:nvPr/>
        </p:nvPicPr>
        <p:blipFill>
          <a:blip r:embed="rId46" cstate="print">
            <a:extLst>
              <a:ext uri="{28A0092B-C50C-407E-A947-70E740481C1C}">
                <a14:useLocalDpi xmlns:a14="http://schemas.microsoft.com/office/drawing/2010/main" val="0"/>
              </a:ext>
            </a:extLst>
          </a:blip>
          <a:srcRect/>
          <a:stretch>
            <a:fillRect/>
          </a:stretch>
        </p:blipFill>
        <p:spPr bwMode="auto">
          <a:xfrm>
            <a:off x="4349941" y="4408445"/>
            <a:ext cx="258553" cy="78177"/>
          </a:xfrm>
          <a:prstGeom prst="rect">
            <a:avLst/>
          </a:prstGeom>
          <a:noFill/>
          <a:extLst>
            <a:ext uri="{909E8E84-426E-40DD-AFC4-6F175D3DCCD1}">
              <a14:hiddenFill xmlns:a14="http://schemas.microsoft.com/office/drawing/2010/main">
                <a:solidFill>
                  <a:srgbClr val="FFFFFF"/>
                </a:solidFill>
              </a14:hiddenFill>
            </a:ext>
          </a:extLst>
        </p:spPr>
      </p:pic>
      <p:pic>
        <p:nvPicPr>
          <p:cNvPr id="1065" name="Picture 6">
            <a:extLst>
              <a:ext uri="{FF2B5EF4-FFF2-40B4-BE49-F238E27FC236}">
                <a16:creationId xmlns:a16="http://schemas.microsoft.com/office/drawing/2014/main" id="{F50DD2EB-F7A8-B08C-FD73-C36DE9E477A8}"/>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3913039" y="1486884"/>
            <a:ext cx="260711" cy="61102"/>
          </a:xfrm>
          <a:prstGeom prst="rect">
            <a:avLst/>
          </a:prstGeom>
          <a:noFill/>
          <a:extLst>
            <a:ext uri="{909E8E84-426E-40DD-AFC4-6F175D3DCCD1}">
              <a14:hiddenFill xmlns:a14="http://schemas.microsoft.com/office/drawing/2010/main">
                <a:solidFill>
                  <a:srgbClr val="FFFFFF"/>
                </a:solidFill>
              </a14:hiddenFill>
            </a:ext>
          </a:extLst>
        </p:spPr>
      </p:pic>
      <p:pic>
        <p:nvPicPr>
          <p:cNvPr id="1066" name="Picture 2">
            <a:extLst>
              <a:ext uri="{FF2B5EF4-FFF2-40B4-BE49-F238E27FC236}">
                <a16:creationId xmlns:a16="http://schemas.microsoft.com/office/drawing/2014/main" id="{0E98AC09-ACA6-A113-635B-38C72D519493}"/>
              </a:ext>
            </a:extLst>
          </p:cNvPr>
          <p:cNvPicPr>
            <a:picLocks noChangeAspect="1" noChangeArrowheads="1"/>
          </p:cNvPicPr>
          <p:nvPr/>
        </p:nvPicPr>
        <p:blipFill>
          <a:blip r:embed="rId47" cstate="print">
            <a:extLst>
              <a:ext uri="{28A0092B-C50C-407E-A947-70E740481C1C}">
                <a14:useLocalDpi xmlns:a14="http://schemas.microsoft.com/office/drawing/2010/main" val="0"/>
              </a:ext>
            </a:extLst>
          </a:blip>
          <a:srcRect/>
          <a:stretch>
            <a:fillRect/>
          </a:stretch>
        </p:blipFill>
        <p:spPr bwMode="auto">
          <a:xfrm>
            <a:off x="4037859" y="1651754"/>
            <a:ext cx="325258" cy="76584"/>
          </a:xfrm>
          <a:prstGeom prst="rect">
            <a:avLst/>
          </a:prstGeom>
          <a:noFill/>
          <a:extLst>
            <a:ext uri="{909E8E84-426E-40DD-AFC4-6F175D3DCCD1}">
              <a14:hiddenFill xmlns:a14="http://schemas.microsoft.com/office/drawing/2010/main">
                <a:solidFill>
                  <a:srgbClr val="FFFFFF"/>
                </a:solidFill>
              </a14:hiddenFill>
            </a:ext>
          </a:extLst>
        </p:spPr>
      </p:pic>
      <p:pic>
        <p:nvPicPr>
          <p:cNvPr id="1067" name="Picture 1066">
            <a:extLst>
              <a:ext uri="{FF2B5EF4-FFF2-40B4-BE49-F238E27FC236}">
                <a16:creationId xmlns:a16="http://schemas.microsoft.com/office/drawing/2014/main" id="{0B1398E8-CD7B-D600-EBC5-F35C8B7CF3C9}"/>
              </a:ext>
            </a:extLst>
          </p:cNvPr>
          <p:cNvPicPr>
            <a:picLocks noChangeAspect="1"/>
          </p:cNvPicPr>
          <p:nvPr/>
        </p:nvPicPr>
        <p:blipFill>
          <a:blip r:embed="rId48"/>
          <a:stretch>
            <a:fillRect/>
          </a:stretch>
        </p:blipFill>
        <p:spPr>
          <a:xfrm>
            <a:off x="3894182" y="2310498"/>
            <a:ext cx="319490" cy="76143"/>
          </a:xfrm>
          <a:prstGeom prst="rect">
            <a:avLst/>
          </a:prstGeom>
        </p:spPr>
      </p:pic>
      <p:pic>
        <p:nvPicPr>
          <p:cNvPr id="1068" name="Picture 26" descr="Texas-Instruments-Brands-Logo-PNG-Transparent – IEEE Region 8">
            <a:extLst>
              <a:ext uri="{FF2B5EF4-FFF2-40B4-BE49-F238E27FC236}">
                <a16:creationId xmlns:a16="http://schemas.microsoft.com/office/drawing/2014/main" id="{55E81411-EF84-9482-08D5-B69D429C3AE9}"/>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a:fillRect/>
          </a:stretch>
        </p:blipFill>
        <p:spPr bwMode="auto">
          <a:xfrm>
            <a:off x="4717451" y="1445827"/>
            <a:ext cx="359154" cy="107524"/>
          </a:xfrm>
          <a:prstGeom prst="rect">
            <a:avLst/>
          </a:prstGeom>
          <a:noFill/>
          <a:extLst>
            <a:ext uri="{909E8E84-426E-40DD-AFC4-6F175D3DCCD1}">
              <a14:hiddenFill xmlns:a14="http://schemas.microsoft.com/office/drawing/2010/main">
                <a:solidFill>
                  <a:srgbClr val="FFFFFF"/>
                </a:solidFill>
              </a14:hiddenFill>
            </a:ext>
          </a:extLst>
        </p:spPr>
      </p:pic>
      <p:pic>
        <p:nvPicPr>
          <p:cNvPr id="1069" name="Picture 4" descr="University of Oulu, vertical logo | University of Oulu">
            <a:extLst>
              <a:ext uri="{FF2B5EF4-FFF2-40B4-BE49-F238E27FC236}">
                <a16:creationId xmlns:a16="http://schemas.microsoft.com/office/drawing/2014/main" id="{28E37ACD-85C7-75EE-2C8F-3B8B10E447FE}"/>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4574167" y="1541501"/>
            <a:ext cx="167730" cy="219369"/>
          </a:xfrm>
          <a:prstGeom prst="rect">
            <a:avLst/>
          </a:prstGeom>
          <a:noFill/>
          <a:extLst>
            <a:ext uri="{909E8E84-426E-40DD-AFC4-6F175D3DCCD1}">
              <a14:hiddenFill xmlns:a14="http://schemas.microsoft.com/office/drawing/2010/main">
                <a:solidFill>
                  <a:srgbClr val="FFFFFF"/>
                </a:solidFill>
              </a14:hiddenFill>
            </a:ext>
          </a:extLst>
        </p:spPr>
      </p:pic>
      <p:pic>
        <p:nvPicPr>
          <p:cNvPr id="1070" name="Picture 6" descr="6G Flagship | LinkedIn">
            <a:extLst>
              <a:ext uri="{FF2B5EF4-FFF2-40B4-BE49-F238E27FC236}">
                <a16:creationId xmlns:a16="http://schemas.microsoft.com/office/drawing/2014/main" id="{1B7BC40F-D024-5ECB-CD60-BB03EE4223DF}"/>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979822" y="1546296"/>
            <a:ext cx="220108" cy="219369"/>
          </a:xfrm>
          <a:prstGeom prst="rect">
            <a:avLst/>
          </a:prstGeom>
          <a:noFill/>
          <a:extLst>
            <a:ext uri="{909E8E84-426E-40DD-AFC4-6F175D3DCCD1}">
              <a14:hiddenFill xmlns:a14="http://schemas.microsoft.com/office/drawing/2010/main">
                <a:solidFill>
                  <a:srgbClr val="FFFFFF"/>
                </a:solidFill>
              </a14:hiddenFill>
            </a:ext>
          </a:extLst>
        </p:spPr>
      </p:pic>
      <p:grpSp>
        <p:nvGrpSpPr>
          <p:cNvPr id="1071" name="Group 1070">
            <a:extLst>
              <a:ext uri="{FF2B5EF4-FFF2-40B4-BE49-F238E27FC236}">
                <a16:creationId xmlns:a16="http://schemas.microsoft.com/office/drawing/2014/main" id="{7A44D71A-626E-DEDD-C91C-B085112C9116}"/>
              </a:ext>
            </a:extLst>
          </p:cNvPr>
          <p:cNvGrpSpPr/>
          <p:nvPr/>
        </p:nvGrpSpPr>
        <p:grpSpPr>
          <a:xfrm>
            <a:off x="5186284" y="1477390"/>
            <a:ext cx="467385" cy="187818"/>
            <a:chOff x="3034631" y="3442660"/>
            <a:chExt cx="710314" cy="286401"/>
          </a:xfrm>
        </p:grpSpPr>
        <p:pic>
          <p:nvPicPr>
            <p:cNvPr id="135" name="Picture 6">
              <a:extLst>
                <a:ext uri="{FF2B5EF4-FFF2-40B4-BE49-F238E27FC236}">
                  <a16:creationId xmlns:a16="http://schemas.microsoft.com/office/drawing/2014/main" id="{0C5F3F84-E8B1-F312-A181-09C7C8B540D9}"/>
                </a:ext>
              </a:extLst>
            </p:cNvPr>
            <p:cNvPicPr>
              <a:picLocks noChangeAspect="1" noChangeArrowheads="1"/>
            </p:cNvPicPr>
            <p:nvPr/>
          </p:nvPicPr>
          <p:blipFill rotWithShape="1">
            <a:blip r:embed="rId52"/>
            <a:srcRect l="6850" t="27159" r="4181" b="29204"/>
            <a:stretch/>
          </p:blipFill>
          <p:spPr bwMode="auto">
            <a:xfrm>
              <a:off x="3132657" y="3442660"/>
              <a:ext cx="514263" cy="141880"/>
            </a:xfrm>
            <a:prstGeom prst="rect">
              <a:avLst/>
            </a:prstGeom>
            <a:noFill/>
            <a:extLst>
              <a:ext uri="{909E8E84-426E-40DD-AFC4-6F175D3DCCD1}">
                <a14:hiddenFill xmlns:a14="http://schemas.microsoft.com/office/drawing/2010/main">
                  <a:solidFill>
                    <a:srgbClr val="FFFFFF"/>
                  </a:solidFill>
                </a14:hiddenFill>
              </a:ext>
            </a:extLst>
          </p:spPr>
        </p:pic>
        <p:sp>
          <p:nvSpPr>
            <p:cNvPr id="136" name="TextBox 135">
              <a:extLst>
                <a:ext uri="{FF2B5EF4-FFF2-40B4-BE49-F238E27FC236}">
                  <a16:creationId xmlns:a16="http://schemas.microsoft.com/office/drawing/2014/main" id="{2AB7F538-DC60-BAD2-5FBD-631C0B2B8D80}"/>
                </a:ext>
              </a:extLst>
            </p:cNvPr>
            <p:cNvSpPr txBox="1"/>
            <p:nvPr/>
          </p:nvSpPr>
          <p:spPr>
            <a:xfrm>
              <a:off x="3034631" y="3517865"/>
              <a:ext cx="710314" cy="211196"/>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pPr algn="ctr"/>
              <a:r>
                <a:rPr lang="en-US" sz="300" i="1" dirty="0">
                  <a:solidFill>
                    <a:schemeClr val="bg2">
                      <a:lumMod val="10000"/>
                    </a:schemeClr>
                  </a:solidFill>
                  <a:ea typeface="Verdana" panose="020B0604030504040204" pitchFamily="34" charset="0"/>
                  <a:cs typeface="Verdana" panose="020B0604030504040204" pitchFamily="34" charset="0"/>
                </a:rPr>
                <a:t>Supercomputer</a:t>
              </a:r>
              <a:endParaRPr lang="en-US" sz="900" i="1" dirty="0">
                <a:solidFill>
                  <a:schemeClr val="bg2">
                    <a:lumMod val="10000"/>
                  </a:schemeClr>
                </a:solidFill>
                <a:ea typeface="Verdana" panose="020B0604030504040204" pitchFamily="34" charset="0"/>
                <a:cs typeface="Verdana" panose="020B0604030504040204" pitchFamily="34" charset="0"/>
              </a:endParaRPr>
            </a:p>
          </p:txBody>
        </p:sp>
      </p:grpSp>
      <p:pic>
        <p:nvPicPr>
          <p:cNvPr id="1072" name="Picture 22" descr="PREIN has been officially kicked off! | Smart Photonic Materials (SPM ...">
            <a:extLst>
              <a:ext uri="{FF2B5EF4-FFF2-40B4-BE49-F238E27FC236}">
                <a16:creationId xmlns:a16="http://schemas.microsoft.com/office/drawing/2014/main" id="{84D08A85-A65F-9D59-CF00-7653A423B4D7}"/>
              </a:ext>
            </a:extLst>
          </p:cNvPr>
          <p:cNvPicPr>
            <a:picLocks noChangeAspect="1" noChangeArrowheads="1"/>
          </p:cNvPicPr>
          <p:nvPr/>
        </p:nvPicPr>
        <p:blipFill>
          <a:blip r:embed="rId53" cstate="print">
            <a:extLst>
              <a:ext uri="{28A0092B-C50C-407E-A947-70E740481C1C}">
                <a14:useLocalDpi xmlns:a14="http://schemas.microsoft.com/office/drawing/2010/main" val="0"/>
              </a:ext>
            </a:extLst>
          </a:blip>
          <a:srcRect/>
          <a:stretch>
            <a:fillRect/>
          </a:stretch>
        </p:blipFill>
        <p:spPr bwMode="auto">
          <a:xfrm>
            <a:off x="4816596" y="2248401"/>
            <a:ext cx="241915" cy="159651"/>
          </a:xfrm>
          <a:prstGeom prst="rect">
            <a:avLst/>
          </a:prstGeom>
          <a:noFill/>
          <a:extLst>
            <a:ext uri="{909E8E84-426E-40DD-AFC4-6F175D3DCCD1}">
              <a14:hiddenFill xmlns:a14="http://schemas.microsoft.com/office/drawing/2010/main">
                <a:solidFill>
                  <a:srgbClr val="FFFFFF"/>
                </a:solidFill>
              </a14:hiddenFill>
            </a:ext>
          </a:extLst>
        </p:spPr>
      </p:pic>
      <p:pic>
        <p:nvPicPr>
          <p:cNvPr id="1073" name="Picture 6">
            <a:extLst>
              <a:ext uri="{FF2B5EF4-FFF2-40B4-BE49-F238E27FC236}">
                <a16:creationId xmlns:a16="http://schemas.microsoft.com/office/drawing/2014/main" id="{C7FE4E32-1568-CA31-6A19-DE2685410346}"/>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4334876" y="3605730"/>
            <a:ext cx="260711" cy="61102"/>
          </a:xfrm>
          <a:prstGeom prst="rect">
            <a:avLst/>
          </a:prstGeom>
          <a:noFill/>
          <a:extLst>
            <a:ext uri="{909E8E84-426E-40DD-AFC4-6F175D3DCCD1}">
              <a14:hiddenFill xmlns:a14="http://schemas.microsoft.com/office/drawing/2010/main">
                <a:solidFill>
                  <a:srgbClr val="FFFFFF"/>
                </a:solidFill>
              </a14:hiddenFill>
            </a:ext>
          </a:extLst>
        </p:spPr>
      </p:pic>
      <p:pic>
        <p:nvPicPr>
          <p:cNvPr id="1074" name="Picture 8" descr="Okmetic Oy - iRel40">
            <a:extLst>
              <a:ext uri="{FF2B5EF4-FFF2-40B4-BE49-F238E27FC236}">
                <a16:creationId xmlns:a16="http://schemas.microsoft.com/office/drawing/2014/main" id="{0D15F598-88DE-3473-DB34-001A0E98D9AE}"/>
              </a:ext>
            </a:extLst>
          </p:cNvPr>
          <p:cNvPicPr>
            <a:picLocks noChangeAspect="1" noChangeArrowheads="1"/>
          </p:cNvPicPr>
          <p:nvPr/>
        </p:nvPicPr>
        <p:blipFill rotWithShape="1">
          <a:blip r:embed="rId54" cstate="print">
            <a:extLst>
              <a:ext uri="{28A0092B-C50C-407E-A947-70E740481C1C}">
                <a14:useLocalDpi xmlns:a14="http://schemas.microsoft.com/office/drawing/2010/main" val="0"/>
              </a:ext>
            </a:extLst>
          </a:blip>
          <a:srcRect l="5416" t="1" r="3765" b="17833"/>
          <a:stretch/>
        </p:blipFill>
        <p:spPr bwMode="auto">
          <a:xfrm>
            <a:off x="4283681" y="3806774"/>
            <a:ext cx="305697" cy="110258"/>
          </a:xfrm>
          <a:prstGeom prst="rect">
            <a:avLst/>
          </a:prstGeom>
          <a:noFill/>
          <a:extLst>
            <a:ext uri="{909E8E84-426E-40DD-AFC4-6F175D3DCCD1}">
              <a14:hiddenFill xmlns:a14="http://schemas.microsoft.com/office/drawing/2010/main">
                <a:solidFill>
                  <a:srgbClr val="FFFFFF"/>
                </a:solidFill>
              </a14:hiddenFill>
            </a:ext>
          </a:extLst>
        </p:spPr>
      </p:pic>
      <p:pic>
        <p:nvPicPr>
          <p:cNvPr id="1075" name="Picture 2">
            <a:extLst>
              <a:ext uri="{FF2B5EF4-FFF2-40B4-BE49-F238E27FC236}">
                <a16:creationId xmlns:a16="http://schemas.microsoft.com/office/drawing/2014/main" id="{A0D8C971-C51E-8516-5991-96832BA3119B}"/>
              </a:ext>
            </a:extLst>
          </p:cNvPr>
          <p:cNvPicPr>
            <a:picLocks noChangeAspect="1" noChangeArrowheads="1"/>
          </p:cNvPicPr>
          <p:nvPr/>
        </p:nvPicPr>
        <p:blipFill>
          <a:blip r:embed="rId55" cstate="print">
            <a:extLst>
              <a:ext uri="{28A0092B-C50C-407E-A947-70E740481C1C}">
                <a14:useLocalDpi xmlns:a14="http://schemas.microsoft.com/office/drawing/2010/main" val="0"/>
              </a:ext>
            </a:extLst>
          </a:blip>
          <a:srcRect/>
          <a:stretch>
            <a:fillRect/>
          </a:stretch>
        </p:blipFill>
        <p:spPr bwMode="auto">
          <a:xfrm>
            <a:off x="3918975" y="3733746"/>
            <a:ext cx="207344" cy="56504"/>
          </a:xfrm>
          <a:prstGeom prst="rect">
            <a:avLst/>
          </a:prstGeom>
          <a:noFill/>
          <a:extLst>
            <a:ext uri="{909E8E84-426E-40DD-AFC4-6F175D3DCCD1}">
              <a14:hiddenFill xmlns:a14="http://schemas.microsoft.com/office/drawing/2010/main">
                <a:solidFill>
                  <a:srgbClr val="FFFFFF"/>
                </a:solidFill>
              </a14:hiddenFill>
            </a:ext>
          </a:extLst>
        </p:spPr>
      </p:pic>
      <p:pic>
        <p:nvPicPr>
          <p:cNvPr id="1076" name="Picture 6">
            <a:extLst>
              <a:ext uri="{FF2B5EF4-FFF2-40B4-BE49-F238E27FC236}">
                <a16:creationId xmlns:a16="http://schemas.microsoft.com/office/drawing/2014/main" id="{8D380C25-82F6-AD29-F601-323088DFA47A}"/>
              </a:ext>
            </a:extLst>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4307991" y="3722508"/>
            <a:ext cx="279230" cy="59355"/>
          </a:xfrm>
          <a:prstGeom prst="rect">
            <a:avLst/>
          </a:prstGeom>
          <a:noFill/>
          <a:extLst>
            <a:ext uri="{909E8E84-426E-40DD-AFC4-6F175D3DCCD1}">
              <a14:hiddenFill xmlns:a14="http://schemas.microsoft.com/office/drawing/2010/main">
                <a:solidFill>
                  <a:srgbClr val="FFFFFF"/>
                </a:solidFill>
              </a14:hiddenFill>
            </a:ext>
          </a:extLst>
        </p:spPr>
      </p:pic>
      <p:pic>
        <p:nvPicPr>
          <p:cNvPr id="1078" name="Picture 28">
            <a:extLst>
              <a:ext uri="{FF2B5EF4-FFF2-40B4-BE49-F238E27FC236}">
                <a16:creationId xmlns:a16="http://schemas.microsoft.com/office/drawing/2014/main" id="{D4FB6276-DA6E-C867-269D-E0D9765F30EF}"/>
              </a:ext>
            </a:extLst>
          </p:cNvPr>
          <p:cNvPicPr>
            <a:picLocks noChangeAspect="1" noChangeArrowheads="1"/>
          </p:cNvPicPr>
          <p:nvPr/>
        </p:nvPicPr>
        <p:blipFill>
          <a:blip r:embed="rId57" cstate="print">
            <a:extLst>
              <a:ext uri="{28A0092B-C50C-407E-A947-70E740481C1C}">
                <a14:useLocalDpi xmlns:a14="http://schemas.microsoft.com/office/drawing/2010/main" val="0"/>
              </a:ext>
            </a:extLst>
          </a:blip>
          <a:srcRect/>
          <a:stretch>
            <a:fillRect/>
          </a:stretch>
        </p:blipFill>
        <p:spPr bwMode="auto">
          <a:xfrm>
            <a:off x="3934136" y="3594618"/>
            <a:ext cx="289808" cy="82318"/>
          </a:xfrm>
          <a:prstGeom prst="rect">
            <a:avLst/>
          </a:prstGeom>
          <a:noFill/>
          <a:extLst>
            <a:ext uri="{909E8E84-426E-40DD-AFC4-6F175D3DCCD1}">
              <a14:hiddenFill xmlns:a14="http://schemas.microsoft.com/office/drawing/2010/main">
                <a:solidFill>
                  <a:srgbClr val="FFFFFF"/>
                </a:solidFill>
              </a14:hiddenFill>
            </a:ext>
          </a:extLst>
        </p:spPr>
      </p:pic>
      <p:pic>
        <p:nvPicPr>
          <p:cNvPr id="1079" name="Picture 2">
            <a:extLst>
              <a:ext uri="{FF2B5EF4-FFF2-40B4-BE49-F238E27FC236}">
                <a16:creationId xmlns:a16="http://schemas.microsoft.com/office/drawing/2014/main" id="{588C70CF-8427-DEDA-0B71-3E94EC794AFD}"/>
              </a:ext>
            </a:extLst>
          </p:cNvPr>
          <p:cNvPicPr>
            <a:picLocks noChangeAspect="1" noChangeArrowheads="1"/>
          </p:cNvPicPr>
          <p:nvPr/>
        </p:nvPicPr>
        <p:blipFill>
          <a:blip r:embed="rId58" cstate="print">
            <a:extLst>
              <a:ext uri="{28A0092B-C50C-407E-A947-70E740481C1C}">
                <a14:useLocalDpi xmlns:a14="http://schemas.microsoft.com/office/drawing/2010/main" val="0"/>
              </a:ext>
            </a:extLst>
          </a:blip>
          <a:srcRect/>
          <a:stretch>
            <a:fillRect/>
          </a:stretch>
        </p:blipFill>
        <p:spPr bwMode="auto">
          <a:xfrm>
            <a:off x="4726431" y="3571998"/>
            <a:ext cx="131435" cy="133057"/>
          </a:xfrm>
          <a:prstGeom prst="rect">
            <a:avLst/>
          </a:prstGeom>
          <a:noFill/>
          <a:extLst>
            <a:ext uri="{909E8E84-426E-40DD-AFC4-6F175D3DCCD1}">
              <a14:hiddenFill xmlns:a14="http://schemas.microsoft.com/office/drawing/2010/main">
                <a:solidFill>
                  <a:srgbClr val="FFFFFF"/>
                </a:solidFill>
              </a14:hiddenFill>
            </a:ext>
          </a:extLst>
        </p:spPr>
      </p:pic>
      <p:pic>
        <p:nvPicPr>
          <p:cNvPr id="1080" name="Picture 4" descr="Murata Electronics (Finland) - Wikipedia">
            <a:extLst>
              <a:ext uri="{FF2B5EF4-FFF2-40B4-BE49-F238E27FC236}">
                <a16:creationId xmlns:a16="http://schemas.microsoft.com/office/drawing/2014/main" id="{24A642DD-875C-D687-DADC-747945F88BDC}"/>
              </a:ext>
            </a:extLst>
          </p:cNvPr>
          <p:cNvPicPr>
            <a:picLocks noChangeAspect="1" noChangeArrowheads="1"/>
          </p:cNvPicPr>
          <p:nvPr/>
        </p:nvPicPr>
        <p:blipFill rotWithShape="1">
          <a:blip r:embed="rId59" cstate="print">
            <a:extLst>
              <a:ext uri="{28A0092B-C50C-407E-A947-70E740481C1C}">
                <a14:useLocalDpi xmlns:a14="http://schemas.microsoft.com/office/drawing/2010/main" val="0"/>
              </a:ext>
            </a:extLst>
          </a:blip>
          <a:srcRect l="4542" t="1" b="8633"/>
          <a:stretch/>
        </p:blipFill>
        <p:spPr bwMode="auto">
          <a:xfrm>
            <a:off x="3916017" y="3801377"/>
            <a:ext cx="241641" cy="110259"/>
          </a:xfrm>
          <a:prstGeom prst="rect">
            <a:avLst/>
          </a:prstGeom>
          <a:noFill/>
          <a:extLst>
            <a:ext uri="{909E8E84-426E-40DD-AFC4-6F175D3DCCD1}">
              <a14:hiddenFill xmlns:a14="http://schemas.microsoft.com/office/drawing/2010/main">
                <a:solidFill>
                  <a:srgbClr val="FFFFFF"/>
                </a:solidFill>
              </a14:hiddenFill>
            </a:ext>
          </a:extLst>
        </p:spPr>
      </p:pic>
      <p:pic>
        <p:nvPicPr>
          <p:cNvPr id="1081" name="Picture 12">
            <a:extLst>
              <a:ext uri="{FF2B5EF4-FFF2-40B4-BE49-F238E27FC236}">
                <a16:creationId xmlns:a16="http://schemas.microsoft.com/office/drawing/2014/main" id="{41EFE721-18E6-5413-8D8B-C8EDB35E833B}"/>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a:stretch/>
        </p:blipFill>
        <p:spPr bwMode="auto">
          <a:xfrm>
            <a:off x="4979483" y="3870175"/>
            <a:ext cx="171157" cy="60437"/>
          </a:xfrm>
          <a:prstGeom prst="rect">
            <a:avLst/>
          </a:prstGeom>
          <a:noFill/>
          <a:extLst>
            <a:ext uri="{909E8E84-426E-40DD-AFC4-6F175D3DCCD1}">
              <a14:hiddenFill xmlns:a14="http://schemas.microsoft.com/office/drawing/2010/main">
                <a:solidFill>
                  <a:srgbClr val="FFFFFF"/>
                </a:solidFill>
              </a14:hiddenFill>
            </a:ext>
          </a:extLst>
        </p:spPr>
      </p:pic>
      <p:pic>
        <p:nvPicPr>
          <p:cNvPr id="1082" name="Picture 4" descr="FIQCI_text">
            <a:extLst>
              <a:ext uri="{FF2B5EF4-FFF2-40B4-BE49-F238E27FC236}">
                <a16:creationId xmlns:a16="http://schemas.microsoft.com/office/drawing/2014/main" id="{F835CD85-D4D6-ACC5-498F-E8F729C4E461}"/>
              </a:ext>
            </a:extLst>
          </p:cNvPr>
          <p:cNvPicPr>
            <a:picLocks noChangeAspect="1" noChangeArrowheads="1"/>
          </p:cNvPicPr>
          <p:nvPr/>
        </p:nvPicPr>
        <p:blipFill rotWithShape="1">
          <a:blip r:embed="rId60" cstate="print">
            <a:extLst>
              <a:ext uri="{28A0092B-C50C-407E-A947-70E740481C1C}">
                <a14:useLocalDpi xmlns:a14="http://schemas.microsoft.com/office/drawing/2010/main" val="0"/>
              </a:ext>
            </a:extLst>
          </a:blip>
          <a:srcRect l="19393" t="28892" r="14926" b="33286"/>
          <a:stretch/>
        </p:blipFill>
        <p:spPr bwMode="auto">
          <a:xfrm>
            <a:off x="5459336" y="3790326"/>
            <a:ext cx="201930" cy="66828"/>
          </a:xfrm>
          <a:prstGeom prst="rect">
            <a:avLst/>
          </a:prstGeom>
          <a:noFill/>
          <a:extLst>
            <a:ext uri="{909E8E84-426E-40DD-AFC4-6F175D3DCCD1}">
              <a14:hiddenFill xmlns:a14="http://schemas.microsoft.com/office/drawing/2010/main">
                <a:solidFill>
                  <a:srgbClr val="FFFFFF"/>
                </a:solidFill>
              </a14:hiddenFill>
            </a:ext>
          </a:extLst>
        </p:spPr>
      </p:pic>
      <p:pic>
        <p:nvPicPr>
          <p:cNvPr id="1083" name="Picture 1082">
            <a:extLst>
              <a:ext uri="{FF2B5EF4-FFF2-40B4-BE49-F238E27FC236}">
                <a16:creationId xmlns:a16="http://schemas.microsoft.com/office/drawing/2014/main" id="{F0CE2B1E-B8AA-7605-289C-1A354F7ACAAD}"/>
              </a:ext>
            </a:extLst>
          </p:cNvPr>
          <p:cNvPicPr>
            <a:picLocks noChangeAspect="1"/>
          </p:cNvPicPr>
          <p:nvPr/>
        </p:nvPicPr>
        <p:blipFill rotWithShape="1">
          <a:blip r:embed="rId61"/>
          <a:srcRect l="7136" t="13991" b="10821"/>
          <a:stretch/>
        </p:blipFill>
        <p:spPr>
          <a:xfrm>
            <a:off x="5437816" y="3894611"/>
            <a:ext cx="221696" cy="59632"/>
          </a:xfrm>
          <a:prstGeom prst="rect">
            <a:avLst/>
          </a:prstGeom>
        </p:spPr>
      </p:pic>
      <p:pic>
        <p:nvPicPr>
          <p:cNvPr id="1084" name="Picture 4" descr="VTT Technical Research Centre of Finland - Wikipedia">
            <a:extLst>
              <a:ext uri="{FF2B5EF4-FFF2-40B4-BE49-F238E27FC236}">
                <a16:creationId xmlns:a16="http://schemas.microsoft.com/office/drawing/2014/main" id="{D3F9AC1B-C9B3-58D9-E7E1-53BFF6968D94}"/>
              </a:ext>
            </a:extLst>
          </p:cNvPr>
          <p:cNvPicPr>
            <a:picLocks noChangeAspect="1" noChangeArrowheads="1"/>
          </p:cNvPicPr>
          <p:nvPr/>
        </p:nvPicPr>
        <p:blipFill>
          <a:blip r:embed="rId62" cstate="print">
            <a:extLst>
              <a:ext uri="{28A0092B-C50C-407E-A947-70E740481C1C}">
                <a14:useLocalDpi xmlns:a14="http://schemas.microsoft.com/office/drawing/2010/main" val="0"/>
              </a:ext>
            </a:extLst>
          </a:blip>
          <a:srcRect/>
          <a:stretch>
            <a:fillRect/>
          </a:stretch>
        </p:blipFill>
        <p:spPr bwMode="auto">
          <a:xfrm>
            <a:off x="5210973" y="3788123"/>
            <a:ext cx="186544" cy="124849"/>
          </a:xfrm>
          <a:prstGeom prst="rect">
            <a:avLst/>
          </a:prstGeom>
          <a:noFill/>
          <a:extLst>
            <a:ext uri="{909E8E84-426E-40DD-AFC4-6F175D3DCCD1}">
              <a14:hiddenFill xmlns:a14="http://schemas.microsoft.com/office/drawing/2010/main">
                <a:solidFill>
                  <a:srgbClr val="FFFFFF"/>
                </a:solidFill>
              </a14:hiddenFill>
            </a:ext>
          </a:extLst>
        </p:spPr>
      </p:pic>
      <p:pic>
        <p:nvPicPr>
          <p:cNvPr id="1085" name="Picture 2">
            <a:extLst>
              <a:ext uri="{FF2B5EF4-FFF2-40B4-BE49-F238E27FC236}">
                <a16:creationId xmlns:a16="http://schemas.microsoft.com/office/drawing/2014/main" id="{059FD938-9FE6-B660-028C-BAE77560EB76}"/>
              </a:ext>
            </a:extLst>
          </p:cNvPr>
          <p:cNvPicPr>
            <a:picLocks noChangeAspect="1" noChangeArrowheads="1"/>
          </p:cNvPicPr>
          <p:nvPr/>
        </p:nvPicPr>
        <p:blipFill>
          <a:blip r:embed="rId63"/>
          <a:srcRect/>
          <a:stretch/>
        </p:blipFill>
        <p:spPr bwMode="auto">
          <a:xfrm>
            <a:off x="5472869" y="3581769"/>
            <a:ext cx="189272" cy="153812"/>
          </a:xfrm>
          <a:prstGeom prst="rect">
            <a:avLst/>
          </a:prstGeom>
          <a:noFill/>
          <a:extLst>
            <a:ext uri="{909E8E84-426E-40DD-AFC4-6F175D3DCCD1}">
              <a14:hiddenFill xmlns:a14="http://schemas.microsoft.com/office/drawing/2010/main">
                <a:solidFill>
                  <a:srgbClr val="FFFFFF"/>
                </a:solidFill>
              </a14:hiddenFill>
            </a:ext>
          </a:extLst>
        </p:spPr>
      </p:pic>
      <p:pic>
        <p:nvPicPr>
          <p:cNvPr id="1086" name="Picture 2">
            <a:extLst>
              <a:ext uri="{FF2B5EF4-FFF2-40B4-BE49-F238E27FC236}">
                <a16:creationId xmlns:a16="http://schemas.microsoft.com/office/drawing/2014/main" id="{9EC94753-AA55-59E2-F186-7964833C9261}"/>
              </a:ext>
            </a:extLst>
          </p:cNvPr>
          <p:cNvPicPr>
            <a:picLocks noChangeAspect="1" noChangeArrowheads="1"/>
          </p:cNvPicPr>
          <p:nvPr/>
        </p:nvPicPr>
        <p:blipFill>
          <a:blip r:embed="rId64" cstate="print">
            <a:extLst>
              <a:ext uri="{28A0092B-C50C-407E-A947-70E740481C1C}">
                <a14:useLocalDpi xmlns:a14="http://schemas.microsoft.com/office/drawing/2010/main" val="0"/>
              </a:ext>
            </a:extLst>
          </a:blip>
          <a:srcRect/>
          <a:stretch>
            <a:fillRect/>
          </a:stretch>
        </p:blipFill>
        <p:spPr bwMode="auto">
          <a:xfrm>
            <a:off x="5246314" y="3603111"/>
            <a:ext cx="161568" cy="134188"/>
          </a:xfrm>
          <a:prstGeom prst="rect">
            <a:avLst/>
          </a:prstGeom>
          <a:noFill/>
          <a:extLst>
            <a:ext uri="{909E8E84-426E-40DD-AFC4-6F175D3DCCD1}">
              <a14:hiddenFill xmlns:a14="http://schemas.microsoft.com/office/drawing/2010/main">
                <a:solidFill>
                  <a:srgbClr val="FFFFFF"/>
                </a:solidFill>
              </a14:hiddenFill>
            </a:ext>
          </a:extLst>
        </p:spPr>
      </p:pic>
      <p:pic>
        <p:nvPicPr>
          <p:cNvPr id="1087" name="Picture 6" descr="Intel Logo transparent PNG - StickPNG">
            <a:extLst>
              <a:ext uri="{FF2B5EF4-FFF2-40B4-BE49-F238E27FC236}">
                <a16:creationId xmlns:a16="http://schemas.microsoft.com/office/drawing/2014/main" id="{6D8FE6E8-3CA1-F6DF-4828-1B8462D163C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4984566" y="3738967"/>
            <a:ext cx="151782" cy="99663"/>
          </a:xfrm>
          <a:prstGeom prst="rect">
            <a:avLst/>
          </a:prstGeom>
          <a:noFill/>
          <a:extLst>
            <a:ext uri="{909E8E84-426E-40DD-AFC4-6F175D3DCCD1}">
              <a14:hiddenFill xmlns:a14="http://schemas.microsoft.com/office/drawing/2010/main">
                <a:solidFill>
                  <a:srgbClr val="FFFFFF"/>
                </a:solidFill>
              </a14:hiddenFill>
            </a:ext>
          </a:extLst>
        </p:spPr>
      </p:pic>
      <p:cxnSp>
        <p:nvCxnSpPr>
          <p:cNvPr id="128" name="Straight Connector 127">
            <a:extLst>
              <a:ext uri="{FF2B5EF4-FFF2-40B4-BE49-F238E27FC236}">
                <a16:creationId xmlns:a16="http://schemas.microsoft.com/office/drawing/2014/main" id="{A3545FFA-02B3-7923-B872-3DC953FD7E2A}"/>
              </a:ext>
            </a:extLst>
          </p:cNvPr>
          <p:cNvCxnSpPr>
            <a:cxnSpLocks/>
          </p:cNvCxnSpPr>
          <p:nvPr/>
        </p:nvCxnSpPr>
        <p:spPr>
          <a:xfrm flipH="1">
            <a:off x="2157403" y="1842507"/>
            <a:ext cx="3852000" cy="0"/>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29" name="Straight Connector 128">
            <a:extLst>
              <a:ext uri="{FF2B5EF4-FFF2-40B4-BE49-F238E27FC236}">
                <a16:creationId xmlns:a16="http://schemas.microsoft.com/office/drawing/2014/main" id="{AE519D03-4091-AC9C-1159-E9B36EDB2B51}"/>
              </a:ext>
            </a:extLst>
          </p:cNvPr>
          <p:cNvCxnSpPr>
            <a:cxnSpLocks/>
          </p:cNvCxnSpPr>
          <p:nvPr/>
        </p:nvCxnSpPr>
        <p:spPr>
          <a:xfrm flipH="1">
            <a:off x="2157403" y="2565887"/>
            <a:ext cx="3852000" cy="0"/>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30" name="Straight Connector 129">
            <a:extLst>
              <a:ext uri="{FF2B5EF4-FFF2-40B4-BE49-F238E27FC236}">
                <a16:creationId xmlns:a16="http://schemas.microsoft.com/office/drawing/2014/main" id="{56E4AE59-FFDA-4A3C-D752-4A7290CCB52C}"/>
              </a:ext>
            </a:extLst>
          </p:cNvPr>
          <p:cNvCxnSpPr>
            <a:cxnSpLocks/>
          </p:cNvCxnSpPr>
          <p:nvPr/>
        </p:nvCxnSpPr>
        <p:spPr>
          <a:xfrm flipH="1">
            <a:off x="2157403" y="3289267"/>
            <a:ext cx="3852000" cy="0"/>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cxnSp>
        <p:nvCxnSpPr>
          <p:cNvPr id="131" name="Straight Connector 130">
            <a:extLst>
              <a:ext uri="{FF2B5EF4-FFF2-40B4-BE49-F238E27FC236}">
                <a16:creationId xmlns:a16="http://schemas.microsoft.com/office/drawing/2014/main" id="{1A104717-07E7-A30A-0315-4C71591A9812}"/>
              </a:ext>
            </a:extLst>
          </p:cNvPr>
          <p:cNvCxnSpPr>
            <a:cxnSpLocks/>
          </p:cNvCxnSpPr>
          <p:nvPr/>
        </p:nvCxnSpPr>
        <p:spPr>
          <a:xfrm flipH="1">
            <a:off x="2157403" y="4012646"/>
            <a:ext cx="3852000" cy="0"/>
          </a:xfrm>
          <a:prstGeom prst="line">
            <a:avLst/>
          </a:prstGeom>
          <a:ln>
            <a:solidFill>
              <a:schemeClr val="bg1">
                <a:lumMod val="50000"/>
              </a:schemeClr>
            </a:solidFill>
          </a:ln>
        </p:spPr>
        <p:style>
          <a:lnRef idx="1">
            <a:schemeClr val="dk1"/>
          </a:lnRef>
          <a:fillRef idx="0">
            <a:schemeClr val="dk1"/>
          </a:fillRef>
          <a:effectRef idx="0">
            <a:schemeClr val="dk1"/>
          </a:effectRef>
          <a:fontRef idx="minor">
            <a:schemeClr val="tx1"/>
          </a:fontRef>
        </p:style>
      </p:cxnSp>
      <p:pic>
        <p:nvPicPr>
          <p:cNvPr id="132" name="Picture 131">
            <a:extLst>
              <a:ext uri="{FF2B5EF4-FFF2-40B4-BE49-F238E27FC236}">
                <a16:creationId xmlns:a16="http://schemas.microsoft.com/office/drawing/2014/main" id="{591B000C-567A-3370-E682-7940F4590A42}"/>
              </a:ext>
            </a:extLst>
          </p:cNvPr>
          <p:cNvPicPr>
            <a:picLocks noChangeAspect="1"/>
          </p:cNvPicPr>
          <p:nvPr/>
        </p:nvPicPr>
        <p:blipFill>
          <a:blip r:embed="rId35"/>
          <a:stretch>
            <a:fillRect/>
          </a:stretch>
        </p:blipFill>
        <p:spPr>
          <a:xfrm>
            <a:off x="4638755" y="3861557"/>
            <a:ext cx="281063" cy="87368"/>
          </a:xfrm>
          <a:prstGeom prst="rect">
            <a:avLst/>
          </a:prstGeom>
        </p:spPr>
      </p:pic>
      <p:pic>
        <p:nvPicPr>
          <p:cNvPr id="133" name="Picture 16">
            <a:extLst>
              <a:ext uri="{FF2B5EF4-FFF2-40B4-BE49-F238E27FC236}">
                <a16:creationId xmlns:a16="http://schemas.microsoft.com/office/drawing/2014/main" id="{E9862367-3844-8370-D94B-9E63A88B31A3}"/>
              </a:ext>
            </a:extLst>
          </p:cNvPr>
          <p:cNvPicPr>
            <a:picLocks noChangeAspect="1" noChangeArrowheads="1"/>
          </p:cNvPicPr>
          <p:nvPr/>
        </p:nvPicPr>
        <p:blipFill>
          <a:blip r:embed="rId22">
            <a:extLst>
              <a:ext uri="{28A0092B-C50C-407E-A947-70E740481C1C}">
                <a14:useLocalDpi xmlns:a14="http://schemas.microsoft.com/office/drawing/2010/main" val="0"/>
              </a:ext>
            </a:extLst>
          </a:blip>
          <a:srcRect/>
          <a:stretch/>
        </p:blipFill>
        <p:spPr bwMode="auto">
          <a:xfrm>
            <a:off x="4660314" y="3744716"/>
            <a:ext cx="237181" cy="7244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2" descr="Join our Talent Community | Bluefors">
            <a:extLst>
              <a:ext uri="{FF2B5EF4-FFF2-40B4-BE49-F238E27FC236}">
                <a16:creationId xmlns:a16="http://schemas.microsoft.com/office/drawing/2014/main" id="{F6147B45-4C63-2164-9645-1445CC4D7ACD}"/>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4916212" y="3635186"/>
            <a:ext cx="283402" cy="3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85103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think-cell data - do not delete" hidden="1">
            <a:extLst>
              <a:ext uri="{FF2B5EF4-FFF2-40B4-BE49-F238E27FC236}">
                <a16:creationId xmlns:a16="http://schemas.microsoft.com/office/drawing/2014/main" id="{38CD42A9-5F70-6F2E-B937-4F607A4B417C}"/>
              </a:ext>
            </a:extLst>
          </p:cNvPr>
          <p:cNvGraphicFramePr>
            <a:graphicFrameLocks noChangeAspect="1"/>
          </p:cNvGraphicFramePr>
          <p:nvPr>
            <p:custDataLst>
              <p:tags r:id="rId1"/>
            </p:custDataLst>
            <p:extLst>
              <p:ext uri="{D42A27DB-BD31-4B8C-83A1-F6EECF244321}">
                <p14:modId xmlns:p14="http://schemas.microsoft.com/office/powerpoint/2010/main" val="2827294590"/>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5" imgW="7772400" imgH="10058400" progId="TCLayout.ActiveDocument.1">
                  <p:embed/>
                </p:oleObj>
              </mc:Choice>
              <mc:Fallback>
                <p:oleObj name="think-cell Slide" r:id="rId5" imgW="7772400" imgH="10058400" progId="TCLayout.ActiveDocument.1">
                  <p:embed/>
                  <p:pic>
                    <p:nvPicPr>
                      <p:cNvPr id="16" name="think-cell data - do not delete" hidden="1">
                        <a:extLst>
                          <a:ext uri="{FF2B5EF4-FFF2-40B4-BE49-F238E27FC236}">
                            <a16:creationId xmlns:a16="http://schemas.microsoft.com/office/drawing/2014/main" id="{38CD42A9-5F70-6F2E-B937-4F607A4B417C}"/>
                          </a:ext>
                        </a:extLst>
                      </p:cNvPr>
                      <p:cNvPicPr/>
                      <p:nvPr/>
                    </p:nvPicPr>
                    <p:blipFill>
                      <a:blip r:embed="rId6"/>
                      <a:stretch>
                        <a:fillRect/>
                      </a:stretch>
                    </p:blipFill>
                    <p:spPr>
                      <a:xfrm>
                        <a:off x="1588" y="1588"/>
                        <a:ext cx="1227" cy="1588"/>
                      </a:xfrm>
                      <a:prstGeom prst="rect">
                        <a:avLst/>
                      </a:prstGeom>
                    </p:spPr>
                  </p:pic>
                </p:oleObj>
              </mc:Fallback>
            </mc:AlternateContent>
          </a:graphicData>
        </a:graphic>
      </p:graphicFrame>
      <p:graphicFrame>
        <p:nvGraphicFramePr>
          <p:cNvPr id="8" name="Table 7">
            <a:extLst>
              <a:ext uri="{FF2B5EF4-FFF2-40B4-BE49-F238E27FC236}">
                <a16:creationId xmlns:a16="http://schemas.microsoft.com/office/drawing/2014/main" id="{149D169D-9ABE-5F57-E16B-9A3195D5CB29}"/>
              </a:ext>
            </a:extLst>
          </p:cNvPr>
          <p:cNvGraphicFramePr>
            <a:graphicFrameLocks noGrp="1"/>
          </p:cNvGraphicFramePr>
          <p:nvPr>
            <p:extLst>
              <p:ext uri="{D42A27DB-BD31-4B8C-83A1-F6EECF244321}">
                <p14:modId xmlns:p14="http://schemas.microsoft.com/office/powerpoint/2010/main" val="158668351"/>
              </p:ext>
            </p:extLst>
          </p:nvPr>
        </p:nvGraphicFramePr>
        <p:xfrm>
          <a:off x="381000" y="987425"/>
          <a:ext cx="8381996" cy="3784749"/>
        </p:xfrm>
        <a:graphic>
          <a:graphicData uri="http://schemas.openxmlformats.org/drawingml/2006/table">
            <a:tbl>
              <a:tblPr firstRow="1" bandRow="1">
                <a:tableStyleId>{5C22544A-7EE6-4342-B048-85BDC9FD1C3A}</a:tableStyleId>
              </a:tblPr>
              <a:tblGrid>
                <a:gridCol w="1197428">
                  <a:extLst>
                    <a:ext uri="{9D8B030D-6E8A-4147-A177-3AD203B41FA5}">
                      <a16:colId xmlns:a16="http://schemas.microsoft.com/office/drawing/2014/main" val="3980964632"/>
                    </a:ext>
                  </a:extLst>
                </a:gridCol>
                <a:gridCol w="1197428">
                  <a:extLst>
                    <a:ext uri="{9D8B030D-6E8A-4147-A177-3AD203B41FA5}">
                      <a16:colId xmlns:a16="http://schemas.microsoft.com/office/drawing/2014/main" val="3801739236"/>
                    </a:ext>
                  </a:extLst>
                </a:gridCol>
                <a:gridCol w="1197428">
                  <a:extLst>
                    <a:ext uri="{9D8B030D-6E8A-4147-A177-3AD203B41FA5}">
                      <a16:colId xmlns:a16="http://schemas.microsoft.com/office/drawing/2014/main" val="4138362966"/>
                    </a:ext>
                  </a:extLst>
                </a:gridCol>
                <a:gridCol w="1197428">
                  <a:extLst>
                    <a:ext uri="{9D8B030D-6E8A-4147-A177-3AD203B41FA5}">
                      <a16:colId xmlns:a16="http://schemas.microsoft.com/office/drawing/2014/main" val="869458803"/>
                    </a:ext>
                  </a:extLst>
                </a:gridCol>
                <a:gridCol w="1197428">
                  <a:extLst>
                    <a:ext uri="{9D8B030D-6E8A-4147-A177-3AD203B41FA5}">
                      <a16:colId xmlns:a16="http://schemas.microsoft.com/office/drawing/2014/main" val="1312322128"/>
                    </a:ext>
                  </a:extLst>
                </a:gridCol>
                <a:gridCol w="1197428">
                  <a:extLst>
                    <a:ext uri="{9D8B030D-6E8A-4147-A177-3AD203B41FA5}">
                      <a16:colId xmlns:a16="http://schemas.microsoft.com/office/drawing/2014/main" val="1381893811"/>
                    </a:ext>
                  </a:extLst>
                </a:gridCol>
                <a:gridCol w="1197428">
                  <a:extLst>
                    <a:ext uri="{9D8B030D-6E8A-4147-A177-3AD203B41FA5}">
                      <a16:colId xmlns:a16="http://schemas.microsoft.com/office/drawing/2014/main" val="2435233550"/>
                    </a:ext>
                  </a:extLst>
                </a:gridCol>
              </a:tblGrid>
              <a:tr h="533355">
                <a:tc>
                  <a:txBody>
                    <a:bodyPr/>
                    <a:lstStyle/>
                    <a:p>
                      <a:pPr rtl="0"/>
                      <a:endParaRPr lang="en-US" sz="700">
                        <a:solidFill>
                          <a:srgbClr val="121E8D"/>
                        </a:solidFill>
                        <a:latin typeface="+mn-lt"/>
                      </a:endParaRPr>
                    </a:p>
                  </a:txBody>
                  <a:tcPr>
                    <a:lnL w="12700" cmpd="sng">
                      <a:noFill/>
                    </a:lnL>
                    <a:lnR w="6350" cap="flat" cmpd="sng" algn="ctr">
                      <a:solidFill>
                        <a:schemeClr val="bg1">
                          <a:lumMod val="50000"/>
                        </a:schemeClr>
                      </a:solidFill>
                      <a:prstDash val="sysDot"/>
                      <a:round/>
                      <a:headEnd type="none" w="med" len="med"/>
                      <a:tailEnd type="none" w="med" len="med"/>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800" b="1" kern="1200">
                        <a:solidFill>
                          <a:srgbClr val="000C20"/>
                        </a:solidFill>
                        <a:latin typeface="+mn-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a:solidFill>
                            <a:srgbClr val="000C20"/>
                          </a:solidFill>
                          <a:latin typeface="+mn-lt"/>
                          <a:ea typeface="Verdana" panose="020B0604030504040204" pitchFamily="34" charset="0"/>
                          <a:cs typeface="Verdana" panose="020B0604030504040204" pitchFamily="34" charset="0"/>
                          <a:sym typeface="+mn-lt"/>
                        </a:rPr>
                        <a:t>Logic</a:t>
                      </a:r>
                    </a:p>
                    <a:p>
                      <a:pPr rtl="0"/>
                      <a:r>
                        <a:rPr lang="en-US" sz="700" b="1" kern="1200">
                          <a:solidFill>
                            <a:srgbClr val="3078B3"/>
                          </a:solidFill>
                          <a:latin typeface="+mn-lt"/>
                          <a:ea typeface="Verdana" panose="020B0604030504040204" pitchFamily="34" charset="0"/>
                          <a:cs typeface="Verdana" panose="020B0604030504040204" pitchFamily="34" charset="0"/>
                        </a:rPr>
                        <a:t>€85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210B, 6% CAGR</a:t>
                      </a:r>
                    </a:p>
                  </a:txBody>
                  <a:tcPr>
                    <a:lnL w="6350" cap="flat" cmpd="sng" algn="ctr">
                      <a:solidFill>
                        <a:schemeClr val="bg1">
                          <a:lumMod val="50000"/>
                        </a:schemeClr>
                      </a:solidFill>
                      <a:prstDash val="sysDot"/>
                      <a:round/>
                      <a:headEnd type="none" w="med" len="med"/>
                      <a:tailEnd type="none" w="med" len="med"/>
                    </a:lnL>
                    <a:lnR w="12700" cap="flat" cmpd="sng" algn="ctr">
                      <a:noFill/>
                      <a:prstDash val="solid"/>
                      <a:round/>
                      <a:headEnd type="none" w="med" len="med"/>
                      <a:tailEnd type="none" w="med" len="med"/>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800" b="1" kern="1200">
                        <a:solidFill>
                          <a:srgbClr val="000C20"/>
                        </a:solidFill>
                        <a:latin typeface="+mn-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a:solidFill>
                            <a:srgbClr val="000C20"/>
                          </a:solidFill>
                          <a:latin typeface="+mn-lt"/>
                          <a:ea typeface="Verdana" panose="020B0604030504040204" pitchFamily="34" charset="0"/>
                          <a:cs typeface="Verdana" panose="020B0604030504040204" pitchFamily="34" charset="0"/>
                          <a:sym typeface="+mn-lt"/>
                        </a:rPr>
                        <a:t>MEMS &amp; Sensors</a:t>
                      </a:r>
                    </a:p>
                    <a:p>
                      <a:pPr rtl="0"/>
                      <a:r>
                        <a:rPr lang="en-US" sz="700" b="1" kern="1200">
                          <a:solidFill>
                            <a:srgbClr val="3078B3"/>
                          </a:solidFill>
                          <a:latin typeface="+mn-lt"/>
                          <a:ea typeface="Verdana" panose="020B0604030504040204" pitchFamily="34" charset="0"/>
                          <a:cs typeface="Verdana" panose="020B0604030504040204" pitchFamily="34" charset="0"/>
                        </a:rPr>
                        <a:t>€515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MEMS: €12B, 8% CAGR</a:t>
                      </a:r>
                    </a:p>
                  </a:txBody>
                  <a:tcP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800" b="1" kern="1200">
                        <a:solidFill>
                          <a:srgbClr val="000C20"/>
                        </a:solidFill>
                        <a:latin typeface="+mn-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a:solidFill>
                            <a:srgbClr val="000C20"/>
                          </a:solidFill>
                          <a:latin typeface="+mn-lt"/>
                          <a:ea typeface="Verdana" panose="020B0604030504040204" pitchFamily="34" charset="0"/>
                          <a:cs typeface="Verdana" panose="020B0604030504040204" pitchFamily="34" charset="0"/>
                          <a:sym typeface="+mn-lt"/>
                        </a:rPr>
                        <a:t>Optoelectronics</a:t>
                      </a:r>
                    </a:p>
                    <a:p>
                      <a:pPr rtl="0"/>
                      <a:r>
                        <a:rPr lang="en-US" sz="700" b="1" kern="1200">
                          <a:solidFill>
                            <a:srgbClr val="3078B3"/>
                          </a:solidFill>
                          <a:latin typeface="+mn-lt"/>
                          <a:ea typeface="Verdana" panose="020B0604030504040204" pitchFamily="34" charset="0"/>
                          <a:cs typeface="Verdana" panose="020B0604030504040204" pitchFamily="34" charset="0"/>
                        </a:rPr>
                        <a:t>€365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34B, 8% CAG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US" altLang="ja-JP" sz="800" b="1" kern="1200" dirty="0">
                        <a:solidFill>
                          <a:srgbClr val="000C20"/>
                        </a:solidFill>
                        <a:latin typeface="+mn-lt"/>
                        <a:ea typeface="Verdana" panose="020B0604030504040204" pitchFamily="34" charset="0"/>
                        <a:cs typeface="Verdana" panose="020B0604030504040204" pitchFamily="34" charset="0"/>
                        <a:sym typeface="+mn-lt"/>
                      </a:endParaRPr>
                    </a:p>
                    <a:p>
                      <a:pPr rtl="0"/>
                      <a:r>
                        <a:rPr lang="en-US" altLang="ja-JP" sz="800" b="1" kern="1200" dirty="0">
                          <a:solidFill>
                            <a:srgbClr val="000C20"/>
                          </a:solidFill>
                          <a:latin typeface="+mn-lt"/>
                          <a:ea typeface="Verdana" panose="020B0604030504040204" pitchFamily="34" charset="0"/>
                          <a:cs typeface="Verdana" panose="020B0604030504040204" pitchFamily="34" charset="0"/>
                          <a:sym typeface="+mn-lt"/>
                        </a:rPr>
                        <a:t>RF and baseband</a:t>
                      </a:r>
                      <a:br>
                        <a:rPr lang="en-US" altLang="ja-JP" sz="500" b="1" dirty="0">
                          <a:solidFill>
                            <a:srgbClr val="121E8D"/>
                          </a:solidFill>
                          <a:latin typeface="+mn-lt"/>
                          <a:ea typeface="Verdana" panose="020B0604030504040204" pitchFamily="34" charset="0"/>
                          <a:cs typeface="Verdana" panose="020B0604030504040204" pitchFamily="34" charset="0"/>
                          <a:sym typeface="+mn-lt"/>
                        </a:rPr>
                      </a:br>
                      <a:r>
                        <a:rPr lang="en-US" sz="700" b="1" kern="1200" dirty="0">
                          <a:solidFill>
                            <a:srgbClr val="3078B3"/>
                          </a:solidFill>
                          <a:latin typeface="+mn-lt"/>
                          <a:ea typeface="Verdana" panose="020B0604030504040204" pitchFamily="34" charset="0"/>
                          <a:cs typeface="Verdana" panose="020B0604030504040204" pitchFamily="34" charset="0"/>
                        </a:rPr>
                        <a:t>€425M</a:t>
                      </a:r>
                    </a:p>
                    <a:p>
                      <a:pPr marL="0" algn="l" defTabSz="806052" rtl="0" eaLnBrk="1" latinLnBrk="0" hangingPunct="1"/>
                      <a:r>
                        <a:rPr lang="en-US" sz="600" b="0" i="1" kern="1200" dirty="0">
                          <a:solidFill>
                            <a:schemeClr val="bg1">
                              <a:lumMod val="50000"/>
                            </a:schemeClr>
                          </a:solidFill>
                          <a:latin typeface="+mn-lt"/>
                          <a:ea typeface="Verdana" panose="020B0604030504040204" pitchFamily="34" charset="0"/>
                          <a:cs typeface="Verdana" panose="020B0604030504040204" pitchFamily="34" charset="0"/>
                        </a:rPr>
                        <a:t>€19B, 7% CAGR</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800" b="1" kern="1200" dirty="0">
                        <a:solidFill>
                          <a:srgbClr val="000C20"/>
                        </a:solidFill>
                        <a:latin typeface="+mn-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dirty="0">
                          <a:solidFill>
                            <a:srgbClr val="000C20"/>
                          </a:solidFill>
                          <a:latin typeface="+mn-lt"/>
                          <a:ea typeface="Verdana" panose="020B0604030504040204" pitchFamily="34" charset="0"/>
                          <a:cs typeface="Verdana" panose="020B0604030504040204" pitchFamily="34" charset="0"/>
                          <a:sym typeface="+mn-lt"/>
                        </a:rPr>
                        <a:t>Other</a:t>
                      </a:r>
                      <a:endParaRPr lang="en-US" altLang="ja-JP" sz="500" b="0" dirty="0">
                        <a:solidFill>
                          <a:srgbClr val="000C20"/>
                        </a:solidFill>
                        <a:latin typeface="+mn-lt"/>
                        <a:ea typeface="Verdana" panose="020B0604030504040204" pitchFamily="34" charset="0"/>
                        <a:cs typeface="Verdana" panose="020B0604030504040204" pitchFamily="34" charset="0"/>
                        <a:sym typeface="+mn-lt"/>
                      </a:endParaRPr>
                    </a:p>
                    <a:p>
                      <a:pPr rtl="0"/>
                      <a:r>
                        <a:rPr lang="en-US" sz="700" b="1" kern="1200" dirty="0">
                          <a:solidFill>
                            <a:srgbClr val="3078B3"/>
                          </a:solidFill>
                          <a:latin typeface="+mn-lt"/>
                          <a:ea typeface="Verdana" panose="020B0604030504040204" pitchFamily="34" charset="0"/>
                          <a:cs typeface="Verdana" panose="020B0604030504040204" pitchFamily="34" charset="0"/>
                        </a:rPr>
                        <a:t>€180M</a:t>
                      </a:r>
                    </a:p>
                    <a:p>
                      <a:pPr marL="0" algn="l" defTabSz="806052" rtl="0" eaLnBrk="1" latinLnBrk="0" hangingPunct="1"/>
                      <a:r>
                        <a:rPr lang="en-US" sz="600" b="0" i="1" kern="1200" dirty="0">
                          <a:solidFill>
                            <a:schemeClr val="bg1">
                              <a:lumMod val="50000"/>
                            </a:schemeClr>
                          </a:solidFill>
                          <a:latin typeface="+mn-lt"/>
                          <a:ea typeface="Verdana" panose="020B0604030504040204" pitchFamily="34" charset="0"/>
                          <a:cs typeface="Verdana" panose="020B0604030504040204" pitchFamily="34" charset="0"/>
                        </a:rPr>
                        <a:t>€170B, 5% CAGR </a:t>
                      </a:r>
                    </a:p>
                  </a:txBody>
                  <a:tcPr>
                    <a:lnL w="12700" cap="flat" cmpd="sng" algn="ctr">
                      <a:solidFill>
                        <a:schemeClr val="bg1"/>
                      </a:solidFill>
                      <a:prstDash val="solid"/>
                      <a:round/>
                      <a:headEnd type="none" w="med" len="med"/>
                      <a:tailEnd type="none" w="med" len="med"/>
                    </a:lnL>
                    <a:lnR w="12700" cap="flat" cmpd="sng" algn="ctr">
                      <a:solidFill>
                        <a:srgbClr val="3078B3"/>
                      </a:solidFill>
                      <a:prstDash val="solid"/>
                      <a:round/>
                      <a:headEnd type="none" w="med" len="med"/>
                      <a:tailEnd type="none" w="med" len="med"/>
                    </a:lnR>
                    <a:lnT w="12700" cmpd="sng">
                      <a:noFill/>
                    </a:lnT>
                    <a:lnB w="6350" cap="flat" cmpd="sng" algn="ctr">
                      <a:solidFill>
                        <a:schemeClr val="bg1">
                          <a:lumMod val="50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mn-lt"/>
                          <a:ea typeface="Verdana" panose="020B0604030504040204" pitchFamily="34" charset="0"/>
                          <a:cs typeface="Verdana" panose="020B0604030504040204" pitchFamily="34" charset="0"/>
                        </a:rPr>
                        <a:t>Opportunities</a:t>
                      </a:r>
                      <a:r>
                        <a:rPr lang="en-US" sz="800" dirty="0">
                          <a:solidFill>
                            <a:srgbClr val="555D6A"/>
                          </a:solidFill>
                          <a:latin typeface="+mn-lt"/>
                          <a:ea typeface="Verdana" panose="020B0604030504040204" pitchFamily="34" charset="0"/>
                          <a:cs typeface="Verdana" panose="020B0604030504040204" pitchFamily="34" charset="0"/>
                        </a:rPr>
                        <a:t> </a:t>
                      </a:r>
                      <a:br>
                        <a:rPr lang="en-US" sz="800" dirty="0">
                          <a:solidFill>
                            <a:srgbClr val="555D6A"/>
                          </a:solidFill>
                          <a:latin typeface="+mn-lt"/>
                          <a:ea typeface="Verdana" panose="020B0604030504040204" pitchFamily="34" charset="0"/>
                          <a:cs typeface="Verdana" panose="020B0604030504040204" pitchFamily="34" charset="0"/>
                        </a:rPr>
                      </a:br>
                      <a:endParaRPr lang="en-US" sz="800" dirty="0">
                        <a:solidFill>
                          <a:srgbClr val="555D6A"/>
                        </a:solidFill>
                        <a:latin typeface="+mn-lt"/>
                        <a:ea typeface="Verdana" panose="020B0604030504040204" pitchFamily="34" charset="0"/>
                        <a:cs typeface="Verdana" panose="020B0604030504040204" pitchFamily="34" charset="0"/>
                      </a:endParaRPr>
                    </a:p>
                  </a:txBody>
                  <a:tcPr anchor="b">
                    <a:lnL w="12700" cap="flat" cmpd="sng" algn="ctr">
                      <a:solidFill>
                        <a:srgbClr val="3078B3"/>
                      </a:solidFill>
                      <a:prstDash val="solid"/>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89512398"/>
                  </a:ext>
                </a:extLst>
              </a:tr>
              <a:tr h="493638">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a:solidFill>
                            <a:srgbClr val="000C20"/>
                          </a:solidFill>
                          <a:latin typeface="+mn-lt"/>
                          <a:ea typeface="Verdana" panose="020B0604030504040204" pitchFamily="34" charset="0"/>
                          <a:cs typeface="Verdana" panose="020B0604030504040204" pitchFamily="34" charset="0"/>
                          <a:sym typeface="+mn-lt"/>
                        </a:rPr>
                        <a:t>Fabless</a:t>
                      </a:r>
                    </a:p>
                    <a:p>
                      <a:pPr rtl="0"/>
                      <a:r>
                        <a:rPr lang="en-US" sz="700" b="1" kern="1200">
                          <a:solidFill>
                            <a:srgbClr val="3078B3"/>
                          </a:solidFill>
                          <a:latin typeface="+mn-lt"/>
                          <a:ea typeface="Verdana" panose="020B0604030504040204" pitchFamily="34" charset="0"/>
                          <a:cs typeface="Verdana" panose="020B0604030504040204" pitchFamily="34" charset="0"/>
                        </a:rPr>
                        <a:t>€360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170B, 6% CAGR</a:t>
                      </a:r>
                    </a:p>
                    <a:p>
                      <a:pPr rtl="0"/>
                      <a:endParaRPr lang="en-US" sz="500">
                        <a:solidFill>
                          <a:srgbClr val="121E8D"/>
                        </a:solidFill>
                        <a:latin typeface="+mn-lt"/>
                      </a:endParaRPr>
                    </a:p>
                  </a:txBody>
                  <a:tcPr>
                    <a:lnL w="12700" cmpd="sng">
                      <a:noFill/>
                    </a:lnL>
                    <a:lnR w="6350" cap="flat" cmpd="sng" algn="ctr">
                      <a:solidFill>
                        <a:schemeClr val="bg1">
                          <a:lumMod val="50000"/>
                        </a:schemeClr>
                      </a:solidFill>
                      <a:prstDash val="sysDot"/>
                      <a:round/>
                      <a:headEnd type="none" w="med" len="med"/>
                      <a:tailEnd type="none" w="med" len="med"/>
                    </a:lnR>
                    <a:lnT w="6350" cap="flat" cmpd="sng" algn="ctr">
                      <a:solidFill>
                        <a:schemeClr val="bg1">
                          <a:lumMod val="50000"/>
                        </a:schemeClr>
                      </a:solidFill>
                      <a:prstDash val="sysDot"/>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6350" cap="flat" cmpd="sng" algn="ctr">
                      <a:solidFill>
                        <a:schemeClr val="bg1">
                          <a:lumMod val="50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a:solidFill>
                          <a:srgbClr val="121E8D"/>
                        </a:solidFill>
                        <a:latin typeface="+mn-lt"/>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a:solidFill>
                          <a:srgbClr val="121E8D"/>
                        </a:solidFill>
                        <a:latin typeface="+mn-lt"/>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rgbClr val="3078B3"/>
                      </a:solidFill>
                      <a:prstDash val="solid"/>
                      <a:round/>
                      <a:headEnd type="none" w="med" len="med"/>
                      <a:tailEnd type="none" w="med" len="med"/>
                    </a:lnR>
                    <a:lnT w="6350" cap="flat" cmpd="sng" algn="ctr">
                      <a:solidFill>
                        <a:schemeClr val="bg1">
                          <a:lumMod val="50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rowSpan="2">
                  <a:txBody>
                    <a:bodyPr/>
                    <a:lstStyle/>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rPr>
                        <a:t>Mobile SoC design </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rPr>
                        <a:t>Edge AI chip design</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rPr>
                        <a:t>Ultra-low power design</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rPr>
                        <a:t>Power management</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rPr>
                        <a:t>RF MEMS components</a:t>
                      </a:r>
                    </a:p>
                  </a:txBody>
                  <a:tcPr marB="36000" anchor="ctr">
                    <a:lnL w="12700" cap="flat" cmpd="sng" algn="ctr">
                      <a:solidFill>
                        <a:srgbClr val="3078B3"/>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426159822"/>
                  </a:ext>
                </a:extLst>
              </a:tr>
              <a:tr h="493638">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a:solidFill>
                            <a:srgbClr val="000C20"/>
                          </a:solidFill>
                          <a:latin typeface="+mn-lt"/>
                          <a:ea typeface="Verdana" panose="020B0604030504040204" pitchFamily="34" charset="0"/>
                          <a:cs typeface="Verdana" panose="020B0604030504040204" pitchFamily="34" charset="0"/>
                          <a:sym typeface="+mn-lt"/>
                        </a:rPr>
                        <a:t>IDMs</a:t>
                      </a:r>
                    </a:p>
                    <a:p>
                      <a:pPr rtl="0"/>
                      <a:r>
                        <a:rPr lang="en-US" sz="700" b="1" kern="1200">
                          <a:solidFill>
                            <a:srgbClr val="3078B3"/>
                          </a:solidFill>
                          <a:latin typeface="+mn-lt"/>
                          <a:ea typeface="Verdana" panose="020B0604030504040204" pitchFamily="34" charset="0"/>
                          <a:cs typeface="Verdana" panose="020B0604030504040204" pitchFamily="34" charset="0"/>
                        </a:rPr>
                        <a:t>€670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370B</a:t>
                      </a:r>
                    </a:p>
                    <a:p>
                      <a:pPr rtl="0"/>
                      <a:endParaRPr lang="en-US" sz="500">
                        <a:solidFill>
                          <a:srgbClr val="121E8D"/>
                        </a:solidFill>
                        <a:latin typeface="+mn-lt"/>
                      </a:endParaRPr>
                    </a:p>
                  </a:txBody>
                  <a:tcPr>
                    <a:lnL w="12700" cmpd="sng">
                      <a:noFill/>
                    </a:lnL>
                    <a:lnR w="6350" cap="flat" cmpd="sng" algn="ctr">
                      <a:solidFill>
                        <a:schemeClr val="bg1">
                          <a:lumMod val="50000"/>
                        </a:schemeClr>
                      </a:solidFill>
                      <a:prstDash val="sysDot"/>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US" sz="600">
                        <a:solidFill>
                          <a:srgbClr val="121E8D"/>
                        </a:solidFill>
                        <a:latin typeface="+mn-lt"/>
                      </a:endParaRPr>
                    </a:p>
                  </a:txBody>
                  <a:tcPr marL="36000" marR="288000" marB="72000" anchor="ctr">
                    <a:lnL w="6350" cap="flat" cmpd="sng" algn="ctr">
                      <a:solidFill>
                        <a:schemeClr val="bg1">
                          <a:lumMod val="50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b="1">
                        <a:solidFill>
                          <a:srgbClr val="003580"/>
                        </a:solidFill>
                        <a:latin typeface="+mn-lt"/>
                        <a:ea typeface="Verdana" panose="020B0604030504040204" pitchFamily="34" charset="0"/>
                        <a:cs typeface="Verdana" panose="020B0604030504040204" pitchFamily="34" charset="0"/>
                      </a:endParaRPr>
                    </a:p>
                  </a:txBody>
                  <a:tcPr marL="36000" marR="324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rgbClr val="3078B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vMerge="1">
                  <a:txBody>
                    <a:bodyPr/>
                    <a:lstStyle/>
                    <a:p>
                      <a:pPr marL="108000" lvl="1" indent="-81000">
                        <a:buClr>
                          <a:srgbClr val="003580"/>
                        </a:buClr>
                        <a:buFont typeface="Trebuchet MS" panose="020B0603020202020204" pitchFamily="34" charset="0"/>
                        <a:buChar char="•"/>
                      </a:pPr>
                      <a:r>
                        <a:rPr lang="en-US" sz="5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Mobile network SoC design </a:t>
                      </a:r>
                    </a:p>
                    <a:p>
                      <a:pPr marL="108000" lvl="1" indent="-81000">
                        <a:buClr>
                          <a:srgbClr val="003580"/>
                        </a:buClr>
                        <a:buFont typeface="Trebuchet MS" panose="020B0603020202020204" pitchFamily="34" charset="0"/>
                        <a:buChar char="•"/>
                      </a:pPr>
                      <a:r>
                        <a:rPr lang="en-US" sz="5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Edge AI chip design</a:t>
                      </a:r>
                    </a:p>
                    <a:p>
                      <a:pPr marL="108000" lvl="1" indent="-81000">
                        <a:buClr>
                          <a:srgbClr val="003580"/>
                        </a:buClr>
                        <a:buFont typeface="Trebuchet MS" panose="020B0603020202020204" pitchFamily="34" charset="0"/>
                        <a:buChar char="•"/>
                      </a:pPr>
                      <a:r>
                        <a:rPr lang="en-US" sz="5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Ultra-low power design</a:t>
                      </a:r>
                    </a:p>
                    <a:p>
                      <a:pPr marL="108000" lvl="1" indent="-81000">
                        <a:buClr>
                          <a:srgbClr val="003580"/>
                        </a:buClr>
                        <a:buFont typeface="Trebuchet MS" panose="020B0603020202020204" pitchFamily="34" charset="0"/>
                        <a:buChar char="•"/>
                      </a:pPr>
                      <a:r>
                        <a:rPr lang="en-US" sz="5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Power management</a:t>
                      </a:r>
                    </a:p>
                    <a:p>
                      <a:pPr marL="108000" lvl="1" indent="-81000">
                        <a:buClr>
                          <a:srgbClr val="003580"/>
                        </a:buClr>
                        <a:buFont typeface="Trebuchet MS" panose="020B0603020202020204" pitchFamily="34" charset="0"/>
                        <a:buChar char="•"/>
                      </a:pPr>
                      <a:r>
                        <a:rPr lang="en-US" sz="5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rPr>
                        <a:t>RF MEMS components</a:t>
                      </a:r>
                    </a:p>
                  </a:txBody>
                  <a:tcPr marR="72000" marT="36000" marB="36000">
                    <a:lnL w="12700" cap="flat" cmpd="sng" algn="ctr">
                      <a:solidFill>
                        <a:srgbClr val="2A5AA9"/>
                      </a:solidFill>
                      <a:prstDash val="solid"/>
                      <a:round/>
                      <a:headEnd type="none" w="med" len="med"/>
                      <a:tailEnd type="none" w="med" len="med"/>
                    </a:lnL>
                    <a:lnR w="12700" cmpd="sng">
                      <a:noFill/>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6311898"/>
                  </a:ext>
                </a:extLst>
              </a:tr>
              <a:tr h="493638">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sz="800" b="1" kern="1200" err="1">
                          <a:solidFill>
                            <a:srgbClr val="000C20"/>
                          </a:solidFill>
                          <a:latin typeface="+mn-lt"/>
                          <a:ea typeface="Verdana" panose="020B0604030504040204" pitchFamily="34" charset="0"/>
                          <a:cs typeface="Verdana" panose="020B0604030504040204" pitchFamily="34" charset="0"/>
                        </a:rPr>
                        <a:t>OSAT</a:t>
                      </a:r>
                      <a:endParaRPr lang="en-US" sz="800" b="1" kern="1200">
                        <a:solidFill>
                          <a:srgbClr val="000C20"/>
                        </a:solidFill>
                        <a:latin typeface="+mn-lt"/>
                        <a:ea typeface="Verdana" panose="020B0604030504040204" pitchFamily="34" charset="0"/>
                        <a:cs typeface="Verdana" panose="020B0604030504040204" pitchFamily="34" charset="0"/>
                      </a:endParaRPr>
                    </a:p>
                    <a:p>
                      <a:pPr rtl="0"/>
                      <a:r>
                        <a:rPr lang="en-US" sz="700" b="1" kern="1200">
                          <a:solidFill>
                            <a:srgbClr val="3078B3"/>
                          </a:solidFill>
                          <a:latin typeface="+mn-lt"/>
                          <a:ea typeface="Verdana" panose="020B0604030504040204" pitchFamily="34" charset="0"/>
                          <a:cs typeface="Verdana" panose="020B0604030504040204" pitchFamily="34" charset="0"/>
                        </a:rPr>
                        <a:t>€50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45B, 6% CAGR</a:t>
                      </a:r>
                    </a:p>
                    <a:p>
                      <a:pPr rtl="0"/>
                      <a:endParaRPr lang="en-US" sz="500">
                        <a:solidFill>
                          <a:srgbClr val="121E8D"/>
                        </a:solidFill>
                        <a:latin typeface="+mn-lt"/>
                      </a:endParaRPr>
                    </a:p>
                  </a:txBody>
                  <a:tcPr>
                    <a:lnL w="12700" cmpd="sng">
                      <a:noFill/>
                    </a:lnL>
                    <a:lnR w="6350" cap="flat" cmpd="sng" algn="ctr">
                      <a:solidFill>
                        <a:schemeClr val="bg1">
                          <a:lumMod val="50000"/>
                        </a:schemeClr>
                      </a:solidFill>
                      <a:prstDash val="sysDot"/>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rtl="0"/>
                      <a:endParaRPr lang="en-US" sz="600">
                        <a:solidFill>
                          <a:srgbClr val="121E8D"/>
                        </a:solidFill>
                        <a:latin typeface="+mn-lt"/>
                      </a:endParaRPr>
                    </a:p>
                  </a:txBody>
                  <a:tcPr marL="36000" marR="288000" marB="72000" anchor="ctr">
                    <a:lnL w="6350" cap="flat" cmpd="sng" algn="ctr">
                      <a:solidFill>
                        <a:schemeClr val="bg1">
                          <a:lumMod val="50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a:solidFill>
                          <a:srgbClr val="121E8D"/>
                        </a:solidFill>
                        <a:latin typeface="+mn-lt"/>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a:solidFill>
                          <a:srgbClr val="121E8D"/>
                        </a:solidFill>
                        <a:latin typeface="+mn-lt"/>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rgbClr val="3078B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500">
                        <a:solidFill>
                          <a:srgbClr val="121E8D"/>
                        </a:solidFill>
                        <a:latin typeface="+mn-lt"/>
                      </a:endParaRPr>
                    </a:p>
                  </a:txBody>
                  <a:tcPr marR="72000" marT="36000" marB="36000">
                    <a:lnL w="12700" cap="flat" cmpd="sng" algn="ctr">
                      <a:solidFill>
                        <a:srgbClr val="3078B3"/>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22035299"/>
                  </a:ext>
                </a:extLst>
              </a:tr>
              <a:tr h="620588">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a:solidFill>
                            <a:srgbClr val="000C20"/>
                          </a:solidFill>
                          <a:latin typeface="+mn-lt"/>
                          <a:ea typeface="Verdana" panose="020B0604030504040204" pitchFamily="34" charset="0"/>
                          <a:cs typeface="Verdana" panose="020B0604030504040204" pitchFamily="34" charset="0"/>
                          <a:sym typeface="+mn-lt"/>
                        </a:rPr>
                        <a:t>Equipment</a:t>
                      </a:r>
                    </a:p>
                    <a:p>
                      <a:pPr rtl="0"/>
                      <a:r>
                        <a:rPr lang="en-US" sz="700" b="1" kern="1200">
                          <a:solidFill>
                            <a:srgbClr val="3078B3"/>
                          </a:solidFill>
                          <a:latin typeface="+mn-lt"/>
                          <a:ea typeface="Verdana" panose="020B0604030504040204" pitchFamily="34" charset="0"/>
                          <a:cs typeface="Verdana" panose="020B0604030504040204" pitchFamily="34" charset="0"/>
                        </a:rPr>
                        <a:t>€310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100B, 8% CAGR</a:t>
                      </a:r>
                    </a:p>
                    <a:p>
                      <a:pPr rtl="0"/>
                      <a:endParaRPr lang="en-US" sz="500">
                        <a:solidFill>
                          <a:srgbClr val="121E8D"/>
                        </a:solidFill>
                        <a:latin typeface="+mn-lt"/>
                      </a:endParaRPr>
                    </a:p>
                  </a:txBody>
                  <a:tcPr>
                    <a:lnL w="12700" cmpd="sng">
                      <a:noFill/>
                    </a:lnL>
                    <a:lnR w="6350" cap="flat" cmpd="sng" algn="ctr">
                      <a:solidFill>
                        <a:schemeClr val="bg1">
                          <a:lumMod val="50000"/>
                        </a:schemeClr>
                      </a:solidFill>
                      <a:prstDash val="sysDot"/>
                      <a:round/>
                      <a:headEnd type="none" w="med" len="med"/>
                      <a:tailEnd type="none" w="med" len="med"/>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6350" cap="flat" cmpd="sng" algn="ctr">
                      <a:solidFill>
                        <a:schemeClr val="bg1">
                          <a:lumMod val="50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rgbClr val="3078B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08000" lvl="1" indent="-81000" rtl="0">
                        <a:buClr>
                          <a:srgbClr val="003580"/>
                        </a:buClr>
                        <a:buFont typeface="Trebuchet MS" panose="020B0603020202020204" pitchFamily="34" charset="0"/>
                        <a:buChar char="•"/>
                      </a:pPr>
                      <a:r>
                        <a:rPr lang="en-US" sz="600">
                          <a:solidFill>
                            <a:schemeClr val="bg2">
                              <a:lumMod val="10000"/>
                            </a:schemeClr>
                          </a:solidFill>
                          <a:latin typeface="+mn-lt"/>
                          <a:ea typeface="Verdana" panose="020B0604030504040204" pitchFamily="34" charset="0"/>
                          <a:cs typeface="Verdana" panose="020B0604030504040204" pitchFamily="34" charset="0"/>
                        </a:rPr>
                        <a:t>Atomic layer deposition</a:t>
                      </a:r>
                    </a:p>
                    <a:p>
                      <a:pPr marL="108000" lvl="1" indent="-81000" rtl="0">
                        <a:buClr>
                          <a:srgbClr val="003580"/>
                        </a:buClr>
                        <a:buFont typeface="Trebuchet MS" panose="020B0603020202020204" pitchFamily="34" charset="0"/>
                        <a:buChar char="•"/>
                      </a:pPr>
                      <a:r>
                        <a:rPr lang="en-US" sz="600">
                          <a:solidFill>
                            <a:schemeClr val="bg2">
                              <a:lumMod val="10000"/>
                            </a:schemeClr>
                          </a:solidFill>
                          <a:latin typeface="+mn-lt"/>
                          <a:ea typeface="Verdana" panose="020B0604030504040204" pitchFamily="34" charset="0"/>
                          <a:cs typeface="Verdana" panose="020B0604030504040204" pitchFamily="34" charset="0"/>
                        </a:rPr>
                        <a:t>Flexible microelectronics</a:t>
                      </a:r>
                    </a:p>
                    <a:p>
                      <a:pPr marL="108000" lvl="1" indent="-81000" rtl="0">
                        <a:buClr>
                          <a:srgbClr val="003580"/>
                        </a:buClr>
                        <a:buFont typeface="Trebuchet MS" panose="020B0603020202020204" pitchFamily="34" charset="0"/>
                        <a:buChar char="•"/>
                      </a:pPr>
                      <a:r>
                        <a:rPr lang="en-US" sz="600">
                          <a:solidFill>
                            <a:schemeClr val="bg2">
                              <a:lumMod val="10000"/>
                            </a:schemeClr>
                          </a:solidFill>
                          <a:latin typeface="+mn-lt"/>
                          <a:ea typeface="Verdana" panose="020B0604030504040204" pitchFamily="34" charset="0"/>
                          <a:cs typeface="Verdana" panose="020B0604030504040204" pitchFamily="34" charset="0"/>
                        </a:rPr>
                        <a:t>Sustainable process technologies</a:t>
                      </a:r>
                    </a:p>
                    <a:p>
                      <a:pPr rtl="0"/>
                      <a:endParaRPr lang="en-US" sz="600">
                        <a:solidFill>
                          <a:srgbClr val="121E8D"/>
                        </a:solidFill>
                        <a:latin typeface="+mn-lt"/>
                      </a:endParaRPr>
                    </a:p>
                  </a:txBody>
                  <a:tcPr marR="72000" marT="36000" marB="36000">
                    <a:lnL w="12700" cap="flat" cmpd="sng" algn="ctr">
                      <a:solidFill>
                        <a:srgbClr val="3078B3"/>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75530370"/>
                  </a:ext>
                </a:extLst>
              </a:tr>
              <a:tr h="529155">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800" b="1" kern="1200">
                          <a:solidFill>
                            <a:srgbClr val="000C20"/>
                          </a:solidFill>
                          <a:latin typeface="+mn-lt"/>
                          <a:ea typeface="Verdana" panose="020B0604030504040204" pitchFamily="34" charset="0"/>
                          <a:cs typeface="Verdana" panose="020B0604030504040204" pitchFamily="34" charset="0"/>
                          <a:sym typeface="+mn-lt"/>
                        </a:rPr>
                        <a:t>Materials</a:t>
                      </a:r>
                    </a:p>
                    <a:p>
                      <a:pPr rtl="0"/>
                      <a:r>
                        <a:rPr lang="en-US" sz="700" b="1" kern="1200">
                          <a:solidFill>
                            <a:srgbClr val="3078B3"/>
                          </a:solidFill>
                          <a:latin typeface="+mn-lt"/>
                          <a:ea typeface="Verdana" panose="020B0604030504040204" pitchFamily="34" charset="0"/>
                          <a:cs typeface="Verdana" panose="020B0604030504040204" pitchFamily="34" charset="0"/>
                        </a:rPr>
                        <a:t>€180M</a:t>
                      </a:r>
                    </a:p>
                    <a:p>
                      <a:pPr marL="0" algn="l" defTabSz="806052" rtl="0" eaLnBrk="1" latinLnBrk="0" hangingPunct="1"/>
                      <a:r>
                        <a:rPr lang="en-US" sz="600" b="0" i="1" kern="1200">
                          <a:solidFill>
                            <a:schemeClr val="bg1">
                              <a:lumMod val="50000"/>
                            </a:schemeClr>
                          </a:solidFill>
                          <a:latin typeface="+mn-lt"/>
                          <a:ea typeface="Verdana" panose="020B0604030504040204" pitchFamily="34" charset="0"/>
                          <a:cs typeface="Verdana" panose="020B0604030504040204" pitchFamily="34" charset="0"/>
                        </a:rPr>
                        <a:t>€65B, 5% CAGR</a:t>
                      </a:r>
                    </a:p>
                    <a:p>
                      <a:pPr rtl="0"/>
                      <a:endParaRPr lang="en-US" sz="500">
                        <a:solidFill>
                          <a:srgbClr val="121E8D"/>
                        </a:solidFill>
                        <a:latin typeface="+mn-lt"/>
                      </a:endParaRPr>
                    </a:p>
                  </a:txBody>
                  <a:tcPr>
                    <a:lnL w="12700" cmpd="sng">
                      <a:noFill/>
                    </a:lnL>
                    <a:lnR w="6350" cap="flat" cmpd="sng" algn="ctr">
                      <a:solidFill>
                        <a:schemeClr val="bg1">
                          <a:lumMod val="50000"/>
                        </a:schemeClr>
                      </a:solidFill>
                      <a:prstDash val="sysDot"/>
                      <a:round/>
                      <a:headEnd type="none" w="med" len="med"/>
                      <a:tailEnd type="none" w="med" len="med"/>
                    </a:lnR>
                    <a:lnT w="9525"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6350" cap="flat" cmpd="sng" algn="ctr">
                      <a:solidFill>
                        <a:schemeClr val="bg1">
                          <a:lumMod val="50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sz="600" b="1">
                        <a:solidFill>
                          <a:srgbClr val="003580"/>
                        </a:solidFill>
                        <a:latin typeface="+mn-lt"/>
                        <a:ea typeface="Verdana" panose="020B0604030504040204" pitchFamily="34" charset="0"/>
                        <a:cs typeface="Verdana" panose="020B0604030504040204" pitchFamily="34" charset="0"/>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rtl="0"/>
                      <a:endParaRPr lang="en-US" sz="600">
                        <a:solidFill>
                          <a:srgbClr val="121E8D"/>
                        </a:solidFill>
                        <a:latin typeface="+mn-lt"/>
                      </a:endParaRPr>
                    </a:p>
                  </a:txBody>
                  <a:tcPr marL="36000" marR="288000" marB="72000" anchor="ctr">
                    <a:lnL w="12700" cap="flat" cmpd="sng" algn="ctr">
                      <a:solidFill>
                        <a:schemeClr val="bg1"/>
                      </a:solidFill>
                      <a:prstDash val="solid"/>
                      <a:round/>
                      <a:headEnd type="none" w="med" len="med"/>
                      <a:tailEnd type="none" w="med" len="med"/>
                    </a:lnL>
                    <a:lnR w="12700" cap="flat" cmpd="sng" algn="ctr">
                      <a:solidFill>
                        <a:srgbClr val="3078B3"/>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Specialized wafer production</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Next generation advanced materials</a:t>
                      </a:r>
                    </a:p>
                  </a:txBody>
                  <a:tcPr marR="72000" marT="36000" marB="36000">
                    <a:lnL w="12700" cap="flat" cmpd="sng" algn="ctr">
                      <a:solidFill>
                        <a:srgbClr val="3078B3"/>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3929385"/>
                  </a:ext>
                </a:extLst>
              </a:tr>
              <a:tr h="620588">
                <a:tc>
                  <a:txBody>
                    <a:bodyPr/>
                    <a:lstStyle/>
                    <a:p>
                      <a:pPr marL="0" marR="0" lvl="0" indent="0" algn="r" defTabSz="806052" rtl="0" eaLnBrk="1" fontAlgn="auto" latinLnBrk="0" hangingPunct="1">
                        <a:lnSpc>
                          <a:spcPct val="100000"/>
                        </a:lnSpc>
                        <a:spcBef>
                          <a:spcPts val="0"/>
                        </a:spcBef>
                        <a:spcAft>
                          <a:spcPts val="0"/>
                        </a:spcAft>
                        <a:buClrTx/>
                        <a:buSzTx/>
                        <a:buFontTx/>
                        <a:buNone/>
                        <a:tabLst/>
                        <a:defRPr/>
                      </a:pPr>
                      <a:r>
                        <a:rPr lang="en-US" sz="800" b="1" kern="1200" dirty="0">
                          <a:solidFill>
                            <a:srgbClr val="555D6A"/>
                          </a:solidFill>
                          <a:latin typeface="+mn-lt"/>
                          <a:ea typeface="Verdana" panose="020B0604030504040204" pitchFamily="34" charset="0"/>
                          <a:cs typeface="Verdana" panose="020B0604030504040204" pitchFamily="34" charset="0"/>
                        </a:rPr>
                        <a:t>Opportunities </a:t>
                      </a:r>
                      <a:br>
                        <a:rPr lang="en-US" sz="800" b="1" kern="1200" dirty="0">
                          <a:solidFill>
                            <a:srgbClr val="555D6A"/>
                          </a:solidFill>
                          <a:latin typeface="+mn-lt"/>
                          <a:ea typeface="Verdana" panose="020B0604030504040204" pitchFamily="34" charset="0"/>
                          <a:cs typeface="Verdana" panose="020B0604030504040204" pitchFamily="34" charset="0"/>
                        </a:rPr>
                      </a:br>
                      <a:endParaRPr lang="en-US" sz="800" b="1" kern="1200" dirty="0">
                        <a:solidFill>
                          <a:srgbClr val="555D6A"/>
                        </a:solidFill>
                        <a:latin typeface="+mn-lt"/>
                        <a:ea typeface="Verdana" panose="020B0604030504040204" pitchFamily="34" charset="0"/>
                        <a:cs typeface="Verdana" panose="020B0604030504040204" pitchFamily="34" charset="0"/>
                      </a:endParaRPr>
                    </a:p>
                    <a:p>
                      <a:pPr rtl="0"/>
                      <a:endParaRPr lang="en-US" sz="500" dirty="0">
                        <a:solidFill>
                          <a:srgbClr val="121E8D"/>
                        </a:solidFill>
                        <a:latin typeface="+mn-lt"/>
                      </a:endParaRPr>
                    </a:p>
                  </a:txBody>
                  <a:tcP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rtl="0"/>
                      <a:endParaRPr lang="en-US" sz="600">
                        <a:solidFill>
                          <a:srgbClr val="121E8D"/>
                        </a:solidFill>
                        <a:latin typeface="+mn-lt"/>
                      </a:endParaRPr>
                    </a:p>
                  </a:txBody>
                  <a:tcPr marB="36000">
                    <a:lnL w="635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Communication, healthcare, automotive</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RF MEMS components</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Multifunctional sensors </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Quantum sensors</a:t>
                      </a:r>
                    </a:p>
                    <a:p>
                      <a:pPr rtl="0"/>
                      <a:endParaRPr lang="en-US" sz="600" dirty="0">
                        <a:solidFill>
                          <a:srgbClr val="121E8D"/>
                        </a:solidFill>
                        <a:latin typeface="+mn-lt"/>
                      </a:endParaRPr>
                    </a:p>
                  </a:txBody>
                  <a:tcPr marT="7200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Photonic solutions and photonic chips</a:t>
                      </a:r>
                    </a:p>
                    <a:p>
                      <a:pPr marL="108000" lvl="1" indent="-81000" rtl="0">
                        <a:buClr>
                          <a:srgbClr val="003580"/>
                        </a:buClr>
                        <a:buFont typeface="Trebuchet MS" panose="020B0603020202020204" pitchFamily="34" charset="0"/>
                        <a:buChar char="•"/>
                      </a:pPr>
                      <a:r>
                        <a:rPr lang="en-US" sz="600" dirty="0" err="1">
                          <a:solidFill>
                            <a:schemeClr val="bg2">
                              <a:lumMod val="10000"/>
                            </a:schemeClr>
                          </a:solidFill>
                          <a:latin typeface="+mn-lt"/>
                          <a:ea typeface="Verdana" panose="020B0604030504040204" pitchFamily="34" charset="0"/>
                          <a:cs typeface="Verdana" panose="020B0604030504040204" pitchFamily="34" charset="0"/>
                        </a:rPr>
                        <a:t>SiP</a:t>
                      </a:r>
                      <a:r>
                        <a:rPr lang="en-US" sz="600" dirty="0">
                          <a:solidFill>
                            <a:schemeClr val="bg2">
                              <a:lumMod val="10000"/>
                            </a:schemeClr>
                          </a:solidFill>
                          <a:latin typeface="+mn-lt"/>
                          <a:ea typeface="Verdana" panose="020B0604030504040204" pitchFamily="34" charset="0"/>
                          <a:cs typeface="Verdana" panose="020B0604030504040204" pitchFamily="34" charset="0"/>
                        </a:rPr>
                        <a:t> design</a:t>
                      </a:r>
                    </a:p>
                    <a:p>
                      <a:pPr marL="108000" lvl="1" indent="-81000" rtl="0">
                        <a:buClr>
                          <a:srgbClr val="003580"/>
                        </a:buClr>
                        <a:buFont typeface="Trebuchet MS" panose="020B0603020202020204" pitchFamily="34" charset="0"/>
                        <a:buChar char="•"/>
                      </a:pPr>
                      <a:r>
                        <a:rPr lang="en-US" sz="600" dirty="0">
                          <a:solidFill>
                            <a:schemeClr val="bg2">
                              <a:lumMod val="10000"/>
                            </a:schemeClr>
                          </a:solidFill>
                          <a:latin typeface="+mn-lt"/>
                          <a:ea typeface="Verdana" panose="020B0604030504040204" pitchFamily="34" charset="0"/>
                          <a:cs typeface="Verdana" panose="020B0604030504040204" pitchFamily="34" charset="0"/>
                        </a:rPr>
                        <a:t>Photonic-quantum technologies</a:t>
                      </a:r>
                    </a:p>
                    <a:p>
                      <a:pPr rtl="0"/>
                      <a:endParaRPr lang="en-US" sz="600" dirty="0">
                        <a:solidFill>
                          <a:srgbClr val="121E8D"/>
                        </a:solidFill>
                        <a:latin typeface="+mn-lt"/>
                      </a:endParaRPr>
                    </a:p>
                  </a:txBody>
                  <a:tcPr marT="7200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rtl="0"/>
                      <a:endParaRPr lang="en-US" sz="600">
                        <a:solidFill>
                          <a:srgbClr val="121E8D"/>
                        </a:solidFill>
                        <a:latin typeface="+mn-lt"/>
                      </a:endParaRPr>
                    </a:p>
                  </a:txBody>
                  <a:tcPr marT="7200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sz="600">
                          <a:solidFill>
                            <a:schemeClr val="bg2">
                              <a:lumMod val="10000"/>
                            </a:schemeClr>
                          </a:solidFill>
                          <a:latin typeface="+mn-lt"/>
                          <a:ea typeface="Verdana" panose="020B0604030504040204" pitchFamily="34" charset="0"/>
                          <a:cs typeface="Verdana" panose="020B0604030504040204" pitchFamily="34" charset="0"/>
                        </a:rPr>
                        <a:t>Quantum technology research, design, and fabrication </a:t>
                      </a:r>
                    </a:p>
                  </a:txBody>
                  <a:tcPr marT="72000" marB="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rtl="0"/>
                      <a:endParaRPr lang="en-US" sz="600" dirty="0">
                        <a:solidFill>
                          <a:srgbClr val="121E8D"/>
                        </a:solidFill>
                        <a:latin typeface="+mn-lt"/>
                      </a:endParaRPr>
                    </a:p>
                  </a:txBody>
                  <a:tcPr marR="72000" marB="36000">
                    <a:lnL w="12700" cap="flat" cmpd="sng" algn="ctr">
                      <a:solidFill>
                        <a:schemeClr val="bg1"/>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0695142"/>
                  </a:ext>
                </a:extLst>
              </a:tr>
            </a:tbl>
          </a:graphicData>
        </a:graphic>
      </p:graphicFrame>
      <p:sp>
        <p:nvSpPr>
          <p:cNvPr id="47" name="Rectangle 46">
            <a:extLst>
              <a:ext uri="{FF2B5EF4-FFF2-40B4-BE49-F238E27FC236}">
                <a16:creationId xmlns:a16="http://schemas.microsoft.com/office/drawing/2014/main" id="{EE6D6F96-9A48-5A44-B2F4-6EBF4B5BD7A0}"/>
              </a:ext>
            </a:extLst>
          </p:cNvPr>
          <p:cNvSpPr/>
          <p:nvPr/>
        </p:nvSpPr>
        <p:spPr>
          <a:xfrm>
            <a:off x="815206" y="1017588"/>
            <a:ext cx="640887" cy="92075"/>
          </a:xfrm>
          <a:prstGeom prst="rect">
            <a:avLst/>
          </a:prstGeom>
          <a:solidFill>
            <a:srgbClr val="F2F2F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r"/>
            <a:r>
              <a:rPr lang="en-US" sz="600" spc="300">
                <a:solidFill>
                  <a:srgbClr val="000000"/>
                </a:solidFill>
                <a:ea typeface="Verdana" panose="020B0604030504040204" pitchFamily="34" charset="0"/>
                <a:cs typeface="Verdana" panose="020B0604030504040204" pitchFamily="34" charset="0"/>
              </a:rPr>
              <a:t>DEVICES</a:t>
            </a:r>
          </a:p>
        </p:txBody>
      </p:sp>
      <p:cxnSp>
        <p:nvCxnSpPr>
          <p:cNvPr id="12" name="Straight Connector 11">
            <a:extLst>
              <a:ext uri="{FF2B5EF4-FFF2-40B4-BE49-F238E27FC236}">
                <a16:creationId xmlns:a16="http://schemas.microsoft.com/office/drawing/2014/main" id="{6A6E4E9F-0335-24BA-FF2F-80D45E4BC7CD}"/>
              </a:ext>
            </a:extLst>
          </p:cNvPr>
          <p:cNvCxnSpPr>
            <a:cxnSpLocks/>
          </p:cNvCxnSpPr>
          <p:nvPr/>
        </p:nvCxnSpPr>
        <p:spPr>
          <a:xfrm>
            <a:off x="381000" y="984250"/>
            <a:ext cx="1204332" cy="533400"/>
          </a:xfrm>
          <a:prstGeom prst="line">
            <a:avLst/>
          </a:prstGeom>
          <a:ln w="6350" cap="rnd">
            <a:solidFill>
              <a:srgbClr val="3078B3"/>
            </a:solidFill>
            <a:prstDash val="solid"/>
            <a:round/>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64724C96-99F8-8118-F70B-490F5612FF48}"/>
              </a:ext>
            </a:extLst>
          </p:cNvPr>
          <p:cNvGraphicFramePr/>
          <p:nvPr>
            <p:custDataLst>
              <p:tags r:id="rId2"/>
            </p:custDataLst>
            <p:extLst>
              <p:ext uri="{D42A27DB-BD31-4B8C-83A1-F6EECF244321}">
                <p14:modId xmlns:p14="http://schemas.microsoft.com/office/powerpoint/2010/main" val="2708670511"/>
              </p:ext>
            </p:extLst>
          </p:nvPr>
        </p:nvGraphicFramePr>
        <p:xfrm>
          <a:off x="1116013" y="1076325"/>
          <a:ext cx="5951537" cy="3389313"/>
        </p:xfrm>
        <a:graphic>
          <a:graphicData uri="http://schemas.openxmlformats.org/drawingml/2006/chart">
            <c:chart xmlns:c="http://schemas.openxmlformats.org/drawingml/2006/chart" xmlns:r="http://schemas.openxmlformats.org/officeDocument/2006/relationships" r:id="rId7"/>
          </a:graphicData>
        </a:graphic>
      </p:graphicFrame>
      <p:sp>
        <p:nvSpPr>
          <p:cNvPr id="50" name="Rectangle 49">
            <a:extLst>
              <a:ext uri="{FF2B5EF4-FFF2-40B4-BE49-F238E27FC236}">
                <a16:creationId xmlns:a16="http://schemas.microsoft.com/office/drawing/2014/main" id="{6F34BE38-CBE8-109E-FAA7-E5BAB23CB198}"/>
              </a:ext>
            </a:extLst>
          </p:cNvPr>
          <p:cNvSpPr/>
          <p:nvPr/>
        </p:nvSpPr>
        <p:spPr>
          <a:xfrm>
            <a:off x="427466" y="1262063"/>
            <a:ext cx="457518" cy="185738"/>
          </a:xfrm>
          <a:prstGeom prst="rect">
            <a:avLst/>
          </a:prstGeom>
          <a:solidFill>
            <a:srgbClr val="F2F2F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600" spc="300" dirty="0">
                <a:solidFill>
                  <a:srgbClr val="000000"/>
                </a:solidFill>
                <a:ea typeface="Verdana" panose="020B0604030504040204" pitchFamily="34" charset="0"/>
                <a:cs typeface="Verdana" panose="020B0604030504040204" pitchFamily="34" charset="0"/>
              </a:rPr>
              <a:t>VALUE CHAIN</a:t>
            </a:r>
          </a:p>
        </p:txBody>
      </p:sp>
      <p:sp>
        <p:nvSpPr>
          <p:cNvPr id="28" name="TextBox 27">
            <a:extLst>
              <a:ext uri="{FF2B5EF4-FFF2-40B4-BE49-F238E27FC236}">
                <a16:creationId xmlns:a16="http://schemas.microsoft.com/office/drawing/2014/main" id="{D0F2F533-F545-9A04-3036-9EB7EFE10B6A}"/>
              </a:ext>
            </a:extLst>
          </p:cNvPr>
          <p:cNvSpPr txBox="1"/>
          <p:nvPr/>
        </p:nvSpPr>
        <p:spPr>
          <a:xfrm>
            <a:off x="1975406" y="1557338"/>
            <a:ext cx="875858" cy="368300"/>
          </a:xfrm>
          <a:prstGeom prst="rect">
            <a:avLst/>
          </a:prstGeom>
          <a:noFill/>
        </p:spPr>
        <p:txBody>
          <a:bodyPr wrap="square">
            <a:spAutoFit/>
          </a:bodyPr>
          <a:lstStyle/>
          <a:p>
            <a:pPr fontAlgn="base">
              <a:spcAft>
                <a:spcPts val="300"/>
              </a:spcAft>
            </a:pPr>
            <a:r>
              <a:rPr lang="en-US" sz="600" b="1">
                <a:solidFill>
                  <a:schemeClr val="bg2">
                    <a:lumMod val="10000"/>
                  </a:schemeClr>
                </a:solidFill>
                <a:ea typeface="Verdana" panose="020B0604030504040204" pitchFamily="34" charset="0"/>
                <a:cs typeface="Verdana" panose="020B0604030504040204" pitchFamily="34" charset="0"/>
              </a:rPr>
              <a:t>Key competences: </a:t>
            </a:r>
            <a:r>
              <a:rPr lang="en-US" sz="600">
                <a:solidFill>
                  <a:schemeClr val="bg2">
                    <a:lumMod val="10000"/>
                  </a:schemeClr>
                </a:solidFill>
                <a:ea typeface="Verdana" panose="020B0604030504040204" pitchFamily="34" charset="0"/>
                <a:cs typeface="Verdana" panose="020B0604030504040204" pitchFamily="34" charset="0"/>
              </a:rPr>
              <a:t>SoC design</a:t>
            </a:r>
          </a:p>
        </p:txBody>
      </p:sp>
      <p:sp>
        <p:nvSpPr>
          <p:cNvPr id="29" name="TextBox 28">
            <a:extLst>
              <a:ext uri="{FF2B5EF4-FFF2-40B4-BE49-F238E27FC236}">
                <a16:creationId xmlns:a16="http://schemas.microsoft.com/office/drawing/2014/main" id="{559E3F9E-D1D4-C364-DAE1-F7DAE8D40310}"/>
              </a:ext>
            </a:extLst>
          </p:cNvPr>
          <p:cNvSpPr txBox="1"/>
          <p:nvPr/>
        </p:nvSpPr>
        <p:spPr>
          <a:xfrm>
            <a:off x="1975406" y="3143982"/>
            <a:ext cx="875858" cy="276999"/>
          </a:xfrm>
          <a:prstGeom prst="rect">
            <a:avLst/>
          </a:prstGeom>
          <a:noFill/>
        </p:spPr>
        <p:txBody>
          <a:bodyPr wrap="square">
            <a:spAutoFit/>
          </a:bodyPr>
          <a:lstStyle/>
          <a:p>
            <a:pPr fontAlgn="base">
              <a:spcAft>
                <a:spcPts val="300"/>
              </a:spcAft>
            </a:pPr>
            <a:r>
              <a:rPr lang="en-US" sz="600" dirty="0">
                <a:solidFill>
                  <a:schemeClr val="bg2">
                    <a:lumMod val="10000"/>
                  </a:schemeClr>
                </a:solidFill>
                <a:ea typeface="Verdana" panose="020B0604030504040204" pitchFamily="34" charset="0"/>
                <a:cs typeface="Verdana" panose="020B0604030504040204" pitchFamily="34" charset="0"/>
              </a:rPr>
              <a:t>ALD processes and equipment</a:t>
            </a:r>
          </a:p>
        </p:txBody>
      </p:sp>
      <p:sp>
        <p:nvSpPr>
          <p:cNvPr id="30" name="TextBox 29">
            <a:extLst>
              <a:ext uri="{FF2B5EF4-FFF2-40B4-BE49-F238E27FC236}">
                <a16:creationId xmlns:a16="http://schemas.microsoft.com/office/drawing/2014/main" id="{B49E7DF5-CBA9-46D8-3F84-D394D0352659}"/>
              </a:ext>
            </a:extLst>
          </p:cNvPr>
          <p:cNvSpPr txBox="1"/>
          <p:nvPr/>
        </p:nvSpPr>
        <p:spPr>
          <a:xfrm>
            <a:off x="1975406" y="3659188"/>
            <a:ext cx="875858" cy="368300"/>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Photonic materials, nanomaterials</a:t>
            </a:r>
          </a:p>
        </p:txBody>
      </p:sp>
      <p:sp>
        <p:nvSpPr>
          <p:cNvPr id="31" name="TextBox 30">
            <a:extLst>
              <a:ext uri="{FF2B5EF4-FFF2-40B4-BE49-F238E27FC236}">
                <a16:creationId xmlns:a16="http://schemas.microsoft.com/office/drawing/2014/main" id="{22A38F90-2A60-EACC-D81E-16339E98DE25}"/>
              </a:ext>
            </a:extLst>
          </p:cNvPr>
          <p:cNvSpPr txBox="1"/>
          <p:nvPr/>
        </p:nvSpPr>
        <p:spPr>
          <a:xfrm>
            <a:off x="3172834" y="3135191"/>
            <a:ext cx="875858" cy="276999"/>
          </a:xfrm>
          <a:prstGeom prst="rect">
            <a:avLst/>
          </a:prstGeom>
          <a:noFill/>
        </p:spPr>
        <p:txBody>
          <a:bodyPr wrap="square">
            <a:spAutoFit/>
          </a:bodyPr>
          <a:lstStyle/>
          <a:p>
            <a:pPr fontAlgn="base">
              <a:spcAft>
                <a:spcPts val="300"/>
              </a:spcAft>
            </a:pPr>
            <a:r>
              <a:rPr lang="en-US" sz="600" dirty="0">
                <a:solidFill>
                  <a:schemeClr val="bg2">
                    <a:lumMod val="10000"/>
                  </a:schemeClr>
                </a:solidFill>
                <a:ea typeface="Verdana" panose="020B0604030504040204" pitchFamily="34" charset="0"/>
                <a:cs typeface="Verdana" panose="020B0604030504040204" pitchFamily="34" charset="0"/>
              </a:rPr>
              <a:t>ALD processes and equipment</a:t>
            </a:r>
          </a:p>
        </p:txBody>
      </p:sp>
      <p:sp>
        <p:nvSpPr>
          <p:cNvPr id="32" name="TextBox 31">
            <a:extLst>
              <a:ext uri="{FF2B5EF4-FFF2-40B4-BE49-F238E27FC236}">
                <a16:creationId xmlns:a16="http://schemas.microsoft.com/office/drawing/2014/main" id="{16973211-1C9C-6AA5-986B-1EA00156E9D1}"/>
              </a:ext>
            </a:extLst>
          </p:cNvPr>
          <p:cNvSpPr txBox="1"/>
          <p:nvPr/>
        </p:nvSpPr>
        <p:spPr>
          <a:xfrm>
            <a:off x="3172834" y="3659188"/>
            <a:ext cx="875858" cy="184150"/>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Silicon wafers</a:t>
            </a:r>
          </a:p>
        </p:txBody>
      </p:sp>
      <p:sp>
        <p:nvSpPr>
          <p:cNvPr id="33" name="TextBox 32">
            <a:extLst>
              <a:ext uri="{FF2B5EF4-FFF2-40B4-BE49-F238E27FC236}">
                <a16:creationId xmlns:a16="http://schemas.microsoft.com/office/drawing/2014/main" id="{AAA4FCA3-E88C-997D-79FB-CFD1DCFA495E}"/>
              </a:ext>
            </a:extLst>
          </p:cNvPr>
          <p:cNvSpPr txBox="1"/>
          <p:nvPr/>
        </p:nvSpPr>
        <p:spPr>
          <a:xfrm>
            <a:off x="3172834" y="2095010"/>
            <a:ext cx="875858" cy="276999"/>
          </a:xfrm>
          <a:prstGeom prst="rect">
            <a:avLst/>
          </a:prstGeom>
          <a:noFill/>
        </p:spPr>
        <p:txBody>
          <a:bodyPr wrap="square">
            <a:spAutoFit/>
          </a:bodyPr>
          <a:lstStyle/>
          <a:p>
            <a:pPr fontAlgn="base">
              <a:spcAft>
                <a:spcPts val="300"/>
              </a:spcAft>
            </a:pPr>
            <a:r>
              <a:rPr lang="en-US" sz="600" dirty="0">
                <a:solidFill>
                  <a:schemeClr val="bg2">
                    <a:lumMod val="10000"/>
                  </a:schemeClr>
                </a:solidFill>
                <a:ea typeface="Verdana" panose="020B0604030504040204" pitchFamily="34" charset="0"/>
                <a:cs typeface="Verdana" panose="020B0604030504040204" pitchFamily="34" charset="0"/>
              </a:rPr>
              <a:t>MEMS and sensors</a:t>
            </a:r>
          </a:p>
        </p:txBody>
      </p:sp>
      <p:sp>
        <p:nvSpPr>
          <p:cNvPr id="37" name="TextBox 36">
            <a:extLst>
              <a:ext uri="{FF2B5EF4-FFF2-40B4-BE49-F238E27FC236}">
                <a16:creationId xmlns:a16="http://schemas.microsoft.com/office/drawing/2014/main" id="{19C61A89-EF11-F97F-C85F-3BF2157BD852}"/>
              </a:ext>
            </a:extLst>
          </p:cNvPr>
          <p:cNvSpPr txBox="1"/>
          <p:nvPr/>
        </p:nvSpPr>
        <p:spPr>
          <a:xfrm>
            <a:off x="4370262" y="2077426"/>
            <a:ext cx="875858" cy="276225"/>
          </a:xfrm>
          <a:prstGeom prst="rect">
            <a:avLst/>
          </a:prstGeom>
          <a:noFill/>
        </p:spPr>
        <p:txBody>
          <a:bodyPr wrap="square">
            <a:spAutoFit/>
          </a:bodyPr>
          <a:lstStyle/>
          <a:p>
            <a:pPr fontAlgn="base">
              <a:spcAft>
                <a:spcPts val="300"/>
              </a:spcAft>
            </a:pPr>
            <a:r>
              <a:rPr lang="en-US" sz="600" dirty="0">
                <a:solidFill>
                  <a:schemeClr val="bg2">
                    <a:lumMod val="10000"/>
                  </a:schemeClr>
                </a:solidFill>
                <a:ea typeface="Verdana" panose="020B0604030504040204" pitchFamily="34" charset="0"/>
                <a:cs typeface="Verdana" panose="020B0604030504040204" pitchFamily="34" charset="0"/>
              </a:rPr>
              <a:t>Imaging, optics, detectors</a:t>
            </a:r>
          </a:p>
        </p:txBody>
      </p:sp>
      <p:sp>
        <p:nvSpPr>
          <p:cNvPr id="38" name="TextBox 37">
            <a:extLst>
              <a:ext uri="{FF2B5EF4-FFF2-40B4-BE49-F238E27FC236}">
                <a16:creationId xmlns:a16="http://schemas.microsoft.com/office/drawing/2014/main" id="{755B70D6-EB26-64E1-B9C6-2800DDAFA023}"/>
              </a:ext>
            </a:extLst>
          </p:cNvPr>
          <p:cNvSpPr txBox="1"/>
          <p:nvPr/>
        </p:nvSpPr>
        <p:spPr>
          <a:xfrm>
            <a:off x="4370262" y="2544763"/>
            <a:ext cx="875858" cy="276225"/>
          </a:xfrm>
          <a:prstGeom prst="rect">
            <a:avLst/>
          </a:prstGeom>
          <a:noFill/>
        </p:spPr>
        <p:txBody>
          <a:bodyPr wrap="square">
            <a:spAutoFit/>
          </a:bodyPr>
          <a:lstStyle>
            <a:defPPr>
              <a:defRPr lang="fi-FI"/>
            </a:defPPr>
            <a:lvl1pPr fontAlgn="base">
              <a:spcAft>
                <a:spcPts val="300"/>
              </a:spcAft>
              <a:defRPr sz="6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defRPr>
            </a:lvl1pPr>
          </a:lstStyle>
          <a:p>
            <a:r>
              <a:rPr lang="en-US">
                <a:latin typeface="+mn-lt"/>
              </a:rPr>
              <a:t>Testing equipment</a:t>
            </a:r>
          </a:p>
        </p:txBody>
      </p:sp>
      <p:sp>
        <p:nvSpPr>
          <p:cNvPr id="39" name="TextBox 38">
            <a:extLst>
              <a:ext uri="{FF2B5EF4-FFF2-40B4-BE49-F238E27FC236}">
                <a16:creationId xmlns:a16="http://schemas.microsoft.com/office/drawing/2014/main" id="{C2EEE899-C965-7810-9351-EFEAB67255B9}"/>
              </a:ext>
            </a:extLst>
          </p:cNvPr>
          <p:cNvSpPr txBox="1"/>
          <p:nvPr/>
        </p:nvSpPr>
        <p:spPr>
          <a:xfrm>
            <a:off x="4370262" y="3143981"/>
            <a:ext cx="875858" cy="276999"/>
          </a:xfrm>
          <a:prstGeom prst="rect">
            <a:avLst/>
          </a:prstGeom>
          <a:noFill/>
        </p:spPr>
        <p:txBody>
          <a:bodyPr wrap="square">
            <a:spAutoFit/>
          </a:bodyPr>
          <a:lstStyle/>
          <a:p>
            <a:pPr fontAlgn="base">
              <a:spcAft>
                <a:spcPts val="300"/>
              </a:spcAft>
            </a:pPr>
            <a:r>
              <a:rPr lang="en-US" sz="600" dirty="0">
                <a:solidFill>
                  <a:schemeClr val="bg2">
                    <a:lumMod val="10000"/>
                  </a:schemeClr>
                </a:solidFill>
                <a:ea typeface="Verdana" panose="020B0604030504040204" pitchFamily="34" charset="0"/>
                <a:cs typeface="Verdana" panose="020B0604030504040204" pitchFamily="34" charset="0"/>
              </a:rPr>
              <a:t>ALD processes, equipment, lasers</a:t>
            </a:r>
          </a:p>
        </p:txBody>
      </p:sp>
      <p:sp>
        <p:nvSpPr>
          <p:cNvPr id="40" name="TextBox 39">
            <a:extLst>
              <a:ext uri="{FF2B5EF4-FFF2-40B4-BE49-F238E27FC236}">
                <a16:creationId xmlns:a16="http://schemas.microsoft.com/office/drawing/2014/main" id="{AE48ECA3-0B3F-4EAC-7D79-633E0E511B92}"/>
              </a:ext>
            </a:extLst>
          </p:cNvPr>
          <p:cNvSpPr txBox="1"/>
          <p:nvPr/>
        </p:nvSpPr>
        <p:spPr>
          <a:xfrm>
            <a:off x="4370262" y="3659188"/>
            <a:ext cx="875858" cy="276225"/>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Photonic materials</a:t>
            </a:r>
          </a:p>
        </p:txBody>
      </p:sp>
      <p:sp>
        <p:nvSpPr>
          <p:cNvPr id="41" name="TextBox 40">
            <a:extLst>
              <a:ext uri="{FF2B5EF4-FFF2-40B4-BE49-F238E27FC236}">
                <a16:creationId xmlns:a16="http://schemas.microsoft.com/office/drawing/2014/main" id="{D45B152F-8042-DA74-14EA-FB7376462E93}"/>
              </a:ext>
            </a:extLst>
          </p:cNvPr>
          <p:cNvSpPr txBox="1"/>
          <p:nvPr/>
        </p:nvSpPr>
        <p:spPr>
          <a:xfrm>
            <a:off x="5567690" y="1557338"/>
            <a:ext cx="875858" cy="368300"/>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Wireless communications, chips, modems</a:t>
            </a:r>
          </a:p>
        </p:txBody>
      </p:sp>
      <p:sp>
        <p:nvSpPr>
          <p:cNvPr id="42" name="TextBox 41">
            <a:extLst>
              <a:ext uri="{FF2B5EF4-FFF2-40B4-BE49-F238E27FC236}">
                <a16:creationId xmlns:a16="http://schemas.microsoft.com/office/drawing/2014/main" id="{BCFC615A-E11C-6B4B-89C7-0F28E3F26638}"/>
              </a:ext>
            </a:extLst>
          </p:cNvPr>
          <p:cNvSpPr txBox="1"/>
          <p:nvPr/>
        </p:nvSpPr>
        <p:spPr>
          <a:xfrm>
            <a:off x="5567690" y="3659188"/>
            <a:ext cx="875858" cy="184150"/>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Silicon wafers</a:t>
            </a:r>
          </a:p>
        </p:txBody>
      </p:sp>
      <p:sp>
        <p:nvSpPr>
          <p:cNvPr id="43" name="TextBox 42">
            <a:extLst>
              <a:ext uri="{FF2B5EF4-FFF2-40B4-BE49-F238E27FC236}">
                <a16:creationId xmlns:a16="http://schemas.microsoft.com/office/drawing/2014/main" id="{84A6B2E0-03F1-D30B-D3DD-5B9A6ED49988}"/>
              </a:ext>
            </a:extLst>
          </p:cNvPr>
          <p:cNvSpPr txBox="1"/>
          <p:nvPr/>
        </p:nvSpPr>
        <p:spPr>
          <a:xfrm>
            <a:off x="6765118" y="3038475"/>
            <a:ext cx="875858" cy="368300"/>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Cooling for quantum technologies</a:t>
            </a:r>
          </a:p>
        </p:txBody>
      </p:sp>
      <p:sp>
        <p:nvSpPr>
          <p:cNvPr id="44" name="TextBox 43">
            <a:extLst>
              <a:ext uri="{FF2B5EF4-FFF2-40B4-BE49-F238E27FC236}">
                <a16:creationId xmlns:a16="http://schemas.microsoft.com/office/drawing/2014/main" id="{B5A3133E-A60A-AEA5-76BB-2CE799F215EF}"/>
              </a:ext>
            </a:extLst>
          </p:cNvPr>
          <p:cNvSpPr txBox="1"/>
          <p:nvPr/>
        </p:nvSpPr>
        <p:spPr>
          <a:xfrm>
            <a:off x="6765117" y="2051050"/>
            <a:ext cx="875858" cy="276225"/>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Quantum technologies</a:t>
            </a:r>
          </a:p>
        </p:txBody>
      </p:sp>
      <p:sp>
        <p:nvSpPr>
          <p:cNvPr id="45" name="TextBox 44">
            <a:extLst>
              <a:ext uri="{FF2B5EF4-FFF2-40B4-BE49-F238E27FC236}">
                <a16:creationId xmlns:a16="http://schemas.microsoft.com/office/drawing/2014/main" id="{6EB64CD5-754D-AE4F-86AE-1F8B5B1713FB}"/>
              </a:ext>
            </a:extLst>
          </p:cNvPr>
          <p:cNvSpPr txBox="1"/>
          <p:nvPr/>
        </p:nvSpPr>
        <p:spPr>
          <a:xfrm>
            <a:off x="6765117" y="1557338"/>
            <a:ext cx="875858" cy="368300"/>
          </a:xfrm>
          <a:prstGeom prst="rect">
            <a:avLst/>
          </a:prstGeom>
          <a:noFill/>
        </p:spPr>
        <p:txBody>
          <a:bodyPr wrap="square">
            <a:spAutoFit/>
          </a:bodyPr>
          <a:lstStyle/>
          <a:p>
            <a:pPr fontAlgn="base">
              <a:spcAft>
                <a:spcPts val="300"/>
              </a:spcAft>
            </a:pPr>
            <a:r>
              <a:rPr lang="en-US" sz="600">
                <a:solidFill>
                  <a:schemeClr val="bg2">
                    <a:lumMod val="10000"/>
                  </a:schemeClr>
                </a:solidFill>
                <a:ea typeface="Verdana" panose="020B0604030504040204" pitchFamily="34" charset="0"/>
                <a:cs typeface="Verdana" panose="020B0604030504040204" pitchFamily="34" charset="0"/>
              </a:rPr>
              <a:t>Analog devices, power management</a:t>
            </a:r>
          </a:p>
        </p:txBody>
      </p:sp>
      <p:sp>
        <p:nvSpPr>
          <p:cNvPr id="24" name="TextBox 23">
            <a:extLst>
              <a:ext uri="{FF2B5EF4-FFF2-40B4-BE49-F238E27FC236}">
                <a16:creationId xmlns:a16="http://schemas.microsoft.com/office/drawing/2014/main" id="{6537DC89-F377-B4DB-5732-2BEDF435F80E}"/>
              </a:ext>
            </a:extLst>
          </p:cNvPr>
          <p:cNvSpPr txBox="1"/>
          <p:nvPr/>
        </p:nvSpPr>
        <p:spPr>
          <a:xfrm>
            <a:off x="1578428" y="1871663"/>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15M</a:t>
            </a:r>
          </a:p>
        </p:txBody>
      </p:sp>
      <p:sp>
        <p:nvSpPr>
          <p:cNvPr id="25" name="TextBox 24">
            <a:extLst>
              <a:ext uri="{FF2B5EF4-FFF2-40B4-BE49-F238E27FC236}">
                <a16:creationId xmlns:a16="http://schemas.microsoft.com/office/drawing/2014/main" id="{EB9E5D9D-7CB6-4EB6-0D26-019B8A18CBC6}"/>
              </a:ext>
            </a:extLst>
          </p:cNvPr>
          <p:cNvSpPr txBox="1"/>
          <p:nvPr/>
        </p:nvSpPr>
        <p:spPr>
          <a:xfrm>
            <a:off x="1578428" y="401002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15M</a:t>
            </a:r>
          </a:p>
        </p:txBody>
      </p:sp>
      <p:sp>
        <p:nvSpPr>
          <p:cNvPr id="26" name="TextBox 25">
            <a:extLst>
              <a:ext uri="{FF2B5EF4-FFF2-40B4-BE49-F238E27FC236}">
                <a16:creationId xmlns:a16="http://schemas.microsoft.com/office/drawing/2014/main" id="{5295E371-481A-1922-EA81-3B1743E92F88}"/>
              </a:ext>
            </a:extLst>
          </p:cNvPr>
          <p:cNvSpPr txBox="1"/>
          <p:nvPr/>
        </p:nvSpPr>
        <p:spPr>
          <a:xfrm>
            <a:off x="2775856" y="236537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410M</a:t>
            </a:r>
          </a:p>
        </p:txBody>
      </p:sp>
      <p:sp>
        <p:nvSpPr>
          <p:cNvPr id="27" name="TextBox 26">
            <a:extLst>
              <a:ext uri="{FF2B5EF4-FFF2-40B4-BE49-F238E27FC236}">
                <a16:creationId xmlns:a16="http://schemas.microsoft.com/office/drawing/2014/main" id="{BD5A5F1F-2C78-A2CD-26B6-335913E7A245}"/>
              </a:ext>
            </a:extLst>
          </p:cNvPr>
          <p:cNvSpPr txBox="1"/>
          <p:nvPr/>
        </p:nvSpPr>
        <p:spPr>
          <a:xfrm>
            <a:off x="2775856" y="401002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80M</a:t>
            </a:r>
          </a:p>
        </p:txBody>
      </p:sp>
      <p:sp>
        <p:nvSpPr>
          <p:cNvPr id="34" name="TextBox 33">
            <a:extLst>
              <a:ext uri="{FF2B5EF4-FFF2-40B4-BE49-F238E27FC236}">
                <a16:creationId xmlns:a16="http://schemas.microsoft.com/office/drawing/2014/main" id="{0C27ED2B-DD9E-8A06-15BC-A15060906198}"/>
              </a:ext>
            </a:extLst>
          </p:cNvPr>
          <p:cNvSpPr txBox="1"/>
          <p:nvPr/>
        </p:nvSpPr>
        <p:spPr>
          <a:xfrm>
            <a:off x="3973284" y="236537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240M</a:t>
            </a:r>
          </a:p>
        </p:txBody>
      </p:sp>
      <p:sp>
        <p:nvSpPr>
          <p:cNvPr id="35" name="TextBox 34">
            <a:extLst>
              <a:ext uri="{FF2B5EF4-FFF2-40B4-BE49-F238E27FC236}">
                <a16:creationId xmlns:a16="http://schemas.microsoft.com/office/drawing/2014/main" id="{0B535C3F-5565-5370-FD6F-70C2031A0239}"/>
              </a:ext>
            </a:extLst>
          </p:cNvPr>
          <p:cNvSpPr txBox="1"/>
          <p:nvPr/>
        </p:nvSpPr>
        <p:spPr>
          <a:xfrm>
            <a:off x="3973284" y="3479800"/>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70M</a:t>
            </a:r>
          </a:p>
        </p:txBody>
      </p:sp>
      <p:sp>
        <p:nvSpPr>
          <p:cNvPr id="46" name="TextBox 45">
            <a:extLst>
              <a:ext uri="{FF2B5EF4-FFF2-40B4-BE49-F238E27FC236}">
                <a16:creationId xmlns:a16="http://schemas.microsoft.com/office/drawing/2014/main" id="{AC3EC8E5-234D-4C9C-ED79-ABBA88A8781B}"/>
              </a:ext>
            </a:extLst>
          </p:cNvPr>
          <p:cNvSpPr txBox="1"/>
          <p:nvPr/>
        </p:nvSpPr>
        <p:spPr>
          <a:xfrm>
            <a:off x="3973284" y="401002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10M</a:t>
            </a:r>
          </a:p>
        </p:txBody>
      </p:sp>
      <p:sp>
        <p:nvSpPr>
          <p:cNvPr id="48" name="TextBox 47">
            <a:extLst>
              <a:ext uri="{FF2B5EF4-FFF2-40B4-BE49-F238E27FC236}">
                <a16:creationId xmlns:a16="http://schemas.microsoft.com/office/drawing/2014/main" id="{1338A0EB-4480-935A-AE83-68669C06A456}"/>
              </a:ext>
            </a:extLst>
          </p:cNvPr>
          <p:cNvSpPr txBox="1"/>
          <p:nvPr/>
        </p:nvSpPr>
        <p:spPr>
          <a:xfrm>
            <a:off x="5170712" y="236537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5M</a:t>
            </a:r>
          </a:p>
        </p:txBody>
      </p:sp>
      <p:sp>
        <p:nvSpPr>
          <p:cNvPr id="49" name="TextBox 48">
            <a:extLst>
              <a:ext uri="{FF2B5EF4-FFF2-40B4-BE49-F238E27FC236}">
                <a16:creationId xmlns:a16="http://schemas.microsoft.com/office/drawing/2014/main" id="{07B36BCC-DA94-8BA3-0969-D57D7419C328}"/>
              </a:ext>
            </a:extLst>
          </p:cNvPr>
          <p:cNvSpPr txBox="1"/>
          <p:nvPr/>
        </p:nvSpPr>
        <p:spPr>
          <a:xfrm>
            <a:off x="5170712" y="401002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75M</a:t>
            </a:r>
          </a:p>
        </p:txBody>
      </p:sp>
      <p:sp>
        <p:nvSpPr>
          <p:cNvPr id="51" name="TextBox 50">
            <a:extLst>
              <a:ext uri="{FF2B5EF4-FFF2-40B4-BE49-F238E27FC236}">
                <a16:creationId xmlns:a16="http://schemas.microsoft.com/office/drawing/2014/main" id="{B92F7A82-09B0-0AB3-246C-DD62FF9CF8A2}"/>
              </a:ext>
            </a:extLst>
          </p:cNvPr>
          <p:cNvSpPr txBox="1"/>
          <p:nvPr/>
        </p:nvSpPr>
        <p:spPr>
          <a:xfrm>
            <a:off x="5170712" y="1871663"/>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325M</a:t>
            </a:r>
          </a:p>
        </p:txBody>
      </p:sp>
      <p:sp>
        <p:nvSpPr>
          <p:cNvPr id="52" name="TextBox 51">
            <a:extLst>
              <a:ext uri="{FF2B5EF4-FFF2-40B4-BE49-F238E27FC236}">
                <a16:creationId xmlns:a16="http://schemas.microsoft.com/office/drawing/2014/main" id="{50C38333-C424-B82E-3C4C-77B6D9FFB4CC}"/>
              </a:ext>
            </a:extLst>
          </p:cNvPr>
          <p:cNvSpPr txBox="1"/>
          <p:nvPr/>
        </p:nvSpPr>
        <p:spPr>
          <a:xfrm>
            <a:off x="6368140" y="3479800"/>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150M</a:t>
            </a:r>
          </a:p>
        </p:txBody>
      </p:sp>
      <p:sp>
        <p:nvSpPr>
          <p:cNvPr id="53" name="TextBox 52">
            <a:extLst>
              <a:ext uri="{FF2B5EF4-FFF2-40B4-BE49-F238E27FC236}">
                <a16:creationId xmlns:a16="http://schemas.microsoft.com/office/drawing/2014/main" id="{CCFA7DED-A5B1-B2C4-C3FD-A42E51E9B608}"/>
              </a:ext>
            </a:extLst>
          </p:cNvPr>
          <p:cNvSpPr txBox="1"/>
          <p:nvPr/>
        </p:nvSpPr>
        <p:spPr>
          <a:xfrm>
            <a:off x="6368140" y="236537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10M</a:t>
            </a:r>
          </a:p>
        </p:txBody>
      </p:sp>
      <p:sp>
        <p:nvSpPr>
          <p:cNvPr id="54" name="TextBox 53">
            <a:extLst>
              <a:ext uri="{FF2B5EF4-FFF2-40B4-BE49-F238E27FC236}">
                <a16:creationId xmlns:a16="http://schemas.microsoft.com/office/drawing/2014/main" id="{9879CB70-FBAA-BA5D-E903-8ED6A6384CC1}"/>
              </a:ext>
            </a:extLst>
          </p:cNvPr>
          <p:cNvSpPr txBox="1"/>
          <p:nvPr/>
        </p:nvSpPr>
        <p:spPr>
          <a:xfrm>
            <a:off x="2775856" y="286067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5M</a:t>
            </a:r>
          </a:p>
        </p:txBody>
      </p:sp>
      <p:sp>
        <p:nvSpPr>
          <p:cNvPr id="55" name="TextBox 54">
            <a:extLst>
              <a:ext uri="{FF2B5EF4-FFF2-40B4-BE49-F238E27FC236}">
                <a16:creationId xmlns:a16="http://schemas.microsoft.com/office/drawing/2014/main" id="{532DA259-E3FE-6E41-8F88-37FDA4913528}"/>
              </a:ext>
            </a:extLst>
          </p:cNvPr>
          <p:cNvSpPr txBox="1"/>
          <p:nvPr/>
        </p:nvSpPr>
        <p:spPr>
          <a:xfrm>
            <a:off x="2775856" y="3479800"/>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20M</a:t>
            </a:r>
          </a:p>
        </p:txBody>
      </p:sp>
      <p:sp>
        <p:nvSpPr>
          <p:cNvPr id="56" name="TextBox 55">
            <a:extLst>
              <a:ext uri="{FF2B5EF4-FFF2-40B4-BE49-F238E27FC236}">
                <a16:creationId xmlns:a16="http://schemas.microsoft.com/office/drawing/2014/main" id="{51C7A53B-A596-144A-E07B-71D66B88C5F6}"/>
              </a:ext>
            </a:extLst>
          </p:cNvPr>
          <p:cNvSpPr txBox="1"/>
          <p:nvPr/>
        </p:nvSpPr>
        <p:spPr>
          <a:xfrm>
            <a:off x="3973284" y="2860675"/>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45M</a:t>
            </a:r>
          </a:p>
        </p:txBody>
      </p:sp>
      <p:sp>
        <p:nvSpPr>
          <p:cNvPr id="57" name="TextBox 56">
            <a:extLst>
              <a:ext uri="{FF2B5EF4-FFF2-40B4-BE49-F238E27FC236}">
                <a16:creationId xmlns:a16="http://schemas.microsoft.com/office/drawing/2014/main" id="{A6C7348E-02C3-4170-8E15-15FD629E6F1B}"/>
              </a:ext>
            </a:extLst>
          </p:cNvPr>
          <p:cNvSpPr txBox="1"/>
          <p:nvPr/>
        </p:nvSpPr>
        <p:spPr>
          <a:xfrm>
            <a:off x="6368140" y="1871663"/>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20M</a:t>
            </a:r>
          </a:p>
        </p:txBody>
      </p:sp>
      <p:sp>
        <p:nvSpPr>
          <p:cNvPr id="58" name="TextBox 57">
            <a:extLst>
              <a:ext uri="{FF2B5EF4-FFF2-40B4-BE49-F238E27FC236}">
                <a16:creationId xmlns:a16="http://schemas.microsoft.com/office/drawing/2014/main" id="{1ED07146-2464-D683-B847-AF4E1A6EA433}"/>
              </a:ext>
            </a:extLst>
          </p:cNvPr>
          <p:cNvSpPr txBox="1"/>
          <p:nvPr/>
        </p:nvSpPr>
        <p:spPr>
          <a:xfrm>
            <a:off x="1578428" y="3479800"/>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55M</a:t>
            </a:r>
          </a:p>
        </p:txBody>
      </p:sp>
      <p:sp>
        <p:nvSpPr>
          <p:cNvPr id="59" name="TextBox 58">
            <a:extLst>
              <a:ext uri="{FF2B5EF4-FFF2-40B4-BE49-F238E27FC236}">
                <a16:creationId xmlns:a16="http://schemas.microsoft.com/office/drawing/2014/main" id="{C2B9D283-941B-4AD0-4158-12D180CEF844}"/>
              </a:ext>
            </a:extLst>
          </p:cNvPr>
          <p:cNvSpPr txBox="1"/>
          <p:nvPr/>
        </p:nvSpPr>
        <p:spPr>
          <a:xfrm>
            <a:off x="5170712" y="3479800"/>
            <a:ext cx="550513" cy="10636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700" b="1">
                <a:solidFill>
                  <a:srgbClr val="3078B3"/>
                </a:solidFill>
              </a:rPr>
              <a:t>€20M</a:t>
            </a:r>
          </a:p>
        </p:txBody>
      </p:sp>
      <p:sp>
        <p:nvSpPr>
          <p:cNvPr id="163" name="Text Placeholder 162">
            <a:extLst>
              <a:ext uri="{FF2B5EF4-FFF2-40B4-BE49-F238E27FC236}">
                <a16:creationId xmlns:a16="http://schemas.microsoft.com/office/drawing/2014/main" id="{2D9AF636-C56F-701C-CD7E-36960884DDA5}"/>
              </a:ext>
            </a:extLst>
          </p:cNvPr>
          <p:cNvSpPr>
            <a:spLocks noGrp="1"/>
          </p:cNvSpPr>
          <p:nvPr>
            <p:ph type="body" sz="quarter" idx="18"/>
          </p:nvPr>
        </p:nvSpPr>
        <p:spPr>
          <a:xfrm>
            <a:off x="252000" y="290513"/>
            <a:ext cx="8080763" cy="521438"/>
          </a:xfrm>
        </p:spPr>
        <p:txBody>
          <a:bodyPr>
            <a:normAutofit/>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lumMod val="10000"/>
                  </a:srgbClr>
                </a:solidFill>
                <a:effectLst/>
                <a:uLnTx/>
                <a:uFillTx/>
                <a:latin typeface="Verdana"/>
                <a:ea typeface="Verdana" panose="020B0604030504040204" pitchFamily="34" charset="0"/>
                <a:cs typeface="Verdana" panose="020B0604030504040204" pitchFamily="34" charset="0"/>
              </a:rPr>
              <a:t>Finnish semiconductor industry generates €1.6B in annual </a:t>
            </a:r>
            <a:r>
              <a:rPr lang="en-US" sz="1400" b="1" dirty="0">
                <a:solidFill>
                  <a:srgbClr val="FFFFFF">
                    <a:lumMod val="10000"/>
                  </a:srgbClr>
                </a:solidFill>
                <a:latin typeface="Verdana"/>
              </a:rPr>
              <a:t>revenues with revenue coming mainly from MEMS and sensors, optoelectronics and wireless </a:t>
            </a:r>
            <a:endParaRPr kumimoji="0" lang="en-US" sz="1400" b="1" i="0" u="none" strike="noStrike" kern="1200" cap="none" spc="0" normalizeH="0" baseline="0" noProof="0" dirty="0">
              <a:ln>
                <a:noFill/>
              </a:ln>
              <a:solidFill>
                <a:srgbClr val="FFFFFF">
                  <a:lumMod val="10000"/>
                </a:srgbClr>
              </a:solidFill>
              <a:effectLst/>
              <a:uLnTx/>
              <a:uFillTx/>
              <a:latin typeface="Verdana"/>
              <a:ea typeface="Verdana" panose="020B0604030504040204" pitchFamily="34" charset="0"/>
              <a:cs typeface="Verdana" panose="020B0604030504040204" pitchFamily="34" charset="0"/>
            </a:endParaRPr>
          </a:p>
        </p:txBody>
      </p:sp>
      <p:sp>
        <p:nvSpPr>
          <p:cNvPr id="5" name="Date Placeholder 2">
            <a:extLst>
              <a:ext uri="{FF2B5EF4-FFF2-40B4-BE49-F238E27FC236}">
                <a16:creationId xmlns:a16="http://schemas.microsoft.com/office/drawing/2014/main" id="{466EECFC-7F57-1001-4C54-E053FD02A596}"/>
              </a:ext>
            </a:extLst>
          </p:cNvPr>
          <p:cNvSpPr>
            <a:spLocks noGrp="1"/>
          </p:cNvSpPr>
          <p:nvPr>
            <p:ph type="dt" sz="half" idx="10"/>
          </p:nvPr>
        </p:nvSpPr>
        <p:spPr>
          <a:xfrm>
            <a:off x="282027" y="4728047"/>
            <a:ext cx="916709" cy="164690"/>
          </a:xfrm>
        </p:spPr>
        <p:txBody>
          <a:bodyPr/>
          <a:lstStyle/>
          <a:p>
            <a:fld id="{F553C366-6A2C-43B9-A437-B827E0484441}" type="datetime1">
              <a:rPr lang="fi-FI" smtClean="0"/>
              <a:pPr/>
              <a:t>9.4.2024</a:t>
            </a:fld>
            <a:endParaRPr lang="fi-FI">
              <a:latin typeface="+mn-lt"/>
            </a:endParaRPr>
          </a:p>
        </p:txBody>
      </p:sp>
      <p:sp>
        <p:nvSpPr>
          <p:cNvPr id="6" name="Footer Placeholder 3">
            <a:extLst>
              <a:ext uri="{FF2B5EF4-FFF2-40B4-BE49-F238E27FC236}">
                <a16:creationId xmlns:a16="http://schemas.microsoft.com/office/drawing/2014/main" id="{922AD939-6BDC-6481-1BDE-245E7E24EFEA}"/>
              </a:ext>
            </a:extLst>
          </p:cNvPr>
          <p:cNvSpPr>
            <a:spLocks noGrp="1"/>
          </p:cNvSpPr>
          <p:nvPr>
            <p:ph type="ftr" sz="quarter" idx="11"/>
          </p:nvPr>
        </p:nvSpPr>
        <p:spPr>
          <a:xfrm>
            <a:off x="2879725" y="4728047"/>
            <a:ext cx="5269703" cy="164690"/>
          </a:xfrm>
        </p:spPr>
        <p:txBody>
          <a:bodyPr/>
          <a:lstStyle/>
          <a:p>
            <a:r>
              <a:rPr lang="fi-FI">
                <a:latin typeface="+mn-lt"/>
              </a:rPr>
              <a:t>Source: Company financials, literature research, expert interviews, BCG</a:t>
            </a:r>
          </a:p>
        </p:txBody>
      </p:sp>
      <p:sp>
        <p:nvSpPr>
          <p:cNvPr id="11" name="TextBox 10">
            <a:extLst>
              <a:ext uri="{FF2B5EF4-FFF2-40B4-BE49-F238E27FC236}">
                <a16:creationId xmlns:a16="http://schemas.microsoft.com/office/drawing/2014/main" id="{CA11FF84-F91E-7E1B-9430-DF369DDF2DA4}"/>
              </a:ext>
            </a:extLst>
          </p:cNvPr>
          <p:cNvSpPr txBox="1"/>
          <p:nvPr/>
        </p:nvSpPr>
        <p:spPr>
          <a:xfrm>
            <a:off x="306658" y="821661"/>
            <a:ext cx="3977645" cy="153728"/>
          </a:xfrm>
          <a:prstGeom prst="rect">
            <a:avLst/>
          </a:prstGeom>
          <a:noFill/>
          <a:ln w="9525" cap="rnd">
            <a:noFill/>
            <a:prstDash val="dash"/>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r>
              <a:rPr lang="en-US" sz="700" b="1" dirty="0">
                <a:solidFill>
                  <a:srgbClr val="000000"/>
                </a:solidFill>
                <a:ea typeface="Verdana" panose="020B0604030504040204" pitchFamily="34" charset="0"/>
                <a:cs typeface="Verdana" panose="020B0604030504040204" pitchFamily="34" charset="0"/>
              </a:rPr>
              <a:t>Companies' turnover in Finland 2022</a:t>
            </a:r>
            <a:r>
              <a:rPr lang="en-US" sz="700" dirty="0">
                <a:solidFill>
                  <a:srgbClr val="000000"/>
                </a:solidFill>
                <a:ea typeface="Verdana" panose="020B0604030504040204" pitchFamily="34" charset="0"/>
                <a:cs typeface="Verdana" panose="020B0604030504040204" pitchFamily="34" charset="0"/>
              </a:rPr>
              <a:t>, </a:t>
            </a:r>
            <a:r>
              <a:rPr lang="en-US" sz="700" i="1" dirty="0">
                <a:solidFill>
                  <a:srgbClr val="000000"/>
                </a:solidFill>
                <a:ea typeface="Verdana" panose="020B0604030504040204" pitchFamily="34" charset="0"/>
              </a:rPr>
              <a:t>Global market size and growth 2022-2030</a:t>
            </a:r>
          </a:p>
        </p:txBody>
      </p:sp>
      <p:sp>
        <p:nvSpPr>
          <p:cNvPr id="23" name="Footer Placeholder 3">
            <a:extLst>
              <a:ext uri="{FF2B5EF4-FFF2-40B4-BE49-F238E27FC236}">
                <a16:creationId xmlns:a16="http://schemas.microsoft.com/office/drawing/2014/main" id="{49F41DD7-5AB3-E7B5-4E41-7D4CA916BB5A}"/>
              </a:ext>
            </a:extLst>
          </p:cNvPr>
          <p:cNvSpPr txBox="1">
            <a:spLocks/>
          </p:cNvSpPr>
          <p:nvPr/>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Technology Industries of Finland</a:t>
            </a:r>
          </a:p>
        </p:txBody>
      </p:sp>
    </p:spTree>
    <p:extLst>
      <p:ext uri="{BB962C8B-B14F-4D97-AF65-F5344CB8AC3E}">
        <p14:creationId xmlns:p14="http://schemas.microsoft.com/office/powerpoint/2010/main" val="80507633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AD6081FB-9436-D5D8-CFEE-C7D9BA9B609E}"/>
              </a:ext>
            </a:extLst>
          </p:cNvPr>
          <p:cNvGraphicFramePr>
            <a:graphicFrameLocks noChangeAspect="1"/>
          </p:cNvGraphicFramePr>
          <p:nvPr>
            <p:custDataLst>
              <p:tags r:id="rId1"/>
            </p:custDataLst>
            <p:extLst>
              <p:ext uri="{D42A27DB-BD31-4B8C-83A1-F6EECF244321}">
                <p14:modId xmlns:p14="http://schemas.microsoft.com/office/powerpoint/2010/main" val="4096564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3" name="think-cell data - do not delete" hidden="1">
                        <a:extLst>
                          <a:ext uri="{FF2B5EF4-FFF2-40B4-BE49-F238E27FC236}">
                            <a16:creationId xmlns:a16="http://schemas.microsoft.com/office/drawing/2014/main" id="{AD6081FB-9436-D5D8-CFEE-C7D9BA9B609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8" name="Rectangle 27">
            <a:extLst>
              <a:ext uri="{FF2B5EF4-FFF2-40B4-BE49-F238E27FC236}">
                <a16:creationId xmlns:a16="http://schemas.microsoft.com/office/drawing/2014/main" id="{2A3CC747-D036-780D-A83D-82D19598FFFF}"/>
              </a:ext>
            </a:extLst>
          </p:cNvPr>
          <p:cNvSpPr/>
          <p:nvPr/>
        </p:nvSpPr>
        <p:spPr>
          <a:xfrm>
            <a:off x="411902" y="4128452"/>
            <a:ext cx="7366987" cy="440968"/>
          </a:xfrm>
          <a:prstGeom prst="rect">
            <a:avLst/>
          </a:prstGeom>
          <a:solidFill>
            <a:srgbClr val="F6F6F6"/>
          </a:solidFill>
          <a:ln w="8434" cap="flat" cmpd="sng" algn="ctr">
            <a:solidFill>
              <a:srgbClr val="9A9A9A"/>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defRPr/>
            </a:pPr>
            <a:endParaRPr lang="en-US" sz="800" b="1">
              <a:solidFill>
                <a:srgbClr val="000C20"/>
              </a:solidFill>
            </a:endParaRPr>
          </a:p>
        </p:txBody>
      </p:sp>
      <p:sp>
        <p:nvSpPr>
          <p:cNvPr id="80" name="Rectangle 79">
            <a:extLst>
              <a:ext uri="{FF2B5EF4-FFF2-40B4-BE49-F238E27FC236}">
                <a16:creationId xmlns:a16="http://schemas.microsoft.com/office/drawing/2014/main" id="{46B8F458-819B-5313-8A47-F4A1F73A6118}"/>
              </a:ext>
            </a:extLst>
          </p:cNvPr>
          <p:cNvSpPr/>
          <p:nvPr/>
        </p:nvSpPr>
        <p:spPr>
          <a:xfrm>
            <a:off x="411901" y="4026762"/>
            <a:ext cx="7366987" cy="227713"/>
          </a:xfrm>
          <a:prstGeom prst="rect">
            <a:avLst/>
          </a:prstGeom>
          <a:solidFill>
            <a:srgbClr val="3078B3"/>
          </a:solidFill>
          <a:ln w="8434" cap="flat" cmpd="sng" algn="ctr">
            <a:solidFill>
              <a:schemeClr val="accent1"/>
            </a:solidFill>
            <a:prstDash val="solid"/>
            <a:round/>
            <a:headEnd type="none" w="med" len="med"/>
            <a:tailEnd type="none" w="med" len="med"/>
          </a:ln>
        </p:spPr>
        <p:txBody>
          <a:bodyPr vert="horz" wrap="square" lIns="80970" tIns="40485" rIns="80970" bIns="40485" numCol="1" rtlCol="0" anchor="ctr" anchorCtr="0" compatLnSpc="1">
            <a:prstTxWarp prst="textNoShape">
              <a:avLst/>
            </a:prstTxWarp>
          </a:bodyPr>
          <a:lstStyle/>
          <a:p>
            <a:pPr algn="ctr"/>
            <a:r>
              <a:rPr lang="en-US" sz="900" spc="-36">
                <a:solidFill>
                  <a:schemeClr val="bg1"/>
                </a:solidFill>
              </a:rPr>
              <a:t>R&amp;D: Universities &amp; other research institutions</a:t>
            </a:r>
          </a:p>
        </p:txBody>
      </p:sp>
      <p:sp>
        <p:nvSpPr>
          <p:cNvPr id="2" name="Text Placeholder 1">
            <a:extLst>
              <a:ext uri="{FF2B5EF4-FFF2-40B4-BE49-F238E27FC236}">
                <a16:creationId xmlns:a16="http://schemas.microsoft.com/office/drawing/2014/main" id="{9094C8BF-857F-D4FA-7FAF-9967FF750788}"/>
              </a:ext>
            </a:extLst>
          </p:cNvPr>
          <p:cNvSpPr>
            <a:spLocks noGrp="1"/>
          </p:cNvSpPr>
          <p:nvPr>
            <p:ph type="body" sz="quarter" idx="18"/>
          </p:nvPr>
        </p:nvSpPr>
        <p:spPr>
          <a:xfrm>
            <a:off x="251999" y="286044"/>
            <a:ext cx="8076581" cy="521994"/>
          </a:xfrm>
        </p:spPr>
        <p:txBody>
          <a:bodyPr/>
          <a:lstStyle/>
          <a:p>
            <a:pPr marL="0" marR="0" lvl="0" indent="0" algn="l" defTabSz="679871" rtl="0" eaLnBrk="1" fontAlgn="auto" latinLnBrk="0" hangingPunct="1">
              <a:lnSpc>
                <a:spcPct val="100000"/>
              </a:lnSpc>
              <a:spcBef>
                <a:spcPts val="0"/>
              </a:spcBef>
              <a:spcAft>
                <a:spcPts val="0"/>
              </a:spcAft>
              <a:buClrTx/>
              <a:buSzTx/>
              <a:buFontTx/>
              <a:buNone/>
              <a:tabLst/>
              <a:defRPr/>
            </a:pPr>
            <a:r>
              <a:rPr lang="en-US" sz="1400" b="1" dirty="0">
                <a:solidFill>
                  <a:srgbClr val="29282E"/>
                </a:solidFill>
                <a:latin typeface="Verdana"/>
                <a:ea typeface="+mn-ea"/>
                <a:cs typeface="+mn-cs"/>
              </a:rPr>
              <a:t>Semiconductor companies in Finland are mostly IDMs, fabless, and equipment players supported by advanced R&amp;D expertise</a:t>
            </a:r>
            <a:endParaRPr kumimoji="0" lang="en-US" sz="1400" b="1" i="0" u="none" strike="noStrike" kern="1200" cap="none" spc="0" normalizeH="0" baseline="0" noProof="0" dirty="0">
              <a:ln>
                <a:noFill/>
              </a:ln>
              <a:solidFill>
                <a:srgbClr val="29282E"/>
              </a:solidFill>
              <a:effectLst/>
              <a:uLnTx/>
              <a:uFillTx/>
              <a:latin typeface="Verdana"/>
              <a:ea typeface="+mn-ea"/>
              <a:cs typeface="+mn-cs"/>
            </a:endParaRPr>
          </a:p>
          <a:p>
            <a:endParaRPr lang="en-US" dirty="0"/>
          </a:p>
        </p:txBody>
      </p:sp>
      <p:sp>
        <p:nvSpPr>
          <p:cNvPr id="7" name="Date Placeholder 2">
            <a:extLst>
              <a:ext uri="{FF2B5EF4-FFF2-40B4-BE49-F238E27FC236}">
                <a16:creationId xmlns:a16="http://schemas.microsoft.com/office/drawing/2014/main" id="{A59E9125-7BBD-5E41-2E07-326235B97A54}"/>
              </a:ext>
            </a:extLst>
          </p:cNvPr>
          <p:cNvSpPr>
            <a:spLocks noGrp="1"/>
          </p:cNvSpPr>
          <p:nvPr>
            <p:ph type="dt" sz="half" idx="10"/>
          </p:nvPr>
        </p:nvSpPr>
        <p:spPr>
          <a:xfrm>
            <a:off x="282027" y="4728047"/>
            <a:ext cx="916709" cy="164690"/>
          </a:xfrm>
        </p:spPr>
        <p:txBody>
          <a:bodyPr/>
          <a:lstStyle/>
          <a:p>
            <a:fld id="{F553C366-6A2C-43B9-A437-B827E0484441}" type="datetime1">
              <a:rPr lang="fi-FI" smtClean="0"/>
              <a:pPr/>
              <a:t>9.4.2024</a:t>
            </a:fld>
            <a:endParaRPr lang="en-US"/>
          </a:p>
        </p:txBody>
      </p:sp>
      <p:cxnSp>
        <p:nvCxnSpPr>
          <p:cNvPr id="86" name="Straight Connector 85">
            <a:extLst>
              <a:ext uri="{FF2B5EF4-FFF2-40B4-BE49-F238E27FC236}">
                <a16:creationId xmlns:a16="http://schemas.microsoft.com/office/drawing/2014/main" id="{2862437A-5AEA-533C-8901-D5CD4463AB57}"/>
              </a:ext>
            </a:extLst>
          </p:cNvPr>
          <p:cNvCxnSpPr>
            <a:cxnSpLocks/>
          </p:cNvCxnSpPr>
          <p:nvPr/>
        </p:nvCxnSpPr>
        <p:spPr>
          <a:xfrm>
            <a:off x="6119328" y="3855598"/>
            <a:ext cx="0" cy="172657"/>
          </a:xfrm>
          <a:prstGeom prst="line">
            <a:avLst/>
          </a:prstGeom>
          <a:ln w="8434">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30" name="Arrow: Pentagon 29">
            <a:extLst>
              <a:ext uri="{FF2B5EF4-FFF2-40B4-BE49-F238E27FC236}">
                <a16:creationId xmlns:a16="http://schemas.microsoft.com/office/drawing/2014/main" id="{46AE7763-FDD8-F724-7D3A-451486D85177}"/>
              </a:ext>
            </a:extLst>
          </p:cNvPr>
          <p:cNvSpPr/>
          <p:nvPr/>
        </p:nvSpPr>
        <p:spPr bwMode="auto">
          <a:xfrm>
            <a:off x="411901" y="1380534"/>
            <a:ext cx="1707935" cy="473807"/>
          </a:xfrm>
          <a:prstGeom prst="homePlate">
            <a:avLst>
              <a:gd name="adj" fmla="val 15584"/>
            </a:avLst>
          </a:prstGeom>
          <a:solidFill>
            <a:srgbClr val="3078B3"/>
          </a:solidFill>
          <a:ln w="8434" cap="flat" cmpd="sng" algn="ctr">
            <a:solidFill>
              <a:schemeClr val="accent1"/>
            </a:solidFill>
            <a:prstDash val="solid"/>
            <a:round/>
            <a:headEnd type="none" w="med" len="med"/>
            <a:tailEnd type="none" w="med" len="med"/>
          </a:ln>
        </p:spPr>
        <p:txBody>
          <a:bodyPr vert="horz" wrap="square" lIns="80970" tIns="40485" rIns="80970" bIns="40485" numCol="1" rtlCol="0" anchor="ctr" anchorCtr="0" compatLnSpc="1">
            <a:prstTxWarp prst="textNoShape">
              <a:avLst/>
            </a:prstTxWarp>
          </a:bodyPr>
          <a:lstStyle/>
          <a:p>
            <a:pPr algn="ctr"/>
            <a:r>
              <a:rPr lang="en-US" sz="900" spc="-36">
                <a:solidFill>
                  <a:schemeClr val="bg1"/>
                </a:solidFill>
              </a:rPr>
              <a:t>Design</a:t>
            </a:r>
          </a:p>
        </p:txBody>
      </p:sp>
      <p:sp>
        <p:nvSpPr>
          <p:cNvPr id="31" name="Arrow: Chevron 30">
            <a:extLst>
              <a:ext uri="{FF2B5EF4-FFF2-40B4-BE49-F238E27FC236}">
                <a16:creationId xmlns:a16="http://schemas.microsoft.com/office/drawing/2014/main" id="{EA792194-A2E1-C7CE-5769-3FDDE7FAC180}"/>
              </a:ext>
            </a:extLst>
          </p:cNvPr>
          <p:cNvSpPr/>
          <p:nvPr/>
        </p:nvSpPr>
        <p:spPr bwMode="auto">
          <a:xfrm>
            <a:off x="2121233" y="1380534"/>
            <a:ext cx="1785168" cy="467268"/>
          </a:xfrm>
          <a:prstGeom prst="chevron">
            <a:avLst>
              <a:gd name="adj" fmla="val 14658"/>
            </a:avLst>
          </a:prstGeom>
          <a:solidFill>
            <a:srgbClr val="3078B3"/>
          </a:solidFill>
          <a:ln w="8434" cap="flat" cmpd="sng" algn="ctr">
            <a:solidFill>
              <a:schemeClr val="accent1"/>
            </a:solidFill>
            <a:prstDash val="solid"/>
            <a:round/>
            <a:headEnd type="none" w="med" len="med"/>
            <a:tailEnd type="none" w="med" len="med"/>
          </a:ln>
        </p:spPr>
        <p:txBody>
          <a:bodyPr vert="horz" wrap="square" lIns="80970" tIns="40485" rIns="80970" bIns="40485" numCol="1" rtlCol="0" anchor="ctr" anchorCtr="0" compatLnSpc="1">
            <a:prstTxWarp prst="textNoShape">
              <a:avLst/>
            </a:prstTxWarp>
          </a:bodyPr>
          <a:lstStyle/>
          <a:p>
            <a:pPr algn="ctr"/>
            <a:r>
              <a:rPr lang="en-US" sz="900" spc="-36" dirty="0">
                <a:solidFill>
                  <a:schemeClr val="bg1"/>
                </a:solidFill>
              </a:rPr>
              <a:t>Manufacturing</a:t>
            </a:r>
          </a:p>
        </p:txBody>
      </p:sp>
      <p:sp>
        <p:nvSpPr>
          <p:cNvPr id="32" name="Arrow: Chevron 31">
            <a:extLst>
              <a:ext uri="{FF2B5EF4-FFF2-40B4-BE49-F238E27FC236}">
                <a16:creationId xmlns:a16="http://schemas.microsoft.com/office/drawing/2014/main" id="{3D80C78B-C36B-B6F3-DAB6-B246695988F7}"/>
              </a:ext>
            </a:extLst>
          </p:cNvPr>
          <p:cNvSpPr/>
          <p:nvPr/>
        </p:nvSpPr>
        <p:spPr bwMode="auto">
          <a:xfrm>
            <a:off x="3907799" y="1380534"/>
            <a:ext cx="1785168" cy="467268"/>
          </a:xfrm>
          <a:prstGeom prst="chevron">
            <a:avLst>
              <a:gd name="adj" fmla="val 14658"/>
            </a:avLst>
          </a:prstGeom>
          <a:solidFill>
            <a:srgbClr val="3078B3"/>
          </a:solidFill>
          <a:ln w="8434" cap="flat" cmpd="sng" algn="ctr">
            <a:solidFill>
              <a:schemeClr val="accent1"/>
            </a:solidFill>
            <a:prstDash val="solid"/>
            <a:round/>
            <a:headEnd type="none" w="med" len="med"/>
            <a:tailEnd type="none" w="med" len="med"/>
          </a:ln>
        </p:spPr>
        <p:txBody>
          <a:bodyPr vert="horz" wrap="square" lIns="80970" tIns="40485" rIns="80970" bIns="40485" numCol="1" rtlCol="0" anchor="ctr" anchorCtr="0" compatLnSpc="1">
            <a:prstTxWarp prst="textNoShape">
              <a:avLst/>
            </a:prstTxWarp>
          </a:bodyPr>
          <a:lstStyle/>
          <a:p>
            <a:pPr algn="ctr"/>
            <a:r>
              <a:rPr lang="fi-FI" sz="900" spc="-36">
                <a:solidFill>
                  <a:schemeClr val="bg1"/>
                </a:solidFill>
              </a:rPr>
              <a:t>Assembly, testing, </a:t>
            </a:r>
            <a:br>
              <a:rPr lang="fi-FI" sz="900" spc="-36">
                <a:solidFill>
                  <a:schemeClr val="bg1"/>
                </a:solidFill>
              </a:rPr>
            </a:br>
            <a:r>
              <a:rPr lang="fi-FI" sz="900" spc="-36">
                <a:solidFill>
                  <a:schemeClr val="bg1"/>
                </a:solidFill>
              </a:rPr>
              <a:t>and packaging</a:t>
            </a:r>
          </a:p>
        </p:txBody>
      </p:sp>
      <p:sp>
        <p:nvSpPr>
          <p:cNvPr id="33" name="Arrow: Chevron 32">
            <a:extLst>
              <a:ext uri="{FF2B5EF4-FFF2-40B4-BE49-F238E27FC236}">
                <a16:creationId xmlns:a16="http://schemas.microsoft.com/office/drawing/2014/main" id="{41BB3F0C-F6BF-C46F-D735-76B535428440}"/>
              </a:ext>
            </a:extLst>
          </p:cNvPr>
          <p:cNvSpPr/>
          <p:nvPr/>
        </p:nvSpPr>
        <p:spPr bwMode="auto">
          <a:xfrm>
            <a:off x="5747685" y="1380534"/>
            <a:ext cx="1041562" cy="467268"/>
          </a:xfrm>
          <a:prstGeom prst="chevron">
            <a:avLst>
              <a:gd name="adj" fmla="val 14658"/>
            </a:avLst>
          </a:prstGeom>
          <a:solidFill>
            <a:srgbClr val="F2F2F2"/>
          </a:solidFill>
          <a:ln w="8434" cap="flat" cmpd="sng" algn="ctr">
            <a:noFill/>
            <a:prstDash val="sysDash"/>
            <a:round/>
            <a:headEnd type="none" w="med" len="med"/>
            <a:tailEnd type="none" w="med" len="med"/>
          </a:ln>
          <a:extLst>
            <a:ext uri="{91240B29-F687-4F45-9708-019B960494DF}">
              <a14:hiddenLine xmlns:a14="http://schemas.microsoft.com/office/drawing/2010/main" w="8434" cap="flat" cmpd="sng" algn="ctr">
                <a:solidFill>
                  <a:srgbClr val="3078B3"/>
                </a:solidFill>
                <a:prstDash val="sysDash"/>
                <a:round/>
                <a:headEnd type="none" w="med" len="med"/>
                <a:tailEnd type="none" w="med" len="med"/>
              </a14:hiddenLine>
            </a:ext>
          </a:extLst>
        </p:spPr>
        <p:txBody>
          <a:bodyPr vert="horz" wrap="square" lIns="80970" tIns="40485" rIns="80970" bIns="40485" numCol="1" rtlCol="0" anchor="ctr" anchorCtr="0" compatLnSpc="1">
            <a:prstTxWarp prst="textNoShape">
              <a:avLst/>
            </a:prstTxWarp>
          </a:bodyPr>
          <a:lstStyle/>
          <a:p>
            <a:pPr defTabSz="914400" eaLnBrk="0" hangingPunct="0"/>
            <a:r>
              <a:rPr lang="en-US" sz="900" dirty="0">
                <a:solidFill>
                  <a:srgbClr val="000000"/>
                </a:solidFill>
                <a:cs typeface="Arial" panose="020B0604020202020204" pitchFamily="34" charset="0"/>
              </a:rPr>
              <a:t>Distribution</a:t>
            </a:r>
          </a:p>
        </p:txBody>
      </p:sp>
      <p:sp>
        <p:nvSpPr>
          <p:cNvPr id="34" name="Arrow: Chevron 33">
            <a:extLst>
              <a:ext uri="{FF2B5EF4-FFF2-40B4-BE49-F238E27FC236}">
                <a16:creationId xmlns:a16="http://schemas.microsoft.com/office/drawing/2014/main" id="{FD6D485F-E772-FAF7-09FD-ACE19656E9D7}"/>
              </a:ext>
            </a:extLst>
          </p:cNvPr>
          <p:cNvSpPr/>
          <p:nvPr/>
        </p:nvSpPr>
        <p:spPr bwMode="auto">
          <a:xfrm>
            <a:off x="6789248" y="1380534"/>
            <a:ext cx="1041562" cy="467268"/>
          </a:xfrm>
          <a:prstGeom prst="chevron">
            <a:avLst>
              <a:gd name="adj" fmla="val 14658"/>
            </a:avLst>
          </a:prstGeom>
          <a:solidFill>
            <a:srgbClr val="F2F2F2"/>
          </a:solidFill>
          <a:ln w="8434" cap="flat" cmpd="sng" algn="ctr">
            <a:noFill/>
            <a:prstDash val="sysDash"/>
            <a:round/>
            <a:headEnd type="none" w="med" len="med"/>
            <a:tailEnd type="none" w="med" len="med"/>
          </a:ln>
          <a:extLst>
            <a:ext uri="{91240B29-F687-4F45-9708-019B960494DF}">
              <a14:hiddenLine xmlns:a14="http://schemas.microsoft.com/office/drawing/2010/main" w="8434" cap="flat" cmpd="sng" algn="ctr">
                <a:solidFill>
                  <a:srgbClr val="3078B3"/>
                </a:solidFill>
                <a:prstDash val="sysDash"/>
                <a:round/>
                <a:headEnd type="none" w="med" len="med"/>
                <a:tailEnd type="none" w="med" len="med"/>
              </a14:hiddenLine>
            </a:ext>
          </a:extLst>
        </p:spPr>
        <p:txBody>
          <a:bodyPr vert="horz" wrap="square" lIns="80970" tIns="40485" rIns="80970" bIns="40485" numCol="1" rtlCol="0" anchor="ctr" anchorCtr="0" compatLnSpc="1">
            <a:prstTxWarp prst="textNoShape">
              <a:avLst/>
            </a:prstTxWarp>
          </a:bodyPr>
          <a:lstStyle/>
          <a:p>
            <a:pPr defTabSz="914400" eaLnBrk="0" hangingPunct="0"/>
            <a:r>
              <a:rPr lang="en-US" sz="900">
                <a:solidFill>
                  <a:srgbClr val="000000"/>
                </a:solidFill>
                <a:cs typeface="Arial" panose="020B0604020202020204" pitchFamily="34" charset="0"/>
              </a:rPr>
              <a:t>End users</a:t>
            </a:r>
          </a:p>
        </p:txBody>
      </p:sp>
      <p:cxnSp>
        <p:nvCxnSpPr>
          <p:cNvPr id="35" name="Straight Connector 34">
            <a:extLst>
              <a:ext uri="{FF2B5EF4-FFF2-40B4-BE49-F238E27FC236}">
                <a16:creationId xmlns:a16="http://schemas.microsoft.com/office/drawing/2014/main" id="{DFB16D3E-7CA9-5667-6DFB-41E49EFEEBD8}"/>
              </a:ext>
            </a:extLst>
          </p:cNvPr>
          <p:cNvCxnSpPr>
            <a:cxnSpLocks/>
            <a:stCxn id="42" idx="2"/>
            <a:endCxn id="68" idx="0"/>
          </p:cNvCxnSpPr>
          <p:nvPr/>
        </p:nvCxnSpPr>
        <p:spPr>
          <a:xfrm>
            <a:off x="3031059" y="2785749"/>
            <a:ext cx="881330" cy="606069"/>
          </a:xfrm>
          <a:prstGeom prst="line">
            <a:avLst/>
          </a:prstGeom>
          <a:ln w="16868">
            <a:solidFill>
              <a:srgbClr val="3078B3"/>
            </a:solidFill>
            <a:prstDash val="sysDot"/>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85A11148-F63C-F35D-311E-F14B7DBEFA4D}"/>
              </a:ext>
            </a:extLst>
          </p:cNvPr>
          <p:cNvCxnSpPr>
            <a:cxnSpLocks/>
            <a:stCxn id="47" idx="2"/>
            <a:endCxn id="68" idx="0"/>
          </p:cNvCxnSpPr>
          <p:nvPr/>
        </p:nvCxnSpPr>
        <p:spPr>
          <a:xfrm flipH="1">
            <a:off x="3912389" y="2787669"/>
            <a:ext cx="904102" cy="604149"/>
          </a:xfrm>
          <a:prstGeom prst="line">
            <a:avLst/>
          </a:prstGeom>
          <a:ln w="16868">
            <a:solidFill>
              <a:srgbClr val="3078B3"/>
            </a:solidFill>
            <a:prstDash val="sysDot"/>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75974621-F633-8965-DE41-06CE99FF7DE3}"/>
              </a:ext>
            </a:extLst>
          </p:cNvPr>
          <p:cNvCxnSpPr>
            <a:cxnSpLocks/>
            <a:stCxn id="38" idx="2"/>
            <a:endCxn id="63" idx="0"/>
          </p:cNvCxnSpPr>
          <p:nvPr/>
        </p:nvCxnSpPr>
        <p:spPr>
          <a:xfrm>
            <a:off x="1246365" y="2789351"/>
            <a:ext cx="739" cy="602468"/>
          </a:xfrm>
          <a:prstGeom prst="line">
            <a:avLst/>
          </a:prstGeom>
          <a:ln w="16868">
            <a:solidFill>
              <a:srgbClr val="3078B3"/>
            </a:solidFill>
            <a:prstDash val="sysDot"/>
          </a:ln>
        </p:spPr>
        <p:style>
          <a:lnRef idx="1">
            <a:schemeClr val="accent1"/>
          </a:lnRef>
          <a:fillRef idx="0">
            <a:schemeClr val="accent1"/>
          </a:fillRef>
          <a:effectRef idx="0">
            <a:schemeClr val="accent1"/>
          </a:effectRef>
          <a:fontRef idx="minor">
            <a:schemeClr val="tx1"/>
          </a:fontRef>
        </p:style>
      </p:cxnSp>
      <p:sp>
        <p:nvSpPr>
          <p:cNvPr id="38" name="Rectangle 37">
            <a:extLst>
              <a:ext uri="{FF2B5EF4-FFF2-40B4-BE49-F238E27FC236}">
                <a16:creationId xmlns:a16="http://schemas.microsoft.com/office/drawing/2014/main" id="{17626B5F-1F6B-90EA-490A-F19BBBF9057C}"/>
              </a:ext>
            </a:extLst>
          </p:cNvPr>
          <p:cNvSpPr/>
          <p:nvPr/>
        </p:nvSpPr>
        <p:spPr>
          <a:xfrm>
            <a:off x="411901" y="1991179"/>
            <a:ext cx="1668929" cy="798172"/>
          </a:xfrm>
          <a:prstGeom prst="rect">
            <a:avLst/>
          </a:prstGeom>
          <a:solidFill>
            <a:srgbClr val="F6F6F6"/>
          </a:solid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buFont typeface="Trebuchet MS" panose="020B0603020202020204" pitchFamily="34" charset="0"/>
              <a:buChar char="​"/>
              <a:defRPr/>
            </a:pPr>
            <a:r>
              <a:rPr lang="en-US" sz="700" b="1" dirty="0">
                <a:solidFill>
                  <a:srgbClr val="000C20"/>
                </a:solidFill>
              </a:rPr>
              <a:t>Fabless</a:t>
            </a:r>
          </a:p>
        </p:txBody>
      </p:sp>
      <p:pic>
        <p:nvPicPr>
          <p:cNvPr id="39" name="Picture 38">
            <a:extLst>
              <a:ext uri="{FF2B5EF4-FFF2-40B4-BE49-F238E27FC236}">
                <a16:creationId xmlns:a16="http://schemas.microsoft.com/office/drawing/2014/main" id="{5D4A5EB2-EB1A-40B0-7B1E-5C5B9EC75D2A}"/>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513232" y="2232977"/>
            <a:ext cx="355487" cy="97472"/>
          </a:xfrm>
          <a:prstGeom prst="rect">
            <a:avLst/>
          </a:prstGeom>
        </p:spPr>
      </p:pic>
      <p:pic>
        <p:nvPicPr>
          <p:cNvPr id="40" name="Picture 39">
            <a:extLst>
              <a:ext uri="{FF2B5EF4-FFF2-40B4-BE49-F238E27FC236}">
                <a16:creationId xmlns:a16="http://schemas.microsoft.com/office/drawing/2014/main" id="{EEA4DA73-6965-81DE-30E6-37835E8FBF69}"/>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822726" y="2568032"/>
            <a:ext cx="411576" cy="107718"/>
          </a:xfrm>
          <a:prstGeom prst="rect">
            <a:avLst/>
          </a:prstGeom>
        </p:spPr>
      </p:pic>
      <p:pic>
        <p:nvPicPr>
          <p:cNvPr id="41" name="Picture 40">
            <a:extLst>
              <a:ext uri="{FF2B5EF4-FFF2-40B4-BE49-F238E27FC236}">
                <a16:creationId xmlns:a16="http://schemas.microsoft.com/office/drawing/2014/main" id="{C8D74F5B-8408-E687-9F3B-255483CD13C9}"/>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513232" y="2539190"/>
            <a:ext cx="163376" cy="165964"/>
          </a:xfrm>
          <a:prstGeom prst="rect">
            <a:avLst/>
          </a:prstGeom>
        </p:spPr>
      </p:pic>
      <p:sp>
        <p:nvSpPr>
          <p:cNvPr id="42" name="Rectangle 41">
            <a:extLst>
              <a:ext uri="{FF2B5EF4-FFF2-40B4-BE49-F238E27FC236}">
                <a16:creationId xmlns:a16="http://schemas.microsoft.com/office/drawing/2014/main" id="{9453CE2C-EF7F-6738-5358-7905570F08F4}"/>
              </a:ext>
            </a:extLst>
          </p:cNvPr>
          <p:cNvSpPr/>
          <p:nvPr/>
        </p:nvSpPr>
        <p:spPr>
          <a:xfrm>
            <a:off x="2195855" y="1987577"/>
            <a:ext cx="1670407" cy="798172"/>
          </a:xfrm>
          <a:prstGeom prst="rect">
            <a:avLst/>
          </a:prstGeom>
          <a:no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defRPr/>
            </a:pPr>
            <a:r>
              <a:rPr lang="en-US" sz="700" b="1" dirty="0">
                <a:solidFill>
                  <a:srgbClr val="000C20"/>
                </a:solidFill>
              </a:rPr>
              <a:t>Foundries</a:t>
            </a:r>
          </a:p>
        </p:txBody>
      </p:sp>
      <p:sp>
        <p:nvSpPr>
          <p:cNvPr id="47" name="Rectangle 46">
            <a:extLst>
              <a:ext uri="{FF2B5EF4-FFF2-40B4-BE49-F238E27FC236}">
                <a16:creationId xmlns:a16="http://schemas.microsoft.com/office/drawing/2014/main" id="{17FE95C5-608A-FB87-ABC8-2CBBC791E498}"/>
              </a:ext>
            </a:extLst>
          </p:cNvPr>
          <p:cNvSpPr/>
          <p:nvPr/>
        </p:nvSpPr>
        <p:spPr>
          <a:xfrm>
            <a:off x="3981287" y="1987577"/>
            <a:ext cx="1670407" cy="800092"/>
          </a:xfrm>
          <a:prstGeom prst="rect">
            <a:avLst/>
          </a:prstGeom>
          <a:solidFill>
            <a:srgbClr val="F6F6F6"/>
          </a:solid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buFont typeface="Trebuchet MS" panose="020B0603020202020204" pitchFamily="34" charset="0"/>
              <a:buChar char="​"/>
              <a:defRPr/>
            </a:pPr>
            <a:r>
              <a:rPr lang="en-US" sz="700" b="1">
                <a:solidFill>
                  <a:srgbClr val="000C20"/>
                </a:solidFill>
              </a:rPr>
              <a:t>OSAT</a:t>
            </a:r>
            <a:r>
              <a:rPr lang="en-US" sz="700" b="1" baseline="30000">
                <a:solidFill>
                  <a:srgbClr val="000C20"/>
                </a:solidFill>
              </a:rPr>
              <a:t>2</a:t>
            </a:r>
            <a:endParaRPr lang="en-US" sz="700" b="1">
              <a:solidFill>
                <a:srgbClr val="000C20"/>
              </a:solidFill>
            </a:endParaRPr>
          </a:p>
        </p:txBody>
      </p:sp>
      <p:pic>
        <p:nvPicPr>
          <p:cNvPr id="48" name="Picture 47">
            <a:extLst>
              <a:ext uri="{FF2B5EF4-FFF2-40B4-BE49-F238E27FC236}">
                <a16:creationId xmlns:a16="http://schemas.microsoft.com/office/drawing/2014/main" id="{4E1027DF-D673-E7F4-C255-71640169779C}"/>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4179789" y="2266047"/>
            <a:ext cx="498798" cy="118827"/>
          </a:xfrm>
          <a:prstGeom prst="rect">
            <a:avLst/>
          </a:prstGeom>
        </p:spPr>
      </p:pic>
      <p:pic>
        <p:nvPicPr>
          <p:cNvPr id="49" name="Picture 48">
            <a:extLst>
              <a:ext uri="{FF2B5EF4-FFF2-40B4-BE49-F238E27FC236}">
                <a16:creationId xmlns:a16="http://schemas.microsoft.com/office/drawing/2014/main" id="{BD5EC02A-9341-7DEE-480A-6EA913A5580B}"/>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4478613" y="2517534"/>
            <a:ext cx="735093" cy="118827"/>
          </a:xfrm>
          <a:prstGeom prst="rect">
            <a:avLst/>
          </a:prstGeom>
        </p:spPr>
      </p:pic>
      <p:sp>
        <p:nvSpPr>
          <p:cNvPr id="52" name="Rectangle 51">
            <a:extLst>
              <a:ext uri="{FF2B5EF4-FFF2-40B4-BE49-F238E27FC236}">
                <a16:creationId xmlns:a16="http://schemas.microsoft.com/office/drawing/2014/main" id="{F7E336FA-D192-DE4D-67A7-B7DD0629D0B2}"/>
              </a:ext>
            </a:extLst>
          </p:cNvPr>
          <p:cNvSpPr/>
          <p:nvPr/>
        </p:nvSpPr>
        <p:spPr>
          <a:xfrm>
            <a:off x="6799320" y="1990318"/>
            <a:ext cx="979567" cy="1264662"/>
          </a:xfrm>
          <a:prstGeom prst="rect">
            <a:avLst/>
          </a:prstGeom>
          <a:solidFill>
            <a:srgbClr val="F6F6F6"/>
          </a:solid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buFont typeface="Trebuchet MS" panose="020B0603020202020204" pitchFamily="34" charset="0"/>
              <a:buChar char="​"/>
              <a:defRPr/>
            </a:pPr>
            <a:r>
              <a:rPr lang="en-US" sz="700" b="1" dirty="0">
                <a:solidFill>
                  <a:srgbClr val="000C20"/>
                </a:solidFill>
              </a:rPr>
              <a:t>OEMs</a:t>
            </a:r>
          </a:p>
          <a:p>
            <a:pPr algn="ctr" defTabSz="685800">
              <a:spcBef>
                <a:spcPct val="0"/>
              </a:spcBef>
              <a:spcAft>
                <a:spcPct val="0"/>
              </a:spcAft>
              <a:buFont typeface="Trebuchet MS" panose="020B0603020202020204" pitchFamily="34" charset="0"/>
              <a:buChar char="​"/>
              <a:defRPr/>
            </a:pPr>
            <a:r>
              <a:rPr lang="en-US" sz="500" b="1" i="1" dirty="0">
                <a:solidFill>
                  <a:schemeClr val="bg1">
                    <a:lumMod val="50000"/>
                  </a:schemeClr>
                </a:solidFill>
              </a:rPr>
              <a:t>Illustrative</a:t>
            </a:r>
            <a:endParaRPr lang="en-US" sz="700" b="1" i="1" dirty="0">
              <a:solidFill>
                <a:schemeClr val="bg1">
                  <a:lumMod val="50000"/>
                </a:schemeClr>
              </a:solidFill>
            </a:endParaRPr>
          </a:p>
        </p:txBody>
      </p:sp>
      <p:pic>
        <p:nvPicPr>
          <p:cNvPr id="53" name="Picture 52">
            <a:extLst>
              <a:ext uri="{FF2B5EF4-FFF2-40B4-BE49-F238E27FC236}">
                <a16:creationId xmlns:a16="http://schemas.microsoft.com/office/drawing/2014/main" id="{03D726D8-78EA-69C4-FFC0-2DC8715A42E9}"/>
              </a:ext>
            </a:extLst>
          </p:cNvPr>
          <p:cNvPicPr>
            <a:picLocks noChangeAspect="1"/>
          </p:cNvPicPr>
          <p:nvPr/>
        </p:nvPicPr>
        <p:blipFill>
          <a:blip r:embed="rId11"/>
          <a:srcRect/>
          <a:stretch/>
        </p:blipFill>
        <p:spPr>
          <a:xfrm>
            <a:off x="7113390" y="2288517"/>
            <a:ext cx="345907" cy="135768"/>
          </a:xfrm>
          <a:prstGeom prst="rect">
            <a:avLst/>
          </a:prstGeom>
        </p:spPr>
      </p:pic>
      <p:pic>
        <p:nvPicPr>
          <p:cNvPr id="55" name="Picture 54">
            <a:extLst>
              <a:ext uri="{FF2B5EF4-FFF2-40B4-BE49-F238E27FC236}">
                <a16:creationId xmlns:a16="http://schemas.microsoft.com/office/drawing/2014/main" id="{E6A599AF-C34F-4355-0B35-4848293F2FFA}"/>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7119530" y="2930578"/>
            <a:ext cx="333625" cy="172156"/>
          </a:xfrm>
          <a:prstGeom prst="rect">
            <a:avLst/>
          </a:prstGeom>
        </p:spPr>
      </p:pic>
      <p:pic>
        <p:nvPicPr>
          <p:cNvPr id="56" name="Picture 55">
            <a:extLst>
              <a:ext uri="{FF2B5EF4-FFF2-40B4-BE49-F238E27FC236}">
                <a16:creationId xmlns:a16="http://schemas.microsoft.com/office/drawing/2014/main" id="{E32F7C7B-2E83-5D05-8E99-823F4A7A7FE2}"/>
              </a:ext>
            </a:extLst>
          </p:cNvPr>
          <p:cNvPicPr>
            <a:picLocks noChangeAspect="1"/>
          </p:cNvPicPr>
          <p:nvPr/>
        </p:nvPicPr>
        <p:blipFill>
          <a:blip r:embed="rId13">
            <a:extLst>
              <a:ext uri="{28A0092B-C50C-407E-A947-70E740481C1C}">
                <a14:useLocalDpi xmlns:a14="http://schemas.microsoft.com/office/drawing/2010/main" val="0"/>
              </a:ext>
            </a:extLst>
          </a:blip>
          <a:srcRect/>
          <a:stretch/>
        </p:blipFill>
        <p:spPr>
          <a:xfrm>
            <a:off x="7035567" y="2609547"/>
            <a:ext cx="501552" cy="135769"/>
          </a:xfrm>
          <a:prstGeom prst="rect">
            <a:avLst/>
          </a:prstGeom>
        </p:spPr>
      </p:pic>
      <p:sp>
        <p:nvSpPr>
          <p:cNvPr id="57" name="Right Arrow 47">
            <a:extLst>
              <a:ext uri="{FF2B5EF4-FFF2-40B4-BE49-F238E27FC236}">
                <a16:creationId xmlns:a16="http://schemas.microsoft.com/office/drawing/2014/main" id="{18ED3A90-883C-1E87-6519-A722E977C3ED}"/>
              </a:ext>
            </a:extLst>
          </p:cNvPr>
          <p:cNvSpPr/>
          <p:nvPr/>
        </p:nvSpPr>
        <p:spPr>
          <a:xfrm>
            <a:off x="411901" y="2926189"/>
            <a:ext cx="6261295" cy="328791"/>
          </a:xfrm>
          <a:prstGeom prst="rect">
            <a:avLst/>
          </a:prstGeom>
          <a:solidFill>
            <a:srgbClr val="F6F6F6"/>
          </a:solidFill>
          <a:ln w="5622" cap="rnd" cmpd="sng" algn="ctr">
            <a:solidFill>
              <a:schemeClr val="bg1">
                <a:lumMod val="50000"/>
              </a:schemeClr>
            </a:solidFill>
            <a:prstDash val="sysDot"/>
            <a:round/>
            <a:headEnd type="none" w="med" len="med"/>
            <a:tailEnd type="none" w="med" len="med"/>
          </a:ln>
          <a:effectLst/>
        </p:spPr>
        <p:txBody>
          <a:bodyPr rot="0" spcFirstLastPara="0" vertOverflow="overflow" horzOverflow="overflow" vert="horz" wrap="square" lIns="151820" tIns="30363" rIns="60728" bIns="30363" numCol="1" spcCol="0" rtlCol="0" fromWordArt="0" anchor="ctr" anchorCtr="0" forceAA="0" compatLnSpc="1">
            <a:prstTxWarp prst="textNoShape">
              <a:avLst/>
            </a:prstTxWarp>
            <a:noAutofit/>
          </a:bodyPr>
          <a:lstStyle/>
          <a:p>
            <a:pPr indent="-151820" defTabSz="685800">
              <a:spcBef>
                <a:spcPct val="0"/>
              </a:spcBef>
              <a:spcAft>
                <a:spcPct val="0"/>
              </a:spcAft>
              <a:buFont typeface="Trebuchet MS" panose="020B0603020202020204" pitchFamily="34" charset="0"/>
              <a:buChar char="​"/>
              <a:defRPr/>
            </a:pPr>
            <a:r>
              <a:rPr lang="en-US" sz="700" b="1">
                <a:solidFill>
                  <a:srgbClr val="000C20"/>
                </a:solidFill>
              </a:rPr>
              <a:t>Integrated Device Manufacturers (IDMs)</a:t>
            </a:r>
          </a:p>
        </p:txBody>
      </p:sp>
      <p:pic>
        <p:nvPicPr>
          <p:cNvPr id="59" name="Picture 58">
            <a:extLst>
              <a:ext uri="{FF2B5EF4-FFF2-40B4-BE49-F238E27FC236}">
                <a16:creationId xmlns:a16="http://schemas.microsoft.com/office/drawing/2014/main" id="{6763FD39-DE97-C434-B9F1-7F9BA0C6CB30}"/>
              </a:ext>
            </a:extLst>
          </p:cNvPr>
          <p:cNvPicPr>
            <a:picLocks noChangeAspect="1"/>
          </p:cNvPicPr>
          <p:nvPr/>
        </p:nvPicPr>
        <p:blipFill>
          <a:blip r:embed="rId14">
            <a:extLst>
              <a:ext uri="{28A0092B-C50C-407E-A947-70E740481C1C}">
                <a14:useLocalDpi xmlns:a14="http://schemas.microsoft.com/office/drawing/2010/main" val="0"/>
              </a:ext>
            </a:extLst>
          </a:blip>
          <a:srcRect/>
          <a:stretch/>
        </p:blipFill>
        <p:spPr>
          <a:xfrm>
            <a:off x="2939782" y="3036329"/>
            <a:ext cx="348606" cy="91237"/>
          </a:xfrm>
          <a:prstGeom prst="rect">
            <a:avLst/>
          </a:prstGeom>
        </p:spPr>
      </p:pic>
      <p:pic>
        <p:nvPicPr>
          <p:cNvPr id="60" name="Picture 59">
            <a:extLst>
              <a:ext uri="{FF2B5EF4-FFF2-40B4-BE49-F238E27FC236}">
                <a16:creationId xmlns:a16="http://schemas.microsoft.com/office/drawing/2014/main" id="{CAB0F587-D7E2-AA63-6691-91D993419E2B}"/>
              </a:ext>
            </a:extLst>
          </p:cNvPr>
          <p:cNvPicPr>
            <a:picLocks noChangeAspect="1"/>
          </p:cNvPicPr>
          <p:nvPr/>
        </p:nvPicPr>
        <p:blipFill rotWithShape="1">
          <a:blip r:embed="rId15">
            <a:extLst>
              <a:ext uri="{28A0092B-C50C-407E-A947-70E740481C1C}">
                <a14:useLocalDpi xmlns:a14="http://schemas.microsoft.com/office/drawing/2010/main" val="0"/>
              </a:ext>
            </a:extLst>
          </a:blip>
          <a:srcRect b="16285"/>
          <a:stretch/>
        </p:blipFill>
        <p:spPr>
          <a:xfrm>
            <a:off x="3423995" y="3036329"/>
            <a:ext cx="314902" cy="91237"/>
          </a:xfrm>
          <a:prstGeom prst="rect">
            <a:avLst/>
          </a:prstGeom>
        </p:spPr>
      </p:pic>
      <p:pic>
        <p:nvPicPr>
          <p:cNvPr id="9" name="Picture 8">
            <a:extLst>
              <a:ext uri="{FF2B5EF4-FFF2-40B4-BE49-F238E27FC236}">
                <a16:creationId xmlns:a16="http://schemas.microsoft.com/office/drawing/2014/main" id="{1BBA63A1-C960-39AA-DFFC-9EBBDEFE230C}"/>
              </a:ext>
            </a:extLst>
          </p:cNvPr>
          <p:cNvPicPr>
            <a:picLocks noChangeAspect="1"/>
          </p:cNvPicPr>
          <p:nvPr/>
        </p:nvPicPr>
        <p:blipFill>
          <a:blip r:embed="rId16">
            <a:extLst>
              <a:ext uri="{28A0092B-C50C-407E-A947-70E740481C1C}">
                <a14:useLocalDpi xmlns:a14="http://schemas.microsoft.com/office/drawing/2010/main" val="0"/>
              </a:ext>
            </a:extLst>
          </a:blip>
          <a:srcRect/>
          <a:stretch/>
        </p:blipFill>
        <p:spPr>
          <a:xfrm>
            <a:off x="3874503" y="3036185"/>
            <a:ext cx="259034" cy="91525"/>
          </a:xfrm>
          <a:prstGeom prst="rect">
            <a:avLst/>
          </a:prstGeom>
        </p:spPr>
      </p:pic>
      <p:pic>
        <p:nvPicPr>
          <p:cNvPr id="61" name="Picture 60">
            <a:extLst>
              <a:ext uri="{FF2B5EF4-FFF2-40B4-BE49-F238E27FC236}">
                <a16:creationId xmlns:a16="http://schemas.microsoft.com/office/drawing/2014/main" id="{29BDA610-6BDD-29AF-97D0-BADE4EE55ECC}"/>
              </a:ext>
            </a:extLst>
          </p:cNvPr>
          <p:cNvPicPr>
            <a:picLocks noChangeAspect="1"/>
          </p:cNvPicPr>
          <p:nvPr/>
        </p:nvPicPr>
        <p:blipFill>
          <a:blip r:embed="rId17"/>
          <a:stretch>
            <a:fillRect/>
          </a:stretch>
        </p:blipFill>
        <p:spPr>
          <a:xfrm>
            <a:off x="1747322" y="2386352"/>
            <a:ext cx="222709" cy="146153"/>
          </a:xfrm>
          <a:prstGeom prst="rect">
            <a:avLst/>
          </a:prstGeom>
        </p:spPr>
      </p:pic>
      <p:pic>
        <p:nvPicPr>
          <p:cNvPr id="62" name="Picture 61">
            <a:extLst>
              <a:ext uri="{FF2B5EF4-FFF2-40B4-BE49-F238E27FC236}">
                <a16:creationId xmlns:a16="http://schemas.microsoft.com/office/drawing/2014/main" id="{C9D94FDC-07A9-3C70-B0DC-F8CC8EE32AC1}"/>
              </a:ext>
            </a:extLst>
          </p:cNvPr>
          <p:cNvPicPr>
            <a:picLocks noChangeAspect="1"/>
          </p:cNvPicPr>
          <p:nvPr/>
        </p:nvPicPr>
        <p:blipFill>
          <a:blip r:embed="rId18"/>
          <a:stretch>
            <a:fillRect/>
          </a:stretch>
        </p:blipFill>
        <p:spPr>
          <a:xfrm>
            <a:off x="855770" y="2381772"/>
            <a:ext cx="345488" cy="106094"/>
          </a:xfrm>
          <a:prstGeom prst="rect">
            <a:avLst/>
          </a:prstGeom>
        </p:spPr>
      </p:pic>
      <p:sp>
        <p:nvSpPr>
          <p:cNvPr id="63" name="Rectangle 62">
            <a:extLst>
              <a:ext uri="{FF2B5EF4-FFF2-40B4-BE49-F238E27FC236}">
                <a16:creationId xmlns:a16="http://schemas.microsoft.com/office/drawing/2014/main" id="{1E3EC0DD-3116-FFA9-AB46-25AE41B92555}"/>
              </a:ext>
            </a:extLst>
          </p:cNvPr>
          <p:cNvSpPr/>
          <p:nvPr/>
        </p:nvSpPr>
        <p:spPr>
          <a:xfrm>
            <a:off x="411901" y="3391818"/>
            <a:ext cx="1670407" cy="498107"/>
          </a:xfrm>
          <a:prstGeom prst="rect">
            <a:avLst/>
          </a:prstGeom>
          <a:solidFill>
            <a:srgbClr val="F6F6F6"/>
          </a:solid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defRPr/>
            </a:pPr>
            <a:r>
              <a:rPr lang="en-US" sz="700" b="1">
                <a:solidFill>
                  <a:srgbClr val="000C20"/>
                </a:solidFill>
              </a:rPr>
              <a:t>EDA &amp; IP</a:t>
            </a:r>
            <a:r>
              <a:rPr lang="en-US" sz="700" b="1" baseline="30000">
                <a:solidFill>
                  <a:srgbClr val="000C20"/>
                </a:solidFill>
              </a:rPr>
              <a:t>1</a:t>
            </a:r>
            <a:endParaRPr lang="en-US" sz="700" b="1">
              <a:solidFill>
                <a:srgbClr val="000C20"/>
              </a:solidFill>
            </a:endParaRPr>
          </a:p>
        </p:txBody>
      </p:sp>
      <p:pic>
        <p:nvPicPr>
          <p:cNvPr id="3078" name="Picture 6">
            <a:extLst>
              <a:ext uri="{FF2B5EF4-FFF2-40B4-BE49-F238E27FC236}">
                <a16:creationId xmlns:a16="http://schemas.microsoft.com/office/drawing/2014/main" id="{2B2D1DEA-DF0F-37D5-A893-8DE232E97259}"/>
              </a:ext>
            </a:extLst>
          </p:cNvPr>
          <p:cNvPicPr>
            <a:picLocks noChangeAspect="1" noChangeArrowheads="1"/>
          </p:cNvPicPr>
          <p:nvPr/>
        </p:nvPicPr>
        <p:blipFill rotWithShape="1">
          <a:blip r:embed="rId19">
            <a:extLst>
              <a:ext uri="{28A0092B-C50C-407E-A947-70E740481C1C}">
                <a14:useLocalDpi xmlns:a14="http://schemas.microsoft.com/office/drawing/2010/main" val="0"/>
              </a:ext>
            </a:extLst>
          </a:blip>
          <a:srcRect t="41268" b="41577"/>
          <a:stretch/>
        </p:blipFill>
        <p:spPr bwMode="auto">
          <a:xfrm>
            <a:off x="1228010" y="3638430"/>
            <a:ext cx="523708" cy="89845"/>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66">
            <a:extLst>
              <a:ext uri="{FF2B5EF4-FFF2-40B4-BE49-F238E27FC236}">
                <a16:creationId xmlns:a16="http://schemas.microsoft.com/office/drawing/2014/main" id="{C81E532A-1A94-1AA7-B4B4-72DC2DB24CCE}"/>
              </a:ext>
            </a:extLst>
          </p:cNvPr>
          <p:cNvPicPr>
            <a:picLocks noChangeAspect="1"/>
          </p:cNvPicPr>
          <p:nvPr/>
        </p:nvPicPr>
        <p:blipFill rotWithShape="1">
          <a:blip r:embed="rId20">
            <a:extLst>
              <a:ext uri="{28A0092B-C50C-407E-A947-70E740481C1C}">
                <a14:useLocalDpi xmlns:a14="http://schemas.microsoft.com/office/drawing/2010/main" val="0"/>
              </a:ext>
            </a:extLst>
          </a:blip>
          <a:srcRect t="17400" b="17000"/>
          <a:stretch/>
        </p:blipFill>
        <p:spPr>
          <a:xfrm>
            <a:off x="558206" y="3622246"/>
            <a:ext cx="558349" cy="122214"/>
          </a:xfrm>
          <a:prstGeom prst="rect">
            <a:avLst/>
          </a:prstGeom>
        </p:spPr>
      </p:pic>
      <p:sp>
        <p:nvSpPr>
          <p:cNvPr id="68" name="Rectangle 67">
            <a:extLst>
              <a:ext uri="{FF2B5EF4-FFF2-40B4-BE49-F238E27FC236}">
                <a16:creationId xmlns:a16="http://schemas.microsoft.com/office/drawing/2014/main" id="{D699C75F-1C71-636D-8770-6B76A3D0AD31}"/>
              </a:ext>
            </a:extLst>
          </p:cNvPr>
          <p:cNvSpPr/>
          <p:nvPr/>
        </p:nvSpPr>
        <p:spPr>
          <a:xfrm>
            <a:off x="2193764" y="3391818"/>
            <a:ext cx="3437251" cy="498107"/>
          </a:xfrm>
          <a:prstGeom prst="rect">
            <a:avLst/>
          </a:prstGeom>
          <a:solidFill>
            <a:srgbClr val="F6F6F6"/>
          </a:solid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0" rIns="0" bIns="0" rtlCol="0" anchor="t" anchorCtr="0">
            <a:noAutofit/>
          </a:bodyPr>
          <a:lstStyle/>
          <a:p>
            <a:pPr algn="ctr" defTabSz="685800">
              <a:spcBef>
                <a:spcPct val="0"/>
              </a:spcBef>
              <a:spcAft>
                <a:spcPct val="0"/>
              </a:spcAft>
              <a:buFont typeface="Trebuchet MS" panose="020B0603020202020204" pitchFamily="34" charset="0"/>
              <a:buChar char="​"/>
              <a:defRPr/>
            </a:pPr>
            <a:endParaRPr lang="en-US" sz="800" b="1">
              <a:solidFill>
                <a:schemeClr val="tx1">
                  <a:lumMod val="75000"/>
                  <a:lumOff val="25000"/>
                </a:schemeClr>
              </a:solidFill>
            </a:endParaRPr>
          </a:p>
        </p:txBody>
      </p:sp>
      <p:sp>
        <p:nvSpPr>
          <p:cNvPr id="69" name="Rectangle 68">
            <a:extLst>
              <a:ext uri="{FF2B5EF4-FFF2-40B4-BE49-F238E27FC236}">
                <a16:creationId xmlns:a16="http://schemas.microsoft.com/office/drawing/2014/main" id="{19999F36-5095-4B94-AC39-6B9F509E5285}"/>
              </a:ext>
            </a:extLst>
          </p:cNvPr>
          <p:cNvSpPr/>
          <p:nvPr/>
        </p:nvSpPr>
        <p:spPr>
          <a:xfrm>
            <a:off x="2193761" y="3401232"/>
            <a:ext cx="1783409" cy="1534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800">
              <a:spcBef>
                <a:spcPct val="0"/>
              </a:spcBef>
              <a:spcAft>
                <a:spcPct val="0"/>
              </a:spcAft>
              <a:buFontTx/>
              <a:buChar char="​"/>
              <a:defRPr/>
            </a:pPr>
            <a:r>
              <a:rPr lang="en-US" sz="700" b="1">
                <a:solidFill>
                  <a:srgbClr val="000C20"/>
                </a:solidFill>
              </a:rPr>
              <a:t>Material suppliers</a:t>
            </a:r>
          </a:p>
        </p:txBody>
      </p:sp>
      <p:sp>
        <p:nvSpPr>
          <p:cNvPr id="70" name="Rectangle 69">
            <a:extLst>
              <a:ext uri="{FF2B5EF4-FFF2-40B4-BE49-F238E27FC236}">
                <a16:creationId xmlns:a16="http://schemas.microsoft.com/office/drawing/2014/main" id="{CDADE754-2FB6-BCBA-2738-9F4076C79ADB}"/>
              </a:ext>
            </a:extLst>
          </p:cNvPr>
          <p:cNvSpPr/>
          <p:nvPr/>
        </p:nvSpPr>
        <p:spPr>
          <a:xfrm>
            <a:off x="3951856" y="3401232"/>
            <a:ext cx="1820980" cy="1534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685800">
              <a:spcBef>
                <a:spcPct val="0"/>
              </a:spcBef>
              <a:spcAft>
                <a:spcPct val="0"/>
              </a:spcAft>
              <a:buFontTx/>
              <a:buChar char="​"/>
              <a:defRPr/>
            </a:pPr>
            <a:r>
              <a:rPr lang="en-US" sz="700" b="1">
                <a:solidFill>
                  <a:srgbClr val="000C20"/>
                </a:solidFill>
              </a:rPr>
              <a:t>Equipment suppliers</a:t>
            </a:r>
          </a:p>
        </p:txBody>
      </p:sp>
      <p:pic>
        <p:nvPicPr>
          <p:cNvPr id="71" name="Picture 70">
            <a:extLst>
              <a:ext uri="{FF2B5EF4-FFF2-40B4-BE49-F238E27FC236}">
                <a16:creationId xmlns:a16="http://schemas.microsoft.com/office/drawing/2014/main" id="{6E2CEE32-AC36-585E-B141-8F15FA3179B0}"/>
              </a:ext>
            </a:extLst>
          </p:cNvPr>
          <p:cNvPicPr>
            <a:picLocks noChangeAspect="1"/>
          </p:cNvPicPr>
          <p:nvPr/>
        </p:nvPicPr>
        <p:blipFill rotWithShape="1">
          <a:blip r:embed="rId21">
            <a:extLst>
              <a:ext uri="{28A0092B-C50C-407E-A947-70E740481C1C}">
                <a14:useLocalDpi xmlns:a14="http://schemas.microsoft.com/office/drawing/2010/main" val="0"/>
              </a:ext>
            </a:extLst>
          </a:blip>
          <a:srcRect b="47747"/>
          <a:stretch/>
        </p:blipFill>
        <p:spPr>
          <a:xfrm>
            <a:off x="4655950" y="3615048"/>
            <a:ext cx="357783" cy="73632"/>
          </a:xfrm>
          <a:prstGeom prst="rect">
            <a:avLst/>
          </a:prstGeom>
        </p:spPr>
      </p:pic>
      <p:pic>
        <p:nvPicPr>
          <p:cNvPr id="72" name="Picture 71">
            <a:extLst>
              <a:ext uri="{FF2B5EF4-FFF2-40B4-BE49-F238E27FC236}">
                <a16:creationId xmlns:a16="http://schemas.microsoft.com/office/drawing/2014/main" id="{61106378-5994-02C9-CFC0-F0827E845318}"/>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a:off x="4561824" y="3749367"/>
            <a:ext cx="516819" cy="67186"/>
          </a:xfrm>
          <a:prstGeom prst="rect">
            <a:avLst/>
          </a:prstGeom>
        </p:spPr>
      </p:pic>
      <p:sp>
        <p:nvSpPr>
          <p:cNvPr id="73" name="Rectangle 72">
            <a:extLst>
              <a:ext uri="{FF2B5EF4-FFF2-40B4-BE49-F238E27FC236}">
                <a16:creationId xmlns:a16="http://schemas.microsoft.com/office/drawing/2014/main" id="{CF77391E-C7C4-E5D9-FE10-73AC2BB03795}"/>
              </a:ext>
            </a:extLst>
          </p:cNvPr>
          <p:cNvSpPr/>
          <p:nvPr/>
        </p:nvSpPr>
        <p:spPr>
          <a:xfrm>
            <a:off x="5766719" y="1987577"/>
            <a:ext cx="917576" cy="798172"/>
          </a:xfrm>
          <a:prstGeom prst="rect">
            <a:avLst/>
          </a:prstGeom>
          <a:noFill/>
          <a:ln w="5622"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0363" rIns="0" bIns="0" rtlCol="0" anchor="t" anchorCtr="0">
            <a:noAutofit/>
          </a:bodyPr>
          <a:lstStyle/>
          <a:p>
            <a:pPr algn="ctr" defTabSz="685800">
              <a:spcBef>
                <a:spcPct val="0"/>
              </a:spcBef>
              <a:spcAft>
                <a:spcPct val="0"/>
              </a:spcAft>
              <a:defRPr/>
            </a:pPr>
            <a:r>
              <a:rPr lang="en-US" sz="700" b="1" dirty="0">
                <a:solidFill>
                  <a:srgbClr val="000000"/>
                </a:solidFill>
              </a:rPr>
              <a:t>Distributors</a:t>
            </a:r>
          </a:p>
        </p:txBody>
      </p:sp>
      <p:sp>
        <p:nvSpPr>
          <p:cNvPr id="77" name="Rectangle 76">
            <a:extLst>
              <a:ext uri="{FF2B5EF4-FFF2-40B4-BE49-F238E27FC236}">
                <a16:creationId xmlns:a16="http://schemas.microsoft.com/office/drawing/2014/main" id="{89D3A9B3-8DE3-A4A9-089E-EEE0FBD3DD97}"/>
              </a:ext>
            </a:extLst>
          </p:cNvPr>
          <p:cNvSpPr/>
          <p:nvPr/>
        </p:nvSpPr>
        <p:spPr>
          <a:xfrm>
            <a:off x="6576558" y="2641753"/>
            <a:ext cx="75548" cy="3784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0728" tIns="30363" rIns="60728" bIns="30363" numCol="1" spcCol="0" rtlCol="0" fromWordArt="0" anchor="ctr" anchorCtr="0" forceAA="0" compatLnSpc="1">
            <a:prstTxWarp prst="textNoShape">
              <a:avLst/>
            </a:prstTxWarp>
            <a:noAutofit/>
          </a:bodyPr>
          <a:lstStyle/>
          <a:p>
            <a:pPr algn="ctr"/>
            <a:endParaRPr lang="en-US" sz="800">
              <a:solidFill>
                <a:srgbClr val="FFFFFF"/>
              </a:solidFill>
            </a:endParaRPr>
          </a:p>
        </p:txBody>
      </p:sp>
      <p:pic>
        <p:nvPicPr>
          <p:cNvPr id="78" name="Picture 57">
            <a:extLst>
              <a:ext uri="{FF2B5EF4-FFF2-40B4-BE49-F238E27FC236}">
                <a16:creationId xmlns:a16="http://schemas.microsoft.com/office/drawing/2014/main" id="{C06B4A71-6078-6944-048B-AE0D9913446F}"/>
              </a:ext>
            </a:extLst>
          </p:cNvPr>
          <p:cNvPicPr>
            <a:picLocks noChangeAspect="1" noChangeArrowheads="1"/>
          </p:cNvPicPr>
          <p:nvPr/>
        </p:nvPicPr>
        <p:blipFill>
          <a:blip r:embed="rId23">
            <a:clrChange>
              <a:clrFrom>
                <a:srgbClr val="FFFFFF"/>
              </a:clrFrom>
              <a:clrTo>
                <a:srgbClr val="FFFFFF">
                  <a:alpha val="0"/>
                </a:srgbClr>
              </a:clrTo>
            </a:clrChange>
            <a:extLst>
              <a:ext uri="{28A0092B-C50C-407E-A947-70E740481C1C}">
                <a14:useLocalDpi xmlns:a14="http://schemas.microsoft.com/office/drawing/2010/main"/>
              </a:ext>
            </a:extLst>
          </a:blip>
          <a:stretch>
            <a:fillRect/>
          </a:stretch>
        </p:blipFill>
        <p:spPr bwMode="auto">
          <a:xfrm>
            <a:off x="3752006" y="3551601"/>
            <a:ext cx="399701" cy="116539"/>
          </a:xfrm>
          <a:prstGeom prst="rect">
            <a:avLst/>
          </a:prstGeom>
          <a:noFill/>
          <a:extLst>
            <a:ext uri="{909E8E84-426E-40DD-AFC4-6F175D3DCCD1}">
              <a14:hiddenFill xmlns:a14="http://schemas.microsoft.com/office/drawing/2010/main">
                <a:solidFill>
                  <a:srgbClr val="FFFFFF"/>
                </a:solidFill>
              </a14:hiddenFill>
            </a:ext>
          </a:extLst>
        </p:spPr>
      </p:pic>
      <p:pic>
        <p:nvPicPr>
          <p:cNvPr id="84" name="Picture 83">
            <a:extLst>
              <a:ext uri="{FF2B5EF4-FFF2-40B4-BE49-F238E27FC236}">
                <a16:creationId xmlns:a16="http://schemas.microsoft.com/office/drawing/2014/main" id="{0A139068-1C57-E50E-69B7-F851E4C24A11}"/>
              </a:ext>
            </a:extLst>
          </p:cNvPr>
          <p:cNvPicPr>
            <a:picLocks noChangeAspect="1"/>
          </p:cNvPicPr>
          <p:nvPr/>
        </p:nvPicPr>
        <p:blipFill>
          <a:blip r:embed="rId24">
            <a:extLst>
              <a:ext uri="{28A0092B-C50C-407E-A947-70E740481C1C}">
                <a14:useLocalDpi xmlns:a14="http://schemas.microsoft.com/office/drawing/2010/main" val="0"/>
              </a:ext>
            </a:extLst>
          </a:blip>
          <a:srcRect/>
          <a:stretch/>
        </p:blipFill>
        <p:spPr>
          <a:xfrm>
            <a:off x="2861966" y="3584531"/>
            <a:ext cx="460493" cy="74765"/>
          </a:xfrm>
          <a:prstGeom prst="rect">
            <a:avLst/>
          </a:prstGeom>
        </p:spPr>
      </p:pic>
      <p:pic>
        <p:nvPicPr>
          <p:cNvPr id="81" name="Picture 80">
            <a:extLst>
              <a:ext uri="{FF2B5EF4-FFF2-40B4-BE49-F238E27FC236}">
                <a16:creationId xmlns:a16="http://schemas.microsoft.com/office/drawing/2014/main" id="{77F6C41D-47C2-947A-FA75-49E573A5E5FF}"/>
              </a:ext>
            </a:extLst>
          </p:cNvPr>
          <p:cNvPicPr>
            <a:picLocks noChangeAspect="1"/>
          </p:cNvPicPr>
          <p:nvPr/>
        </p:nvPicPr>
        <p:blipFill>
          <a:blip r:embed="rId25">
            <a:extLst>
              <a:ext uri="{28A0092B-C50C-407E-A947-70E740481C1C}">
                <a14:useLocalDpi xmlns:a14="http://schemas.microsoft.com/office/drawing/2010/main" val="0"/>
              </a:ext>
            </a:extLst>
          </a:blip>
          <a:srcRect/>
          <a:stretch/>
        </p:blipFill>
        <p:spPr>
          <a:xfrm>
            <a:off x="1770270" y="2217334"/>
            <a:ext cx="249611" cy="128758"/>
          </a:xfrm>
          <a:prstGeom prst="rect">
            <a:avLst/>
          </a:prstGeom>
        </p:spPr>
      </p:pic>
      <p:pic>
        <p:nvPicPr>
          <p:cNvPr id="82" name="Picture 81">
            <a:extLst>
              <a:ext uri="{FF2B5EF4-FFF2-40B4-BE49-F238E27FC236}">
                <a16:creationId xmlns:a16="http://schemas.microsoft.com/office/drawing/2014/main" id="{A595D242-D4DA-C8CA-B6CC-01668612D56B}"/>
              </a:ext>
            </a:extLst>
          </p:cNvPr>
          <p:cNvPicPr>
            <a:picLocks noChangeAspect="1"/>
          </p:cNvPicPr>
          <p:nvPr/>
        </p:nvPicPr>
        <p:blipFill rotWithShape="1">
          <a:blip r:embed="rId26"/>
          <a:srcRect t="72127"/>
          <a:stretch/>
        </p:blipFill>
        <p:spPr>
          <a:xfrm>
            <a:off x="513232" y="2401726"/>
            <a:ext cx="321803" cy="66187"/>
          </a:xfrm>
          <a:prstGeom prst="rect">
            <a:avLst/>
          </a:prstGeom>
        </p:spPr>
      </p:pic>
      <p:pic>
        <p:nvPicPr>
          <p:cNvPr id="4" name="Picture 6">
            <a:extLst>
              <a:ext uri="{FF2B5EF4-FFF2-40B4-BE49-F238E27FC236}">
                <a16:creationId xmlns:a16="http://schemas.microsoft.com/office/drawing/2014/main" id="{06DD4B91-AB4B-718C-5E20-787FC5B99891}"/>
              </a:ext>
            </a:extLst>
          </p:cNvPr>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1263455" y="2401027"/>
            <a:ext cx="287401" cy="67584"/>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14">
            <a:extLst>
              <a:ext uri="{FF2B5EF4-FFF2-40B4-BE49-F238E27FC236}">
                <a16:creationId xmlns:a16="http://schemas.microsoft.com/office/drawing/2014/main" id="{B4E5958C-B2B0-935E-3730-9B0578D78EC8}"/>
              </a:ext>
            </a:extLst>
          </p:cNvPr>
          <p:cNvPicPr>
            <a:picLocks noChangeAspect="1" noChangeArrowheads="1"/>
          </p:cNvPicPr>
          <p:nvPr/>
        </p:nvPicPr>
        <p:blipFill>
          <a:blip r:embed="rId28">
            <a:extLst>
              <a:ext uri="{BEBA8EAE-BF5A-486C-A8C5-ECC9F3942E4B}">
                <a14:imgProps xmlns:a14="http://schemas.microsoft.com/office/drawing/2010/main">
                  <a14:imgLayer r:embed="rId29">
                    <a14:imgEffect>
                      <a14:artisticGlowEdges/>
                    </a14:imgEffect>
                  </a14:imgLayer>
                </a14:imgProps>
              </a:ext>
              <a:ext uri="{28A0092B-C50C-407E-A947-70E740481C1C}">
                <a14:useLocalDpi xmlns:a14="http://schemas.microsoft.com/office/drawing/2010/main" val="0"/>
              </a:ext>
            </a:extLst>
          </a:blip>
          <a:srcRect t="20179" b="20179"/>
          <a:stretch/>
        </p:blipFill>
        <p:spPr bwMode="auto">
          <a:xfrm>
            <a:off x="2923920" y="3744316"/>
            <a:ext cx="336582" cy="100373"/>
          </a:xfrm>
          <a:prstGeom prst="rect">
            <a:avLst/>
          </a:prstGeom>
          <a:noFill/>
          <a:extLst>
            <a:ext uri="{909E8E84-426E-40DD-AFC4-6F175D3DCCD1}">
              <a14:hiddenFill xmlns:a14="http://schemas.microsoft.com/office/drawing/2010/main">
                <a:solidFill>
                  <a:srgbClr val="FFFFFF"/>
                </a:solidFill>
              </a14:hiddenFill>
            </a:ext>
          </a:extLst>
        </p:spPr>
      </p:pic>
      <p:pic>
        <p:nvPicPr>
          <p:cNvPr id="85" name="Picture 84">
            <a:extLst>
              <a:ext uri="{FF2B5EF4-FFF2-40B4-BE49-F238E27FC236}">
                <a16:creationId xmlns:a16="http://schemas.microsoft.com/office/drawing/2014/main" id="{B7D7F8CB-07A1-D64A-26AD-8FD1B298D946}"/>
              </a:ext>
            </a:extLst>
          </p:cNvPr>
          <p:cNvPicPr>
            <a:picLocks noChangeAspect="1"/>
          </p:cNvPicPr>
          <p:nvPr/>
        </p:nvPicPr>
        <p:blipFill>
          <a:blip r:embed="rId30"/>
          <a:srcRect/>
          <a:stretch/>
        </p:blipFill>
        <p:spPr>
          <a:xfrm>
            <a:off x="3815561" y="3740516"/>
            <a:ext cx="323214" cy="100373"/>
          </a:xfrm>
          <a:prstGeom prst="rect">
            <a:avLst/>
          </a:prstGeom>
        </p:spPr>
      </p:pic>
      <p:sp>
        <p:nvSpPr>
          <p:cNvPr id="87" name="Rectangle 86">
            <a:extLst>
              <a:ext uri="{FF2B5EF4-FFF2-40B4-BE49-F238E27FC236}">
                <a16:creationId xmlns:a16="http://schemas.microsoft.com/office/drawing/2014/main" id="{95F1A457-B792-A971-3E7B-2E85A08031DC}"/>
              </a:ext>
            </a:extLst>
          </p:cNvPr>
          <p:cNvSpPr/>
          <p:nvPr/>
        </p:nvSpPr>
        <p:spPr bwMode="auto">
          <a:xfrm>
            <a:off x="5756359" y="3392223"/>
            <a:ext cx="2022528" cy="497297"/>
          </a:xfrm>
          <a:prstGeom prst="rect">
            <a:avLst/>
          </a:prstGeom>
          <a:solidFill>
            <a:schemeClr val="bg1"/>
          </a:solidFill>
          <a:ln w="16868">
            <a:solidFill>
              <a:srgbClr val="3078B3"/>
            </a:solidFill>
          </a:ln>
        </p:spPr>
        <p:style>
          <a:lnRef idx="2">
            <a:schemeClr val="accent1">
              <a:shade val="50000"/>
            </a:schemeClr>
          </a:lnRef>
          <a:fillRef idx="1">
            <a:schemeClr val="accent1"/>
          </a:fillRef>
          <a:effectRef idx="0">
            <a:schemeClr val="accent1"/>
          </a:effectRef>
          <a:fontRef idx="minor">
            <a:schemeClr val="lt1"/>
          </a:fontRef>
        </p:style>
        <p:txBody>
          <a:bodyPr lIns="80970" tIns="80970" rIns="80970" bIns="80970" rtlCol="0" anchor="ctr"/>
          <a:lstStyle/>
          <a:p>
            <a:pPr marR="0" lvl="0" algn="l" defTabSz="679871" rtl="0" eaLnBrk="1" fontAlgn="auto" latinLnBrk="0" hangingPunct="1">
              <a:lnSpc>
                <a:spcPct val="100000"/>
              </a:lnSpc>
              <a:spcBef>
                <a:spcPts val="0"/>
              </a:spcBef>
              <a:spcAft>
                <a:spcPts val="0"/>
              </a:spcAft>
              <a:buClrTx/>
              <a:buSzTx/>
              <a:buFontTx/>
              <a:buNone/>
              <a:tabLst/>
              <a:defRPr/>
            </a:pPr>
            <a:r>
              <a:rPr kumimoji="0" lang="en-US" sz="700" b="0" i="1" u="none" strike="noStrike" kern="1200" cap="none" spc="0" normalizeH="0" baseline="0" noProof="0">
                <a:ln>
                  <a:noFill/>
                </a:ln>
                <a:solidFill>
                  <a:srgbClr val="000000"/>
                </a:solidFill>
                <a:effectLst/>
                <a:uLnTx/>
                <a:uFillTx/>
              </a:rPr>
              <a:t>The semiconductor industry spends the most money on R&amp;D relative to turnover after the pharmaceutical industry</a:t>
            </a:r>
          </a:p>
        </p:txBody>
      </p:sp>
      <p:pic>
        <p:nvPicPr>
          <p:cNvPr id="24" name="Picture 23">
            <a:extLst>
              <a:ext uri="{FF2B5EF4-FFF2-40B4-BE49-F238E27FC236}">
                <a16:creationId xmlns:a16="http://schemas.microsoft.com/office/drawing/2014/main" id="{EE3C4035-0061-920E-DD73-63432C5B04B2}"/>
              </a:ext>
            </a:extLst>
          </p:cNvPr>
          <p:cNvPicPr>
            <a:picLocks noChangeAspect="1"/>
          </p:cNvPicPr>
          <p:nvPr/>
        </p:nvPicPr>
        <p:blipFill>
          <a:blip r:embed="rId31">
            <a:extLst>
              <a:ext uri="{28A0092B-C50C-407E-A947-70E740481C1C}">
                <a14:useLocalDpi xmlns:a14="http://schemas.microsoft.com/office/drawing/2010/main" val="0"/>
              </a:ext>
            </a:extLst>
          </a:blip>
          <a:srcRect/>
          <a:stretch/>
        </p:blipFill>
        <p:spPr>
          <a:xfrm>
            <a:off x="5013733" y="2273880"/>
            <a:ext cx="351504" cy="116579"/>
          </a:xfrm>
          <a:prstGeom prst="rect">
            <a:avLst/>
          </a:prstGeom>
        </p:spPr>
      </p:pic>
      <p:pic>
        <p:nvPicPr>
          <p:cNvPr id="94" name="Picture 14">
            <a:extLst>
              <a:ext uri="{FF2B5EF4-FFF2-40B4-BE49-F238E27FC236}">
                <a16:creationId xmlns:a16="http://schemas.microsoft.com/office/drawing/2014/main" id="{9181011E-110A-BDA1-6220-BE150EC7A633}"/>
              </a:ext>
            </a:extLst>
          </p:cNvPr>
          <p:cNvPicPr>
            <a:picLocks noChangeAspect="1" noChangeArrowheads="1"/>
          </p:cNvPicPr>
          <p:nvPr/>
        </p:nvPicPr>
        <p:blipFill>
          <a:blip r:embed="rId32">
            <a:extLst>
              <a:ext uri="{28A0092B-C50C-407E-A947-70E740481C1C}">
                <a14:useLocalDpi xmlns:a14="http://schemas.microsoft.com/office/drawing/2010/main" val="0"/>
              </a:ext>
            </a:extLst>
          </a:blip>
          <a:srcRect/>
          <a:stretch/>
        </p:blipFill>
        <p:spPr bwMode="auto">
          <a:xfrm>
            <a:off x="4072702" y="4330688"/>
            <a:ext cx="399008" cy="147632"/>
          </a:xfrm>
          <a:prstGeom prst="rect">
            <a:avLst/>
          </a:prstGeom>
          <a:noFill/>
          <a:extLst>
            <a:ext uri="{909E8E84-426E-40DD-AFC4-6F175D3DCCD1}">
              <a14:hiddenFill xmlns:a14="http://schemas.microsoft.com/office/drawing/2010/main">
                <a:solidFill>
                  <a:srgbClr val="FFFFFF"/>
                </a:solidFill>
              </a14:hiddenFill>
            </a:ext>
          </a:extLst>
        </p:spPr>
      </p:pic>
      <p:pic>
        <p:nvPicPr>
          <p:cNvPr id="93" name="Picture 2" descr="The Åbo Akademi University logo | Åbo Akademi University">
            <a:extLst>
              <a:ext uri="{FF2B5EF4-FFF2-40B4-BE49-F238E27FC236}">
                <a16:creationId xmlns:a16="http://schemas.microsoft.com/office/drawing/2014/main" id="{2251A654-632F-01B2-337C-98AAF4A16F8E}"/>
              </a:ext>
            </a:extLst>
          </p:cNvPr>
          <p:cNvPicPr>
            <a:picLocks noChangeAspect="1" noChangeArrowheads="1"/>
          </p:cNvPicPr>
          <p:nvPr/>
        </p:nvPicPr>
        <p:blipFill>
          <a:blip r:embed="rId33" cstate="print">
            <a:extLst>
              <a:ext uri="{28A0092B-C50C-407E-A947-70E740481C1C}">
                <a14:useLocalDpi xmlns:a14="http://schemas.microsoft.com/office/drawing/2010/main" val="0"/>
              </a:ext>
            </a:extLst>
          </a:blip>
          <a:srcRect/>
          <a:stretch>
            <a:fillRect/>
          </a:stretch>
        </p:blipFill>
        <p:spPr bwMode="auto">
          <a:xfrm>
            <a:off x="4635032" y="4317750"/>
            <a:ext cx="174051" cy="173508"/>
          </a:xfrm>
          <a:prstGeom prst="rect">
            <a:avLst/>
          </a:prstGeom>
          <a:noFill/>
          <a:extLst>
            <a:ext uri="{909E8E84-426E-40DD-AFC4-6F175D3DCCD1}">
              <a14:hiddenFill xmlns:a14="http://schemas.microsoft.com/office/drawing/2010/main">
                <a:solidFill>
                  <a:srgbClr val="FFFFFF"/>
                </a:solidFill>
              </a14:hiddenFill>
            </a:ext>
          </a:extLst>
        </p:spPr>
      </p:pic>
      <p:pic>
        <p:nvPicPr>
          <p:cNvPr id="91" name="Picture 2">
            <a:extLst>
              <a:ext uri="{FF2B5EF4-FFF2-40B4-BE49-F238E27FC236}">
                <a16:creationId xmlns:a16="http://schemas.microsoft.com/office/drawing/2014/main" id="{DF5B440D-26AA-058D-E22C-146D48243C22}"/>
              </a:ext>
            </a:extLst>
          </p:cNvPr>
          <p:cNvPicPr>
            <a:picLocks noChangeAspect="1" noChangeArrowheads="1"/>
          </p:cNvPicPr>
          <p:nvPr/>
        </p:nvPicPr>
        <p:blipFill rotWithShape="1">
          <a:blip r:embed="rId34"/>
          <a:srcRect l="886" r="2459"/>
          <a:stretch/>
        </p:blipFill>
        <p:spPr bwMode="auto">
          <a:xfrm>
            <a:off x="4972404" y="4316210"/>
            <a:ext cx="382474" cy="176588"/>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6">
            <a:extLst>
              <a:ext uri="{FF2B5EF4-FFF2-40B4-BE49-F238E27FC236}">
                <a16:creationId xmlns:a16="http://schemas.microsoft.com/office/drawing/2014/main" id="{8F891D59-9B06-05E6-F997-237066A5828E}"/>
              </a:ext>
            </a:extLst>
          </p:cNvPr>
          <p:cNvPicPr>
            <a:picLocks noChangeAspect="1" noChangeArrowheads="1"/>
          </p:cNvPicPr>
          <p:nvPr/>
        </p:nvPicPr>
        <p:blipFill rotWithShape="1">
          <a:blip r:embed="rId35" cstate="print">
            <a:extLst>
              <a:ext uri="{28A0092B-C50C-407E-A947-70E740481C1C}">
                <a14:useLocalDpi xmlns:a14="http://schemas.microsoft.com/office/drawing/2010/main" val="0"/>
              </a:ext>
            </a:extLst>
          </a:blip>
          <a:srcRect t="16558" b="12813"/>
          <a:stretch/>
        </p:blipFill>
        <p:spPr bwMode="auto">
          <a:xfrm>
            <a:off x="2720271" y="4321084"/>
            <a:ext cx="604743" cy="166841"/>
          </a:xfrm>
          <a:prstGeom prst="rect">
            <a:avLst/>
          </a:prstGeom>
          <a:noFill/>
          <a:extLst>
            <a:ext uri="{909E8E84-426E-40DD-AFC4-6F175D3DCCD1}">
              <a14:hiddenFill xmlns:a14="http://schemas.microsoft.com/office/drawing/2010/main">
                <a:solidFill>
                  <a:srgbClr val="FFFFFF"/>
                </a:solidFill>
              </a14:hiddenFill>
            </a:ext>
          </a:extLst>
        </p:spPr>
      </p:pic>
      <p:pic>
        <p:nvPicPr>
          <p:cNvPr id="90" name="Picture 6">
            <a:extLst>
              <a:ext uri="{FF2B5EF4-FFF2-40B4-BE49-F238E27FC236}">
                <a16:creationId xmlns:a16="http://schemas.microsoft.com/office/drawing/2014/main" id="{17D685B2-BD0C-EAC7-669F-E7B8F956730B}"/>
              </a:ext>
            </a:extLst>
          </p:cNvPr>
          <p:cNvPicPr>
            <a:picLocks noChangeAspect="1" noChangeArrowheads="1"/>
          </p:cNvPicPr>
          <p:nvPr/>
        </p:nvPicPr>
        <p:blipFill>
          <a:blip r:embed="rId36"/>
          <a:srcRect/>
          <a:stretch/>
        </p:blipFill>
        <p:spPr bwMode="auto">
          <a:xfrm>
            <a:off x="3488336" y="4351977"/>
            <a:ext cx="421045" cy="105056"/>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4" descr="University of Oulu, vertical logo | University of Oulu">
            <a:extLst>
              <a:ext uri="{FF2B5EF4-FFF2-40B4-BE49-F238E27FC236}">
                <a16:creationId xmlns:a16="http://schemas.microsoft.com/office/drawing/2014/main" id="{756FA226-FBAA-1E5B-687F-57CF47651FDD}"/>
              </a:ext>
            </a:extLst>
          </p:cNvPr>
          <p:cNvPicPr>
            <a:picLocks noChangeAspect="1" noChangeArrowheads="1"/>
          </p:cNvPicPr>
          <p:nvPr/>
        </p:nvPicPr>
        <p:blipFill>
          <a:blip r:embed="rId37" cstate="print">
            <a:extLst>
              <a:ext uri="{28A0092B-C50C-407E-A947-70E740481C1C}">
                <a14:useLocalDpi xmlns:a14="http://schemas.microsoft.com/office/drawing/2010/main" val="0"/>
              </a:ext>
            </a:extLst>
          </a:blip>
          <a:srcRect/>
          <a:stretch>
            <a:fillRect/>
          </a:stretch>
        </p:blipFill>
        <p:spPr bwMode="auto">
          <a:xfrm>
            <a:off x="5948203" y="4297451"/>
            <a:ext cx="163157" cy="214107"/>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6">
            <a:extLst>
              <a:ext uri="{FF2B5EF4-FFF2-40B4-BE49-F238E27FC236}">
                <a16:creationId xmlns:a16="http://schemas.microsoft.com/office/drawing/2014/main" id="{B5E44FC4-7DEF-B07B-3B31-CA0180898FA2}"/>
              </a:ext>
            </a:extLst>
          </p:cNvPr>
          <p:cNvPicPr>
            <a:picLocks noChangeAspect="1" noChangeArrowheads="1"/>
          </p:cNvPicPr>
          <p:nvPr/>
        </p:nvPicPr>
        <p:blipFill>
          <a:blip r:embed="rId38">
            <a:extLst>
              <a:ext uri="{28A0092B-C50C-407E-A947-70E740481C1C}">
                <a14:useLocalDpi xmlns:a14="http://schemas.microsoft.com/office/drawing/2010/main" val="0"/>
              </a:ext>
            </a:extLst>
          </a:blip>
          <a:srcRect/>
          <a:stretch/>
        </p:blipFill>
        <p:spPr bwMode="auto">
          <a:xfrm>
            <a:off x="6274681" y="4297451"/>
            <a:ext cx="214107" cy="214107"/>
          </a:xfrm>
          <a:prstGeom prst="rect">
            <a:avLst/>
          </a:prstGeom>
          <a:noFill/>
          <a:extLst>
            <a:ext uri="{909E8E84-426E-40DD-AFC4-6F175D3DCCD1}">
              <a14:hiddenFill xmlns:a14="http://schemas.microsoft.com/office/drawing/2010/main">
                <a:solidFill>
                  <a:srgbClr val="FFFFFF"/>
                </a:solidFill>
              </a14:hiddenFill>
            </a:ext>
          </a:extLst>
        </p:spPr>
      </p:pic>
      <p:grpSp>
        <p:nvGrpSpPr>
          <p:cNvPr id="97" name="Group 96">
            <a:extLst>
              <a:ext uri="{FF2B5EF4-FFF2-40B4-BE49-F238E27FC236}">
                <a16:creationId xmlns:a16="http://schemas.microsoft.com/office/drawing/2014/main" id="{07B53712-C254-1BCC-2F7F-502F37E0CAC4}"/>
              </a:ext>
            </a:extLst>
          </p:cNvPr>
          <p:cNvGrpSpPr/>
          <p:nvPr/>
        </p:nvGrpSpPr>
        <p:grpSpPr>
          <a:xfrm>
            <a:off x="6652106" y="4318364"/>
            <a:ext cx="515232" cy="259160"/>
            <a:chOff x="3034631" y="3442660"/>
            <a:chExt cx="710314" cy="357284"/>
          </a:xfrm>
        </p:grpSpPr>
        <p:pic>
          <p:nvPicPr>
            <p:cNvPr id="98" name="Picture 6">
              <a:extLst>
                <a:ext uri="{FF2B5EF4-FFF2-40B4-BE49-F238E27FC236}">
                  <a16:creationId xmlns:a16="http://schemas.microsoft.com/office/drawing/2014/main" id="{AC589EBB-2E8B-DA1A-E34E-6F8714EC2CE6}"/>
                </a:ext>
              </a:extLst>
            </p:cNvPr>
            <p:cNvPicPr>
              <a:picLocks noChangeAspect="1" noChangeArrowheads="1"/>
            </p:cNvPicPr>
            <p:nvPr/>
          </p:nvPicPr>
          <p:blipFill>
            <a:blip r:embed="rId39">
              <a:extLst>
                <a:ext uri="{28A0092B-C50C-407E-A947-70E740481C1C}">
                  <a14:useLocalDpi xmlns:a14="http://schemas.microsoft.com/office/drawing/2010/main" val="0"/>
                </a:ext>
              </a:extLst>
            </a:blip>
            <a:srcRect t="3080" b="3080"/>
            <a:stretch/>
          </p:blipFill>
          <p:spPr bwMode="auto">
            <a:xfrm>
              <a:off x="3132657" y="3442660"/>
              <a:ext cx="514263" cy="141881"/>
            </a:xfrm>
            <a:prstGeom prst="rect">
              <a:avLst/>
            </a:prstGeom>
            <a:noFill/>
            <a:extLst>
              <a:ext uri="{909E8E84-426E-40DD-AFC4-6F175D3DCCD1}">
                <a14:hiddenFill xmlns:a14="http://schemas.microsoft.com/office/drawing/2010/main">
                  <a:solidFill>
                    <a:srgbClr val="FFFFFF"/>
                  </a:solidFill>
                </a14:hiddenFill>
              </a:ext>
            </a:extLst>
          </p:spPr>
        </p:pic>
        <p:sp>
          <p:nvSpPr>
            <p:cNvPr id="99" name="TextBox 98">
              <a:extLst>
                <a:ext uri="{FF2B5EF4-FFF2-40B4-BE49-F238E27FC236}">
                  <a16:creationId xmlns:a16="http://schemas.microsoft.com/office/drawing/2014/main" id="{017D0283-3141-2A72-CB3F-A6DEBA2F5922}"/>
                </a:ext>
              </a:extLst>
            </p:cNvPr>
            <p:cNvSpPr txBox="1"/>
            <p:nvPr/>
          </p:nvSpPr>
          <p:spPr>
            <a:xfrm>
              <a:off x="3034631" y="3517857"/>
              <a:ext cx="710314" cy="282087"/>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80970" tIns="40485" rIns="80970" bIns="40485">
              <a:spAutoFit/>
            </a:bodyPr>
            <a:lstStyle/>
            <a:p>
              <a:pPr algn="ctr"/>
              <a:r>
                <a:rPr lang="en-US" sz="399" i="1">
                  <a:solidFill>
                    <a:schemeClr val="bg2">
                      <a:lumMod val="10000"/>
                    </a:schemeClr>
                  </a:solidFill>
                  <a:ea typeface="Verdana" panose="020B0604030504040204" pitchFamily="34" charset="0"/>
                  <a:cs typeface="Verdana" panose="020B0604030504040204" pitchFamily="34" charset="0"/>
                </a:rPr>
                <a:t>Supercomputer</a:t>
              </a:r>
            </a:p>
          </p:txBody>
        </p:sp>
      </p:grpSp>
      <p:pic>
        <p:nvPicPr>
          <p:cNvPr id="100" name="Picture 22" descr="PREIN has been officially kicked off! | Smart Photonic Materials (SPM ...">
            <a:extLst>
              <a:ext uri="{FF2B5EF4-FFF2-40B4-BE49-F238E27FC236}">
                <a16:creationId xmlns:a16="http://schemas.microsoft.com/office/drawing/2014/main" id="{4FADB4D1-3685-610F-2F29-46CBC6E39C0B}"/>
              </a:ext>
            </a:extLst>
          </p:cNvPr>
          <p:cNvPicPr>
            <a:picLocks noChangeAspect="1" noChangeArrowheads="1"/>
          </p:cNvPicPr>
          <p:nvPr/>
        </p:nvPicPr>
        <p:blipFill>
          <a:blip r:embed="rId40" cstate="print">
            <a:extLst>
              <a:ext uri="{28A0092B-C50C-407E-A947-70E740481C1C}">
                <a14:useLocalDpi xmlns:a14="http://schemas.microsoft.com/office/drawing/2010/main" val="0"/>
              </a:ext>
            </a:extLst>
          </a:blip>
          <a:srcRect/>
          <a:stretch>
            <a:fillRect/>
          </a:stretch>
        </p:blipFill>
        <p:spPr bwMode="auto">
          <a:xfrm>
            <a:off x="5518200" y="4316210"/>
            <a:ext cx="266681" cy="176588"/>
          </a:xfrm>
          <a:prstGeom prst="rect">
            <a:avLst/>
          </a:prstGeom>
          <a:noFill/>
          <a:extLst>
            <a:ext uri="{909E8E84-426E-40DD-AFC4-6F175D3DCCD1}">
              <a14:hiddenFill xmlns:a14="http://schemas.microsoft.com/office/drawing/2010/main">
                <a:solidFill>
                  <a:srgbClr val="FFFFFF"/>
                </a:solidFill>
              </a14:hiddenFill>
            </a:ext>
          </a:extLst>
        </p:spPr>
      </p:pic>
      <p:pic>
        <p:nvPicPr>
          <p:cNvPr id="101" name="Picture 4" descr="FIQCI_text">
            <a:extLst>
              <a:ext uri="{FF2B5EF4-FFF2-40B4-BE49-F238E27FC236}">
                <a16:creationId xmlns:a16="http://schemas.microsoft.com/office/drawing/2014/main" id="{FE456544-EA21-C753-A14B-DC652CCAE1F3}"/>
              </a:ext>
            </a:extLst>
          </p:cNvPr>
          <p:cNvPicPr>
            <a:picLocks noChangeAspect="1" noChangeArrowheads="1"/>
          </p:cNvPicPr>
          <p:nvPr/>
        </p:nvPicPr>
        <p:blipFill rotWithShape="1">
          <a:blip r:embed="rId41" cstate="print">
            <a:extLst>
              <a:ext uri="{28A0092B-C50C-407E-A947-70E740481C1C}">
                <a14:useLocalDpi xmlns:a14="http://schemas.microsoft.com/office/drawing/2010/main" val="0"/>
              </a:ext>
            </a:extLst>
          </a:blip>
          <a:srcRect l="19393" t="28892" r="14926" b="33286"/>
          <a:stretch/>
        </p:blipFill>
        <p:spPr bwMode="auto">
          <a:xfrm>
            <a:off x="2335958" y="4367812"/>
            <a:ext cx="220992" cy="73383"/>
          </a:xfrm>
          <a:prstGeom prst="rect">
            <a:avLst/>
          </a:prstGeom>
          <a:noFill/>
          <a:extLst>
            <a:ext uri="{909E8E84-426E-40DD-AFC4-6F175D3DCCD1}">
              <a14:hiddenFill xmlns:a14="http://schemas.microsoft.com/office/drawing/2010/main">
                <a:solidFill>
                  <a:srgbClr val="FFFFFF"/>
                </a:solidFill>
              </a14:hiddenFill>
            </a:ext>
          </a:extLst>
        </p:spPr>
      </p:pic>
      <p:pic>
        <p:nvPicPr>
          <p:cNvPr id="102" name="Picture 101">
            <a:extLst>
              <a:ext uri="{FF2B5EF4-FFF2-40B4-BE49-F238E27FC236}">
                <a16:creationId xmlns:a16="http://schemas.microsoft.com/office/drawing/2014/main" id="{B63D8130-783E-5510-582F-D9962491AD67}"/>
              </a:ext>
            </a:extLst>
          </p:cNvPr>
          <p:cNvPicPr>
            <a:picLocks noChangeAspect="1"/>
          </p:cNvPicPr>
          <p:nvPr/>
        </p:nvPicPr>
        <p:blipFill rotWithShape="1">
          <a:blip r:embed="rId42">
            <a:extLst>
              <a:ext uri="{28A0092B-C50C-407E-A947-70E740481C1C}">
                <a14:useLocalDpi xmlns:a14="http://schemas.microsoft.com/office/drawing/2010/main" val="0"/>
              </a:ext>
            </a:extLst>
          </a:blip>
          <a:srcRect t="10963" b="10963"/>
          <a:stretch/>
        </p:blipFill>
        <p:spPr>
          <a:xfrm>
            <a:off x="1900733" y="4367812"/>
            <a:ext cx="271903" cy="73383"/>
          </a:xfrm>
          <a:prstGeom prst="rect">
            <a:avLst/>
          </a:prstGeom>
        </p:spPr>
      </p:pic>
      <p:pic>
        <p:nvPicPr>
          <p:cNvPr id="103" name="Picture 4" descr="VTT Technical Research Centre of Finland - Wikipedia">
            <a:extLst>
              <a:ext uri="{FF2B5EF4-FFF2-40B4-BE49-F238E27FC236}">
                <a16:creationId xmlns:a16="http://schemas.microsoft.com/office/drawing/2014/main" id="{07109C93-9FAB-2FE0-4EC0-7DE66CBEE10A}"/>
              </a:ext>
            </a:extLst>
          </p:cNvPr>
          <p:cNvPicPr>
            <a:picLocks noChangeAspect="1" noChangeArrowheads="1"/>
          </p:cNvPicPr>
          <p:nvPr/>
        </p:nvPicPr>
        <p:blipFill>
          <a:blip r:embed="rId43" cstate="print">
            <a:extLst>
              <a:ext uri="{28A0092B-C50C-407E-A947-70E740481C1C}">
                <a14:useLocalDpi xmlns:a14="http://schemas.microsoft.com/office/drawing/2010/main" val="0"/>
              </a:ext>
            </a:extLst>
          </a:blip>
          <a:srcRect/>
          <a:stretch>
            <a:fillRect/>
          </a:stretch>
        </p:blipFill>
        <p:spPr bwMode="auto">
          <a:xfrm>
            <a:off x="1609623" y="4361598"/>
            <a:ext cx="127788" cy="85814"/>
          </a:xfrm>
          <a:prstGeom prst="rect">
            <a:avLst/>
          </a:prstGeom>
          <a:noFill/>
          <a:extLst>
            <a:ext uri="{909E8E84-426E-40DD-AFC4-6F175D3DCCD1}">
              <a14:hiddenFill xmlns:a14="http://schemas.microsoft.com/office/drawing/2010/main">
                <a:solidFill>
                  <a:srgbClr val="FFFFFF"/>
                </a:solidFill>
              </a14:hiddenFill>
            </a:ext>
          </a:extLst>
        </p:spPr>
      </p:pic>
      <p:pic>
        <p:nvPicPr>
          <p:cNvPr id="104" name="Picture 2">
            <a:extLst>
              <a:ext uri="{FF2B5EF4-FFF2-40B4-BE49-F238E27FC236}">
                <a16:creationId xmlns:a16="http://schemas.microsoft.com/office/drawing/2014/main" id="{3D6CDDE1-785B-8443-23BD-C8587C13BED9}"/>
              </a:ext>
            </a:extLst>
          </p:cNvPr>
          <p:cNvPicPr>
            <a:picLocks noChangeAspect="1" noChangeArrowheads="1"/>
          </p:cNvPicPr>
          <p:nvPr/>
        </p:nvPicPr>
        <p:blipFill>
          <a:blip r:embed="rId44">
            <a:extLst>
              <a:ext uri="{28A0092B-C50C-407E-A947-70E740481C1C}">
                <a14:useLocalDpi xmlns:a14="http://schemas.microsoft.com/office/drawing/2010/main" val="0"/>
              </a:ext>
            </a:extLst>
          </a:blip>
          <a:srcRect/>
          <a:stretch/>
        </p:blipFill>
        <p:spPr bwMode="auto">
          <a:xfrm>
            <a:off x="1271354" y="4319439"/>
            <a:ext cx="174947" cy="170129"/>
          </a:xfrm>
          <a:prstGeom prst="rect">
            <a:avLst/>
          </a:prstGeom>
          <a:noFill/>
          <a:extLst>
            <a:ext uri="{909E8E84-426E-40DD-AFC4-6F175D3DCCD1}">
              <a14:hiddenFill xmlns:a14="http://schemas.microsoft.com/office/drawing/2010/main">
                <a:solidFill>
                  <a:srgbClr val="FFFFFF"/>
                </a:solidFill>
              </a14:hiddenFill>
            </a:ext>
          </a:extLst>
        </p:spPr>
      </p:pic>
      <p:pic>
        <p:nvPicPr>
          <p:cNvPr id="105" name="Picture 2">
            <a:extLst>
              <a:ext uri="{FF2B5EF4-FFF2-40B4-BE49-F238E27FC236}">
                <a16:creationId xmlns:a16="http://schemas.microsoft.com/office/drawing/2014/main" id="{8EE4FCCA-0E99-95DC-E38F-289F50D5F156}"/>
              </a:ext>
            </a:extLst>
          </p:cNvPr>
          <p:cNvPicPr>
            <a:picLocks noChangeAspect="1" noChangeArrowheads="1"/>
          </p:cNvPicPr>
          <p:nvPr/>
        </p:nvPicPr>
        <p:blipFill>
          <a:blip r:embed="rId45">
            <a:extLst>
              <a:ext uri="{28A0092B-C50C-407E-A947-70E740481C1C}">
                <a14:useLocalDpi xmlns:a14="http://schemas.microsoft.com/office/drawing/2010/main" val="0"/>
              </a:ext>
            </a:extLst>
          </a:blip>
          <a:srcRect/>
          <a:stretch/>
        </p:blipFill>
        <p:spPr bwMode="auto">
          <a:xfrm>
            <a:off x="929925" y="4330305"/>
            <a:ext cx="178108" cy="148398"/>
          </a:xfrm>
          <a:prstGeom prst="rect">
            <a:avLst/>
          </a:prstGeom>
          <a:noFill/>
          <a:extLst>
            <a:ext uri="{909E8E84-426E-40DD-AFC4-6F175D3DCCD1}">
              <a14:hiddenFill xmlns:a14="http://schemas.microsoft.com/office/drawing/2010/main">
                <a:solidFill>
                  <a:srgbClr val="FFFFFF"/>
                </a:solidFill>
              </a14:hiddenFill>
            </a:ext>
          </a:extLst>
        </p:spPr>
      </p:pic>
      <p:sp>
        <p:nvSpPr>
          <p:cNvPr id="107" name="TextBox 106">
            <a:extLst>
              <a:ext uri="{FF2B5EF4-FFF2-40B4-BE49-F238E27FC236}">
                <a16:creationId xmlns:a16="http://schemas.microsoft.com/office/drawing/2014/main" id="{B37C8B6F-538D-458D-E841-91B566BE0280}"/>
              </a:ext>
            </a:extLst>
          </p:cNvPr>
          <p:cNvSpPr txBox="1"/>
          <p:nvPr/>
        </p:nvSpPr>
        <p:spPr>
          <a:xfrm>
            <a:off x="2225394" y="2535201"/>
            <a:ext cx="1589429" cy="173319"/>
          </a:xfrm>
          <a:prstGeom prst="rect">
            <a:avLst/>
          </a:prstGeom>
          <a:noFill/>
        </p:spPr>
        <p:txBody>
          <a:bodyPr wrap="square" lIns="31878" tIns="31878" rIns="31878" bIns="31878" rtlCol="0">
            <a:spAutoFit/>
          </a:bodyPr>
          <a:lstStyle/>
          <a:p>
            <a:pPr algn="ctr"/>
            <a:r>
              <a:rPr lang="en-US" sz="708" spc="-36">
                <a:solidFill>
                  <a:schemeClr val="bg1">
                    <a:lumMod val="50000"/>
                  </a:schemeClr>
                </a:solidFill>
              </a:rPr>
              <a:t>No major pure foundries in Finland</a:t>
            </a:r>
          </a:p>
        </p:txBody>
      </p:sp>
      <p:sp>
        <p:nvSpPr>
          <p:cNvPr id="108" name="TextBox 107">
            <a:extLst>
              <a:ext uri="{FF2B5EF4-FFF2-40B4-BE49-F238E27FC236}">
                <a16:creationId xmlns:a16="http://schemas.microsoft.com/office/drawing/2014/main" id="{2CA2CD6C-C083-C418-ACA9-A9C5E1FEE6BC}"/>
              </a:ext>
            </a:extLst>
          </p:cNvPr>
          <p:cNvSpPr txBox="1"/>
          <p:nvPr/>
        </p:nvSpPr>
        <p:spPr>
          <a:xfrm>
            <a:off x="5767827" y="2380259"/>
            <a:ext cx="915358" cy="391199"/>
          </a:xfrm>
          <a:prstGeom prst="rect">
            <a:avLst/>
          </a:prstGeom>
          <a:noFill/>
        </p:spPr>
        <p:txBody>
          <a:bodyPr wrap="square" lIns="31878" tIns="31878" rIns="31878" bIns="31878" rtlCol="0">
            <a:spAutoFit/>
          </a:bodyPr>
          <a:lstStyle/>
          <a:p>
            <a:pPr algn="ctr"/>
            <a:r>
              <a:rPr lang="en-US" sz="708" spc="-36">
                <a:solidFill>
                  <a:schemeClr val="bg1">
                    <a:lumMod val="50000"/>
                  </a:schemeClr>
                </a:solidFill>
              </a:rPr>
              <a:t>No major pure distributors in Finland</a:t>
            </a:r>
          </a:p>
        </p:txBody>
      </p:sp>
      <p:pic>
        <p:nvPicPr>
          <p:cNvPr id="83" name="Picture 82">
            <a:extLst>
              <a:ext uri="{FF2B5EF4-FFF2-40B4-BE49-F238E27FC236}">
                <a16:creationId xmlns:a16="http://schemas.microsoft.com/office/drawing/2014/main" id="{2105F6C4-3E8F-64CC-7973-21E855A168E1}"/>
              </a:ext>
            </a:extLst>
          </p:cNvPr>
          <p:cNvPicPr>
            <a:picLocks noChangeAspect="1"/>
          </p:cNvPicPr>
          <p:nvPr/>
        </p:nvPicPr>
        <p:blipFill>
          <a:blip r:embed="rId46"/>
          <a:srcRect/>
          <a:stretch/>
        </p:blipFill>
        <p:spPr>
          <a:xfrm>
            <a:off x="1286393" y="2508953"/>
            <a:ext cx="241524" cy="207511"/>
          </a:xfrm>
          <a:prstGeom prst="rect">
            <a:avLst/>
          </a:prstGeom>
        </p:spPr>
      </p:pic>
      <p:pic>
        <p:nvPicPr>
          <p:cNvPr id="6" name="Picture 6">
            <a:extLst>
              <a:ext uri="{FF2B5EF4-FFF2-40B4-BE49-F238E27FC236}">
                <a16:creationId xmlns:a16="http://schemas.microsoft.com/office/drawing/2014/main" id="{985A48A8-DD74-2513-86A0-9D708D0793B2}"/>
              </a:ext>
            </a:extLst>
          </p:cNvPr>
          <p:cNvPicPr>
            <a:picLocks noChangeAspect="1" noChangeArrowheads="1"/>
          </p:cNvPicPr>
          <p:nvPr/>
        </p:nvPicPr>
        <p:blipFill>
          <a:blip r:embed="rId47">
            <a:extLst>
              <a:ext uri="{28A0092B-C50C-407E-A947-70E740481C1C}">
                <a14:useLocalDpi xmlns:a14="http://schemas.microsoft.com/office/drawing/2010/main" val="0"/>
              </a:ext>
            </a:extLst>
          </a:blip>
          <a:srcRect/>
          <a:stretch/>
        </p:blipFill>
        <p:spPr bwMode="auto">
          <a:xfrm>
            <a:off x="1629988" y="2615358"/>
            <a:ext cx="389893" cy="83004"/>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6">
            <a:extLst>
              <a:ext uri="{FF2B5EF4-FFF2-40B4-BE49-F238E27FC236}">
                <a16:creationId xmlns:a16="http://schemas.microsoft.com/office/drawing/2014/main" id="{8D760019-D03F-2AE0-6B8C-3242649B849F}"/>
              </a:ext>
            </a:extLst>
          </p:cNvPr>
          <p:cNvPicPr>
            <a:picLocks noChangeAspect="1" noChangeArrowheads="1"/>
          </p:cNvPicPr>
          <p:nvPr/>
        </p:nvPicPr>
        <p:blipFill>
          <a:blip r:embed="rId48">
            <a:extLst>
              <a:ext uri="{28A0092B-C50C-407E-A947-70E740481C1C}">
                <a14:useLocalDpi xmlns:a14="http://schemas.microsoft.com/office/drawing/2010/main" val="0"/>
              </a:ext>
            </a:extLst>
          </a:blip>
          <a:srcRect/>
          <a:stretch/>
        </p:blipFill>
        <p:spPr bwMode="auto">
          <a:xfrm>
            <a:off x="1222747" y="2240437"/>
            <a:ext cx="368817" cy="8255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E2B8E35E-4F6F-943E-889A-4BB4B23C054F}"/>
              </a:ext>
            </a:extLst>
          </p:cNvPr>
          <p:cNvPicPr>
            <a:picLocks noChangeAspect="1" noChangeArrowheads="1"/>
          </p:cNvPicPr>
          <p:nvPr/>
        </p:nvPicPr>
        <p:blipFill>
          <a:blip r:embed="rId49" cstate="print">
            <a:extLst>
              <a:ext uri="{28A0092B-C50C-407E-A947-70E740481C1C}">
                <a14:useLocalDpi xmlns:a14="http://schemas.microsoft.com/office/drawing/2010/main" val="0"/>
              </a:ext>
            </a:extLst>
          </a:blip>
          <a:srcRect/>
          <a:stretch/>
        </p:blipFill>
        <p:spPr bwMode="auto">
          <a:xfrm>
            <a:off x="5753449" y="3036185"/>
            <a:ext cx="393659" cy="9152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descr="Senop-logo - PhotonicSweden">
            <a:extLst>
              <a:ext uri="{FF2B5EF4-FFF2-40B4-BE49-F238E27FC236}">
                <a16:creationId xmlns:a16="http://schemas.microsoft.com/office/drawing/2014/main" id="{6C64928D-CFD9-89A7-4355-217023BD60CB}"/>
              </a:ext>
            </a:extLst>
          </p:cNvPr>
          <p:cNvPicPr>
            <a:picLocks noChangeAspect="1" noChangeArrowheads="1"/>
          </p:cNvPicPr>
          <p:nvPr/>
        </p:nvPicPr>
        <p:blipFill>
          <a:blip r:embed="rId50" cstate="print">
            <a:extLst>
              <a:ext uri="{28A0092B-C50C-407E-A947-70E740481C1C}">
                <a14:useLocalDpi xmlns:a14="http://schemas.microsoft.com/office/drawing/2010/main" val="0"/>
              </a:ext>
            </a:extLst>
          </a:blip>
          <a:srcRect/>
          <a:stretch>
            <a:fillRect/>
          </a:stretch>
        </p:blipFill>
        <p:spPr bwMode="auto">
          <a:xfrm>
            <a:off x="4269143" y="3036185"/>
            <a:ext cx="257253" cy="9152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2" descr="nLIGHT | Semiconductor Fiber Lasers">
            <a:extLst>
              <a:ext uri="{FF2B5EF4-FFF2-40B4-BE49-F238E27FC236}">
                <a16:creationId xmlns:a16="http://schemas.microsoft.com/office/drawing/2014/main" id="{9CF22B4D-C8A9-B64E-9DF2-B0D33B0980CB}"/>
              </a:ext>
            </a:extLst>
          </p:cNvPr>
          <p:cNvPicPr>
            <a:picLocks noChangeAspect="1" noChangeArrowheads="1"/>
          </p:cNvPicPr>
          <p:nvPr/>
        </p:nvPicPr>
        <p:blipFill>
          <a:blip r:embed="rId51" cstate="print">
            <a:extLst>
              <a:ext uri="{28A0092B-C50C-407E-A947-70E740481C1C}">
                <a14:useLocalDpi xmlns:a14="http://schemas.microsoft.com/office/drawing/2010/main" val="0"/>
              </a:ext>
            </a:extLst>
          </a:blip>
          <a:srcRect/>
          <a:stretch>
            <a:fillRect/>
          </a:stretch>
        </p:blipFill>
        <p:spPr bwMode="auto">
          <a:xfrm>
            <a:off x="4662002" y="3036185"/>
            <a:ext cx="264556" cy="9152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B35D99D3-3E40-7320-D0E4-3A8FD51B0AE2}"/>
              </a:ext>
            </a:extLst>
          </p:cNvPr>
          <p:cNvPicPr>
            <a:picLocks noChangeAspect="1" noChangeArrowheads="1"/>
          </p:cNvPicPr>
          <p:nvPr/>
        </p:nvPicPr>
        <p:blipFill>
          <a:blip r:embed="rId52" cstate="print">
            <a:extLst>
              <a:ext uri="{28A0092B-C50C-407E-A947-70E740481C1C}">
                <a14:useLocalDpi xmlns:a14="http://schemas.microsoft.com/office/drawing/2010/main" val="0"/>
              </a:ext>
            </a:extLst>
          </a:blip>
          <a:srcRect/>
          <a:stretch/>
        </p:blipFill>
        <p:spPr bwMode="auto">
          <a:xfrm>
            <a:off x="6282712" y="3036185"/>
            <a:ext cx="237047" cy="9152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2">
            <a:extLst>
              <a:ext uri="{FF2B5EF4-FFF2-40B4-BE49-F238E27FC236}">
                <a16:creationId xmlns:a16="http://schemas.microsoft.com/office/drawing/2014/main" id="{8266FF7A-B2FA-080D-98D4-DB1D2D2738F5}"/>
              </a:ext>
            </a:extLst>
          </p:cNvPr>
          <p:cNvPicPr>
            <a:picLocks noChangeAspect="1" noChangeArrowheads="1"/>
          </p:cNvPicPr>
          <p:nvPr/>
        </p:nvPicPr>
        <p:blipFill>
          <a:blip r:embed="rId53">
            <a:extLst>
              <a:ext uri="{28A0092B-C50C-407E-A947-70E740481C1C}">
                <a14:useLocalDpi xmlns:a14="http://schemas.microsoft.com/office/drawing/2010/main" val="0"/>
              </a:ext>
            </a:extLst>
          </a:blip>
          <a:srcRect/>
          <a:stretch/>
        </p:blipFill>
        <p:spPr bwMode="auto">
          <a:xfrm>
            <a:off x="5062164" y="3041662"/>
            <a:ext cx="555679" cy="80572"/>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6">
            <a:extLst>
              <a:ext uri="{FF2B5EF4-FFF2-40B4-BE49-F238E27FC236}">
                <a16:creationId xmlns:a16="http://schemas.microsoft.com/office/drawing/2014/main" id="{BC3AA934-93A6-9CC6-0BC9-A920DCB1E17A}"/>
              </a:ext>
            </a:extLst>
          </p:cNvPr>
          <p:cNvPicPr>
            <a:picLocks noChangeAspect="1"/>
          </p:cNvPicPr>
          <p:nvPr/>
        </p:nvPicPr>
        <p:blipFill>
          <a:blip r:embed="rId54">
            <a:extLst>
              <a:ext uri="{28A0092B-C50C-407E-A947-70E740481C1C}">
                <a14:useLocalDpi xmlns:a14="http://schemas.microsoft.com/office/drawing/2010/main" val="0"/>
              </a:ext>
            </a:extLst>
          </a:blip>
          <a:srcRect/>
          <a:stretch/>
        </p:blipFill>
        <p:spPr>
          <a:xfrm>
            <a:off x="880885" y="2228665"/>
            <a:ext cx="295258" cy="106094"/>
          </a:xfrm>
          <a:prstGeom prst="rect">
            <a:avLst/>
          </a:prstGeom>
        </p:spPr>
      </p:pic>
      <p:cxnSp>
        <p:nvCxnSpPr>
          <p:cNvPr id="22" name="Straight Connector 21">
            <a:extLst>
              <a:ext uri="{FF2B5EF4-FFF2-40B4-BE49-F238E27FC236}">
                <a16:creationId xmlns:a16="http://schemas.microsoft.com/office/drawing/2014/main" id="{E4AED9E9-D772-B9A5-2570-D860F6E0941D}"/>
              </a:ext>
            </a:extLst>
          </p:cNvPr>
          <p:cNvCxnSpPr>
            <a:cxnSpLocks/>
          </p:cNvCxnSpPr>
          <p:nvPr/>
        </p:nvCxnSpPr>
        <p:spPr>
          <a:xfrm flipH="1">
            <a:off x="7778887" y="2862590"/>
            <a:ext cx="287061" cy="0"/>
          </a:xfrm>
          <a:prstGeom prst="line">
            <a:avLst/>
          </a:prstGeom>
          <a:ln w="8434">
            <a:solidFill>
              <a:schemeClr val="tx1"/>
            </a:solidFill>
            <a:tailEnd type="non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4E3AD327-97EF-63C7-8C7C-D949812FCED6}"/>
              </a:ext>
            </a:extLst>
          </p:cNvPr>
          <p:cNvSpPr/>
          <p:nvPr/>
        </p:nvSpPr>
        <p:spPr bwMode="auto">
          <a:xfrm>
            <a:off x="7830811" y="2609548"/>
            <a:ext cx="932189" cy="642692"/>
          </a:xfrm>
          <a:prstGeom prst="rect">
            <a:avLst/>
          </a:prstGeom>
          <a:solidFill>
            <a:schemeClr val="bg1"/>
          </a:solidFill>
          <a:ln w="16868">
            <a:solidFill>
              <a:srgbClr val="3078B3"/>
            </a:solidFill>
          </a:ln>
        </p:spPr>
        <p:style>
          <a:lnRef idx="2">
            <a:schemeClr val="accent1">
              <a:shade val="50000"/>
            </a:schemeClr>
          </a:lnRef>
          <a:fillRef idx="1">
            <a:schemeClr val="accent1"/>
          </a:fillRef>
          <a:effectRef idx="0">
            <a:schemeClr val="accent1"/>
          </a:effectRef>
          <a:fontRef idx="minor">
            <a:schemeClr val="lt1"/>
          </a:fontRef>
        </p:style>
        <p:txBody>
          <a:bodyPr lIns="80970" tIns="80970" rIns="80970" bIns="80970" rtlCol="0" anchor="ctr"/>
          <a:lstStyle/>
          <a:p>
            <a:pPr marR="0" lvl="0" algn="l" defTabSz="679871" rtl="0" eaLnBrk="1" fontAlgn="auto" latinLnBrk="0" hangingPunct="1">
              <a:lnSpc>
                <a:spcPct val="100000"/>
              </a:lnSpc>
              <a:spcBef>
                <a:spcPts val="0"/>
              </a:spcBef>
              <a:spcAft>
                <a:spcPts val="0"/>
              </a:spcAft>
              <a:buClrTx/>
              <a:buSzTx/>
              <a:buFontTx/>
              <a:buNone/>
              <a:tabLst/>
              <a:defRPr/>
            </a:pPr>
            <a:r>
              <a:rPr lang="en-US" sz="700" i="1" dirty="0">
                <a:solidFill>
                  <a:srgbClr val="000000"/>
                </a:solidFill>
              </a:rPr>
              <a:t>Whilst Finland has domestic OEMs, +95% of semiconductors are exported</a:t>
            </a:r>
            <a:endParaRPr kumimoji="0" lang="en-US" sz="700" b="0" i="1" u="none" strike="noStrike" kern="1200" cap="none" spc="0" normalizeH="0" baseline="0" noProof="0" dirty="0">
              <a:ln>
                <a:noFill/>
              </a:ln>
              <a:solidFill>
                <a:srgbClr val="000000"/>
              </a:solidFill>
              <a:effectLst/>
              <a:uLnTx/>
              <a:uFillTx/>
            </a:endParaRPr>
          </a:p>
        </p:txBody>
      </p:sp>
      <p:sp>
        <p:nvSpPr>
          <p:cNvPr id="64" name="TextBox 63">
            <a:extLst>
              <a:ext uri="{FF2B5EF4-FFF2-40B4-BE49-F238E27FC236}">
                <a16:creationId xmlns:a16="http://schemas.microsoft.com/office/drawing/2014/main" id="{0C69BA15-8F2C-589C-11E8-70B2E48014EC}"/>
              </a:ext>
            </a:extLst>
          </p:cNvPr>
          <p:cNvSpPr txBox="1"/>
          <p:nvPr/>
        </p:nvSpPr>
        <p:spPr>
          <a:xfrm>
            <a:off x="331872" y="1167205"/>
            <a:ext cx="5792549" cy="1630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EBC5D0"/>
                </a:solidFill>
              </a14:hiddenFill>
            </a:ext>
            <a:ext uri="{91240B29-F687-4F45-9708-019B960494DF}">
              <a14:hiddenLine xmlns:a14="http://schemas.microsoft.com/office/drawing/2010/main" w="9525" cap="rnd" cmpd="sng" algn="ctr">
                <a:solidFill>
                  <a:srgbClr val="7F7F7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1050" i="1" dirty="0">
                <a:solidFill>
                  <a:srgbClr val="670F31"/>
                </a:solidFill>
                <a:latin typeface="DINPro" panose="020B0504020201010104" pitchFamily="34" charset="0"/>
              </a:rPr>
              <a:t>!</a:t>
            </a:r>
            <a:r>
              <a:rPr lang="en-US" sz="600" i="1" dirty="0">
                <a:solidFill>
                  <a:srgbClr val="0F0F0F"/>
                </a:solidFill>
                <a:latin typeface="DINPro" panose="020B0504020201010104" pitchFamily="34" charset="0"/>
              </a:rPr>
              <a:t> Based on company's operational focus in Finland.</a:t>
            </a:r>
          </a:p>
        </p:txBody>
      </p:sp>
      <p:sp>
        <p:nvSpPr>
          <p:cNvPr id="65" name="Footer Placeholder 3">
            <a:extLst>
              <a:ext uri="{FF2B5EF4-FFF2-40B4-BE49-F238E27FC236}">
                <a16:creationId xmlns:a16="http://schemas.microsoft.com/office/drawing/2014/main" id="{5ADA5EF3-4AF8-DFAB-CF8E-1B802ADD0B33}"/>
              </a:ext>
            </a:extLst>
          </p:cNvPr>
          <p:cNvSpPr>
            <a:spLocks noGrp="1"/>
          </p:cNvSpPr>
          <p:nvPr>
            <p:ph type="ftr" sz="quarter" idx="11"/>
          </p:nvPr>
        </p:nvSpPr>
        <p:spPr>
          <a:xfrm>
            <a:off x="2879725" y="4731329"/>
            <a:ext cx="5269703" cy="164690"/>
          </a:xfrm>
        </p:spPr>
        <p:txBody>
          <a:bodyPr/>
          <a:lstStyle/>
          <a:p>
            <a:r>
              <a:rPr lang="fi-FI">
                <a:latin typeface="+mn-lt"/>
              </a:rPr>
              <a:t>Source: Press releases, literature research, expert interviews, BCG</a:t>
            </a:r>
          </a:p>
        </p:txBody>
      </p:sp>
      <p:sp>
        <p:nvSpPr>
          <p:cNvPr id="74" name="Footer Placeholder 3">
            <a:extLst>
              <a:ext uri="{FF2B5EF4-FFF2-40B4-BE49-F238E27FC236}">
                <a16:creationId xmlns:a16="http://schemas.microsoft.com/office/drawing/2014/main" id="{BC075435-5930-09A4-9E1E-9ED5355908C6}"/>
              </a:ext>
            </a:extLst>
          </p:cNvPr>
          <p:cNvSpPr txBox="1">
            <a:spLocks/>
          </p:cNvSpPr>
          <p:nvPr/>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Technology Industries of Finland</a:t>
            </a:r>
          </a:p>
        </p:txBody>
      </p:sp>
    </p:spTree>
    <p:extLst>
      <p:ext uri="{BB962C8B-B14F-4D97-AF65-F5344CB8AC3E}">
        <p14:creationId xmlns:p14="http://schemas.microsoft.com/office/powerpoint/2010/main" val="1453192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F93F93-8617-34BA-4FE5-87FF8058C95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18" name="think-cell data - do not delete" hidden="1">
                        <a:extLst>
                          <a:ext uri="{FF2B5EF4-FFF2-40B4-BE49-F238E27FC236}">
                            <a16:creationId xmlns:a16="http://schemas.microsoft.com/office/drawing/2014/main" id="{B1F93F93-8617-34BA-4FE5-87FF8058C95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6AFAE7C-5F6A-B878-93B9-6DE5A9DAA9F7}"/>
              </a:ext>
            </a:extLst>
          </p:cNvPr>
          <p:cNvSpPr>
            <a:spLocks noGrp="1"/>
          </p:cNvSpPr>
          <p:nvPr>
            <p:ph type="sldNum" sz="quarter" idx="12"/>
          </p:nvPr>
        </p:nvSpPr>
        <p:spPr/>
        <p:txBody>
          <a:bodyPr/>
          <a:lstStyle/>
          <a:p>
            <a:fld id="{6FCB6B90-8271-4E8F-82C1-E646FBB48A2E}" type="slidenum">
              <a:rPr lang="en-US" smtClean="0"/>
              <a:pPr/>
              <a:t>16</a:t>
            </a:fld>
            <a:endParaRPr lang="en-US"/>
          </a:p>
        </p:txBody>
      </p:sp>
      <p:sp>
        <p:nvSpPr>
          <p:cNvPr id="3" name="Date Placeholder 2">
            <a:extLst>
              <a:ext uri="{FF2B5EF4-FFF2-40B4-BE49-F238E27FC236}">
                <a16:creationId xmlns:a16="http://schemas.microsoft.com/office/drawing/2014/main" id="{028D4B8F-B27C-53F5-451A-24CA598898DE}"/>
              </a:ext>
            </a:extLst>
          </p:cNvPr>
          <p:cNvSpPr>
            <a:spLocks noGrp="1"/>
          </p:cNvSpPr>
          <p:nvPr>
            <p:ph type="dt" sz="half" idx="10"/>
          </p:nvPr>
        </p:nvSpPr>
        <p:spPr/>
        <p:txBody>
          <a:bodyPr/>
          <a:lstStyle/>
          <a:p>
            <a:fld id="{F553C366-6A2C-43B9-A437-B827E0484441}" type="datetime1">
              <a:rPr lang="fi-FI" smtClean="0"/>
              <a:pPr/>
              <a:t>9.4.2024</a:t>
            </a:fld>
            <a:endParaRPr lang="en-US">
              <a:latin typeface="+mn-lt"/>
            </a:endParaRPr>
          </a:p>
        </p:txBody>
      </p:sp>
      <p:sp>
        <p:nvSpPr>
          <p:cNvPr id="4" name="Footer Placeholder 3">
            <a:extLst>
              <a:ext uri="{FF2B5EF4-FFF2-40B4-BE49-F238E27FC236}">
                <a16:creationId xmlns:a16="http://schemas.microsoft.com/office/drawing/2014/main" id="{1A68FC50-AA15-FC69-1AB4-767E70C870EA}"/>
              </a:ext>
            </a:extLst>
          </p:cNvPr>
          <p:cNvSpPr>
            <a:spLocks noGrp="1"/>
          </p:cNvSpPr>
          <p:nvPr>
            <p:ph type="ftr" sz="quarter" idx="11"/>
          </p:nvPr>
        </p:nvSpPr>
        <p:spPr>
          <a:xfrm>
            <a:off x="2879725" y="4728047"/>
            <a:ext cx="6034008" cy="164690"/>
          </a:xfrm>
        </p:spPr>
        <p:txBody>
          <a:bodyPr/>
          <a:lstStyle/>
          <a:p>
            <a:r>
              <a:rPr lang="en-US">
                <a:latin typeface="+mn-lt"/>
              </a:rPr>
              <a:t>Source: Survey results, WIPO, OECD, SCIMago, European Patent Office, Keel University, BCG</a:t>
            </a:r>
          </a:p>
        </p:txBody>
      </p:sp>
      <p:sp>
        <p:nvSpPr>
          <p:cNvPr id="5" name="Text Placeholder 4">
            <a:extLst>
              <a:ext uri="{FF2B5EF4-FFF2-40B4-BE49-F238E27FC236}">
                <a16:creationId xmlns:a16="http://schemas.microsoft.com/office/drawing/2014/main" id="{5F43F86A-EE19-5783-47DD-51DBCADCF320}"/>
              </a:ext>
            </a:extLst>
          </p:cNvPr>
          <p:cNvSpPr>
            <a:spLocks noGrp="1"/>
          </p:cNvSpPr>
          <p:nvPr>
            <p:ph type="body" sz="quarter" idx="18"/>
          </p:nvPr>
        </p:nvSpPr>
        <p:spPr>
          <a:xfrm>
            <a:off x="252000" y="290513"/>
            <a:ext cx="7918394" cy="517525"/>
          </a:xfrm>
        </p:spPr>
        <p:txBody>
          <a:bodyPr/>
          <a:lstStyle/>
          <a:p>
            <a:pPr marL="0" marR="0" lvl="0" indent="0" algn="l" defTabSz="679871" eaLnBrk="1" fontAlgn="auto" latinLnBrk="0" hangingPunct="1">
              <a:lnSpc>
                <a:spcPts val="16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82E"/>
                </a:solidFill>
                <a:effectLst/>
                <a:uLnTx/>
                <a:uFillTx/>
                <a:latin typeface="+mj-lt"/>
                <a:ea typeface="+mn-ea"/>
                <a:cs typeface="+mn-cs"/>
              </a:rPr>
              <a:t>The Finnish semiconductor industry has </a:t>
            </a:r>
            <a:r>
              <a:rPr lang="en-US" sz="1400" b="1" dirty="0">
                <a:solidFill>
                  <a:srgbClr val="29282E"/>
                </a:solidFill>
                <a:latin typeface="+mj-lt"/>
                <a:ea typeface="+mn-ea"/>
                <a:cs typeface="+mn-cs"/>
              </a:rPr>
              <a:t>numerous</a:t>
            </a:r>
            <a:r>
              <a:rPr kumimoji="0" lang="en-US" sz="1400" b="1" i="0" u="none" strike="noStrike" kern="1200" cap="none" spc="0" normalizeH="0" baseline="0" noProof="0" dirty="0">
                <a:ln>
                  <a:noFill/>
                </a:ln>
                <a:solidFill>
                  <a:srgbClr val="29282E"/>
                </a:solidFill>
                <a:effectLst/>
                <a:uLnTx/>
                <a:uFillTx/>
                <a:latin typeface="+mj-lt"/>
                <a:ea typeface="+mn-ea"/>
                <a:cs typeface="+mn-cs"/>
              </a:rPr>
              <a:t> societal and technological competitive advantages supporting long-term growth in semiconductors</a:t>
            </a:r>
          </a:p>
        </p:txBody>
      </p:sp>
      <p:cxnSp>
        <p:nvCxnSpPr>
          <p:cNvPr id="59" name="Straight Connector 58">
            <a:extLst>
              <a:ext uri="{FF2B5EF4-FFF2-40B4-BE49-F238E27FC236}">
                <a16:creationId xmlns:a16="http://schemas.microsoft.com/office/drawing/2014/main" id="{AC3D3624-8968-2490-A300-49E5F1BC1694}"/>
              </a:ext>
            </a:extLst>
          </p:cNvPr>
          <p:cNvCxnSpPr>
            <a:cxnSpLocks/>
          </p:cNvCxnSpPr>
          <p:nvPr/>
        </p:nvCxnSpPr>
        <p:spPr>
          <a:xfrm>
            <a:off x="363982" y="2628900"/>
            <a:ext cx="0" cy="204682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60" name="TextBox 59">
            <a:extLst>
              <a:ext uri="{FF2B5EF4-FFF2-40B4-BE49-F238E27FC236}">
                <a16:creationId xmlns:a16="http://schemas.microsoft.com/office/drawing/2014/main" id="{5BD22249-25D3-4F0A-D909-C57A7C687EEF}"/>
              </a:ext>
            </a:extLst>
          </p:cNvPr>
          <p:cNvSpPr txBox="1"/>
          <p:nvPr/>
        </p:nvSpPr>
        <p:spPr>
          <a:xfrm>
            <a:off x="719663" y="1336578"/>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Societal stability and predictability: </a:t>
            </a:r>
            <a:r>
              <a:rPr lang="en-US" sz="700" dirty="0">
                <a:solidFill>
                  <a:schemeClr val="tx1"/>
                </a:solidFill>
              </a:rPr>
              <a:t>Finland is the most stable country and business environment globally with predictable public policy and services</a:t>
            </a:r>
          </a:p>
        </p:txBody>
      </p:sp>
      <p:sp>
        <p:nvSpPr>
          <p:cNvPr id="61" name="TextBox 60">
            <a:extLst>
              <a:ext uri="{FF2B5EF4-FFF2-40B4-BE49-F238E27FC236}">
                <a16:creationId xmlns:a16="http://schemas.microsoft.com/office/drawing/2014/main" id="{060F6B84-5012-1D98-11FC-06E9CAB989DD}"/>
              </a:ext>
            </a:extLst>
          </p:cNvPr>
          <p:cNvSpPr txBox="1"/>
          <p:nvPr/>
        </p:nvSpPr>
        <p:spPr>
          <a:xfrm>
            <a:off x="719663" y="947103"/>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a:solidFill>
                  <a:schemeClr val="tx1"/>
                </a:solidFill>
              </a:rPr>
              <a:t>Low cost of innovation: </a:t>
            </a:r>
            <a:r>
              <a:rPr lang="en-US" sz="700">
                <a:solidFill>
                  <a:schemeClr val="tx1"/>
                </a:solidFill>
              </a:rPr>
              <a:t>Finland has a strong education system, low white-collar labor costs, company-academic collaborations support low cost to innovate</a:t>
            </a:r>
          </a:p>
        </p:txBody>
      </p:sp>
      <p:sp>
        <p:nvSpPr>
          <p:cNvPr id="62" name="TextBox 61">
            <a:extLst>
              <a:ext uri="{FF2B5EF4-FFF2-40B4-BE49-F238E27FC236}">
                <a16:creationId xmlns:a16="http://schemas.microsoft.com/office/drawing/2014/main" id="{28292A01-3AB1-7830-E66D-7B2EB7E44196}"/>
              </a:ext>
            </a:extLst>
          </p:cNvPr>
          <p:cNvSpPr txBox="1"/>
          <p:nvPr/>
        </p:nvSpPr>
        <p:spPr>
          <a:xfrm>
            <a:off x="719663" y="2894478"/>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a:solidFill>
                  <a:schemeClr val="tx1"/>
                </a:solidFill>
              </a:rPr>
              <a:t>System chip design: </a:t>
            </a:r>
            <a:r>
              <a:rPr lang="en-US" sz="700">
                <a:solidFill>
                  <a:schemeClr val="tx1"/>
                </a:solidFill>
              </a:rPr>
              <a:t>Strong competences in SoCs due to Nokia and Tampere ecosystems for 5G and research for 6G, ultra-low power SoC design and AI chips</a:t>
            </a:r>
          </a:p>
        </p:txBody>
      </p:sp>
      <p:sp>
        <p:nvSpPr>
          <p:cNvPr id="63" name="TextBox 62">
            <a:extLst>
              <a:ext uri="{FF2B5EF4-FFF2-40B4-BE49-F238E27FC236}">
                <a16:creationId xmlns:a16="http://schemas.microsoft.com/office/drawing/2014/main" id="{638EA041-AB8D-9159-2512-10A59D9C19AF}"/>
              </a:ext>
            </a:extLst>
          </p:cNvPr>
          <p:cNvSpPr txBox="1"/>
          <p:nvPr/>
        </p:nvSpPr>
        <p:spPr>
          <a:xfrm>
            <a:off x="719663" y="3283953"/>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Sensors: </a:t>
            </a:r>
            <a:r>
              <a:rPr lang="en-US" sz="700" dirty="0">
                <a:solidFill>
                  <a:schemeClr val="tx1"/>
                </a:solidFill>
              </a:rPr>
              <a:t>Finland holds strong EMEA market share in inertial/environmental sensors and specialized wafers for automotive and industrial end uses</a:t>
            </a:r>
          </a:p>
        </p:txBody>
      </p:sp>
      <p:sp>
        <p:nvSpPr>
          <p:cNvPr id="64" name="TextBox 63">
            <a:extLst>
              <a:ext uri="{FF2B5EF4-FFF2-40B4-BE49-F238E27FC236}">
                <a16:creationId xmlns:a16="http://schemas.microsoft.com/office/drawing/2014/main" id="{0FC950B7-50D0-BEEE-25CB-E23749017DD1}"/>
              </a:ext>
            </a:extLst>
          </p:cNvPr>
          <p:cNvSpPr txBox="1"/>
          <p:nvPr/>
        </p:nvSpPr>
        <p:spPr>
          <a:xfrm>
            <a:off x="719663" y="3673428"/>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Photonics and optoelectronics: </a:t>
            </a:r>
            <a:r>
              <a:rPr lang="en-US" sz="700" dirty="0">
                <a:solidFill>
                  <a:schemeClr val="tx1"/>
                </a:solidFill>
              </a:rPr>
              <a:t>Finland has one of Europe's most concentrated knowledge base of photonics expertise attracting global companies</a:t>
            </a:r>
          </a:p>
        </p:txBody>
      </p:sp>
      <p:sp>
        <p:nvSpPr>
          <p:cNvPr id="65" name="TextBox 64">
            <a:extLst>
              <a:ext uri="{FF2B5EF4-FFF2-40B4-BE49-F238E27FC236}">
                <a16:creationId xmlns:a16="http://schemas.microsoft.com/office/drawing/2014/main" id="{2724926A-6C9B-E798-096B-B4DB5A29AB7F}"/>
              </a:ext>
            </a:extLst>
          </p:cNvPr>
          <p:cNvSpPr txBox="1"/>
          <p:nvPr/>
        </p:nvSpPr>
        <p:spPr>
          <a:xfrm>
            <a:off x="719663" y="4062903"/>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a:solidFill>
                  <a:schemeClr val="tx1"/>
                </a:solidFill>
              </a:rPr>
              <a:t>Process, material technologies: </a:t>
            </a:r>
            <a:r>
              <a:rPr lang="en-US" sz="700">
                <a:solidFill>
                  <a:schemeClr val="tx1"/>
                </a:solidFill>
              </a:rPr>
              <a:t>Finland stands out on advanced material and process technology expertise with decades expertise</a:t>
            </a:r>
          </a:p>
        </p:txBody>
      </p:sp>
      <p:grpSp>
        <p:nvGrpSpPr>
          <p:cNvPr id="15" name="Group 14">
            <a:extLst>
              <a:ext uri="{FF2B5EF4-FFF2-40B4-BE49-F238E27FC236}">
                <a16:creationId xmlns:a16="http://schemas.microsoft.com/office/drawing/2014/main" id="{BD804902-CEB4-B6F9-FAA4-8B144FCF81EF}"/>
              </a:ext>
            </a:extLst>
          </p:cNvPr>
          <p:cNvGrpSpPr>
            <a:grpSpLocks noChangeAspect="1"/>
          </p:cNvGrpSpPr>
          <p:nvPr/>
        </p:nvGrpSpPr>
        <p:grpSpPr>
          <a:xfrm>
            <a:off x="557171" y="2566351"/>
            <a:ext cx="162000" cy="162000"/>
            <a:chOff x="982662" y="1847850"/>
            <a:chExt cx="269875" cy="269875"/>
          </a:xfrm>
        </p:grpSpPr>
        <p:sp>
          <p:nvSpPr>
            <p:cNvPr id="16" name="Oval 50">
              <a:extLst>
                <a:ext uri="{FF2B5EF4-FFF2-40B4-BE49-F238E27FC236}">
                  <a16:creationId xmlns:a16="http://schemas.microsoft.com/office/drawing/2014/main" id="{CEECF7AC-4892-94EA-D860-FBB0745EDEBE}"/>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17" name="Freeform 51">
              <a:extLst>
                <a:ext uri="{FF2B5EF4-FFF2-40B4-BE49-F238E27FC236}">
                  <a16:creationId xmlns:a16="http://schemas.microsoft.com/office/drawing/2014/main" id="{BBF05770-D043-45E0-4CB8-D240D1FBD101}"/>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sp>
        <p:nvSpPr>
          <p:cNvPr id="66" name="TextBox 65">
            <a:extLst>
              <a:ext uri="{FF2B5EF4-FFF2-40B4-BE49-F238E27FC236}">
                <a16:creationId xmlns:a16="http://schemas.microsoft.com/office/drawing/2014/main" id="{FDE7FF8F-9A43-B5E6-2A5B-F5B1D85C2FD2}"/>
              </a:ext>
            </a:extLst>
          </p:cNvPr>
          <p:cNvSpPr txBox="1"/>
          <p:nvPr/>
        </p:nvSpPr>
        <p:spPr>
          <a:xfrm>
            <a:off x="719663" y="4452378"/>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Quantum technologies</a:t>
            </a:r>
            <a:r>
              <a:rPr lang="en-US" sz="700" dirty="0">
                <a:solidFill>
                  <a:schemeClr val="tx1"/>
                </a:solidFill>
              </a:rPr>
              <a:t>: One of Europe’s densest expertise clusters formed by leading companies, Aalto University, VTT, and other institutions</a:t>
            </a:r>
          </a:p>
        </p:txBody>
      </p:sp>
      <p:grpSp>
        <p:nvGrpSpPr>
          <p:cNvPr id="6" name="Group 5">
            <a:extLst>
              <a:ext uri="{FF2B5EF4-FFF2-40B4-BE49-F238E27FC236}">
                <a16:creationId xmlns:a16="http://schemas.microsoft.com/office/drawing/2014/main" id="{26469AF1-029C-28F9-CFD4-7DDADE8F7E87}"/>
              </a:ext>
            </a:extLst>
          </p:cNvPr>
          <p:cNvGrpSpPr>
            <a:grpSpLocks noChangeAspect="1"/>
          </p:cNvGrpSpPr>
          <p:nvPr/>
        </p:nvGrpSpPr>
        <p:grpSpPr>
          <a:xfrm>
            <a:off x="557171" y="1397926"/>
            <a:ext cx="162000" cy="162000"/>
            <a:chOff x="982662" y="1847850"/>
            <a:chExt cx="269875" cy="269875"/>
          </a:xfrm>
        </p:grpSpPr>
        <p:sp>
          <p:nvSpPr>
            <p:cNvPr id="7" name="Oval 50">
              <a:extLst>
                <a:ext uri="{FF2B5EF4-FFF2-40B4-BE49-F238E27FC236}">
                  <a16:creationId xmlns:a16="http://schemas.microsoft.com/office/drawing/2014/main" id="{A8DEB53B-3701-00AA-2309-31A0261C9D4B}"/>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8" name="Freeform 51">
              <a:extLst>
                <a:ext uri="{FF2B5EF4-FFF2-40B4-BE49-F238E27FC236}">
                  <a16:creationId xmlns:a16="http://schemas.microsoft.com/office/drawing/2014/main" id="{35DE0279-C1F8-219C-B6B3-C794AE330E8F}"/>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sp>
        <p:nvSpPr>
          <p:cNvPr id="67" name="TextBox 66">
            <a:extLst>
              <a:ext uri="{FF2B5EF4-FFF2-40B4-BE49-F238E27FC236}">
                <a16:creationId xmlns:a16="http://schemas.microsoft.com/office/drawing/2014/main" id="{6097C977-C096-75AA-B1BB-11E0300C00E2}"/>
              </a:ext>
            </a:extLst>
          </p:cNvPr>
          <p:cNvSpPr txBox="1"/>
          <p:nvPr/>
        </p:nvSpPr>
        <p:spPr>
          <a:xfrm>
            <a:off x="719663" y="2505003"/>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Mobile network expertise</a:t>
            </a:r>
            <a:r>
              <a:rPr lang="en-US" sz="700" dirty="0">
                <a:solidFill>
                  <a:schemeClr val="tx1"/>
                </a:solidFill>
              </a:rPr>
              <a:t>: Finland has leading expertise in 5G/6G system circuit design and research, attracting global companies.</a:t>
            </a:r>
          </a:p>
        </p:txBody>
      </p:sp>
      <p:sp>
        <p:nvSpPr>
          <p:cNvPr id="68" name="TextBox 67">
            <a:extLst>
              <a:ext uri="{FF2B5EF4-FFF2-40B4-BE49-F238E27FC236}">
                <a16:creationId xmlns:a16="http://schemas.microsoft.com/office/drawing/2014/main" id="{48DD6062-926C-1910-A869-9632DC00EBAB}"/>
              </a:ext>
            </a:extLst>
          </p:cNvPr>
          <p:cNvSpPr txBox="1"/>
          <p:nvPr/>
        </p:nvSpPr>
        <p:spPr>
          <a:xfrm>
            <a:off x="4464827" y="903983"/>
            <a:ext cx="4190999" cy="37093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a:solidFill>
                  <a:schemeClr val="tx1"/>
                </a:solidFill>
              </a:rPr>
              <a:t>Survey: White-collar labor costs mentioned as the top one strength in Finland, followed closely by education system and workforce expertise</a:t>
            </a:r>
          </a:p>
          <a:p>
            <a:pPr marL="243000" lvl="1" indent="-162000">
              <a:buClr>
                <a:schemeClr val="tx2"/>
              </a:buClr>
              <a:buFont typeface="Trebuchet MS" panose="020B0603020202020204" pitchFamily="34" charset="0"/>
              <a:buChar char="•"/>
            </a:pPr>
            <a:r>
              <a:rPr lang="en-US" sz="700">
                <a:solidFill>
                  <a:schemeClr val="tx1"/>
                </a:solidFill>
              </a:rPr>
              <a:t>Engineers in Finland earn 20-30% less than the average in benchmark countries</a:t>
            </a:r>
          </a:p>
        </p:txBody>
      </p:sp>
      <p:sp>
        <p:nvSpPr>
          <p:cNvPr id="69" name="TextBox 68">
            <a:extLst>
              <a:ext uri="{FF2B5EF4-FFF2-40B4-BE49-F238E27FC236}">
                <a16:creationId xmlns:a16="http://schemas.microsoft.com/office/drawing/2014/main" id="{A06ECE1C-14BB-0B7E-8FA5-72894FB2A392}"/>
              </a:ext>
            </a:extLst>
          </p:cNvPr>
          <p:cNvSpPr txBox="1"/>
          <p:nvPr/>
        </p:nvSpPr>
        <p:spPr>
          <a:xfrm>
            <a:off x="4465320" y="2461548"/>
            <a:ext cx="4190998" cy="3731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a:solidFill>
                  <a:schemeClr val="tx1"/>
                </a:solidFill>
              </a:rPr>
              <a:t>Survey: 5G/6G mentioned as #1 technological strength in Finland, vast majority of respondents said industry is best positioned to serve telecommunications sector</a:t>
            </a:r>
          </a:p>
          <a:p>
            <a:pPr marL="243000" lvl="1" indent="-162000">
              <a:buClr>
                <a:schemeClr val="tx2"/>
              </a:buClr>
              <a:buFont typeface="Trebuchet MS" panose="020B0603020202020204" pitchFamily="34" charset="0"/>
              <a:buChar char="•"/>
            </a:pPr>
            <a:r>
              <a:rPr lang="en-US" sz="700">
                <a:solidFill>
                  <a:schemeClr val="tx1"/>
                </a:solidFill>
              </a:rPr>
              <a:t>Nokia is the leading provider of network infra and mobile networks in the world</a:t>
            </a:r>
          </a:p>
        </p:txBody>
      </p:sp>
      <p:sp>
        <p:nvSpPr>
          <p:cNvPr id="70" name="TextBox 69">
            <a:extLst>
              <a:ext uri="{FF2B5EF4-FFF2-40B4-BE49-F238E27FC236}">
                <a16:creationId xmlns:a16="http://schemas.microsoft.com/office/drawing/2014/main" id="{C290A65B-9C43-7720-25D9-BD48A78E3B28}"/>
              </a:ext>
            </a:extLst>
          </p:cNvPr>
          <p:cNvSpPr txBox="1"/>
          <p:nvPr/>
        </p:nvSpPr>
        <p:spPr>
          <a:xfrm>
            <a:off x="4465320" y="1350539"/>
            <a:ext cx="4190998" cy="26327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a:solidFill>
                  <a:schemeClr val="tx1"/>
                </a:solidFill>
              </a:rPr>
              <a:t>Ranked as the world's most stable country and most stable business environment by the Global Innovation Index</a:t>
            </a:r>
          </a:p>
        </p:txBody>
      </p:sp>
      <p:sp>
        <p:nvSpPr>
          <p:cNvPr id="71" name="TextBox 70">
            <a:extLst>
              <a:ext uri="{FF2B5EF4-FFF2-40B4-BE49-F238E27FC236}">
                <a16:creationId xmlns:a16="http://schemas.microsoft.com/office/drawing/2014/main" id="{35D96789-E440-BC78-C8E6-AD235F757A02}"/>
              </a:ext>
            </a:extLst>
          </p:cNvPr>
          <p:cNvSpPr txBox="1"/>
          <p:nvPr/>
        </p:nvSpPr>
        <p:spPr>
          <a:xfrm>
            <a:off x="4465320" y="2849527"/>
            <a:ext cx="4190998" cy="3731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a:solidFill>
                  <a:schemeClr val="tx1"/>
                </a:solidFill>
              </a:rPr>
              <a:t>Survey: a high share of respondents commented Finland has strong competences in SoCs due to Nokia and the unique SOC hub in Tampere</a:t>
            </a:r>
          </a:p>
          <a:p>
            <a:pPr marL="243000" lvl="1" indent="-162000">
              <a:buClr>
                <a:schemeClr val="tx2"/>
              </a:buClr>
              <a:buFont typeface="Trebuchet MS" panose="020B0603020202020204" pitchFamily="34" charset="0"/>
              <a:buChar char="•"/>
            </a:pPr>
            <a:r>
              <a:rPr lang="en-US" sz="700">
                <a:solidFill>
                  <a:schemeClr val="tx1"/>
                </a:solidFill>
              </a:rPr>
              <a:t>Per capita, Finland is 2</a:t>
            </a:r>
            <a:r>
              <a:rPr lang="en-US" sz="700" baseline="30000">
                <a:solidFill>
                  <a:schemeClr val="tx1"/>
                </a:solidFill>
              </a:rPr>
              <a:t>nd</a:t>
            </a:r>
            <a:r>
              <a:rPr lang="en-US" sz="700">
                <a:solidFill>
                  <a:schemeClr val="tx1"/>
                </a:solidFill>
              </a:rPr>
              <a:t> in SoC patents per capita in Europe </a:t>
            </a:r>
          </a:p>
        </p:txBody>
      </p:sp>
      <p:sp>
        <p:nvSpPr>
          <p:cNvPr id="72" name="TextBox 71">
            <a:extLst>
              <a:ext uri="{FF2B5EF4-FFF2-40B4-BE49-F238E27FC236}">
                <a16:creationId xmlns:a16="http://schemas.microsoft.com/office/drawing/2014/main" id="{8FB06394-42F4-FC70-9E4E-A174AA19D907}"/>
              </a:ext>
            </a:extLst>
          </p:cNvPr>
          <p:cNvSpPr txBox="1"/>
          <p:nvPr/>
        </p:nvSpPr>
        <p:spPr>
          <a:xfrm>
            <a:off x="4465320" y="3237506"/>
            <a:ext cx="4190998" cy="3731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dirty="0">
                <a:solidFill>
                  <a:schemeClr val="tx1"/>
                </a:solidFill>
              </a:rPr>
              <a:t>Sensors/MEMS received 2</a:t>
            </a:r>
            <a:r>
              <a:rPr lang="en-US" sz="700" baseline="30000" dirty="0">
                <a:solidFill>
                  <a:schemeClr val="tx1"/>
                </a:solidFill>
              </a:rPr>
              <a:t>nd</a:t>
            </a:r>
            <a:r>
              <a:rPr lang="en-US" sz="700" dirty="0">
                <a:solidFill>
                  <a:schemeClr val="tx1"/>
                </a:solidFill>
              </a:rPr>
              <a:t> most mentions on strengths in the industry survey </a:t>
            </a:r>
          </a:p>
          <a:p>
            <a:pPr marL="243000" lvl="1" indent="-162000">
              <a:buClr>
                <a:schemeClr val="tx2"/>
              </a:buClr>
              <a:buFont typeface="Trebuchet MS" panose="020B0603020202020204" pitchFamily="34" charset="0"/>
              <a:buChar char="•"/>
            </a:pPr>
            <a:r>
              <a:rPr lang="en-US" sz="700" dirty="0">
                <a:solidFill>
                  <a:schemeClr val="tx1"/>
                </a:solidFill>
              </a:rPr>
              <a:t>Large leading players, such as Vaisala and Murata, present in country, supported by MEMS and </a:t>
            </a:r>
            <a:r>
              <a:rPr lang="en-US" sz="700" dirty="0" err="1">
                <a:solidFill>
                  <a:schemeClr val="tx1"/>
                </a:solidFill>
              </a:rPr>
              <a:t>sensoring</a:t>
            </a:r>
            <a:r>
              <a:rPr lang="en-US" sz="700" dirty="0">
                <a:solidFill>
                  <a:schemeClr val="tx1"/>
                </a:solidFill>
              </a:rPr>
              <a:t> specific research and education programs</a:t>
            </a:r>
          </a:p>
        </p:txBody>
      </p:sp>
      <p:sp>
        <p:nvSpPr>
          <p:cNvPr id="73" name="TextBox 72">
            <a:extLst>
              <a:ext uri="{FF2B5EF4-FFF2-40B4-BE49-F238E27FC236}">
                <a16:creationId xmlns:a16="http://schemas.microsoft.com/office/drawing/2014/main" id="{2CCDAC78-7CF9-4AF7-4F1E-486DA154A128}"/>
              </a:ext>
            </a:extLst>
          </p:cNvPr>
          <p:cNvSpPr txBox="1"/>
          <p:nvPr/>
        </p:nvSpPr>
        <p:spPr>
          <a:xfrm>
            <a:off x="4465320" y="4467992"/>
            <a:ext cx="4190998" cy="2567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a:solidFill>
                  <a:schemeClr val="tx1"/>
                </a:solidFill>
              </a:rPr>
              <a:t>Survey: 2</a:t>
            </a:r>
            <a:r>
              <a:rPr lang="en-US" sz="700" baseline="30000">
                <a:solidFill>
                  <a:schemeClr val="tx1"/>
                </a:solidFill>
              </a:rPr>
              <a:t>nd</a:t>
            </a:r>
            <a:r>
              <a:rPr lang="en-US" sz="700">
                <a:solidFill>
                  <a:schemeClr val="tx1"/>
                </a:solidFill>
              </a:rPr>
              <a:t> most mentions in survey question about industry product strengths </a:t>
            </a:r>
          </a:p>
          <a:p>
            <a:pPr marL="243000" lvl="1" indent="-162000">
              <a:buClr>
                <a:schemeClr val="tx2"/>
              </a:buClr>
              <a:buFont typeface="Trebuchet MS" panose="020B0603020202020204" pitchFamily="34" charset="0"/>
              <a:buChar char="•"/>
            </a:pPr>
            <a:r>
              <a:rPr lang="en-US" sz="700">
                <a:solidFill>
                  <a:schemeClr val="tx1"/>
                </a:solidFill>
              </a:rPr>
              <a:t>Per capita, 1</a:t>
            </a:r>
            <a:r>
              <a:rPr lang="en-US" sz="700" baseline="30000">
                <a:solidFill>
                  <a:schemeClr val="tx1"/>
                </a:solidFill>
              </a:rPr>
              <a:t>st</a:t>
            </a:r>
            <a:r>
              <a:rPr lang="en-US" sz="700">
                <a:solidFill>
                  <a:schemeClr val="tx1"/>
                </a:solidFill>
              </a:rPr>
              <a:t> in quantum computing related patents and 2</a:t>
            </a:r>
            <a:r>
              <a:rPr lang="en-US" sz="700" baseline="30000">
                <a:solidFill>
                  <a:schemeClr val="tx1"/>
                </a:solidFill>
              </a:rPr>
              <a:t>nd</a:t>
            </a:r>
            <a:r>
              <a:rPr lang="en-US" sz="700">
                <a:solidFill>
                  <a:schemeClr val="tx1"/>
                </a:solidFill>
              </a:rPr>
              <a:t> in citations in Europe</a:t>
            </a:r>
          </a:p>
        </p:txBody>
      </p:sp>
      <p:sp>
        <p:nvSpPr>
          <p:cNvPr id="74" name="TextBox 73">
            <a:extLst>
              <a:ext uri="{FF2B5EF4-FFF2-40B4-BE49-F238E27FC236}">
                <a16:creationId xmlns:a16="http://schemas.microsoft.com/office/drawing/2014/main" id="{5D530390-DD8D-ECE4-D386-F2831223C404}"/>
              </a:ext>
            </a:extLst>
          </p:cNvPr>
          <p:cNvSpPr txBox="1"/>
          <p:nvPr/>
        </p:nvSpPr>
        <p:spPr>
          <a:xfrm>
            <a:off x="4465320" y="4013463"/>
            <a:ext cx="4190998" cy="37310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a:solidFill>
                  <a:schemeClr val="tx1"/>
                </a:solidFill>
              </a:rPr>
              <a:t>Survey: Highlighted that Finland has decades research and business experience in </a:t>
            </a:r>
            <a:r>
              <a:rPr lang="en-US" sz="700" err="1">
                <a:solidFill>
                  <a:schemeClr val="tx1"/>
                </a:solidFill>
              </a:rPr>
              <a:t>ALD</a:t>
            </a:r>
            <a:r>
              <a:rPr lang="en-US" sz="700">
                <a:solidFill>
                  <a:schemeClr val="tx1"/>
                </a:solidFill>
              </a:rPr>
              <a:t>, and additional clear competitive advantages in material niches</a:t>
            </a:r>
          </a:p>
          <a:p>
            <a:pPr marL="243000" lvl="1" indent="-162000">
              <a:buClr>
                <a:schemeClr val="tx2"/>
              </a:buClr>
              <a:buFont typeface="Trebuchet MS" panose="020B0603020202020204" pitchFamily="34" charset="0"/>
              <a:buChar char="•"/>
            </a:pPr>
            <a:r>
              <a:rPr lang="en-US" sz="700">
                <a:solidFill>
                  <a:schemeClr val="tx1"/>
                </a:solidFill>
              </a:rPr>
              <a:t>Per capita, top 5 for patents and citations for advanced materials in Europe</a:t>
            </a:r>
          </a:p>
        </p:txBody>
      </p:sp>
      <p:sp>
        <p:nvSpPr>
          <p:cNvPr id="75" name="TextBox 74">
            <a:extLst>
              <a:ext uri="{FF2B5EF4-FFF2-40B4-BE49-F238E27FC236}">
                <a16:creationId xmlns:a16="http://schemas.microsoft.com/office/drawing/2014/main" id="{56F6B9C8-11B2-A39C-2EBD-F43F82E55AE4}"/>
              </a:ext>
            </a:extLst>
          </p:cNvPr>
          <p:cNvSpPr txBox="1"/>
          <p:nvPr/>
        </p:nvSpPr>
        <p:spPr>
          <a:xfrm>
            <a:off x="4465319" y="3625486"/>
            <a:ext cx="4297967" cy="37310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dirty="0">
                <a:solidFill>
                  <a:schemeClr val="tx1"/>
                </a:solidFill>
                <a:sym typeface="Trebuchet MS" panose="020B0603020202020204" pitchFamily="34" charset="0"/>
              </a:rPr>
              <a:t>Dense research and company clusters in optical sensing, detectors, imaging, and XR.</a:t>
            </a:r>
          </a:p>
          <a:p>
            <a:pPr marL="243000" lvl="1" indent="-162000">
              <a:buClr>
                <a:schemeClr val="tx2"/>
              </a:buClr>
              <a:buFont typeface="Trebuchet MS" panose="020B0603020202020204" pitchFamily="34" charset="0"/>
              <a:buChar char="•"/>
            </a:pPr>
            <a:r>
              <a:rPr lang="en-US" sz="700" dirty="0">
                <a:solidFill>
                  <a:schemeClr val="tx1"/>
                </a:solidFill>
                <a:sym typeface="Trebuchet MS" panose="020B0603020202020204" pitchFamily="34" charset="0"/>
              </a:rPr>
              <a:t>Photonic firms are expected to grow 30% in turnover and 18% in workforce YoY</a:t>
            </a:r>
            <a:endParaRPr lang="en-US" sz="700" dirty="0">
              <a:solidFill>
                <a:schemeClr val="tx1"/>
              </a:solidFill>
            </a:endParaRPr>
          </a:p>
        </p:txBody>
      </p:sp>
      <p:grpSp>
        <p:nvGrpSpPr>
          <p:cNvPr id="76" name="Group 75">
            <a:extLst>
              <a:ext uri="{FF2B5EF4-FFF2-40B4-BE49-F238E27FC236}">
                <a16:creationId xmlns:a16="http://schemas.microsoft.com/office/drawing/2014/main" id="{0FB6B899-0B9D-7103-00AE-E8AA850C95CB}"/>
              </a:ext>
            </a:extLst>
          </p:cNvPr>
          <p:cNvGrpSpPr>
            <a:grpSpLocks noChangeAspect="1"/>
          </p:cNvGrpSpPr>
          <p:nvPr/>
        </p:nvGrpSpPr>
        <p:grpSpPr>
          <a:xfrm>
            <a:off x="557171" y="1008451"/>
            <a:ext cx="162000" cy="162000"/>
            <a:chOff x="982662" y="1847850"/>
            <a:chExt cx="269875" cy="269875"/>
          </a:xfrm>
        </p:grpSpPr>
        <p:sp>
          <p:nvSpPr>
            <p:cNvPr id="77" name="Oval 50">
              <a:extLst>
                <a:ext uri="{FF2B5EF4-FFF2-40B4-BE49-F238E27FC236}">
                  <a16:creationId xmlns:a16="http://schemas.microsoft.com/office/drawing/2014/main" id="{CBC3C983-FC9E-CCBB-6257-9BEB7E834AB4}"/>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78" name="Freeform 51">
              <a:extLst>
                <a:ext uri="{FF2B5EF4-FFF2-40B4-BE49-F238E27FC236}">
                  <a16:creationId xmlns:a16="http://schemas.microsoft.com/office/drawing/2014/main" id="{2B6BAB24-3A12-F57B-7B67-33144AA9969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grpSp>
        <p:nvGrpSpPr>
          <p:cNvPr id="34" name="Group 33">
            <a:extLst>
              <a:ext uri="{FF2B5EF4-FFF2-40B4-BE49-F238E27FC236}">
                <a16:creationId xmlns:a16="http://schemas.microsoft.com/office/drawing/2014/main" id="{4BE9A35B-5B9A-44E2-FB43-4F16FFF12760}"/>
              </a:ext>
            </a:extLst>
          </p:cNvPr>
          <p:cNvGrpSpPr>
            <a:grpSpLocks noChangeAspect="1"/>
          </p:cNvGrpSpPr>
          <p:nvPr/>
        </p:nvGrpSpPr>
        <p:grpSpPr>
          <a:xfrm>
            <a:off x="557171" y="4513726"/>
            <a:ext cx="162000" cy="162000"/>
            <a:chOff x="982662" y="1847850"/>
            <a:chExt cx="269875" cy="269875"/>
          </a:xfrm>
        </p:grpSpPr>
        <p:sp>
          <p:nvSpPr>
            <p:cNvPr id="35" name="Oval 50">
              <a:extLst>
                <a:ext uri="{FF2B5EF4-FFF2-40B4-BE49-F238E27FC236}">
                  <a16:creationId xmlns:a16="http://schemas.microsoft.com/office/drawing/2014/main" id="{E1754F64-382E-583F-663F-CA368D15C02C}"/>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36" name="Freeform 51">
              <a:extLst>
                <a:ext uri="{FF2B5EF4-FFF2-40B4-BE49-F238E27FC236}">
                  <a16:creationId xmlns:a16="http://schemas.microsoft.com/office/drawing/2014/main" id="{A86B453D-AFC0-91E7-52A5-61ABE66ABC6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grpSp>
        <p:nvGrpSpPr>
          <p:cNvPr id="31" name="Group 30">
            <a:extLst>
              <a:ext uri="{FF2B5EF4-FFF2-40B4-BE49-F238E27FC236}">
                <a16:creationId xmlns:a16="http://schemas.microsoft.com/office/drawing/2014/main" id="{86F4458F-139A-C419-6D4F-9DFE224AD542}"/>
              </a:ext>
            </a:extLst>
          </p:cNvPr>
          <p:cNvGrpSpPr>
            <a:grpSpLocks noChangeAspect="1"/>
          </p:cNvGrpSpPr>
          <p:nvPr/>
        </p:nvGrpSpPr>
        <p:grpSpPr>
          <a:xfrm>
            <a:off x="557171" y="4124251"/>
            <a:ext cx="162000" cy="162000"/>
            <a:chOff x="982662" y="1847850"/>
            <a:chExt cx="269875" cy="269875"/>
          </a:xfrm>
        </p:grpSpPr>
        <p:sp>
          <p:nvSpPr>
            <p:cNvPr id="32" name="Oval 50">
              <a:extLst>
                <a:ext uri="{FF2B5EF4-FFF2-40B4-BE49-F238E27FC236}">
                  <a16:creationId xmlns:a16="http://schemas.microsoft.com/office/drawing/2014/main" id="{DDB76470-715A-CB0C-A405-357DFA53C7EE}"/>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33" name="Freeform 51">
              <a:extLst>
                <a:ext uri="{FF2B5EF4-FFF2-40B4-BE49-F238E27FC236}">
                  <a16:creationId xmlns:a16="http://schemas.microsoft.com/office/drawing/2014/main" id="{61D32786-16C6-0F91-BD5B-DF02FDF869A5}"/>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grpSp>
        <p:nvGrpSpPr>
          <p:cNvPr id="28" name="Group 27">
            <a:extLst>
              <a:ext uri="{FF2B5EF4-FFF2-40B4-BE49-F238E27FC236}">
                <a16:creationId xmlns:a16="http://schemas.microsoft.com/office/drawing/2014/main" id="{89E2D8BD-70E8-50E5-7B79-43A763B45388}"/>
              </a:ext>
            </a:extLst>
          </p:cNvPr>
          <p:cNvGrpSpPr>
            <a:grpSpLocks noChangeAspect="1"/>
          </p:cNvGrpSpPr>
          <p:nvPr/>
        </p:nvGrpSpPr>
        <p:grpSpPr>
          <a:xfrm>
            <a:off x="557171" y="3734776"/>
            <a:ext cx="162000" cy="162000"/>
            <a:chOff x="982662" y="1847850"/>
            <a:chExt cx="269875" cy="269875"/>
          </a:xfrm>
        </p:grpSpPr>
        <p:sp>
          <p:nvSpPr>
            <p:cNvPr id="29" name="Oval 50">
              <a:extLst>
                <a:ext uri="{FF2B5EF4-FFF2-40B4-BE49-F238E27FC236}">
                  <a16:creationId xmlns:a16="http://schemas.microsoft.com/office/drawing/2014/main" id="{6EF3807A-8651-D3D4-3EC1-BD71FDE075C4}"/>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30" name="Freeform 51">
              <a:extLst>
                <a:ext uri="{FF2B5EF4-FFF2-40B4-BE49-F238E27FC236}">
                  <a16:creationId xmlns:a16="http://schemas.microsoft.com/office/drawing/2014/main" id="{C8652959-C42B-A32A-2FFD-C7A8345B03C2}"/>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grpSp>
        <p:nvGrpSpPr>
          <p:cNvPr id="22" name="Group 21">
            <a:extLst>
              <a:ext uri="{FF2B5EF4-FFF2-40B4-BE49-F238E27FC236}">
                <a16:creationId xmlns:a16="http://schemas.microsoft.com/office/drawing/2014/main" id="{C85B36BC-D51A-3DA9-B8D0-A9DBAA108EDE}"/>
              </a:ext>
            </a:extLst>
          </p:cNvPr>
          <p:cNvGrpSpPr>
            <a:grpSpLocks noChangeAspect="1"/>
          </p:cNvGrpSpPr>
          <p:nvPr/>
        </p:nvGrpSpPr>
        <p:grpSpPr>
          <a:xfrm>
            <a:off x="557171" y="3345301"/>
            <a:ext cx="162000" cy="162000"/>
            <a:chOff x="982662" y="1847850"/>
            <a:chExt cx="269875" cy="269875"/>
          </a:xfrm>
        </p:grpSpPr>
        <p:sp>
          <p:nvSpPr>
            <p:cNvPr id="23" name="Oval 50">
              <a:extLst>
                <a:ext uri="{FF2B5EF4-FFF2-40B4-BE49-F238E27FC236}">
                  <a16:creationId xmlns:a16="http://schemas.microsoft.com/office/drawing/2014/main" id="{ADCAA722-1D88-9153-E303-6C961D2E6D56}"/>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24" name="Freeform 51">
              <a:extLst>
                <a:ext uri="{FF2B5EF4-FFF2-40B4-BE49-F238E27FC236}">
                  <a16:creationId xmlns:a16="http://schemas.microsoft.com/office/drawing/2014/main" id="{1FA1AA1C-86E6-EB81-1061-322F529EBF5D}"/>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grpSp>
        <p:nvGrpSpPr>
          <p:cNvPr id="19" name="Group 18">
            <a:extLst>
              <a:ext uri="{FF2B5EF4-FFF2-40B4-BE49-F238E27FC236}">
                <a16:creationId xmlns:a16="http://schemas.microsoft.com/office/drawing/2014/main" id="{8C52CE36-DFF6-BC45-A7EA-B82AD60FD633}"/>
              </a:ext>
            </a:extLst>
          </p:cNvPr>
          <p:cNvGrpSpPr>
            <a:grpSpLocks noChangeAspect="1"/>
          </p:cNvGrpSpPr>
          <p:nvPr/>
        </p:nvGrpSpPr>
        <p:grpSpPr>
          <a:xfrm>
            <a:off x="557171" y="2955826"/>
            <a:ext cx="162000" cy="162000"/>
            <a:chOff x="982662" y="1847850"/>
            <a:chExt cx="269875" cy="269875"/>
          </a:xfrm>
        </p:grpSpPr>
        <p:sp>
          <p:nvSpPr>
            <p:cNvPr id="20" name="Oval 50">
              <a:extLst>
                <a:ext uri="{FF2B5EF4-FFF2-40B4-BE49-F238E27FC236}">
                  <a16:creationId xmlns:a16="http://schemas.microsoft.com/office/drawing/2014/main" id="{D0A4EB29-A0C8-9578-B7A4-9ED76FF7F3A0}"/>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21" name="Freeform 51">
              <a:extLst>
                <a:ext uri="{FF2B5EF4-FFF2-40B4-BE49-F238E27FC236}">
                  <a16:creationId xmlns:a16="http://schemas.microsoft.com/office/drawing/2014/main" id="{5E93E22D-8ABC-96A7-E0D2-5FB22AD46064}"/>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cxnSp>
        <p:nvCxnSpPr>
          <p:cNvPr id="100" name="Straight Connector 99">
            <a:extLst>
              <a:ext uri="{FF2B5EF4-FFF2-40B4-BE49-F238E27FC236}">
                <a16:creationId xmlns:a16="http://schemas.microsoft.com/office/drawing/2014/main" id="{49033E7E-57E8-A9C6-DE60-6E2C6E44D713}"/>
              </a:ext>
            </a:extLst>
          </p:cNvPr>
          <p:cNvCxnSpPr>
            <a:cxnSpLocks/>
          </p:cNvCxnSpPr>
          <p:nvPr/>
        </p:nvCxnSpPr>
        <p:spPr>
          <a:xfrm>
            <a:off x="590836" y="1290173"/>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1" name="Straight Connector 100">
            <a:extLst>
              <a:ext uri="{FF2B5EF4-FFF2-40B4-BE49-F238E27FC236}">
                <a16:creationId xmlns:a16="http://schemas.microsoft.com/office/drawing/2014/main" id="{2938C6D6-F09A-07BE-70D5-27C66363F45F}"/>
              </a:ext>
            </a:extLst>
          </p:cNvPr>
          <p:cNvCxnSpPr>
            <a:cxnSpLocks/>
          </p:cNvCxnSpPr>
          <p:nvPr/>
        </p:nvCxnSpPr>
        <p:spPr>
          <a:xfrm>
            <a:off x="363982" y="2454110"/>
            <a:ext cx="8292338" cy="0"/>
          </a:xfrm>
          <a:prstGeom prst="line">
            <a:avLst/>
          </a:prstGeom>
          <a:ln w="12700" cap="rnd" cmpd="sng" algn="ctr">
            <a:solidFill>
              <a:schemeClr val="tx1"/>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2" name="Straight Connector 101">
            <a:extLst>
              <a:ext uri="{FF2B5EF4-FFF2-40B4-BE49-F238E27FC236}">
                <a16:creationId xmlns:a16="http://schemas.microsoft.com/office/drawing/2014/main" id="{A8FE5DA9-D619-140C-8B01-D6C642827DC7}"/>
              </a:ext>
            </a:extLst>
          </p:cNvPr>
          <p:cNvCxnSpPr/>
          <p:nvPr/>
        </p:nvCxnSpPr>
        <p:spPr>
          <a:xfrm flipV="1">
            <a:off x="590836" y="2842089"/>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3" name="Straight Connector 102">
            <a:extLst>
              <a:ext uri="{FF2B5EF4-FFF2-40B4-BE49-F238E27FC236}">
                <a16:creationId xmlns:a16="http://schemas.microsoft.com/office/drawing/2014/main" id="{056D4BED-57A2-12B0-7C6C-F143481E5564}"/>
              </a:ext>
            </a:extLst>
          </p:cNvPr>
          <p:cNvCxnSpPr/>
          <p:nvPr/>
        </p:nvCxnSpPr>
        <p:spPr>
          <a:xfrm flipV="1">
            <a:off x="590836" y="3230068"/>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07E1602F-7209-CE9E-A8FB-F621A3F3F981}"/>
              </a:ext>
            </a:extLst>
          </p:cNvPr>
          <p:cNvCxnSpPr/>
          <p:nvPr/>
        </p:nvCxnSpPr>
        <p:spPr>
          <a:xfrm flipV="1">
            <a:off x="590836" y="3618047"/>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5" name="Straight Connector 104">
            <a:extLst>
              <a:ext uri="{FF2B5EF4-FFF2-40B4-BE49-F238E27FC236}">
                <a16:creationId xmlns:a16="http://schemas.microsoft.com/office/drawing/2014/main" id="{61F3BE8C-4418-EB86-F1A6-8874747115E5}"/>
              </a:ext>
            </a:extLst>
          </p:cNvPr>
          <p:cNvCxnSpPr/>
          <p:nvPr/>
        </p:nvCxnSpPr>
        <p:spPr>
          <a:xfrm flipV="1">
            <a:off x="590836" y="4006026"/>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cxnSp>
        <p:nvCxnSpPr>
          <p:cNvPr id="106" name="Straight Connector 105">
            <a:extLst>
              <a:ext uri="{FF2B5EF4-FFF2-40B4-BE49-F238E27FC236}">
                <a16:creationId xmlns:a16="http://schemas.microsoft.com/office/drawing/2014/main" id="{9374FECC-0DD8-7DE9-373A-00F58E0A94B5}"/>
              </a:ext>
            </a:extLst>
          </p:cNvPr>
          <p:cNvCxnSpPr/>
          <p:nvPr/>
        </p:nvCxnSpPr>
        <p:spPr>
          <a:xfrm flipV="1">
            <a:off x="590836" y="4394003"/>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107" name="TextBox 106">
            <a:extLst>
              <a:ext uri="{FF2B5EF4-FFF2-40B4-BE49-F238E27FC236}">
                <a16:creationId xmlns:a16="http://schemas.microsoft.com/office/drawing/2014/main" id="{3E2E6731-7116-1D16-5064-363C99D4A08F}"/>
              </a:ext>
            </a:extLst>
          </p:cNvPr>
          <p:cNvSpPr txBox="1"/>
          <p:nvPr/>
        </p:nvSpPr>
        <p:spPr>
          <a:xfrm rot="16200000">
            <a:off x="-58269" y="3512527"/>
            <a:ext cx="844502" cy="84678"/>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00">
                <a:solidFill>
                  <a:schemeClr val="tx1"/>
                </a:solidFill>
              </a:rPr>
              <a:t>Technological</a:t>
            </a:r>
          </a:p>
        </p:txBody>
      </p:sp>
      <p:cxnSp>
        <p:nvCxnSpPr>
          <p:cNvPr id="108" name="Straight Connector 107">
            <a:extLst>
              <a:ext uri="{FF2B5EF4-FFF2-40B4-BE49-F238E27FC236}">
                <a16:creationId xmlns:a16="http://schemas.microsoft.com/office/drawing/2014/main" id="{4FE5BF6C-782A-164D-BBB4-67F392D72B5E}"/>
              </a:ext>
            </a:extLst>
          </p:cNvPr>
          <p:cNvCxnSpPr>
            <a:cxnSpLocks/>
          </p:cNvCxnSpPr>
          <p:nvPr/>
        </p:nvCxnSpPr>
        <p:spPr>
          <a:xfrm>
            <a:off x="363982" y="902796"/>
            <a:ext cx="0" cy="1342236"/>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9" name="TextBox 108">
            <a:extLst>
              <a:ext uri="{FF2B5EF4-FFF2-40B4-BE49-F238E27FC236}">
                <a16:creationId xmlns:a16="http://schemas.microsoft.com/office/drawing/2014/main" id="{43B4839A-3895-59C0-F77D-E4FFDD277B6D}"/>
              </a:ext>
            </a:extLst>
          </p:cNvPr>
          <p:cNvSpPr txBox="1"/>
          <p:nvPr/>
        </p:nvSpPr>
        <p:spPr>
          <a:xfrm rot="16200000">
            <a:off x="64288" y="1533414"/>
            <a:ext cx="599389" cy="81000"/>
          </a:xfrm>
          <a:prstGeom prst="rect">
            <a:avLst/>
          </a:prstGeom>
          <a:solidFill>
            <a:schemeClr val="bg1"/>
          </a:solid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en-US" sz="700">
                <a:solidFill>
                  <a:schemeClr val="tx1"/>
                </a:solidFill>
              </a:rPr>
              <a:t>Societal</a:t>
            </a:r>
          </a:p>
        </p:txBody>
      </p:sp>
      <p:sp>
        <p:nvSpPr>
          <p:cNvPr id="111" name="TextBox 110">
            <a:extLst>
              <a:ext uri="{FF2B5EF4-FFF2-40B4-BE49-F238E27FC236}">
                <a16:creationId xmlns:a16="http://schemas.microsoft.com/office/drawing/2014/main" id="{508CB0FD-EAA4-15AC-EB17-196F2245F10F}"/>
              </a:ext>
            </a:extLst>
          </p:cNvPr>
          <p:cNvSpPr txBox="1"/>
          <p:nvPr/>
        </p:nvSpPr>
        <p:spPr>
          <a:xfrm>
            <a:off x="719171" y="1726053"/>
            <a:ext cx="3780000" cy="288000"/>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Well-functioning infrastructure: </a:t>
            </a:r>
            <a:r>
              <a:rPr lang="en-US" sz="700" dirty="0">
                <a:solidFill>
                  <a:schemeClr val="tx1"/>
                </a:solidFill>
              </a:rPr>
              <a:t>Relatively low risk from natural disasters and moderate climate supports stable electricity production</a:t>
            </a:r>
          </a:p>
        </p:txBody>
      </p:sp>
      <p:sp>
        <p:nvSpPr>
          <p:cNvPr id="112" name="TextBox 111">
            <a:extLst>
              <a:ext uri="{FF2B5EF4-FFF2-40B4-BE49-F238E27FC236}">
                <a16:creationId xmlns:a16="http://schemas.microsoft.com/office/drawing/2014/main" id="{A9B033B9-EB11-8D0E-276E-BF983E7AAE56}"/>
              </a:ext>
            </a:extLst>
          </p:cNvPr>
          <p:cNvSpPr txBox="1"/>
          <p:nvPr/>
        </p:nvSpPr>
        <p:spPr>
          <a:xfrm>
            <a:off x="4464827" y="1687869"/>
            <a:ext cx="4374977" cy="3685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dirty="0">
                <a:solidFill>
                  <a:schemeClr val="tx1"/>
                </a:solidFill>
              </a:rPr>
              <a:t>Finland's electricity production is stable and less impacted by extreme weather</a:t>
            </a:r>
          </a:p>
          <a:p>
            <a:pPr marL="243000" lvl="1" indent="-162000">
              <a:buClr>
                <a:schemeClr val="tx2"/>
              </a:buClr>
              <a:buFont typeface="Trebuchet MS" panose="020B0603020202020204" pitchFamily="34" charset="0"/>
              <a:buChar char="•"/>
            </a:pPr>
            <a:r>
              <a:rPr lang="en-US" sz="700" dirty="0">
                <a:solidFill>
                  <a:schemeClr val="tx1"/>
                </a:solidFill>
              </a:rPr>
              <a:t>90% of electricity generation is carbon neutral, with about 50% coming from renewables</a:t>
            </a:r>
          </a:p>
        </p:txBody>
      </p:sp>
      <p:cxnSp>
        <p:nvCxnSpPr>
          <p:cNvPr id="116" name="Straight Connector 115">
            <a:extLst>
              <a:ext uri="{FF2B5EF4-FFF2-40B4-BE49-F238E27FC236}">
                <a16:creationId xmlns:a16="http://schemas.microsoft.com/office/drawing/2014/main" id="{DD99C2D7-36CC-3088-5268-65C2090F205A}"/>
              </a:ext>
            </a:extLst>
          </p:cNvPr>
          <p:cNvCxnSpPr>
            <a:cxnSpLocks/>
          </p:cNvCxnSpPr>
          <p:nvPr/>
        </p:nvCxnSpPr>
        <p:spPr>
          <a:xfrm>
            <a:off x="590344" y="1678152"/>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5E5BBA27-D5DC-5E98-FE6A-1E57CCF61E39}"/>
              </a:ext>
            </a:extLst>
          </p:cNvPr>
          <p:cNvGrpSpPr>
            <a:grpSpLocks noChangeAspect="1"/>
          </p:cNvGrpSpPr>
          <p:nvPr/>
        </p:nvGrpSpPr>
        <p:grpSpPr>
          <a:xfrm>
            <a:off x="556679" y="1787401"/>
            <a:ext cx="162000" cy="162000"/>
            <a:chOff x="982662" y="1847850"/>
            <a:chExt cx="269875" cy="269875"/>
          </a:xfrm>
        </p:grpSpPr>
        <p:sp>
          <p:nvSpPr>
            <p:cNvPr id="10" name="Oval 50">
              <a:extLst>
                <a:ext uri="{FF2B5EF4-FFF2-40B4-BE49-F238E27FC236}">
                  <a16:creationId xmlns:a16="http://schemas.microsoft.com/office/drawing/2014/main" id="{90E0B743-31CF-CC2D-4E27-EC1D5C49CBF4}"/>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11" name="Freeform 51">
              <a:extLst>
                <a:ext uri="{FF2B5EF4-FFF2-40B4-BE49-F238E27FC236}">
                  <a16:creationId xmlns:a16="http://schemas.microsoft.com/office/drawing/2014/main" id="{8AF9B94E-708A-C194-BF36-D95BA3D1EA63}"/>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sp>
        <p:nvSpPr>
          <p:cNvPr id="154" name="TextBox 153">
            <a:extLst>
              <a:ext uri="{FF2B5EF4-FFF2-40B4-BE49-F238E27FC236}">
                <a16:creationId xmlns:a16="http://schemas.microsoft.com/office/drawing/2014/main" id="{FCF8BAB2-D8C4-6D04-4C79-048E05CB6B36}"/>
              </a:ext>
            </a:extLst>
          </p:cNvPr>
          <p:cNvSpPr txBox="1"/>
          <p:nvPr/>
        </p:nvSpPr>
        <p:spPr>
          <a:xfrm>
            <a:off x="719171" y="2115530"/>
            <a:ext cx="3780000" cy="284693"/>
          </a:xfrm>
          <a:prstGeom prst="rect">
            <a:avLst/>
          </a:prstGeom>
          <a:noFill/>
          <a:ln w="9525"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spAutoFit/>
          </a:bodyPr>
          <a:lstStyle/>
          <a:p>
            <a:pPr>
              <a:buFont typeface="Trebuchet MS" panose="020B0603020202020204" pitchFamily="34" charset="0"/>
              <a:buChar char="​"/>
            </a:pPr>
            <a:r>
              <a:rPr lang="en-US" sz="700" b="1" dirty="0">
                <a:solidFill>
                  <a:schemeClr val="tx1"/>
                </a:solidFill>
              </a:rPr>
              <a:t>Natural resources: </a:t>
            </a:r>
            <a:r>
              <a:rPr lang="en-US" sz="700" dirty="0">
                <a:solidFill>
                  <a:schemeClr val="tx1"/>
                </a:solidFill>
              </a:rPr>
              <a:t>Water richness combined with abundance of land and affordable energy makes an attractive destination for semiconductor fabrication</a:t>
            </a:r>
          </a:p>
        </p:txBody>
      </p:sp>
      <p:sp>
        <p:nvSpPr>
          <p:cNvPr id="155" name="TextBox 154">
            <a:extLst>
              <a:ext uri="{FF2B5EF4-FFF2-40B4-BE49-F238E27FC236}">
                <a16:creationId xmlns:a16="http://schemas.microsoft.com/office/drawing/2014/main" id="{601AA2D5-0F23-B313-A950-30B6F92A42F1}"/>
              </a:ext>
            </a:extLst>
          </p:cNvPr>
          <p:cNvSpPr txBox="1"/>
          <p:nvPr/>
        </p:nvSpPr>
        <p:spPr>
          <a:xfrm>
            <a:off x="4464827" y="2131735"/>
            <a:ext cx="4297957" cy="25677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marL="243000" lvl="1" indent="-162000">
              <a:buClr>
                <a:schemeClr val="tx2"/>
              </a:buClr>
              <a:buFont typeface="Trebuchet MS" panose="020B0603020202020204" pitchFamily="34" charset="0"/>
              <a:buChar char="•"/>
            </a:pPr>
            <a:r>
              <a:rPr lang="en-US" sz="700" dirty="0">
                <a:solidFill>
                  <a:schemeClr val="tx1"/>
                </a:solidFill>
              </a:rPr>
              <a:t>Finland is ranked as the world's water-richest country. </a:t>
            </a:r>
          </a:p>
          <a:p>
            <a:pPr marL="243000" lvl="1" indent="-162000">
              <a:buClr>
                <a:schemeClr val="tx2"/>
              </a:buClr>
              <a:buFont typeface="Trebuchet MS" panose="020B0603020202020204" pitchFamily="34" charset="0"/>
              <a:buChar char="•"/>
            </a:pPr>
            <a:r>
              <a:rPr lang="en-US" sz="700" dirty="0">
                <a:solidFill>
                  <a:schemeClr val="tx1"/>
                </a:solidFill>
              </a:rPr>
              <a:t>Natural resources cited as strengths by the surveyed industry stakeholders.</a:t>
            </a:r>
          </a:p>
        </p:txBody>
      </p:sp>
      <p:grpSp>
        <p:nvGrpSpPr>
          <p:cNvPr id="12" name="Group 11">
            <a:extLst>
              <a:ext uri="{FF2B5EF4-FFF2-40B4-BE49-F238E27FC236}">
                <a16:creationId xmlns:a16="http://schemas.microsoft.com/office/drawing/2014/main" id="{96AD314D-47BC-BD2C-EA62-4994D42A568C}"/>
              </a:ext>
            </a:extLst>
          </p:cNvPr>
          <p:cNvGrpSpPr>
            <a:grpSpLocks noChangeAspect="1"/>
          </p:cNvGrpSpPr>
          <p:nvPr/>
        </p:nvGrpSpPr>
        <p:grpSpPr>
          <a:xfrm>
            <a:off x="556679" y="2176876"/>
            <a:ext cx="162000" cy="162000"/>
            <a:chOff x="982662" y="1847850"/>
            <a:chExt cx="269875" cy="269875"/>
          </a:xfrm>
        </p:grpSpPr>
        <p:sp>
          <p:nvSpPr>
            <p:cNvPr id="13" name="Oval 50">
              <a:extLst>
                <a:ext uri="{FF2B5EF4-FFF2-40B4-BE49-F238E27FC236}">
                  <a16:creationId xmlns:a16="http://schemas.microsoft.com/office/drawing/2014/main" id="{D22E149D-B5C0-D2FE-B891-020C54ADED10}"/>
                </a:ext>
              </a:extLst>
            </p:cNvPr>
            <p:cNvSpPr>
              <a:spLocks noChangeArrowheads="1"/>
            </p:cNvSpPr>
            <p:nvPr/>
          </p:nvSpPr>
          <p:spPr bwMode="auto">
            <a:xfrm>
              <a:off x="982662" y="1847850"/>
              <a:ext cx="269875" cy="269875"/>
            </a:xfrm>
            <a:prstGeom prst="ellipse">
              <a:avLst/>
            </a:prstGeom>
            <a:solidFill>
              <a:srgbClr val="3078B3"/>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sp>
          <p:nvSpPr>
            <p:cNvPr id="14" name="Freeform 51">
              <a:extLst>
                <a:ext uri="{FF2B5EF4-FFF2-40B4-BE49-F238E27FC236}">
                  <a16:creationId xmlns:a16="http://schemas.microsoft.com/office/drawing/2014/main" id="{A82EC0CD-3F4B-8FC1-A010-C9E024342A3A}"/>
                </a:ext>
              </a:extLst>
            </p:cNvPr>
            <p:cNvSpPr>
              <a:spLocks/>
            </p:cNvSpPr>
            <p:nvPr/>
          </p:nvSpPr>
          <p:spPr bwMode="auto">
            <a:xfrm>
              <a:off x="1082675" y="1895475"/>
              <a:ext cx="96837" cy="174625"/>
            </a:xfrm>
            <a:custGeom>
              <a:avLst/>
              <a:gdLst>
                <a:gd name="T0" fmla="*/ 6 w 61"/>
                <a:gd name="T1" fmla="*/ 0 h 110"/>
                <a:gd name="T2" fmla="*/ 0 w 61"/>
                <a:gd name="T3" fmla="*/ 7 h 110"/>
                <a:gd name="T4" fmla="*/ 48 w 61"/>
                <a:gd name="T5" fmla="*/ 55 h 110"/>
                <a:gd name="T6" fmla="*/ 0 w 61"/>
                <a:gd name="T7" fmla="*/ 104 h 110"/>
                <a:gd name="T8" fmla="*/ 6 w 61"/>
                <a:gd name="T9" fmla="*/ 110 h 110"/>
                <a:gd name="T10" fmla="*/ 54 w 61"/>
                <a:gd name="T11" fmla="*/ 62 h 110"/>
                <a:gd name="T12" fmla="*/ 61 w 61"/>
                <a:gd name="T13" fmla="*/ 55 h 110"/>
                <a:gd name="T14" fmla="*/ 54 w 61"/>
                <a:gd name="T15" fmla="*/ 49 h 110"/>
                <a:gd name="T16" fmla="*/ 6 w 61"/>
                <a:gd name="T17"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1" h="110">
                  <a:moveTo>
                    <a:pt x="6" y="0"/>
                  </a:moveTo>
                  <a:lnTo>
                    <a:pt x="0" y="7"/>
                  </a:lnTo>
                  <a:lnTo>
                    <a:pt x="48" y="55"/>
                  </a:lnTo>
                  <a:lnTo>
                    <a:pt x="0" y="104"/>
                  </a:lnTo>
                  <a:lnTo>
                    <a:pt x="6" y="110"/>
                  </a:lnTo>
                  <a:lnTo>
                    <a:pt x="54" y="62"/>
                  </a:lnTo>
                  <a:lnTo>
                    <a:pt x="61" y="55"/>
                  </a:lnTo>
                  <a:lnTo>
                    <a:pt x="54" y="49"/>
                  </a:lnTo>
                  <a:lnTo>
                    <a:pt x="6" y="0"/>
                  </a:lnTo>
                  <a:close/>
                </a:path>
              </a:pathLst>
            </a:custGeom>
            <a:solidFill>
              <a:schemeClr val="bg1"/>
            </a:solidFill>
            <a:ln>
              <a:noFill/>
            </a:ln>
          </p:spPr>
          <p:txBody>
            <a:bodyPr vert="horz" wrap="square" lIns="68580" tIns="34290" rIns="68580" bIns="34290" numCol="1" anchor="t" anchorCtr="0" compatLnSpc="1">
              <a:prstTxWarp prst="textNoShape">
                <a:avLst/>
              </a:prstTxWarp>
            </a:bodyPr>
            <a:lstStyle/>
            <a:p>
              <a:endParaRPr lang="en-US" sz="1005">
                <a:solidFill>
                  <a:schemeClr val="bg1"/>
                </a:solidFill>
              </a:endParaRPr>
            </a:p>
          </p:txBody>
        </p:sp>
      </p:grpSp>
      <p:cxnSp>
        <p:nvCxnSpPr>
          <p:cNvPr id="159" name="Straight Connector 158">
            <a:extLst>
              <a:ext uri="{FF2B5EF4-FFF2-40B4-BE49-F238E27FC236}">
                <a16:creationId xmlns:a16="http://schemas.microsoft.com/office/drawing/2014/main" id="{89B48A68-4235-033C-2140-27B706436590}"/>
              </a:ext>
            </a:extLst>
          </p:cNvPr>
          <p:cNvCxnSpPr>
            <a:cxnSpLocks/>
          </p:cNvCxnSpPr>
          <p:nvPr/>
        </p:nvCxnSpPr>
        <p:spPr>
          <a:xfrm>
            <a:off x="590344" y="2066131"/>
            <a:ext cx="8065484" cy="0"/>
          </a:xfrm>
          <a:prstGeom prst="line">
            <a:avLst/>
          </a:prstGeom>
          <a:ln w="9525" cap="rnd">
            <a:solidFill>
              <a:schemeClr val="tx1">
                <a:lumMod val="60000"/>
                <a:lumOff val="40000"/>
              </a:schemeClr>
            </a:solidFill>
            <a:prstDash val="sysDash"/>
            <a:round/>
          </a:ln>
        </p:spPr>
        <p:style>
          <a:lnRef idx="1">
            <a:schemeClr val="accent1"/>
          </a:lnRef>
          <a:fillRef idx="0">
            <a:schemeClr val="accent1"/>
          </a:fillRef>
          <a:effectRef idx="0">
            <a:schemeClr val="accent1"/>
          </a:effectRef>
          <a:fontRef idx="minor">
            <a:schemeClr val="tx1"/>
          </a:fontRef>
        </p:style>
      </p:cxnSp>
      <p:sp>
        <p:nvSpPr>
          <p:cNvPr id="37" name="Footer Placeholder 3">
            <a:extLst>
              <a:ext uri="{FF2B5EF4-FFF2-40B4-BE49-F238E27FC236}">
                <a16:creationId xmlns:a16="http://schemas.microsoft.com/office/drawing/2014/main" id="{4DD53730-CAA0-EF19-7EA8-F8BB95E152E9}"/>
              </a:ext>
            </a:extLst>
          </p:cNvPr>
          <p:cNvSpPr txBox="1">
            <a:spLocks/>
          </p:cNvSpPr>
          <p:nvPr/>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Technology Industries of Finland</a:t>
            </a:r>
          </a:p>
        </p:txBody>
      </p:sp>
    </p:spTree>
    <p:extLst>
      <p:ext uri="{BB962C8B-B14F-4D97-AF65-F5344CB8AC3E}">
        <p14:creationId xmlns:p14="http://schemas.microsoft.com/office/powerpoint/2010/main" val="13435898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hink-cell data - do not delete" hidden="1">
            <a:extLst>
              <a:ext uri="{FF2B5EF4-FFF2-40B4-BE49-F238E27FC236}">
                <a16:creationId xmlns:a16="http://schemas.microsoft.com/office/drawing/2014/main" id="{B1F93F93-8617-34BA-4FE5-87FF8058C959}"/>
              </a:ext>
            </a:extLst>
          </p:cNvPr>
          <p:cNvGraphicFramePr>
            <a:graphicFrameLocks noChangeAspect="1"/>
          </p:cNvGraphicFramePr>
          <p:nvPr>
            <p:custDataLst>
              <p:tags r:id="rId1"/>
            </p:custDataLst>
            <p:extLst>
              <p:ext uri="{D42A27DB-BD31-4B8C-83A1-F6EECF244321}">
                <p14:modId xmlns:p14="http://schemas.microsoft.com/office/powerpoint/2010/main" val="3018393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7" imgW="328" imgH="328" progId="TCLayout.ActiveDocument.1">
                  <p:embed/>
                </p:oleObj>
              </mc:Choice>
              <mc:Fallback>
                <p:oleObj name="think-cell Slide" r:id="rId97" imgW="328" imgH="328" progId="TCLayout.ActiveDocument.1">
                  <p:embed/>
                  <p:pic>
                    <p:nvPicPr>
                      <p:cNvPr id="18" name="think-cell data - do not delete" hidden="1">
                        <a:extLst>
                          <a:ext uri="{FF2B5EF4-FFF2-40B4-BE49-F238E27FC236}">
                            <a16:creationId xmlns:a16="http://schemas.microsoft.com/office/drawing/2014/main" id="{B1F93F93-8617-34BA-4FE5-87FF8058C959}"/>
                          </a:ext>
                        </a:extLst>
                      </p:cNvPr>
                      <p:cNvPicPr/>
                      <p:nvPr/>
                    </p:nvPicPr>
                    <p:blipFill>
                      <a:blip r:embed="rId98"/>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06AFAE7C-5F6A-B878-93B9-6DE5A9DAA9F7}"/>
              </a:ext>
            </a:extLst>
          </p:cNvPr>
          <p:cNvSpPr>
            <a:spLocks noGrp="1"/>
          </p:cNvSpPr>
          <p:nvPr>
            <p:ph type="sldNum" sz="quarter" idx="12"/>
          </p:nvPr>
        </p:nvSpPr>
        <p:spPr/>
        <p:txBody>
          <a:bodyPr/>
          <a:lstStyle/>
          <a:p>
            <a:fld id="{6FCB6B90-8271-4E8F-82C1-E646FBB48A2E}" type="slidenum">
              <a:rPr lang="en-US" smtClean="0"/>
              <a:pPr/>
              <a:t>17</a:t>
            </a:fld>
            <a:endParaRPr lang="en-US"/>
          </a:p>
        </p:txBody>
      </p:sp>
      <p:sp>
        <p:nvSpPr>
          <p:cNvPr id="3" name="Date Placeholder 2">
            <a:extLst>
              <a:ext uri="{FF2B5EF4-FFF2-40B4-BE49-F238E27FC236}">
                <a16:creationId xmlns:a16="http://schemas.microsoft.com/office/drawing/2014/main" id="{028D4B8F-B27C-53F5-451A-24CA598898DE}"/>
              </a:ext>
            </a:extLst>
          </p:cNvPr>
          <p:cNvSpPr>
            <a:spLocks noGrp="1"/>
          </p:cNvSpPr>
          <p:nvPr>
            <p:ph type="dt" sz="half" idx="10"/>
          </p:nvPr>
        </p:nvSpPr>
        <p:spPr/>
        <p:txBody>
          <a:bodyPr/>
          <a:lstStyle/>
          <a:p>
            <a:fld id="{F553C366-6A2C-43B9-A437-B827E0484441}" type="datetime1">
              <a:rPr lang="fi-FI" smtClean="0"/>
              <a:pPr/>
              <a:t>9.4.2024</a:t>
            </a:fld>
            <a:endParaRPr lang="en-US">
              <a:latin typeface="+mn-lt"/>
            </a:endParaRPr>
          </a:p>
        </p:txBody>
      </p:sp>
      <p:sp>
        <p:nvSpPr>
          <p:cNvPr id="4" name="Footer Placeholder 3">
            <a:extLst>
              <a:ext uri="{FF2B5EF4-FFF2-40B4-BE49-F238E27FC236}">
                <a16:creationId xmlns:a16="http://schemas.microsoft.com/office/drawing/2014/main" id="{1A68FC50-AA15-FC69-1AB4-767E70C870EA}"/>
              </a:ext>
            </a:extLst>
          </p:cNvPr>
          <p:cNvSpPr>
            <a:spLocks noGrp="1"/>
          </p:cNvSpPr>
          <p:nvPr>
            <p:ph type="ftr" sz="quarter" idx="11"/>
          </p:nvPr>
        </p:nvSpPr>
        <p:spPr>
          <a:xfrm>
            <a:off x="2879724" y="4708997"/>
            <a:ext cx="5597525" cy="164690"/>
          </a:xfrm>
        </p:spPr>
        <p:txBody>
          <a:bodyPr/>
          <a:lstStyle/>
          <a:p>
            <a:r>
              <a:rPr lang="en-US">
                <a:latin typeface="+mn-lt"/>
              </a:rPr>
              <a:t>1. Q: Which geographies is your organization directly connected to? (Customers, Supply chain or R&amp;D cooperation related between companies related to semiconductors) (Cooperation partners in research both academy and industry)</a:t>
            </a:r>
          </a:p>
          <a:p>
            <a:r>
              <a:rPr lang="en-US">
                <a:latin typeface="+mn-lt"/>
              </a:rPr>
              <a:t>Source: National Microelectronics &amp; Semiconductor Strategy survey 2023, BCG</a:t>
            </a:r>
          </a:p>
          <a:p>
            <a:endParaRPr lang="en-US">
              <a:latin typeface="+mn-lt"/>
            </a:endParaRPr>
          </a:p>
        </p:txBody>
      </p:sp>
      <p:sp>
        <p:nvSpPr>
          <p:cNvPr id="5" name="Text Placeholder 4">
            <a:extLst>
              <a:ext uri="{FF2B5EF4-FFF2-40B4-BE49-F238E27FC236}">
                <a16:creationId xmlns:a16="http://schemas.microsoft.com/office/drawing/2014/main" id="{5F43F86A-EE19-5783-47DD-51DBCADCF320}"/>
              </a:ext>
            </a:extLst>
          </p:cNvPr>
          <p:cNvSpPr>
            <a:spLocks noGrp="1"/>
          </p:cNvSpPr>
          <p:nvPr>
            <p:ph type="body" sz="quarter" idx="18"/>
          </p:nvPr>
        </p:nvSpPr>
        <p:spPr>
          <a:xfrm>
            <a:off x="252000" y="290513"/>
            <a:ext cx="8063326" cy="517525"/>
          </a:xfrm>
        </p:spPr>
        <p:txBody>
          <a:bodyPr>
            <a:normAutofit fontScale="92500"/>
          </a:bodyPr>
          <a:lstStyle/>
          <a:p>
            <a:pPr marL="0" marR="0" lvl="0" indent="0" algn="l" defTabSz="679871" eaLnBrk="1" fontAlgn="auto" latinLnBrk="0" hangingPunct="1">
              <a:lnSpc>
                <a:spcPts val="16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29282E"/>
                </a:solidFill>
                <a:effectLst/>
                <a:uLnTx/>
                <a:uFillTx/>
                <a:latin typeface="+mj-lt"/>
                <a:ea typeface="+mn-ea"/>
                <a:cs typeface="+mn-cs"/>
              </a:rPr>
              <a:t>The Finnish industry is export-heavy, internationally connected but susceptible to geopolitical tensions with considerable exposure to mainland China</a:t>
            </a:r>
          </a:p>
        </p:txBody>
      </p:sp>
      <p:graphicFrame>
        <p:nvGraphicFramePr>
          <p:cNvPr id="63" name="Chart 62">
            <a:extLst>
              <a:ext uri="{FF2B5EF4-FFF2-40B4-BE49-F238E27FC236}">
                <a16:creationId xmlns:a16="http://schemas.microsoft.com/office/drawing/2014/main" id="{B7A5BC09-7EBC-3551-A6B1-9B9D5A446445}"/>
              </a:ext>
            </a:extLst>
          </p:cNvPr>
          <p:cNvGraphicFramePr/>
          <p:nvPr>
            <p:custDataLst>
              <p:tags r:id="rId2"/>
            </p:custDataLst>
            <p:extLst>
              <p:ext uri="{D42A27DB-BD31-4B8C-83A1-F6EECF244321}">
                <p14:modId xmlns:p14="http://schemas.microsoft.com/office/powerpoint/2010/main" val="452219373"/>
              </p:ext>
            </p:extLst>
          </p:nvPr>
        </p:nvGraphicFramePr>
        <p:xfrm>
          <a:off x="495300" y="1806575"/>
          <a:ext cx="8175625" cy="2654300"/>
        </p:xfrm>
        <a:graphic>
          <a:graphicData uri="http://schemas.openxmlformats.org/drawingml/2006/chart">
            <c:chart xmlns:c="http://schemas.openxmlformats.org/drawingml/2006/chart" xmlns:r="http://schemas.openxmlformats.org/officeDocument/2006/relationships" r:id="rId99"/>
          </a:graphicData>
        </a:graphic>
      </p:graphicFrame>
      <p:cxnSp>
        <p:nvCxnSpPr>
          <p:cNvPr id="8" name="Straight Connector 7">
            <a:extLst>
              <a:ext uri="{FF2B5EF4-FFF2-40B4-BE49-F238E27FC236}">
                <a16:creationId xmlns:a16="http://schemas.microsoft.com/office/drawing/2014/main" id="{CB101BB2-1DD9-D2E7-DE9E-243AA1C490F6}"/>
              </a:ext>
            </a:extLst>
          </p:cNvPr>
          <p:cNvCxnSpPr/>
          <p:nvPr>
            <p:custDataLst>
              <p:tags r:id="rId3"/>
            </p:custDataLst>
          </p:nvPr>
        </p:nvCxnSpPr>
        <p:spPr bwMode="gray">
          <a:xfrm>
            <a:off x="8142288" y="4186238"/>
            <a:ext cx="0" cy="84138"/>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DC916649-BE79-0916-997C-1E9A9C67FFBD}"/>
              </a:ext>
            </a:extLst>
          </p:cNvPr>
          <p:cNvCxnSpPr/>
          <p:nvPr>
            <p:custDataLst>
              <p:tags r:id="rId4"/>
            </p:custDataLst>
          </p:nvPr>
        </p:nvCxnSpPr>
        <p:spPr bwMode="gray">
          <a:xfrm>
            <a:off x="7988300" y="4186238"/>
            <a:ext cx="15398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DE1668FF-B385-E8D0-7E4F-845E9BA2B386}"/>
              </a:ext>
            </a:extLst>
          </p:cNvPr>
          <p:cNvCxnSpPr/>
          <p:nvPr>
            <p:custDataLst>
              <p:tags r:id="rId5"/>
            </p:custDataLst>
          </p:nvPr>
        </p:nvCxnSpPr>
        <p:spPr bwMode="gray">
          <a:xfrm>
            <a:off x="7740650" y="4186238"/>
            <a:ext cx="0" cy="84138"/>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 name="Straight Connector 10">
            <a:extLst>
              <a:ext uri="{FF2B5EF4-FFF2-40B4-BE49-F238E27FC236}">
                <a16:creationId xmlns:a16="http://schemas.microsoft.com/office/drawing/2014/main" id="{34D7FB03-B29D-2854-22C8-8E82FCB53072}"/>
              </a:ext>
            </a:extLst>
          </p:cNvPr>
          <p:cNvCxnSpPr/>
          <p:nvPr>
            <p:custDataLst>
              <p:tags r:id="rId6"/>
            </p:custDataLst>
          </p:nvPr>
        </p:nvCxnSpPr>
        <p:spPr bwMode="gray">
          <a:xfrm>
            <a:off x="7586663" y="4186238"/>
            <a:ext cx="15398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 name="Straight Connector 11">
            <a:extLst>
              <a:ext uri="{FF2B5EF4-FFF2-40B4-BE49-F238E27FC236}">
                <a16:creationId xmlns:a16="http://schemas.microsoft.com/office/drawing/2014/main" id="{56B21ECE-5BFF-2624-A9D3-7DCC8628FB67}"/>
              </a:ext>
            </a:extLst>
          </p:cNvPr>
          <p:cNvCxnSpPr/>
          <p:nvPr>
            <p:custDataLst>
              <p:tags r:id="rId7"/>
            </p:custDataLst>
          </p:nvPr>
        </p:nvCxnSpPr>
        <p:spPr bwMode="gray">
          <a:xfrm>
            <a:off x="7186613" y="4095750"/>
            <a:ext cx="0" cy="14288"/>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 name="Straight Connector 12">
            <a:extLst>
              <a:ext uri="{FF2B5EF4-FFF2-40B4-BE49-F238E27FC236}">
                <a16:creationId xmlns:a16="http://schemas.microsoft.com/office/drawing/2014/main" id="{C4AA725F-B581-5FF3-E09C-E2367C21EFE6}"/>
              </a:ext>
            </a:extLst>
          </p:cNvPr>
          <p:cNvCxnSpPr/>
          <p:nvPr>
            <p:custDataLst>
              <p:tags r:id="rId8"/>
            </p:custDataLst>
          </p:nvPr>
        </p:nvCxnSpPr>
        <p:spPr bwMode="gray">
          <a:xfrm>
            <a:off x="7340600" y="4095750"/>
            <a:ext cx="0" cy="174625"/>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4E005F48-A73C-B787-B7E2-A1B31CF5C47F}"/>
              </a:ext>
            </a:extLst>
          </p:cNvPr>
          <p:cNvCxnSpPr/>
          <p:nvPr>
            <p:custDataLst>
              <p:tags r:id="rId9"/>
            </p:custDataLst>
          </p:nvPr>
        </p:nvCxnSpPr>
        <p:spPr bwMode="gray">
          <a:xfrm>
            <a:off x="7186613" y="4095750"/>
            <a:ext cx="15398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 name="Straight Connector 16">
            <a:extLst>
              <a:ext uri="{FF2B5EF4-FFF2-40B4-BE49-F238E27FC236}">
                <a16:creationId xmlns:a16="http://schemas.microsoft.com/office/drawing/2014/main" id="{F42EDAA8-1DEE-E253-43EB-17A816D3BB83}"/>
              </a:ext>
            </a:extLst>
          </p:cNvPr>
          <p:cNvCxnSpPr/>
          <p:nvPr>
            <p:custDataLst>
              <p:tags r:id="rId10"/>
            </p:custDataLst>
          </p:nvPr>
        </p:nvCxnSpPr>
        <p:spPr bwMode="gray">
          <a:xfrm>
            <a:off x="6786563" y="3649663"/>
            <a:ext cx="153988" cy="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780C3784-D567-1669-06AF-CC26B2FBF6D1}"/>
              </a:ext>
            </a:extLst>
          </p:cNvPr>
          <p:cNvCxnSpPr/>
          <p:nvPr>
            <p:custDataLst>
              <p:tags r:id="rId11"/>
            </p:custDataLst>
          </p:nvPr>
        </p:nvCxnSpPr>
        <p:spPr bwMode="gray">
          <a:xfrm>
            <a:off x="6786563" y="3649663"/>
            <a:ext cx="0" cy="169863"/>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78325BB2-9DB9-F93B-F781-E35910F73BE5}"/>
              </a:ext>
            </a:extLst>
          </p:cNvPr>
          <p:cNvCxnSpPr/>
          <p:nvPr>
            <p:custDataLst>
              <p:tags r:id="rId12"/>
            </p:custDataLst>
          </p:nvPr>
        </p:nvCxnSpPr>
        <p:spPr bwMode="gray">
          <a:xfrm>
            <a:off x="6940550" y="3649664"/>
            <a:ext cx="0" cy="620713"/>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5987A039-FD10-ADE1-6010-CE5A53B7F21D}"/>
              </a:ext>
            </a:extLst>
          </p:cNvPr>
          <p:cNvCxnSpPr/>
          <p:nvPr>
            <p:custDataLst>
              <p:tags r:id="rId13"/>
            </p:custDataLst>
          </p:nvPr>
        </p:nvCxnSpPr>
        <p:spPr bwMode="gray">
          <a:xfrm>
            <a:off x="6386513" y="3649663"/>
            <a:ext cx="15398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 name="Straight Connector 19">
            <a:extLst>
              <a:ext uri="{FF2B5EF4-FFF2-40B4-BE49-F238E27FC236}">
                <a16:creationId xmlns:a16="http://schemas.microsoft.com/office/drawing/2014/main" id="{08171B52-CE2F-90AE-71FC-7745EDB3D03B}"/>
              </a:ext>
            </a:extLst>
          </p:cNvPr>
          <p:cNvCxnSpPr/>
          <p:nvPr>
            <p:custDataLst>
              <p:tags r:id="rId14"/>
            </p:custDataLst>
          </p:nvPr>
        </p:nvCxnSpPr>
        <p:spPr bwMode="gray">
          <a:xfrm>
            <a:off x="6540500" y="3649664"/>
            <a:ext cx="0" cy="620713"/>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Straight Connector 20">
            <a:extLst>
              <a:ext uri="{FF2B5EF4-FFF2-40B4-BE49-F238E27FC236}">
                <a16:creationId xmlns:a16="http://schemas.microsoft.com/office/drawing/2014/main" id="{834471C1-79BA-6428-5B6A-87DAF5335028}"/>
              </a:ext>
            </a:extLst>
          </p:cNvPr>
          <p:cNvCxnSpPr/>
          <p:nvPr>
            <p:custDataLst>
              <p:tags r:id="rId15"/>
            </p:custDataLst>
          </p:nvPr>
        </p:nvCxnSpPr>
        <p:spPr bwMode="gray">
          <a:xfrm>
            <a:off x="6386513" y="3649663"/>
            <a:ext cx="0" cy="87313"/>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DBBB8302-2E6B-B9F5-4BEE-A358C422D8B9}"/>
              </a:ext>
            </a:extLst>
          </p:cNvPr>
          <p:cNvCxnSpPr/>
          <p:nvPr>
            <p:custDataLst>
              <p:tags r:id="rId16"/>
            </p:custDataLst>
          </p:nvPr>
        </p:nvCxnSpPr>
        <p:spPr bwMode="gray">
          <a:xfrm>
            <a:off x="5984875" y="3559175"/>
            <a:ext cx="15398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a:extLst>
              <a:ext uri="{FF2B5EF4-FFF2-40B4-BE49-F238E27FC236}">
                <a16:creationId xmlns:a16="http://schemas.microsoft.com/office/drawing/2014/main" id="{B45D840F-D4F0-AC55-9F76-A10417065DAD}"/>
              </a:ext>
            </a:extLst>
          </p:cNvPr>
          <p:cNvCxnSpPr/>
          <p:nvPr>
            <p:custDataLst>
              <p:tags r:id="rId17"/>
            </p:custDataLst>
          </p:nvPr>
        </p:nvCxnSpPr>
        <p:spPr bwMode="gray">
          <a:xfrm>
            <a:off x="6138863" y="3559175"/>
            <a:ext cx="0" cy="71120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a:extLst>
              <a:ext uri="{FF2B5EF4-FFF2-40B4-BE49-F238E27FC236}">
                <a16:creationId xmlns:a16="http://schemas.microsoft.com/office/drawing/2014/main" id="{10CCA6FF-CF9B-CFF3-B03A-5F7879539A31}"/>
              </a:ext>
            </a:extLst>
          </p:cNvPr>
          <p:cNvCxnSpPr/>
          <p:nvPr>
            <p:custDataLst>
              <p:tags r:id="rId18"/>
            </p:custDataLst>
          </p:nvPr>
        </p:nvCxnSpPr>
        <p:spPr bwMode="gray">
          <a:xfrm>
            <a:off x="5984875" y="3559175"/>
            <a:ext cx="0" cy="9525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C16ED6B2-6200-BE92-1C61-7C064385A6DB}"/>
              </a:ext>
            </a:extLst>
          </p:cNvPr>
          <p:cNvCxnSpPr/>
          <p:nvPr>
            <p:custDataLst>
              <p:tags r:id="rId19"/>
            </p:custDataLst>
          </p:nvPr>
        </p:nvCxnSpPr>
        <p:spPr bwMode="gray">
          <a:xfrm>
            <a:off x="5584825" y="3113088"/>
            <a:ext cx="153988" cy="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 name="Straight Connector 26">
            <a:extLst>
              <a:ext uri="{FF2B5EF4-FFF2-40B4-BE49-F238E27FC236}">
                <a16:creationId xmlns:a16="http://schemas.microsoft.com/office/drawing/2014/main" id="{EE1CC03E-FCFB-5A49-E5BC-8837A3DC2DF2}"/>
              </a:ext>
            </a:extLst>
          </p:cNvPr>
          <p:cNvCxnSpPr/>
          <p:nvPr>
            <p:custDataLst>
              <p:tags r:id="rId20"/>
            </p:custDataLst>
          </p:nvPr>
        </p:nvCxnSpPr>
        <p:spPr bwMode="gray">
          <a:xfrm>
            <a:off x="5584825" y="3113088"/>
            <a:ext cx="0" cy="458788"/>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Straight Connector 25">
            <a:extLst>
              <a:ext uri="{FF2B5EF4-FFF2-40B4-BE49-F238E27FC236}">
                <a16:creationId xmlns:a16="http://schemas.microsoft.com/office/drawing/2014/main" id="{7532D461-A228-DF33-4BEE-FAB3CC8879E9}"/>
              </a:ext>
            </a:extLst>
          </p:cNvPr>
          <p:cNvCxnSpPr/>
          <p:nvPr>
            <p:custDataLst>
              <p:tags r:id="rId21"/>
            </p:custDataLst>
          </p:nvPr>
        </p:nvCxnSpPr>
        <p:spPr bwMode="gray">
          <a:xfrm>
            <a:off x="5738813" y="3113088"/>
            <a:ext cx="0" cy="1157288"/>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0" name="Straight Connector 29">
            <a:extLst>
              <a:ext uri="{FF2B5EF4-FFF2-40B4-BE49-F238E27FC236}">
                <a16:creationId xmlns:a16="http://schemas.microsoft.com/office/drawing/2014/main" id="{31155AC3-64CB-8436-5B8F-62CDC1D2BC07}"/>
              </a:ext>
            </a:extLst>
          </p:cNvPr>
          <p:cNvCxnSpPr/>
          <p:nvPr>
            <p:custDataLst>
              <p:tags r:id="rId22"/>
            </p:custDataLst>
          </p:nvPr>
        </p:nvCxnSpPr>
        <p:spPr bwMode="gray">
          <a:xfrm>
            <a:off x="5184775" y="3022600"/>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4564507F-4F35-081B-8470-E2893F8BF21A}"/>
              </a:ext>
            </a:extLst>
          </p:cNvPr>
          <p:cNvCxnSpPr/>
          <p:nvPr>
            <p:custDataLst>
              <p:tags r:id="rId23"/>
            </p:custDataLst>
          </p:nvPr>
        </p:nvCxnSpPr>
        <p:spPr bwMode="gray">
          <a:xfrm>
            <a:off x="5338763" y="3022601"/>
            <a:ext cx="0" cy="1247775"/>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9" name="Straight Connector 28">
            <a:extLst>
              <a:ext uri="{FF2B5EF4-FFF2-40B4-BE49-F238E27FC236}">
                <a16:creationId xmlns:a16="http://schemas.microsoft.com/office/drawing/2014/main" id="{9D4CE214-7D40-9425-5D65-D34575C7B343}"/>
              </a:ext>
            </a:extLst>
          </p:cNvPr>
          <p:cNvCxnSpPr/>
          <p:nvPr>
            <p:custDataLst>
              <p:tags r:id="rId24"/>
            </p:custDataLst>
          </p:nvPr>
        </p:nvCxnSpPr>
        <p:spPr bwMode="gray">
          <a:xfrm>
            <a:off x="5184775" y="3022600"/>
            <a:ext cx="0" cy="341313"/>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1" name="Straight Connector 30">
            <a:extLst>
              <a:ext uri="{FF2B5EF4-FFF2-40B4-BE49-F238E27FC236}">
                <a16:creationId xmlns:a16="http://schemas.microsoft.com/office/drawing/2014/main" id="{64F30394-3700-69ED-54BD-9EB787A68245}"/>
              </a:ext>
            </a:extLst>
          </p:cNvPr>
          <p:cNvCxnSpPr/>
          <p:nvPr>
            <p:custDataLst>
              <p:tags r:id="rId25"/>
            </p:custDataLst>
          </p:nvPr>
        </p:nvCxnSpPr>
        <p:spPr bwMode="gray">
          <a:xfrm>
            <a:off x="4937125" y="3201988"/>
            <a:ext cx="0" cy="1068388"/>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2" name="Straight Connector 31">
            <a:extLst>
              <a:ext uri="{FF2B5EF4-FFF2-40B4-BE49-F238E27FC236}">
                <a16:creationId xmlns:a16="http://schemas.microsoft.com/office/drawing/2014/main" id="{E7E0E9AE-2417-69EC-509C-031F0C4681A5}"/>
              </a:ext>
            </a:extLst>
          </p:cNvPr>
          <p:cNvCxnSpPr/>
          <p:nvPr>
            <p:custDataLst>
              <p:tags r:id="rId26"/>
            </p:custDataLst>
          </p:nvPr>
        </p:nvCxnSpPr>
        <p:spPr bwMode="gray">
          <a:xfrm>
            <a:off x="4783138" y="3201988"/>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 name="Straight Connector 33">
            <a:extLst>
              <a:ext uri="{FF2B5EF4-FFF2-40B4-BE49-F238E27FC236}">
                <a16:creationId xmlns:a16="http://schemas.microsoft.com/office/drawing/2014/main" id="{1780A85B-BEE4-A815-284D-5F638E4658A1}"/>
              </a:ext>
            </a:extLst>
          </p:cNvPr>
          <p:cNvCxnSpPr/>
          <p:nvPr>
            <p:custDataLst>
              <p:tags r:id="rId27"/>
            </p:custDataLst>
          </p:nvPr>
        </p:nvCxnSpPr>
        <p:spPr bwMode="gray">
          <a:xfrm>
            <a:off x="4537075" y="2725738"/>
            <a:ext cx="0" cy="1544638"/>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 name="Straight Connector 34">
            <a:extLst>
              <a:ext uri="{FF2B5EF4-FFF2-40B4-BE49-F238E27FC236}">
                <a16:creationId xmlns:a16="http://schemas.microsoft.com/office/drawing/2014/main" id="{37AB657F-BD56-BDBF-734A-A2439B2BB7F2}"/>
              </a:ext>
            </a:extLst>
          </p:cNvPr>
          <p:cNvCxnSpPr/>
          <p:nvPr>
            <p:custDataLst>
              <p:tags r:id="rId28"/>
            </p:custDataLst>
          </p:nvPr>
        </p:nvCxnSpPr>
        <p:spPr bwMode="gray">
          <a:xfrm>
            <a:off x="4383088" y="2725738"/>
            <a:ext cx="0" cy="34925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D86343AC-4F54-0047-8AA2-B59575F34CDB}"/>
              </a:ext>
            </a:extLst>
          </p:cNvPr>
          <p:cNvCxnSpPr/>
          <p:nvPr>
            <p:custDataLst>
              <p:tags r:id="rId29"/>
            </p:custDataLst>
          </p:nvPr>
        </p:nvCxnSpPr>
        <p:spPr bwMode="gray">
          <a:xfrm>
            <a:off x="4383088" y="2725738"/>
            <a:ext cx="153988" cy="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7" name="Straight Connector 36">
            <a:extLst>
              <a:ext uri="{FF2B5EF4-FFF2-40B4-BE49-F238E27FC236}">
                <a16:creationId xmlns:a16="http://schemas.microsoft.com/office/drawing/2014/main" id="{22395034-C814-D6D8-FC24-616EFC857245}"/>
              </a:ext>
            </a:extLst>
          </p:cNvPr>
          <p:cNvCxnSpPr/>
          <p:nvPr>
            <p:custDataLst>
              <p:tags r:id="rId30"/>
            </p:custDataLst>
          </p:nvPr>
        </p:nvCxnSpPr>
        <p:spPr bwMode="gray">
          <a:xfrm>
            <a:off x="3983038" y="2830513"/>
            <a:ext cx="0" cy="20320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16136DAE-2209-D0AE-5FAA-915D0495EF69}"/>
              </a:ext>
            </a:extLst>
          </p:cNvPr>
          <p:cNvCxnSpPr/>
          <p:nvPr>
            <p:custDataLst>
              <p:tags r:id="rId31"/>
            </p:custDataLst>
          </p:nvPr>
        </p:nvCxnSpPr>
        <p:spPr bwMode="gray">
          <a:xfrm>
            <a:off x="4137025" y="2830514"/>
            <a:ext cx="0" cy="1439863"/>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BC5D919A-DAA9-03F4-CCE3-49F6BAFEC69F}"/>
              </a:ext>
            </a:extLst>
          </p:cNvPr>
          <p:cNvCxnSpPr/>
          <p:nvPr>
            <p:custDataLst>
              <p:tags r:id="rId32"/>
            </p:custDataLst>
          </p:nvPr>
        </p:nvCxnSpPr>
        <p:spPr bwMode="gray">
          <a:xfrm>
            <a:off x="3983038" y="2830513"/>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3A461933-EC3D-9826-8DE6-DBE360CE61CD}"/>
              </a:ext>
            </a:extLst>
          </p:cNvPr>
          <p:cNvCxnSpPr/>
          <p:nvPr>
            <p:custDataLst>
              <p:tags r:id="rId33"/>
            </p:custDataLst>
          </p:nvPr>
        </p:nvCxnSpPr>
        <p:spPr bwMode="gray">
          <a:xfrm>
            <a:off x="3735388" y="2559051"/>
            <a:ext cx="0" cy="1711325"/>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05904A67-F535-CA2B-11F8-711D494E15CB}"/>
              </a:ext>
            </a:extLst>
          </p:cNvPr>
          <p:cNvCxnSpPr/>
          <p:nvPr>
            <p:custDataLst>
              <p:tags r:id="rId34"/>
            </p:custDataLst>
          </p:nvPr>
        </p:nvCxnSpPr>
        <p:spPr bwMode="gray">
          <a:xfrm>
            <a:off x="3581400" y="2559051"/>
            <a:ext cx="0" cy="392113"/>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9" name="Straight Connector 38">
            <a:extLst>
              <a:ext uri="{FF2B5EF4-FFF2-40B4-BE49-F238E27FC236}">
                <a16:creationId xmlns:a16="http://schemas.microsoft.com/office/drawing/2014/main" id="{4989D6F6-272D-214A-FC93-A3663B027D30}"/>
              </a:ext>
            </a:extLst>
          </p:cNvPr>
          <p:cNvCxnSpPr/>
          <p:nvPr>
            <p:custDataLst>
              <p:tags r:id="rId35"/>
            </p:custDataLst>
          </p:nvPr>
        </p:nvCxnSpPr>
        <p:spPr bwMode="gray">
          <a:xfrm>
            <a:off x="3581400" y="2559050"/>
            <a:ext cx="153988" cy="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Straight Connector 43">
            <a:extLst>
              <a:ext uri="{FF2B5EF4-FFF2-40B4-BE49-F238E27FC236}">
                <a16:creationId xmlns:a16="http://schemas.microsoft.com/office/drawing/2014/main" id="{5A554B0E-F4A1-7A8E-97E4-C0257381C25B}"/>
              </a:ext>
            </a:extLst>
          </p:cNvPr>
          <p:cNvCxnSpPr/>
          <p:nvPr>
            <p:custDataLst>
              <p:tags r:id="rId36"/>
            </p:custDataLst>
          </p:nvPr>
        </p:nvCxnSpPr>
        <p:spPr bwMode="gray">
          <a:xfrm>
            <a:off x="3335338" y="2725738"/>
            <a:ext cx="0" cy="1544638"/>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Straight Connector 41">
            <a:extLst>
              <a:ext uri="{FF2B5EF4-FFF2-40B4-BE49-F238E27FC236}">
                <a16:creationId xmlns:a16="http://schemas.microsoft.com/office/drawing/2014/main" id="{25187C55-80AE-5FF3-D4AB-20D2A3163FC1}"/>
              </a:ext>
            </a:extLst>
          </p:cNvPr>
          <p:cNvCxnSpPr/>
          <p:nvPr>
            <p:custDataLst>
              <p:tags r:id="rId37"/>
            </p:custDataLst>
          </p:nvPr>
        </p:nvCxnSpPr>
        <p:spPr bwMode="gray">
          <a:xfrm>
            <a:off x="3181350" y="2725739"/>
            <a:ext cx="0" cy="225425"/>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Straight Connector 42">
            <a:extLst>
              <a:ext uri="{FF2B5EF4-FFF2-40B4-BE49-F238E27FC236}">
                <a16:creationId xmlns:a16="http://schemas.microsoft.com/office/drawing/2014/main" id="{85B04080-5BDF-394C-25D1-6D397A1E68B3}"/>
              </a:ext>
            </a:extLst>
          </p:cNvPr>
          <p:cNvCxnSpPr/>
          <p:nvPr>
            <p:custDataLst>
              <p:tags r:id="rId38"/>
            </p:custDataLst>
          </p:nvPr>
        </p:nvCxnSpPr>
        <p:spPr bwMode="gray">
          <a:xfrm>
            <a:off x="3181350" y="2725738"/>
            <a:ext cx="153988" cy="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Straight Connector 46">
            <a:extLst>
              <a:ext uri="{FF2B5EF4-FFF2-40B4-BE49-F238E27FC236}">
                <a16:creationId xmlns:a16="http://schemas.microsoft.com/office/drawing/2014/main" id="{81529735-0891-005E-170B-1CD56658A7F0}"/>
              </a:ext>
            </a:extLst>
          </p:cNvPr>
          <p:cNvCxnSpPr/>
          <p:nvPr>
            <p:custDataLst>
              <p:tags r:id="rId39"/>
            </p:custDataLst>
          </p:nvPr>
        </p:nvCxnSpPr>
        <p:spPr bwMode="gray">
          <a:xfrm>
            <a:off x="2781300" y="2725739"/>
            <a:ext cx="0" cy="100013"/>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Straight Connector 44">
            <a:extLst>
              <a:ext uri="{FF2B5EF4-FFF2-40B4-BE49-F238E27FC236}">
                <a16:creationId xmlns:a16="http://schemas.microsoft.com/office/drawing/2014/main" id="{4937A4A1-074E-7D0F-12E4-1C4F80B8FDBF}"/>
              </a:ext>
            </a:extLst>
          </p:cNvPr>
          <p:cNvCxnSpPr/>
          <p:nvPr>
            <p:custDataLst>
              <p:tags r:id="rId40"/>
            </p:custDataLst>
          </p:nvPr>
        </p:nvCxnSpPr>
        <p:spPr bwMode="gray">
          <a:xfrm>
            <a:off x="2781300" y="2725738"/>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Straight Connector 45">
            <a:extLst>
              <a:ext uri="{FF2B5EF4-FFF2-40B4-BE49-F238E27FC236}">
                <a16:creationId xmlns:a16="http://schemas.microsoft.com/office/drawing/2014/main" id="{348C3654-4E0C-83CB-0723-6F6D1771236A}"/>
              </a:ext>
            </a:extLst>
          </p:cNvPr>
          <p:cNvCxnSpPr/>
          <p:nvPr>
            <p:custDataLst>
              <p:tags r:id="rId41"/>
            </p:custDataLst>
          </p:nvPr>
        </p:nvCxnSpPr>
        <p:spPr bwMode="gray">
          <a:xfrm>
            <a:off x="2935288" y="2725738"/>
            <a:ext cx="0" cy="1544638"/>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Straight Connector 48">
            <a:extLst>
              <a:ext uri="{FF2B5EF4-FFF2-40B4-BE49-F238E27FC236}">
                <a16:creationId xmlns:a16="http://schemas.microsoft.com/office/drawing/2014/main" id="{605FD5B3-CE24-DCF8-18F8-32D653539833}"/>
              </a:ext>
            </a:extLst>
          </p:cNvPr>
          <p:cNvCxnSpPr/>
          <p:nvPr>
            <p:custDataLst>
              <p:tags r:id="rId42"/>
            </p:custDataLst>
          </p:nvPr>
        </p:nvCxnSpPr>
        <p:spPr bwMode="gray">
          <a:xfrm>
            <a:off x="2381250" y="3113088"/>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Straight Connector 47">
            <a:extLst>
              <a:ext uri="{FF2B5EF4-FFF2-40B4-BE49-F238E27FC236}">
                <a16:creationId xmlns:a16="http://schemas.microsoft.com/office/drawing/2014/main" id="{8D40EDDF-96D8-9E39-8AB3-2684BD359FE8}"/>
              </a:ext>
            </a:extLst>
          </p:cNvPr>
          <p:cNvCxnSpPr/>
          <p:nvPr>
            <p:custDataLst>
              <p:tags r:id="rId43"/>
            </p:custDataLst>
          </p:nvPr>
        </p:nvCxnSpPr>
        <p:spPr bwMode="gray">
          <a:xfrm>
            <a:off x="2535238" y="3113088"/>
            <a:ext cx="0" cy="1157288"/>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Straight Connector 51">
            <a:extLst>
              <a:ext uri="{FF2B5EF4-FFF2-40B4-BE49-F238E27FC236}">
                <a16:creationId xmlns:a16="http://schemas.microsoft.com/office/drawing/2014/main" id="{85DE3CEA-5898-AFA4-9090-BA168A6BAC04}"/>
              </a:ext>
            </a:extLst>
          </p:cNvPr>
          <p:cNvCxnSpPr/>
          <p:nvPr>
            <p:custDataLst>
              <p:tags r:id="rId44"/>
            </p:custDataLst>
          </p:nvPr>
        </p:nvCxnSpPr>
        <p:spPr bwMode="gray">
          <a:xfrm>
            <a:off x="1979613" y="2546350"/>
            <a:ext cx="153988" cy="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Straight Connector 49">
            <a:extLst>
              <a:ext uri="{FF2B5EF4-FFF2-40B4-BE49-F238E27FC236}">
                <a16:creationId xmlns:a16="http://schemas.microsoft.com/office/drawing/2014/main" id="{AF8A5EE0-C97C-7077-2236-8D2C06200986}"/>
              </a:ext>
            </a:extLst>
          </p:cNvPr>
          <p:cNvCxnSpPr/>
          <p:nvPr>
            <p:custDataLst>
              <p:tags r:id="rId45"/>
            </p:custDataLst>
          </p:nvPr>
        </p:nvCxnSpPr>
        <p:spPr bwMode="gray">
          <a:xfrm>
            <a:off x="2133600" y="2546351"/>
            <a:ext cx="0" cy="1724025"/>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Straight Connector 50">
            <a:extLst>
              <a:ext uri="{FF2B5EF4-FFF2-40B4-BE49-F238E27FC236}">
                <a16:creationId xmlns:a16="http://schemas.microsoft.com/office/drawing/2014/main" id="{F0CFA4FC-21DA-A4C4-DA81-D0D69497B02C}"/>
              </a:ext>
            </a:extLst>
          </p:cNvPr>
          <p:cNvCxnSpPr/>
          <p:nvPr>
            <p:custDataLst>
              <p:tags r:id="rId46"/>
            </p:custDataLst>
          </p:nvPr>
        </p:nvCxnSpPr>
        <p:spPr bwMode="gray">
          <a:xfrm>
            <a:off x="1979613" y="2546350"/>
            <a:ext cx="0" cy="114300"/>
          </a:xfrm>
          <a:prstGeom prst="line">
            <a:avLst/>
          </a:prstGeom>
          <a:ln w="9525" cap="flat" cmpd="sng" algn="ctr">
            <a:solidFill>
              <a:srgbClr val="F67E58"/>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Straight Connector 52">
            <a:extLst>
              <a:ext uri="{FF2B5EF4-FFF2-40B4-BE49-F238E27FC236}">
                <a16:creationId xmlns:a16="http://schemas.microsoft.com/office/drawing/2014/main" id="{CE3F733B-5FE0-EC6E-184B-A0E64B971CE0}"/>
              </a:ext>
            </a:extLst>
          </p:cNvPr>
          <p:cNvCxnSpPr/>
          <p:nvPr>
            <p:custDataLst>
              <p:tags r:id="rId47"/>
            </p:custDataLst>
          </p:nvPr>
        </p:nvCxnSpPr>
        <p:spPr bwMode="gray">
          <a:xfrm>
            <a:off x="1733550" y="2278063"/>
            <a:ext cx="0" cy="1992313"/>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Straight Connector 53">
            <a:extLst>
              <a:ext uri="{FF2B5EF4-FFF2-40B4-BE49-F238E27FC236}">
                <a16:creationId xmlns:a16="http://schemas.microsoft.com/office/drawing/2014/main" id="{CAE2D1CA-96A2-1BC5-5442-49F3B25654B2}"/>
              </a:ext>
            </a:extLst>
          </p:cNvPr>
          <p:cNvCxnSpPr/>
          <p:nvPr>
            <p:custDataLst>
              <p:tags r:id="rId48"/>
            </p:custDataLst>
          </p:nvPr>
        </p:nvCxnSpPr>
        <p:spPr bwMode="gray">
          <a:xfrm>
            <a:off x="1579563" y="2278063"/>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Straight Connector 54">
            <a:extLst>
              <a:ext uri="{FF2B5EF4-FFF2-40B4-BE49-F238E27FC236}">
                <a16:creationId xmlns:a16="http://schemas.microsoft.com/office/drawing/2014/main" id="{C2D4A6B8-27E8-E478-4E7A-9C253F38A66E}"/>
              </a:ext>
            </a:extLst>
          </p:cNvPr>
          <p:cNvCxnSpPr/>
          <p:nvPr>
            <p:custDataLst>
              <p:tags r:id="rId49"/>
            </p:custDataLst>
          </p:nvPr>
        </p:nvCxnSpPr>
        <p:spPr bwMode="gray">
          <a:xfrm>
            <a:off x="1579563" y="2278063"/>
            <a:ext cx="0" cy="258763"/>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Straight Connector 57">
            <a:extLst>
              <a:ext uri="{FF2B5EF4-FFF2-40B4-BE49-F238E27FC236}">
                <a16:creationId xmlns:a16="http://schemas.microsoft.com/office/drawing/2014/main" id="{6F9DCD36-1591-8CC9-D260-8C35E550E14B}"/>
              </a:ext>
            </a:extLst>
          </p:cNvPr>
          <p:cNvCxnSpPr/>
          <p:nvPr>
            <p:custDataLst>
              <p:tags r:id="rId50"/>
            </p:custDataLst>
          </p:nvPr>
        </p:nvCxnSpPr>
        <p:spPr bwMode="gray">
          <a:xfrm>
            <a:off x="1333500" y="2108200"/>
            <a:ext cx="0" cy="2162175"/>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Straight Connector 55">
            <a:extLst>
              <a:ext uri="{FF2B5EF4-FFF2-40B4-BE49-F238E27FC236}">
                <a16:creationId xmlns:a16="http://schemas.microsoft.com/office/drawing/2014/main" id="{0E9DC064-0A06-3CCE-B86B-8AF459599894}"/>
              </a:ext>
            </a:extLst>
          </p:cNvPr>
          <p:cNvCxnSpPr/>
          <p:nvPr>
            <p:custDataLst>
              <p:tags r:id="rId51"/>
            </p:custDataLst>
          </p:nvPr>
        </p:nvCxnSpPr>
        <p:spPr bwMode="gray">
          <a:xfrm>
            <a:off x="1179513" y="2108200"/>
            <a:ext cx="153988" cy="0"/>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Straight Connector 56">
            <a:extLst>
              <a:ext uri="{FF2B5EF4-FFF2-40B4-BE49-F238E27FC236}">
                <a16:creationId xmlns:a16="http://schemas.microsoft.com/office/drawing/2014/main" id="{3FCD2D52-9711-65F8-FF1C-5B4AAEF6EE9F}"/>
              </a:ext>
            </a:extLst>
          </p:cNvPr>
          <p:cNvCxnSpPr/>
          <p:nvPr>
            <p:custDataLst>
              <p:tags r:id="rId52"/>
            </p:custDataLst>
          </p:nvPr>
        </p:nvCxnSpPr>
        <p:spPr bwMode="gray">
          <a:xfrm>
            <a:off x="1179513" y="2108200"/>
            <a:ext cx="0" cy="138113"/>
          </a:xfrm>
          <a:prstGeom prst="line">
            <a:avLst/>
          </a:prstGeom>
          <a:ln w="9525" cap="flat" cmpd="sng" algn="ctr">
            <a:solidFill>
              <a:srgbClr val="3078B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80" name="Straight Connector 79">
            <a:extLst>
              <a:ext uri="{FF2B5EF4-FFF2-40B4-BE49-F238E27FC236}">
                <a16:creationId xmlns:a16="http://schemas.microsoft.com/office/drawing/2014/main" id="{C3C56690-C04E-90A4-F885-C8CB23656AFE}"/>
              </a:ext>
            </a:extLst>
          </p:cNvPr>
          <p:cNvCxnSpPr/>
          <p:nvPr>
            <p:custDataLst>
              <p:tags r:id="rId53"/>
            </p:custDataLst>
          </p:nvPr>
        </p:nvCxnSpPr>
        <p:spPr bwMode="gray">
          <a:xfrm>
            <a:off x="777875" y="2108200"/>
            <a:ext cx="153988" cy="0"/>
          </a:xfrm>
          <a:prstGeom prst="line">
            <a:avLst/>
          </a:prstGeom>
          <a:ln w="9525" cap="flat" cmpd="sng" algn="ctr">
            <a:solidFill>
              <a:srgbClr val="00000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79" name="Straight Connector 78">
            <a:extLst>
              <a:ext uri="{FF2B5EF4-FFF2-40B4-BE49-F238E27FC236}">
                <a16:creationId xmlns:a16="http://schemas.microsoft.com/office/drawing/2014/main" id="{B1B2495B-F0D9-C40F-79D0-105A1852D8B3}"/>
              </a:ext>
            </a:extLst>
          </p:cNvPr>
          <p:cNvCxnSpPr/>
          <p:nvPr>
            <p:custDataLst>
              <p:tags r:id="rId54"/>
            </p:custDataLst>
          </p:nvPr>
        </p:nvCxnSpPr>
        <p:spPr bwMode="gray">
          <a:xfrm>
            <a:off x="931863" y="2108200"/>
            <a:ext cx="0" cy="2162175"/>
          </a:xfrm>
          <a:prstGeom prst="line">
            <a:avLst/>
          </a:prstGeom>
          <a:ln w="9525" cap="flat" cmpd="sng" algn="ctr">
            <a:solidFill>
              <a:srgbClr val="000000"/>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Straight Connector 167">
            <a:extLst>
              <a:ext uri="{FF2B5EF4-FFF2-40B4-BE49-F238E27FC236}">
                <a16:creationId xmlns:a16="http://schemas.microsoft.com/office/drawing/2014/main" id="{FEA8F081-1E2B-7F4F-46E1-E7FAC08DFB19}"/>
              </a:ext>
            </a:extLst>
          </p:cNvPr>
          <p:cNvCxnSpPr/>
          <p:nvPr>
            <p:custDataLst>
              <p:tags r:id="rId55"/>
            </p:custDataLst>
          </p:nvPr>
        </p:nvCxnSpPr>
        <p:spPr bwMode="gray">
          <a:xfrm>
            <a:off x="8089900" y="4160838"/>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Straight Connector 166">
            <a:extLst>
              <a:ext uri="{FF2B5EF4-FFF2-40B4-BE49-F238E27FC236}">
                <a16:creationId xmlns:a16="http://schemas.microsoft.com/office/drawing/2014/main" id="{E2021158-26D7-3555-5ED4-AB86BD52BC30}"/>
              </a:ext>
            </a:extLst>
          </p:cNvPr>
          <p:cNvCxnSpPr/>
          <p:nvPr>
            <p:custDataLst>
              <p:tags r:id="rId56"/>
            </p:custDataLst>
          </p:nvPr>
        </p:nvCxnSpPr>
        <p:spPr bwMode="gray">
          <a:xfrm>
            <a:off x="7688263" y="4160838"/>
            <a:ext cx="0" cy="6985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useBgFill="1">
        <p:nvSpPr>
          <p:cNvPr id="97" name="Tekstin paikkamerkki 3">
            <a:extLst>
              <a:ext uri="{FF2B5EF4-FFF2-40B4-BE49-F238E27FC236}">
                <a16:creationId xmlns:a16="http://schemas.microsoft.com/office/drawing/2014/main" id="{0BC40D6A-F5DC-7C6F-B58A-4993CAC64FD2}"/>
              </a:ext>
            </a:extLst>
          </p:cNvPr>
          <p:cNvSpPr>
            <a:spLocks noGrp="1"/>
          </p:cNvSpPr>
          <p:nvPr>
            <p:custDataLst>
              <p:tags r:id="rId57"/>
            </p:custDataLst>
          </p:nvPr>
        </p:nvSpPr>
        <p:spPr bwMode="gray">
          <a:xfrm>
            <a:off x="5129213" y="3581400"/>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ADB0F735-F721-4352-802A-BF352D2B770A}" type="datetime'''''''''4''''''''''''2''''''''''''''''''''''%'''''''''''''">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42%</a:t>
            </a:fld>
            <a:endParaRPr lang="en-US" sz="800" spc="0">
              <a:solidFill>
                <a:srgbClr val="ABA8B3"/>
              </a:solidFill>
              <a:latin typeface="+mn-lt"/>
              <a:ea typeface="+mn-ea"/>
              <a:cs typeface="+mn-cs"/>
              <a:sym typeface="DINPro" panose="020B0504020201010104" pitchFamily="34" charset="0"/>
            </a:endParaRPr>
          </a:p>
        </p:txBody>
      </p:sp>
      <p:sp>
        <p:nvSpPr>
          <p:cNvPr id="86" name="Text Placeholder 3">
            <a:extLst>
              <a:ext uri="{FF2B5EF4-FFF2-40B4-BE49-F238E27FC236}">
                <a16:creationId xmlns:a16="http://schemas.microsoft.com/office/drawing/2014/main" id="{EC7EAB62-937D-3E11-49E5-4416F4CA9BE4}"/>
              </a:ext>
            </a:extLst>
          </p:cNvPr>
          <p:cNvSpPr>
            <a:spLocks noGrp="1"/>
          </p:cNvSpPr>
          <p:nvPr>
            <p:custDataLst>
              <p:tags r:id="rId58"/>
            </p:custDataLst>
          </p:nvPr>
        </p:nvSpPr>
        <p:spPr bwMode="gray">
          <a:xfrm>
            <a:off x="4967288" y="4305301"/>
            <a:ext cx="433388" cy="352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DBF0D0D-C21B-433E-85D3-E4633EAA5C70}" type="datetime'''Othe''r Eu''''''''rop''e''a''n'''' countr''''i''e''s'''''''">
              <a:rPr lang="en-US" altLang="en-US" sz="700" smtClean="0"/>
              <a:pPr lvl="0" algn="ctr">
                <a:spcBef>
                  <a:spcPct val="0"/>
                </a:spcBef>
                <a:spcAft>
                  <a:spcPct val="0"/>
                </a:spcAft>
              </a:pPr>
              <a:t>Other European countries</a:t>
            </a:fld>
            <a:endParaRPr lang="en-US" sz="700">
              <a:sym typeface="DINPro" panose="020B0504020201010104" pitchFamily="34" charset="0"/>
            </a:endParaRPr>
          </a:p>
        </p:txBody>
      </p:sp>
      <p:sp>
        <p:nvSpPr>
          <p:cNvPr id="125" name="Text Placeholder 3">
            <a:extLst>
              <a:ext uri="{FF2B5EF4-FFF2-40B4-BE49-F238E27FC236}">
                <a16:creationId xmlns:a16="http://schemas.microsoft.com/office/drawing/2014/main" id="{185F15C4-4260-29DB-91DB-F79B686A726C}"/>
              </a:ext>
            </a:extLst>
          </p:cNvPr>
          <p:cNvSpPr>
            <a:spLocks noGrp="1"/>
          </p:cNvSpPr>
          <p:nvPr>
            <p:custDataLst>
              <p:tags r:id="rId59"/>
            </p:custDataLst>
          </p:nvPr>
        </p:nvSpPr>
        <p:spPr bwMode="gray">
          <a:xfrm>
            <a:off x="3716338" y="4305300"/>
            <a:ext cx="530225"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r>
              <a:rPr lang="en-US" altLang="en-US" sz="700">
                <a:sym typeface="DINPro" panose="020B0504020201010104" pitchFamily="34" charset="0"/>
              </a:rPr>
              <a:t>Austria, Switzerland</a:t>
            </a:r>
            <a:endParaRPr lang="en-US" sz="700">
              <a:sym typeface="DINPro" panose="020B0504020201010104" pitchFamily="34" charset="0"/>
            </a:endParaRPr>
          </a:p>
        </p:txBody>
      </p:sp>
      <p:sp useBgFill="1">
        <p:nvSpPr>
          <p:cNvPr id="126" name="Tekstin paikkamerkki 3">
            <a:extLst>
              <a:ext uri="{FF2B5EF4-FFF2-40B4-BE49-F238E27FC236}">
                <a16:creationId xmlns:a16="http://schemas.microsoft.com/office/drawing/2014/main" id="{E0B7402E-676B-2F43-74BE-9E83AF213B36}"/>
              </a:ext>
            </a:extLst>
          </p:cNvPr>
          <p:cNvSpPr>
            <a:spLocks noGrp="1"/>
          </p:cNvSpPr>
          <p:nvPr>
            <p:custDataLst>
              <p:tags r:id="rId60"/>
            </p:custDataLst>
          </p:nvPr>
        </p:nvSpPr>
        <p:spPr bwMode="gray">
          <a:xfrm>
            <a:off x="3927475" y="3486150"/>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239F0F3F-6E62-4DA5-A84B-EB8650521FB4}" type="datetime'''4''''''''''''''''''''''''''''8''''''''%'''''''''''''">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48%</a:t>
            </a:fld>
            <a:endParaRPr lang="en-US" sz="800" spc="0">
              <a:solidFill>
                <a:srgbClr val="ABA8B3"/>
              </a:solidFill>
              <a:latin typeface="+mn-lt"/>
              <a:ea typeface="+mn-ea"/>
              <a:cs typeface="+mn-cs"/>
              <a:sym typeface="DINPro" panose="020B0504020201010104" pitchFamily="34" charset="0"/>
            </a:endParaRPr>
          </a:p>
        </p:txBody>
      </p:sp>
      <p:sp>
        <p:nvSpPr>
          <p:cNvPr id="83" name="Text Placeholder 3">
            <a:extLst>
              <a:ext uri="{FF2B5EF4-FFF2-40B4-BE49-F238E27FC236}">
                <a16:creationId xmlns:a16="http://schemas.microsoft.com/office/drawing/2014/main" id="{AFE18B81-E7A2-F65D-4913-C241B16E5C2C}"/>
              </a:ext>
            </a:extLst>
          </p:cNvPr>
          <p:cNvSpPr>
            <a:spLocks noGrp="1"/>
          </p:cNvSpPr>
          <p:nvPr>
            <p:custDataLst>
              <p:tags r:id="rId61"/>
            </p:custDataLst>
          </p:nvPr>
        </p:nvSpPr>
        <p:spPr bwMode="gray">
          <a:xfrm>
            <a:off x="3417888" y="4305301"/>
            <a:ext cx="32861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AF8D3034-FC70-47E2-8D0F-2119DBDCEA95}" type="datetime'''''''''T''''''''''''''a''''i''''''''''''w''''an'''">
              <a:rPr lang="en-US" altLang="en-US" sz="700" smtClean="0"/>
              <a:pPr lvl="0" algn="ctr">
                <a:spcBef>
                  <a:spcPct val="0"/>
                </a:spcBef>
                <a:spcAft>
                  <a:spcPct val="0"/>
                </a:spcAft>
              </a:pPr>
              <a:t>Taiwan</a:t>
            </a:fld>
            <a:endParaRPr lang="en-US" sz="700">
              <a:sym typeface="DINPro" panose="020B0504020201010104" pitchFamily="34" charset="0"/>
            </a:endParaRPr>
          </a:p>
        </p:txBody>
      </p:sp>
      <p:sp useBgFill="1">
        <p:nvSpPr>
          <p:cNvPr id="88" name="Tekstin paikkamerkki 3">
            <a:extLst>
              <a:ext uri="{FF2B5EF4-FFF2-40B4-BE49-F238E27FC236}">
                <a16:creationId xmlns:a16="http://schemas.microsoft.com/office/drawing/2014/main" id="{ABEBB86A-0412-3CD5-2BD5-EE33B716C446}"/>
              </a:ext>
            </a:extLst>
          </p:cNvPr>
          <p:cNvSpPr>
            <a:spLocks noGrp="1"/>
          </p:cNvSpPr>
          <p:nvPr>
            <p:custDataLst>
              <p:tags r:id="rId62"/>
            </p:custDataLst>
          </p:nvPr>
        </p:nvSpPr>
        <p:spPr bwMode="gray">
          <a:xfrm>
            <a:off x="5529263" y="3627438"/>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449F605F-13EF-4401-A9ED-3715E7A3C6F6}" type="datetime'''''''''''''3''''''''''''''''''''''''''9''%'''">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39%</a:t>
            </a:fld>
            <a:endParaRPr lang="en-US" sz="800" spc="0">
              <a:solidFill>
                <a:srgbClr val="ABA8B3"/>
              </a:solidFill>
              <a:latin typeface="+mn-lt"/>
              <a:ea typeface="+mn-ea"/>
              <a:cs typeface="+mn-cs"/>
              <a:sym typeface="DINPro" panose="020B0504020201010104" pitchFamily="34" charset="0"/>
            </a:endParaRPr>
          </a:p>
        </p:txBody>
      </p:sp>
      <p:sp>
        <p:nvSpPr>
          <p:cNvPr id="89" name="Text Placeholder 3">
            <a:extLst>
              <a:ext uri="{FF2B5EF4-FFF2-40B4-BE49-F238E27FC236}">
                <a16:creationId xmlns:a16="http://schemas.microsoft.com/office/drawing/2014/main" id="{6089D362-4ACA-85EF-322C-843A138C53C7}"/>
              </a:ext>
            </a:extLst>
          </p:cNvPr>
          <p:cNvSpPr>
            <a:spLocks noGrp="1"/>
          </p:cNvSpPr>
          <p:nvPr>
            <p:custDataLst>
              <p:tags r:id="rId63"/>
            </p:custDataLst>
          </p:nvPr>
        </p:nvSpPr>
        <p:spPr bwMode="gray">
          <a:xfrm>
            <a:off x="5354639" y="4305301"/>
            <a:ext cx="46196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88C1FD9-9C11-4AA5-A731-C48892F7DCF9}" type="datetime'''''''''''''Si''''''ng''''''a''p''''''''o''r''e'''">
              <a:rPr lang="en-US" altLang="en-US" sz="700" smtClean="0"/>
              <a:pPr lvl="0" algn="ctr">
                <a:spcBef>
                  <a:spcPct val="0"/>
                </a:spcBef>
                <a:spcAft>
                  <a:spcPct val="0"/>
                </a:spcAft>
              </a:pPr>
              <a:t>Singapore</a:t>
            </a:fld>
            <a:endParaRPr lang="en-US" sz="700">
              <a:sym typeface="DINPro" panose="020B0504020201010104" pitchFamily="34" charset="0"/>
            </a:endParaRPr>
          </a:p>
        </p:txBody>
      </p:sp>
      <p:sp useBgFill="1">
        <p:nvSpPr>
          <p:cNvPr id="84" name="Tekstin paikkamerkki 3">
            <a:extLst>
              <a:ext uri="{FF2B5EF4-FFF2-40B4-BE49-F238E27FC236}">
                <a16:creationId xmlns:a16="http://schemas.microsoft.com/office/drawing/2014/main" id="{B4B8ED13-3E08-0B69-0A42-D28F6B38D589}"/>
              </a:ext>
            </a:extLst>
          </p:cNvPr>
          <p:cNvSpPr>
            <a:spLocks noGrp="1"/>
          </p:cNvSpPr>
          <p:nvPr>
            <p:custDataLst>
              <p:tags r:id="rId64"/>
            </p:custDataLst>
          </p:nvPr>
        </p:nvSpPr>
        <p:spPr bwMode="gray">
          <a:xfrm>
            <a:off x="3525838" y="3349625"/>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F447E5C4-FEF8-4F5C-8EE8-FC63158C34DF}" type="datetime'''''''''''''''''''''''''''''''''''''''''''''5''''''8''''%'">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58%</a:t>
            </a:fld>
            <a:endParaRPr lang="en-US" sz="800" spc="0">
              <a:solidFill>
                <a:srgbClr val="ABA8B3"/>
              </a:solidFill>
              <a:latin typeface="+mn-lt"/>
              <a:ea typeface="+mn-ea"/>
              <a:cs typeface="+mn-cs"/>
              <a:sym typeface="DINPro" panose="020B0504020201010104" pitchFamily="34" charset="0"/>
            </a:endParaRPr>
          </a:p>
        </p:txBody>
      </p:sp>
      <p:sp>
        <p:nvSpPr>
          <p:cNvPr id="85" name="Text Placeholder 3">
            <a:extLst>
              <a:ext uri="{FF2B5EF4-FFF2-40B4-BE49-F238E27FC236}">
                <a16:creationId xmlns:a16="http://schemas.microsoft.com/office/drawing/2014/main" id="{54CCB771-87E0-45D8-D4E2-6C47927639D1}"/>
              </a:ext>
            </a:extLst>
          </p:cNvPr>
          <p:cNvSpPr>
            <a:spLocks noGrp="1"/>
          </p:cNvSpPr>
          <p:nvPr>
            <p:custDataLst>
              <p:tags r:id="rId65"/>
            </p:custDataLst>
          </p:nvPr>
        </p:nvSpPr>
        <p:spPr bwMode="gray">
          <a:xfrm>
            <a:off x="3044825" y="4305300"/>
            <a:ext cx="2730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7D8815E0-AAA8-4CE4-87C8-E10C0CF32472}" type="datetime'S''''o''ut''''h'' ''''''''''''K''''''o''''''''''r''e''''a'">
              <a:rPr lang="en-US" altLang="en-US" sz="700" smtClean="0"/>
              <a:pPr lvl="0" algn="ctr">
                <a:spcBef>
                  <a:spcPct val="0"/>
                </a:spcBef>
                <a:spcAft>
                  <a:spcPct val="0"/>
                </a:spcAft>
              </a:pPr>
              <a:t>South Korea</a:t>
            </a:fld>
            <a:endParaRPr lang="en-US" sz="700">
              <a:sym typeface="DINPro" panose="020B0504020201010104" pitchFamily="34" charset="0"/>
            </a:endParaRPr>
          </a:p>
        </p:txBody>
      </p:sp>
      <p:sp useBgFill="1">
        <p:nvSpPr>
          <p:cNvPr id="87" name="Tekstin paikkamerkki 3">
            <a:extLst>
              <a:ext uri="{FF2B5EF4-FFF2-40B4-BE49-F238E27FC236}">
                <a16:creationId xmlns:a16="http://schemas.microsoft.com/office/drawing/2014/main" id="{7E4A1DFC-1AFA-AE61-AACC-53DA0ABCD7ED}"/>
              </a:ext>
            </a:extLst>
          </p:cNvPr>
          <p:cNvSpPr>
            <a:spLocks noGrp="1"/>
          </p:cNvSpPr>
          <p:nvPr>
            <p:custDataLst>
              <p:tags r:id="rId66"/>
            </p:custDataLst>
          </p:nvPr>
        </p:nvSpPr>
        <p:spPr bwMode="gray">
          <a:xfrm>
            <a:off x="3125788" y="3433763"/>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DDE8F176-DCFD-4010-98A9-EE60D0DA34AD}" type="datetime'''''5''''''''''''''''''''''''2%'''">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52%</a:t>
            </a:fld>
            <a:endParaRPr lang="en-US" sz="800" spc="0">
              <a:solidFill>
                <a:srgbClr val="ABA8B3"/>
              </a:solidFill>
              <a:latin typeface="+mn-lt"/>
              <a:ea typeface="+mn-ea"/>
              <a:cs typeface="+mn-cs"/>
              <a:sym typeface="DINPro" panose="020B0504020201010104" pitchFamily="34" charset="0"/>
            </a:endParaRPr>
          </a:p>
        </p:txBody>
      </p:sp>
      <p:sp useBgFill="1">
        <p:nvSpPr>
          <p:cNvPr id="93" name="Tekstin paikkamerkki 3">
            <a:extLst>
              <a:ext uri="{FF2B5EF4-FFF2-40B4-BE49-F238E27FC236}">
                <a16:creationId xmlns:a16="http://schemas.microsoft.com/office/drawing/2014/main" id="{29E4B7E5-FECA-D3FA-CA2F-AA707877C42C}"/>
              </a:ext>
            </a:extLst>
          </p:cNvPr>
          <p:cNvSpPr>
            <a:spLocks noGrp="1"/>
          </p:cNvSpPr>
          <p:nvPr>
            <p:custDataLst>
              <p:tags r:id="rId67"/>
            </p:custDataLst>
          </p:nvPr>
        </p:nvSpPr>
        <p:spPr bwMode="gray">
          <a:xfrm>
            <a:off x="5929313" y="3849688"/>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C8F99EBB-E939-480B-994B-F1EDDDD1B0A0}" type="datetime'''''2''''''''''''''4''''%'">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24%</a:t>
            </a:fld>
            <a:endParaRPr lang="en-US" sz="800" spc="0">
              <a:solidFill>
                <a:srgbClr val="ABA8B3"/>
              </a:solidFill>
              <a:latin typeface="+mn-lt"/>
              <a:ea typeface="+mn-ea"/>
              <a:cs typeface="+mn-cs"/>
              <a:sym typeface="DINPro" panose="020B0504020201010104" pitchFamily="34" charset="0"/>
            </a:endParaRPr>
          </a:p>
        </p:txBody>
      </p:sp>
      <p:sp>
        <p:nvSpPr>
          <p:cNvPr id="94" name="Text Placeholder 3">
            <a:extLst>
              <a:ext uri="{FF2B5EF4-FFF2-40B4-BE49-F238E27FC236}">
                <a16:creationId xmlns:a16="http://schemas.microsoft.com/office/drawing/2014/main" id="{C2990678-E11F-4B33-CC12-C1CB25F727D0}"/>
              </a:ext>
            </a:extLst>
          </p:cNvPr>
          <p:cNvSpPr>
            <a:spLocks noGrp="1"/>
          </p:cNvSpPr>
          <p:nvPr>
            <p:custDataLst>
              <p:tags r:id="rId68"/>
            </p:custDataLst>
          </p:nvPr>
        </p:nvSpPr>
        <p:spPr bwMode="gray">
          <a:xfrm>
            <a:off x="5865814" y="4305301"/>
            <a:ext cx="23971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33A1A2F-87BE-4C22-A4CC-75691FED7F0A}" type="datetime'''''I''''n''''''''''''d''''i''a'''''''''''''''''''''''''">
              <a:rPr lang="en-US" altLang="en-US" sz="700" smtClean="0"/>
              <a:pPr lvl="0" algn="ctr">
                <a:spcBef>
                  <a:spcPct val="0"/>
                </a:spcBef>
                <a:spcAft>
                  <a:spcPct val="0"/>
                </a:spcAft>
              </a:pPr>
              <a:t>India</a:t>
            </a:fld>
            <a:endParaRPr lang="en-US" sz="700">
              <a:sym typeface="DINPro" panose="020B0504020201010104" pitchFamily="34" charset="0"/>
            </a:endParaRPr>
          </a:p>
        </p:txBody>
      </p:sp>
      <p:sp>
        <p:nvSpPr>
          <p:cNvPr id="91" name="Text Placeholder 3">
            <a:extLst>
              <a:ext uri="{FF2B5EF4-FFF2-40B4-BE49-F238E27FC236}">
                <a16:creationId xmlns:a16="http://schemas.microsoft.com/office/drawing/2014/main" id="{9B303F20-AB14-267E-4385-54511A5E4EFF}"/>
              </a:ext>
            </a:extLst>
          </p:cNvPr>
          <p:cNvSpPr>
            <a:spLocks noGrp="1"/>
          </p:cNvSpPr>
          <p:nvPr>
            <p:custDataLst>
              <p:tags r:id="rId69"/>
            </p:custDataLst>
          </p:nvPr>
        </p:nvSpPr>
        <p:spPr bwMode="gray">
          <a:xfrm>
            <a:off x="2598738" y="4305301"/>
            <a:ext cx="365125"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r>
              <a:rPr lang="en-US" altLang="en-US" sz="700">
                <a:sym typeface="DINPro" panose="020B0504020201010104" pitchFamily="34" charset="0"/>
              </a:rPr>
              <a:t>Benelux</a:t>
            </a:r>
            <a:endParaRPr lang="en-US" sz="700">
              <a:sym typeface="DINPro" panose="020B0504020201010104" pitchFamily="34" charset="0"/>
            </a:endParaRPr>
          </a:p>
        </p:txBody>
      </p:sp>
      <p:sp useBgFill="1">
        <p:nvSpPr>
          <p:cNvPr id="92" name="Tekstin paikkamerkki 3">
            <a:extLst>
              <a:ext uri="{FF2B5EF4-FFF2-40B4-BE49-F238E27FC236}">
                <a16:creationId xmlns:a16="http://schemas.microsoft.com/office/drawing/2014/main" id="{4A616973-1823-FC50-CCAD-610D0C5C8D9B}"/>
              </a:ext>
            </a:extLst>
          </p:cNvPr>
          <p:cNvSpPr>
            <a:spLocks noGrp="1"/>
          </p:cNvSpPr>
          <p:nvPr>
            <p:custDataLst>
              <p:tags r:id="rId70"/>
            </p:custDataLst>
          </p:nvPr>
        </p:nvSpPr>
        <p:spPr bwMode="gray">
          <a:xfrm>
            <a:off x="2725738" y="3433763"/>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E23FFFB1-8983-412E-AEBF-9A73E3A9175B}" type="datetime'''''''''''52''''%'''''''''''''''''''''''''''''''''''''">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52%</a:t>
            </a:fld>
            <a:endParaRPr lang="en-US" sz="800" spc="0">
              <a:solidFill>
                <a:srgbClr val="ABA8B3"/>
              </a:solidFill>
              <a:latin typeface="+mn-lt"/>
              <a:ea typeface="+mn-ea"/>
              <a:cs typeface="+mn-cs"/>
              <a:sym typeface="DINPro" panose="020B0504020201010104" pitchFamily="34" charset="0"/>
            </a:endParaRPr>
          </a:p>
        </p:txBody>
      </p:sp>
      <p:sp>
        <p:nvSpPr>
          <p:cNvPr id="110" name="Text Placeholder 3">
            <a:extLst>
              <a:ext uri="{FF2B5EF4-FFF2-40B4-BE49-F238E27FC236}">
                <a16:creationId xmlns:a16="http://schemas.microsoft.com/office/drawing/2014/main" id="{5CEB2C8C-C89F-C1FC-1A3D-A48B69815BB1}"/>
              </a:ext>
            </a:extLst>
          </p:cNvPr>
          <p:cNvSpPr>
            <a:spLocks noGrp="1"/>
          </p:cNvSpPr>
          <p:nvPr>
            <p:custDataLst>
              <p:tags r:id="rId71"/>
            </p:custDataLst>
          </p:nvPr>
        </p:nvSpPr>
        <p:spPr bwMode="gray">
          <a:xfrm>
            <a:off x="2232026" y="4305301"/>
            <a:ext cx="29686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r>
              <a:rPr lang="en-US" altLang="en-US" sz="700">
                <a:sym typeface="DINPro" panose="020B0504020201010104" pitchFamily="34" charset="0"/>
              </a:rPr>
              <a:t>Nordic</a:t>
            </a:r>
            <a:endParaRPr lang="en-US" sz="700">
              <a:sym typeface="DINPro" panose="020B0504020201010104" pitchFamily="34" charset="0"/>
            </a:endParaRPr>
          </a:p>
        </p:txBody>
      </p:sp>
      <p:sp useBgFill="1">
        <p:nvSpPr>
          <p:cNvPr id="98" name="Tekstin paikkamerkki 3">
            <a:extLst>
              <a:ext uri="{FF2B5EF4-FFF2-40B4-BE49-F238E27FC236}">
                <a16:creationId xmlns:a16="http://schemas.microsoft.com/office/drawing/2014/main" id="{E75C7AF5-3D91-E4FC-7A99-D1E17C59A47B}"/>
              </a:ext>
            </a:extLst>
          </p:cNvPr>
          <p:cNvSpPr>
            <a:spLocks noGrp="1"/>
          </p:cNvSpPr>
          <p:nvPr>
            <p:custDataLst>
              <p:tags r:id="rId72"/>
            </p:custDataLst>
          </p:nvPr>
        </p:nvSpPr>
        <p:spPr bwMode="gray">
          <a:xfrm>
            <a:off x="6330950" y="3895725"/>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9A9ABC03-7AD3-457A-B75B-8D975F962529}" type="datetime'''''''''''''21''''''''''''''''''''''''%'''''''''''''''">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21%</a:t>
            </a:fld>
            <a:endParaRPr lang="en-US" sz="800" spc="0">
              <a:solidFill>
                <a:srgbClr val="ABA8B3"/>
              </a:solidFill>
              <a:latin typeface="+mn-lt"/>
              <a:ea typeface="+mn-ea"/>
              <a:cs typeface="+mn-cs"/>
              <a:sym typeface="DINPro" panose="020B0504020201010104" pitchFamily="34" charset="0"/>
            </a:endParaRPr>
          </a:p>
        </p:txBody>
      </p:sp>
      <p:sp>
        <p:nvSpPr>
          <p:cNvPr id="99" name="Text Placeholder 3">
            <a:extLst>
              <a:ext uri="{FF2B5EF4-FFF2-40B4-BE49-F238E27FC236}">
                <a16:creationId xmlns:a16="http://schemas.microsoft.com/office/drawing/2014/main" id="{118504DE-492B-DDB6-6D40-9648EE176136}"/>
              </a:ext>
            </a:extLst>
          </p:cNvPr>
          <p:cNvSpPr>
            <a:spLocks noGrp="1"/>
          </p:cNvSpPr>
          <p:nvPr>
            <p:custDataLst>
              <p:tags r:id="rId73"/>
            </p:custDataLst>
          </p:nvPr>
        </p:nvSpPr>
        <p:spPr bwMode="gray">
          <a:xfrm>
            <a:off x="6183313" y="4305301"/>
            <a:ext cx="403225"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CC884857-CF02-4DBD-AAE9-81D02BA3EA96}" type="datetime'''''A''''us''t''''''''''''''''''ra''li''a'''''">
              <a:rPr lang="en-US" altLang="en-US" sz="700" smtClean="0"/>
              <a:pPr lvl="0" algn="ctr">
                <a:spcBef>
                  <a:spcPct val="0"/>
                </a:spcBef>
                <a:spcAft>
                  <a:spcPct val="0"/>
                </a:spcAft>
              </a:pPr>
              <a:t>Australia</a:t>
            </a:fld>
            <a:endParaRPr lang="en-US" sz="700">
              <a:sym typeface="DINPro" panose="020B0504020201010104" pitchFamily="34" charset="0"/>
            </a:endParaRPr>
          </a:p>
        </p:txBody>
      </p:sp>
      <p:sp useBgFill="1">
        <p:nvSpPr>
          <p:cNvPr id="113" name="Tekstin paikkamerkki 3">
            <a:extLst>
              <a:ext uri="{FF2B5EF4-FFF2-40B4-BE49-F238E27FC236}">
                <a16:creationId xmlns:a16="http://schemas.microsoft.com/office/drawing/2014/main" id="{9C6FEE6F-91DA-C985-FBE8-19CDF3502CA5}"/>
              </a:ext>
            </a:extLst>
          </p:cNvPr>
          <p:cNvSpPr>
            <a:spLocks noGrp="1"/>
          </p:cNvSpPr>
          <p:nvPr>
            <p:custDataLst>
              <p:tags r:id="rId74"/>
            </p:custDataLst>
          </p:nvPr>
        </p:nvSpPr>
        <p:spPr bwMode="gray">
          <a:xfrm>
            <a:off x="2325688" y="3627438"/>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EA36381F-5D0B-4D9E-BE2E-35F9ECF4F06F}" type="datetime'''''''''''3''''''''''''''''''9''''''''''%'''''''''''''''''''''">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39%</a:t>
            </a:fld>
            <a:endParaRPr lang="en-US" sz="800" spc="0">
              <a:solidFill>
                <a:srgbClr val="ABA8B3"/>
              </a:solidFill>
              <a:latin typeface="+mn-lt"/>
              <a:ea typeface="+mn-ea"/>
              <a:cs typeface="+mn-cs"/>
              <a:sym typeface="DINPro" panose="020B0504020201010104" pitchFamily="34" charset="0"/>
            </a:endParaRPr>
          </a:p>
        </p:txBody>
      </p:sp>
      <p:sp>
        <p:nvSpPr>
          <p:cNvPr id="120" name="Text Placeholder 3">
            <a:extLst>
              <a:ext uri="{FF2B5EF4-FFF2-40B4-BE49-F238E27FC236}">
                <a16:creationId xmlns:a16="http://schemas.microsoft.com/office/drawing/2014/main" id="{E7FB1C86-891D-6859-417F-B38A1BC2EE84}"/>
              </a:ext>
            </a:extLst>
          </p:cNvPr>
          <p:cNvSpPr>
            <a:spLocks noGrp="1"/>
          </p:cNvSpPr>
          <p:nvPr>
            <p:custDataLst>
              <p:tags r:id="rId75"/>
            </p:custDataLst>
          </p:nvPr>
        </p:nvSpPr>
        <p:spPr bwMode="gray">
          <a:xfrm>
            <a:off x="1844675" y="4305301"/>
            <a:ext cx="27146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05BD4B3B-3051-44A5-A7AF-F2B0CC5E721B}" type="datetime'''''''''''''J''''ap''a''''''''''''''''''''n'''''''''''''''''">
              <a:rPr lang="en-US" altLang="en-US" sz="700" smtClean="0"/>
              <a:pPr lvl="0" algn="ctr">
                <a:spcBef>
                  <a:spcPct val="0"/>
                </a:spcBef>
                <a:spcAft>
                  <a:spcPct val="0"/>
                </a:spcAft>
              </a:pPr>
              <a:t>Japan</a:t>
            </a:fld>
            <a:endParaRPr lang="en-US" sz="700">
              <a:sym typeface="DINPro" panose="020B0504020201010104" pitchFamily="34" charset="0"/>
            </a:endParaRPr>
          </a:p>
        </p:txBody>
      </p:sp>
      <p:sp useBgFill="1">
        <p:nvSpPr>
          <p:cNvPr id="122" name="Tekstin paikkamerkki 3">
            <a:extLst>
              <a:ext uri="{FF2B5EF4-FFF2-40B4-BE49-F238E27FC236}">
                <a16:creationId xmlns:a16="http://schemas.microsoft.com/office/drawing/2014/main" id="{501E721F-2C1F-A5D8-35EF-70633179749E}"/>
              </a:ext>
            </a:extLst>
          </p:cNvPr>
          <p:cNvSpPr>
            <a:spLocks noGrp="1"/>
          </p:cNvSpPr>
          <p:nvPr>
            <p:custDataLst>
              <p:tags r:id="rId76"/>
            </p:custDataLst>
          </p:nvPr>
        </p:nvSpPr>
        <p:spPr bwMode="gray">
          <a:xfrm>
            <a:off x="1924050" y="3343275"/>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EC97C650-5580-458F-A9D2-98C2572209F8}" type="datetime'''''''''''''''5''8%'''">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58%</a:t>
            </a:fld>
            <a:endParaRPr lang="en-US" sz="800" spc="0">
              <a:solidFill>
                <a:srgbClr val="ABA8B3"/>
              </a:solidFill>
              <a:latin typeface="+mn-lt"/>
              <a:ea typeface="+mn-ea"/>
              <a:cs typeface="+mn-cs"/>
              <a:sym typeface="DINPro" panose="020B0504020201010104" pitchFamily="34" charset="0"/>
            </a:endParaRPr>
          </a:p>
        </p:txBody>
      </p:sp>
      <p:sp useBgFill="1">
        <p:nvSpPr>
          <p:cNvPr id="123" name="Tekstin paikkamerkki 3">
            <a:extLst>
              <a:ext uri="{FF2B5EF4-FFF2-40B4-BE49-F238E27FC236}">
                <a16:creationId xmlns:a16="http://schemas.microsoft.com/office/drawing/2014/main" id="{19E8D635-381D-1681-4B0C-FCD896AE3742}"/>
              </a:ext>
            </a:extLst>
          </p:cNvPr>
          <p:cNvSpPr>
            <a:spLocks noGrp="1"/>
          </p:cNvSpPr>
          <p:nvPr>
            <p:custDataLst>
              <p:tags r:id="rId77"/>
            </p:custDataLst>
          </p:nvPr>
        </p:nvSpPr>
        <p:spPr bwMode="gray">
          <a:xfrm>
            <a:off x="6731000" y="3895725"/>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6EC6AE8C-B06D-40AD-A81F-DCC6ACB385D9}" type="datetime'''''''''''2''''''''''''''''''''1''%'''''''''">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21%</a:t>
            </a:fld>
            <a:endParaRPr lang="en-US" sz="800" spc="0">
              <a:solidFill>
                <a:srgbClr val="ABA8B3"/>
              </a:solidFill>
              <a:latin typeface="+mn-lt"/>
              <a:ea typeface="+mn-ea"/>
              <a:cs typeface="+mn-cs"/>
              <a:sym typeface="DINPro" panose="020B0504020201010104" pitchFamily="34" charset="0"/>
            </a:endParaRPr>
          </a:p>
        </p:txBody>
      </p:sp>
      <p:sp>
        <p:nvSpPr>
          <p:cNvPr id="117" name="Text Placeholder 3">
            <a:extLst>
              <a:ext uri="{FF2B5EF4-FFF2-40B4-BE49-F238E27FC236}">
                <a16:creationId xmlns:a16="http://schemas.microsoft.com/office/drawing/2014/main" id="{C3A50482-98EC-FD1A-1B25-6F7CE1421A70}"/>
              </a:ext>
            </a:extLst>
          </p:cNvPr>
          <p:cNvSpPr>
            <a:spLocks noGrp="1"/>
          </p:cNvSpPr>
          <p:nvPr>
            <p:custDataLst>
              <p:tags r:id="rId78"/>
            </p:custDataLst>
          </p:nvPr>
        </p:nvSpPr>
        <p:spPr bwMode="gray">
          <a:xfrm>
            <a:off x="6577013" y="4305301"/>
            <a:ext cx="419100" cy="35242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256481A-CF2F-4D35-93F8-29CBFD585E22}" type="datetime'''''Ot''''he''r'''' ''As''ia''''n c''''''''oun''t''rie''''''s'">
              <a:rPr lang="en-US" altLang="en-US" sz="700" smtClean="0"/>
              <a:pPr lvl="0" algn="ctr">
                <a:spcBef>
                  <a:spcPct val="0"/>
                </a:spcBef>
                <a:spcAft>
                  <a:spcPct val="0"/>
                </a:spcAft>
              </a:pPr>
              <a:t>Other Asian countries</a:t>
            </a:fld>
            <a:endParaRPr lang="en-US" sz="700">
              <a:sym typeface="DINPro" panose="020B0504020201010104" pitchFamily="34" charset="0"/>
            </a:endParaRPr>
          </a:p>
        </p:txBody>
      </p:sp>
      <p:sp>
        <p:nvSpPr>
          <p:cNvPr id="160" name="Text Placeholder 3">
            <a:extLst>
              <a:ext uri="{FF2B5EF4-FFF2-40B4-BE49-F238E27FC236}">
                <a16:creationId xmlns:a16="http://schemas.microsoft.com/office/drawing/2014/main" id="{16EF51DD-7098-48EE-B026-42CA8A745259}"/>
              </a:ext>
            </a:extLst>
          </p:cNvPr>
          <p:cNvSpPr>
            <a:spLocks noGrp="1"/>
          </p:cNvSpPr>
          <p:nvPr>
            <p:custDataLst>
              <p:tags r:id="rId79"/>
            </p:custDataLst>
          </p:nvPr>
        </p:nvSpPr>
        <p:spPr bwMode="gray">
          <a:xfrm>
            <a:off x="1425575" y="4305301"/>
            <a:ext cx="30956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2AF34B36-2165-47B7-81D4-C38EB53FCFD1}" type="datetime'''''F''''''''r''''''''''''''''''an''''c''e'">
              <a:rPr lang="en-US" altLang="en-US" sz="700" smtClean="0"/>
              <a:pPr lvl="0" algn="ctr">
                <a:spcBef>
                  <a:spcPct val="0"/>
                </a:spcBef>
                <a:spcAft>
                  <a:spcPct val="0"/>
                </a:spcAft>
              </a:pPr>
              <a:t>France</a:t>
            </a:fld>
            <a:endParaRPr lang="en-US" sz="700">
              <a:sym typeface="DINPro" panose="020B0504020201010104" pitchFamily="34" charset="0"/>
            </a:endParaRPr>
          </a:p>
        </p:txBody>
      </p:sp>
      <p:sp useBgFill="1">
        <p:nvSpPr>
          <p:cNvPr id="115" name="Tekstin paikkamerkki 3">
            <a:extLst>
              <a:ext uri="{FF2B5EF4-FFF2-40B4-BE49-F238E27FC236}">
                <a16:creationId xmlns:a16="http://schemas.microsoft.com/office/drawing/2014/main" id="{C700AA40-7F42-2ADF-363B-BC79AF8D3E07}"/>
              </a:ext>
            </a:extLst>
          </p:cNvPr>
          <p:cNvSpPr>
            <a:spLocks noGrp="1"/>
          </p:cNvSpPr>
          <p:nvPr>
            <p:custDataLst>
              <p:tags r:id="rId80"/>
            </p:custDataLst>
          </p:nvPr>
        </p:nvSpPr>
        <p:spPr bwMode="gray">
          <a:xfrm>
            <a:off x="1524000" y="3209925"/>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1CE16368-8FD8-4D10-AE2A-5D72063E71F9}" type="datetime'67''''''''''''''%'''''''''''''''''''">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67%</a:t>
            </a:fld>
            <a:endParaRPr lang="en-US" sz="800" spc="0">
              <a:solidFill>
                <a:srgbClr val="ABA8B3"/>
              </a:solidFill>
              <a:latin typeface="+mn-lt"/>
              <a:ea typeface="+mn-ea"/>
              <a:cs typeface="+mn-cs"/>
              <a:sym typeface="DINPro" panose="020B0504020201010104" pitchFamily="34" charset="0"/>
            </a:endParaRPr>
          </a:p>
        </p:txBody>
      </p:sp>
      <p:sp>
        <p:nvSpPr>
          <p:cNvPr id="114" name="Text Placeholder 3">
            <a:extLst>
              <a:ext uri="{FF2B5EF4-FFF2-40B4-BE49-F238E27FC236}">
                <a16:creationId xmlns:a16="http://schemas.microsoft.com/office/drawing/2014/main" id="{59D227CC-4EC7-86E2-2687-3A8018192320}"/>
              </a:ext>
            </a:extLst>
          </p:cNvPr>
          <p:cNvSpPr>
            <a:spLocks noGrp="1"/>
          </p:cNvSpPr>
          <p:nvPr>
            <p:custDataLst>
              <p:tags r:id="rId81"/>
            </p:custDataLst>
          </p:nvPr>
        </p:nvSpPr>
        <p:spPr bwMode="gray">
          <a:xfrm>
            <a:off x="968375" y="4305301"/>
            <a:ext cx="419100"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0B658B9-1D0A-475A-8BDA-F3617AE9EC2D}" type="datetime'''Ge''''''r''''''m''''''''''''''''''a''n''''''''''''''''''y'">
              <a:rPr lang="en-US" altLang="en-US" sz="700" smtClean="0"/>
              <a:pPr lvl="0" algn="ctr">
                <a:spcBef>
                  <a:spcPct val="0"/>
                </a:spcBef>
                <a:spcAft>
                  <a:spcPct val="0"/>
                </a:spcAft>
              </a:pPr>
              <a:t>Germany</a:t>
            </a:fld>
            <a:endParaRPr lang="en-US" sz="700">
              <a:sym typeface="DINPro" panose="020B0504020201010104" pitchFamily="34" charset="0"/>
            </a:endParaRPr>
          </a:p>
        </p:txBody>
      </p:sp>
      <p:sp useBgFill="1">
        <p:nvSpPr>
          <p:cNvPr id="74" name="Tekstin paikkamerkki 3">
            <a:extLst>
              <a:ext uri="{FF2B5EF4-FFF2-40B4-BE49-F238E27FC236}">
                <a16:creationId xmlns:a16="http://schemas.microsoft.com/office/drawing/2014/main" id="{D71A5282-49F3-6764-EA72-C2877F184772}"/>
              </a:ext>
            </a:extLst>
          </p:cNvPr>
          <p:cNvSpPr>
            <a:spLocks noGrp="1"/>
          </p:cNvSpPr>
          <p:nvPr>
            <p:custDataLst>
              <p:tags r:id="rId82"/>
            </p:custDataLst>
          </p:nvPr>
        </p:nvSpPr>
        <p:spPr bwMode="gray">
          <a:xfrm>
            <a:off x="7162800" y="4117975"/>
            <a:ext cx="200025"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38574338-05BC-461B-89EA-BABC45D04F79}" type="datetime'''6''''''''''''''%'''''''''''">
              <a:rPr lang="en-US" altLang="en-US" sz="800" spc="0" smtClean="0">
                <a:solidFill>
                  <a:srgbClr val="ABA8B3"/>
                </a:solidFill>
                <a:effectLst/>
                <a:latin typeface="+mn-lt"/>
                <a:ea typeface="+mn-ea"/>
                <a:cs typeface="+mn-cs"/>
                <a:sym typeface="DINPro" panose="020B0504020201010104" pitchFamily="34" charset="0"/>
              </a:rPr>
              <a:pPr marL="0" lvl="0" indent="0" algn="ctr">
                <a:lnSpc>
                  <a:spcPct val="110000"/>
                </a:lnSpc>
                <a:spcBef>
                  <a:spcPct val="0"/>
                </a:spcBef>
                <a:spcAft>
                  <a:spcPct val="0"/>
                </a:spcAft>
                <a:buNone/>
              </a:pPr>
              <a:t>6%</a:t>
            </a:fld>
            <a:endParaRPr lang="en-US" sz="800" spc="0">
              <a:solidFill>
                <a:srgbClr val="ABA8B3"/>
              </a:solidFill>
              <a:latin typeface="+mn-lt"/>
              <a:ea typeface="+mn-ea"/>
              <a:cs typeface="+mn-cs"/>
              <a:sym typeface="DINPro" panose="020B0504020201010104" pitchFamily="34" charset="0"/>
            </a:endParaRPr>
          </a:p>
        </p:txBody>
      </p:sp>
      <p:sp>
        <p:nvSpPr>
          <p:cNvPr id="121" name="Text Placeholder 3">
            <a:extLst>
              <a:ext uri="{FF2B5EF4-FFF2-40B4-BE49-F238E27FC236}">
                <a16:creationId xmlns:a16="http://schemas.microsoft.com/office/drawing/2014/main" id="{DE2B9B86-4C9A-DE4E-7AEF-46F79FEE04E6}"/>
              </a:ext>
            </a:extLst>
          </p:cNvPr>
          <p:cNvSpPr>
            <a:spLocks noGrp="1"/>
          </p:cNvSpPr>
          <p:nvPr>
            <p:custDataLst>
              <p:tags r:id="rId83"/>
            </p:custDataLst>
          </p:nvPr>
        </p:nvSpPr>
        <p:spPr bwMode="gray">
          <a:xfrm>
            <a:off x="7000876" y="4305300"/>
            <a:ext cx="373063"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C8A116A-B43E-4731-84EF-1DDD32F6ACA0}" type="datetime'''So''ut''''''h'''''' ''''''''''''A''''''''m''er''''''ica'">
              <a:rPr lang="en-US" altLang="en-US" sz="700" smtClean="0"/>
              <a:pPr lvl="0" algn="ctr">
                <a:spcBef>
                  <a:spcPct val="0"/>
                </a:spcBef>
                <a:spcAft>
                  <a:spcPct val="0"/>
                </a:spcAft>
              </a:pPr>
              <a:t>South America</a:t>
            </a:fld>
            <a:endParaRPr lang="en-US" sz="700">
              <a:sym typeface="DINPro" panose="020B0504020201010104" pitchFamily="34" charset="0"/>
            </a:endParaRPr>
          </a:p>
        </p:txBody>
      </p:sp>
      <p:sp useBgFill="1">
        <p:nvSpPr>
          <p:cNvPr id="90" name="Tekstin paikkamerkki 3">
            <a:extLst>
              <a:ext uri="{FF2B5EF4-FFF2-40B4-BE49-F238E27FC236}">
                <a16:creationId xmlns:a16="http://schemas.microsoft.com/office/drawing/2014/main" id="{1F8B30C0-5318-F145-2877-44CB344E4F8E}"/>
              </a:ext>
            </a:extLst>
          </p:cNvPr>
          <p:cNvSpPr>
            <a:spLocks noGrp="1"/>
          </p:cNvSpPr>
          <p:nvPr>
            <p:custDataLst>
              <p:tags r:id="rId84"/>
            </p:custDataLst>
          </p:nvPr>
        </p:nvSpPr>
        <p:spPr bwMode="gray">
          <a:xfrm>
            <a:off x="1123950" y="3124200"/>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0BD5209F-40D1-4E34-8967-C1DE97409481}" type="datetime'''''''''''7''''''3''''''''''''''''''''%'''''''''''''''''''''''">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73%</a:t>
            </a:fld>
            <a:endParaRPr lang="en-US" sz="800" spc="0">
              <a:solidFill>
                <a:srgbClr val="ABA8B3"/>
              </a:solidFill>
              <a:latin typeface="+mn-lt"/>
              <a:ea typeface="+mn-ea"/>
              <a:cs typeface="+mn-cs"/>
              <a:sym typeface="DINPro" panose="020B0504020201010104" pitchFamily="34" charset="0"/>
            </a:endParaRPr>
          </a:p>
        </p:txBody>
      </p:sp>
      <p:sp>
        <p:nvSpPr>
          <p:cNvPr id="96" name="Text Placeholder 3">
            <a:extLst>
              <a:ext uri="{FF2B5EF4-FFF2-40B4-BE49-F238E27FC236}">
                <a16:creationId xmlns:a16="http://schemas.microsoft.com/office/drawing/2014/main" id="{E9E385A3-6731-674A-C0FC-8164870F1C38}"/>
              </a:ext>
            </a:extLst>
          </p:cNvPr>
          <p:cNvSpPr>
            <a:spLocks noGrp="1"/>
          </p:cNvSpPr>
          <p:nvPr>
            <p:custDataLst>
              <p:tags r:id="rId85"/>
            </p:custDataLst>
          </p:nvPr>
        </p:nvSpPr>
        <p:spPr bwMode="gray">
          <a:xfrm>
            <a:off x="709613" y="4305301"/>
            <a:ext cx="138113"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A5F5FF7-94E7-4148-A419-F455FA494ADC}" type="datetime'''''''''''''''''''''''''''''''''''U''''S'''''">
              <a:rPr lang="en-US" altLang="en-US" sz="700" smtClean="0"/>
              <a:pPr lvl="0" algn="ctr">
                <a:spcBef>
                  <a:spcPct val="0"/>
                </a:spcBef>
                <a:spcAft>
                  <a:spcPct val="0"/>
                </a:spcAft>
              </a:pPr>
              <a:t>US</a:t>
            </a:fld>
            <a:endParaRPr lang="en-US" sz="700" dirty="0">
              <a:sym typeface="DINPro" panose="020B0504020201010104" pitchFamily="34" charset="0"/>
            </a:endParaRPr>
          </a:p>
        </p:txBody>
      </p:sp>
      <p:sp>
        <p:nvSpPr>
          <p:cNvPr id="82" name="Text Placeholder 3">
            <a:extLst>
              <a:ext uri="{FF2B5EF4-FFF2-40B4-BE49-F238E27FC236}">
                <a16:creationId xmlns:a16="http://schemas.microsoft.com/office/drawing/2014/main" id="{507125FD-ADFF-CC5A-E1C4-C23758A3B673}"/>
              </a:ext>
            </a:extLst>
          </p:cNvPr>
          <p:cNvSpPr>
            <a:spLocks noGrp="1"/>
          </p:cNvSpPr>
          <p:nvPr>
            <p:custDataLst>
              <p:tags r:id="rId86"/>
            </p:custDataLst>
          </p:nvPr>
        </p:nvSpPr>
        <p:spPr bwMode="gray">
          <a:xfrm>
            <a:off x="4675188" y="4305301"/>
            <a:ext cx="215900"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1AF7CBF-14C2-4137-855D-4EC484A3CF0E}" type="datetime'''''''''''I''t''''''a''''''''ly'''''''''''''">
              <a:rPr lang="en-US" altLang="en-US" sz="700" smtClean="0"/>
              <a:pPr lvl="0" algn="ctr">
                <a:spcBef>
                  <a:spcPct val="0"/>
                </a:spcBef>
                <a:spcAft>
                  <a:spcPct val="0"/>
                </a:spcAft>
              </a:pPr>
              <a:t>Italy</a:t>
            </a:fld>
            <a:endParaRPr lang="en-US" sz="700">
              <a:sym typeface="DINPro" panose="020B0504020201010104" pitchFamily="34" charset="0"/>
            </a:endParaRPr>
          </a:p>
        </p:txBody>
      </p:sp>
      <p:sp>
        <p:nvSpPr>
          <p:cNvPr id="124" name="Text Placeholder 3">
            <a:extLst>
              <a:ext uri="{FF2B5EF4-FFF2-40B4-BE49-F238E27FC236}">
                <a16:creationId xmlns:a16="http://schemas.microsoft.com/office/drawing/2014/main" id="{E40D43E1-166E-AFE3-64C0-CAE5E4C75659}"/>
              </a:ext>
            </a:extLst>
          </p:cNvPr>
          <p:cNvSpPr>
            <a:spLocks noGrp="1"/>
          </p:cNvSpPr>
          <p:nvPr>
            <p:custDataLst>
              <p:tags r:id="rId87"/>
            </p:custDataLst>
          </p:nvPr>
        </p:nvSpPr>
        <p:spPr bwMode="gray">
          <a:xfrm>
            <a:off x="7453313" y="4305301"/>
            <a:ext cx="266700"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FC87DB84-4D75-4916-AD41-64F2591C8C59}" type="datetime'''''A''''''''''''''''''f''''''''''''ri''''''c''''''''a'''''">
              <a:rPr lang="en-US" altLang="en-US" sz="700" smtClean="0"/>
              <a:pPr lvl="0" algn="ctr">
                <a:spcBef>
                  <a:spcPct val="0"/>
                </a:spcBef>
                <a:spcAft>
                  <a:spcPct val="0"/>
                </a:spcAft>
              </a:pPr>
              <a:t>Africa</a:t>
            </a:fld>
            <a:endParaRPr lang="en-US" sz="700">
              <a:sym typeface="DINPro" panose="020B0504020201010104" pitchFamily="34" charset="0"/>
            </a:endParaRPr>
          </a:p>
        </p:txBody>
      </p:sp>
      <p:sp useBgFill="1">
        <p:nvSpPr>
          <p:cNvPr id="95" name="Tekstin paikkamerkki 3">
            <a:extLst>
              <a:ext uri="{FF2B5EF4-FFF2-40B4-BE49-F238E27FC236}">
                <a16:creationId xmlns:a16="http://schemas.microsoft.com/office/drawing/2014/main" id="{DE2F9691-C8CA-57E7-C586-64654FE2347E}"/>
              </a:ext>
            </a:extLst>
          </p:cNvPr>
          <p:cNvSpPr>
            <a:spLocks noGrp="1"/>
          </p:cNvSpPr>
          <p:nvPr>
            <p:custDataLst>
              <p:tags r:id="rId88"/>
            </p:custDataLst>
          </p:nvPr>
        </p:nvSpPr>
        <p:spPr bwMode="gray">
          <a:xfrm>
            <a:off x="722313" y="3124200"/>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9859DC5F-2050-4E5C-B0DF-EC1217FB6C89}" type="datetime'''''''''''''''''''''''''''7''''''''''''''3''''''''%'''''''">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73%</a:t>
            </a:fld>
            <a:endParaRPr lang="en-US" sz="800" spc="0">
              <a:solidFill>
                <a:srgbClr val="ABA8B3"/>
              </a:solidFill>
              <a:latin typeface="+mn-lt"/>
              <a:ea typeface="+mn-ea"/>
              <a:cs typeface="+mn-cs"/>
              <a:sym typeface="DINPro" panose="020B0504020201010104" pitchFamily="34" charset="0"/>
            </a:endParaRPr>
          </a:p>
        </p:txBody>
      </p:sp>
      <p:sp>
        <p:nvSpPr>
          <p:cNvPr id="119" name="Text Placeholder 3">
            <a:extLst>
              <a:ext uri="{FF2B5EF4-FFF2-40B4-BE49-F238E27FC236}">
                <a16:creationId xmlns:a16="http://schemas.microsoft.com/office/drawing/2014/main" id="{D2ABD258-FEDA-94F7-AA1F-4925B495117C}"/>
              </a:ext>
            </a:extLst>
          </p:cNvPr>
          <p:cNvSpPr>
            <a:spLocks noGrp="1"/>
          </p:cNvSpPr>
          <p:nvPr>
            <p:custDataLst>
              <p:tags r:id="rId89"/>
            </p:custDataLst>
          </p:nvPr>
        </p:nvSpPr>
        <p:spPr bwMode="gray">
          <a:xfrm>
            <a:off x="4251325" y="4305301"/>
            <a:ext cx="263525"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B8FE19A9-2D3E-4E6C-A982-3BC1834ACC16}" type="datetime'''''''C''''''''hi''''n''''''''a'''''''''''''''''''''">
              <a:rPr lang="en-US" altLang="en-US" sz="700" smtClean="0"/>
              <a:pPr lvl="0" algn="ctr">
                <a:spcBef>
                  <a:spcPct val="0"/>
                </a:spcBef>
                <a:spcAft>
                  <a:spcPct val="0"/>
                </a:spcAft>
              </a:pPr>
              <a:t>China</a:t>
            </a:fld>
            <a:endParaRPr lang="en-US" sz="700">
              <a:sym typeface="DINPro" panose="020B0504020201010104" pitchFamily="34" charset="0"/>
            </a:endParaRPr>
          </a:p>
        </p:txBody>
      </p:sp>
      <p:sp useBgFill="1">
        <p:nvSpPr>
          <p:cNvPr id="81" name="Tekstin paikkamerkki 3">
            <a:extLst>
              <a:ext uri="{FF2B5EF4-FFF2-40B4-BE49-F238E27FC236}">
                <a16:creationId xmlns:a16="http://schemas.microsoft.com/office/drawing/2014/main" id="{E0163D1B-C9FA-D4C6-813D-ACDE33431878}"/>
              </a:ext>
            </a:extLst>
          </p:cNvPr>
          <p:cNvSpPr>
            <a:spLocks noGrp="1"/>
          </p:cNvSpPr>
          <p:nvPr>
            <p:custDataLst>
              <p:tags r:id="rId90"/>
            </p:custDataLst>
          </p:nvPr>
        </p:nvSpPr>
        <p:spPr bwMode="gray">
          <a:xfrm>
            <a:off x="4727575" y="3671888"/>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6E4F2C39-6475-4868-91D9-65275AE04A29}" type="datetime'''''''3''6''''''''''''''''%'''''''''''''''''''''''''''">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36%</a:t>
            </a:fld>
            <a:endParaRPr lang="en-US" sz="800" spc="0">
              <a:solidFill>
                <a:srgbClr val="ABA8B3"/>
              </a:solidFill>
              <a:latin typeface="+mn-lt"/>
              <a:ea typeface="+mn-ea"/>
              <a:cs typeface="+mn-cs"/>
              <a:sym typeface="DINPro" panose="020B0504020201010104" pitchFamily="34" charset="0"/>
            </a:endParaRPr>
          </a:p>
        </p:txBody>
      </p:sp>
      <p:sp>
        <p:nvSpPr>
          <p:cNvPr id="151" name="Text Placeholder 3">
            <a:extLst>
              <a:ext uri="{FF2B5EF4-FFF2-40B4-BE49-F238E27FC236}">
                <a16:creationId xmlns:a16="http://schemas.microsoft.com/office/drawing/2014/main" id="{9B9E6101-D212-03D3-571C-E5AC64661FDE}"/>
              </a:ext>
            </a:extLst>
          </p:cNvPr>
          <p:cNvSpPr>
            <a:spLocks noGrp="1"/>
          </p:cNvSpPr>
          <p:nvPr>
            <p:custDataLst>
              <p:tags r:id="rId91"/>
            </p:custDataLst>
          </p:nvPr>
        </p:nvSpPr>
        <p:spPr bwMode="gray">
          <a:xfrm>
            <a:off x="7854951" y="4305301"/>
            <a:ext cx="263525" cy="117475"/>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16690CE-C9C3-4B44-8800-A8A30FC7E64B}" type="datetime'''''''O''''''''''t''''h''''''''''''''''''er'''">
              <a:rPr lang="en-US" altLang="en-US" sz="700" smtClean="0"/>
              <a:pPr lvl="0" algn="ctr">
                <a:spcBef>
                  <a:spcPct val="0"/>
                </a:spcBef>
                <a:spcAft>
                  <a:spcPct val="0"/>
                </a:spcAft>
              </a:pPr>
              <a:t>Other</a:t>
            </a:fld>
            <a:endParaRPr lang="en-US" sz="700">
              <a:sym typeface="DINPro" panose="020B0504020201010104" pitchFamily="34" charset="0"/>
            </a:endParaRPr>
          </a:p>
        </p:txBody>
      </p:sp>
      <p:sp>
        <p:nvSpPr>
          <p:cNvPr id="152" name="Text Placeholder 3">
            <a:extLst>
              <a:ext uri="{FF2B5EF4-FFF2-40B4-BE49-F238E27FC236}">
                <a16:creationId xmlns:a16="http://schemas.microsoft.com/office/drawing/2014/main" id="{16F4A0E5-CCC4-4BF5-60DD-C10945B3E3A8}"/>
              </a:ext>
            </a:extLst>
          </p:cNvPr>
          <p:cNvSpPr>
            <a:spLocks noGrp="1"/>
          </p:cNvSpPr>
          <p:nvPr>
            <p:custDataLst>
              <p:tags r:id="rId92"/>
            </p:custDataLst>
          </p:nvPr>
        </p:nvSpPr>
        <p:spPr bwMode="gray">
          <a:xfrm>
            <a:off x="8239125" y="4305300"/>
            <a:ext cx="298450" cy="2349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squar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843EB3D0-0C4E-4804-A420-8028C149287B}" type="datetime'Mi''''''dd''le'''''''' ''''''E''''''as''''''t'''' '''">
              <a:rPr lang="en-US" altLang="en-US" sz="700" smtClean="0"/>
              <a:pPr lvl="0" algn="ctr">
                <a:spcBef>
                  <a:spcPct val="0"/>
                </a:spcBef>
                <a:spcAft>
                  <a:spcPct val="0"/>
                </a:spcAft>
              </a:pPr>
              <a:t>Middle East </a:t>
            </a:fld>
            <a:endParaRPr lang="en-US" sz="700">
              <a:sym typeface="DINPro" panose="020B0504020201010104" pitchFamily="34" charset="0"/>
            </a:endParaRPr>
          </a:p>
        </p:txBody>
      </p:sp>
      <p:sp>
        <p:nvSpPr>
          <p:cNvPr id="153" name="Text Placeholder 3">
            <a:extLst>
              <a:ext uri="{FF2B5EF4-FFF2-40B4-BE49-F238E27FC236}">
                <a16:creationId xmlns:a16="http://schemas.microsoft.com/office/drawing/2014/main" id="{A13A7F6E-4FEA-CC0B-94FE-02F163A6E7B0}"/>
              </a:ext>
            </a:extLst>
          </p:cNvPr>
          <p:cNvSpPr>
            <a:spLocks noGrp="1"/>
          </p:cNvSpPr>
          <p:nvPr>
            <p:custDataLst>
              <p:tags r:id="rId93"/>
            </p:custDataLst>
          </p:nvPr>
        </p:nvSpPr>
        <p:spPr bwMode="gray">
          <a:xfrm>
            <a:off x="8210551" y="4116388"/>
            <a:ext cx="2000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E833C397-C365-49E6-A43F-C545890D2741}" type="datetime'''''''0''''''''''''''''''''%'''">
              <a:rPr lang="en-US" altLang="en-US" sz="800" smtClean="0"/>
              <a:pPr lvl="0" algn="ctr">
                <a:spcBef>
                  <a:spcPct val="0"/>
                </a:spcBef>
                <a:spcAft>
                  <a:spcPct val="0"/>
                </a:spcAft>
              </a:pPr>
              <a:t>0%</a:t>
            </a:fld>
            <a:endParaRPr lang="en-US" sz="800">
              <a:sym typeface="DINPro" panose="020B0504020201010104" pitchFamily="34" charset="0"/>
            </a:endParaRPr>
          </a:p>
        </p:txBody>
      </p:sp>
      <p:sp useBgFill="1">
        <p:nvSpPr>
          <p:cNvPr id="118" name="Tekstin paikkamerkki 3">
            <a:extLst>
              <a:ext uri="{FF2B5EF4-FFF2-40B4-BE49-F238E27FC236}">
                <a16:creationId xmlns:a16="http://schemas.microsoft.com/office/drawing/2014/main" id="{055340C3-B0BD-D375-8267-A580647F1211}"/>
              </a:ext>
            </a:extLst>
          </p:cNvPr>
          <p:cNvSpPr>
            <a:spLocks noGrp="1"/>
          </p:cNvSpPr>
          <p:nvPr>
            <p:custDataLst>
              <p:tags r:id="rId94"/>
            </p:custDataLst>
          </p:nvPr>
        </p:nvSpPr>
        <p:spPr bwMode="gray">
          <a:xfrm>
            <a:off x="4327525" y="3433763"/>
            <a:ext cx="265113" cy="133350"/>
          </a:xfrm>
          <a:prstGeom prst="rect">
            <a:avLst/>
          </a:prstGeom>
          <a:ln>
            <a:noFill/>
          </a:ln>
          <a:effec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10000"/>
              </a:lnSpc>
              <a:spcBef>
                <a:spcPct val="0"/>
              </a:spcBef>
              <a:spcAft>
                <a:spcPct val="0"/>
              </a:spcAft>
              <a:buNone/>
            </a:pPr>
            <a:fld id="{8B8ACAB2-4297-4C48-B861-D76E04D411DC}" type="datetime'''''''''''''''''5''''''''''''''''''''''''2''''%'''''''''">
              <a:rPr lang="en-US" altLang="en-US" sz="800" spc="0" smtClean="0">
                <a:solidFill>
                  <a:srgbClr val="ABA8B3"/>
                </a:solidFill>
                <a:effectLst/>
                <a:latin typeface="+mn-lt"/>
                <a:ea typeface="+mn-ea"/>
                <a:cs typeface="+mn-cs"/>
              </a:rPr>
              <a:pPr marL="0" lvl="0" indent="0" algn="ctr">
                <a:lnSpc>
                  <a:spcPct val="110000"/>
                </a:lnSpc>
                <a:spcBef>
                  <a:spcPct val="0"/>
                </a:spcBef>
                <a:spcAft>
                  <a:spcPct val="0"/>
                </a:spcAft>
                <a:buNone/>
              </a:pPr>
              <a:t>52%</a:t>
            </a:fld>
            <a:endParaRPr lang="en-US" sz="800" spc="0">
              <a:solidFill>
                <a:srgbClr val="ABA8B3"/>
              </a:solidFill>
              <a:latin typeface="+mn-lt"/>
              <a:ea typeface="+mn-ea"/>
              <a:cs typeface="+mn-cs"/>
              <a:sym typeface="DINPro" panose="020B0504020201010104" pitchFamily="34" charset="0"/>
            </a:endParaRPr>
          </a:p>
        </p:txBody>
      </p:sp>
      <p:sp>
        <p:nvSpPr>
          <p:cNvPr id="187" name="Rectangle 186">
            <a:extLst>
              <a:ext uri="{FF2B5EF4-FFF2-40B4-BE49-F238E27FC236}">
                <a16:creationId xmlns:a16="http://schemas.microsoft.com/office/drawing/2014/main" id="{85E730FD-E453-68E3-722F-CCAAEAB0AEED}"/>
              </a:ext>
            </a:extLst>
          </p:cNvPr>
          <p:cNvSpPr/>
          <p:nvPr/>
        </p:nvSpPr>
        <p:spPr bwMode="auto">
          <a:xfrm>
            <a:off x="6364537" y="1532999"/>
            <a:ext cx="2328320" cy="1479551"/>
          </a:xfrm>
          <a:prstGeom prst="rect">
            <a:avLst/>
          </a:prstGeom>
          <a:solidFill>
            <a:srgbClr val="F6F6F6"/>
          </a:solidFill>
          <a:ln w="6350" cap="flat" cmpd="sng" algn="ctr">
            <a:solidFill>
              <a:schemeClr val="bg1">
                <a:lumMod val="50000"/>
              </a:schemeClr>
            </a:solidFill>
            <a:prstDash val="sysDot"/>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buFont typeface="Trebuchet MS" panose="020B0603020202020204" pitchFamily="34" charset="0"/>
              <a:buChar char="​"/>
            </a:pPr>
            <a:endParaRPr lang="en-US" sz="800" b="1">
              <a:solidFill>
                <a:srgbClr val="000C20"/>
              </a:solidFill>
              <a:latin typeface="+mj-lt"/>
            </a:endParaRPr>
          </a:p>
        </p:txBody>
      </p:sp>
      <p:grpSp>
        <p:nvGrpSpPr>
          <p:cNvPr id="215" name="Group 214">
            <a:extLst>
              <a:ext uri="{FF2B5EF4-FFF2-40B4-BE49-F238E27FC236}">
                <a16:creationId xmlns:a16="http://schemas.microsoft.com/office/drawing/2014/main" id="{A7DDEF73-46C6-4455-411B-DC2649E31C04}"/>
              </a:ext>
            </a:extLst>
          </p:cNvPr>
          <p:cNvGrpSpPr/>
          <p:nvPr/>
        </p:nvGrpSpPr>
        <p:grpSpPr>
          <a:xfrm>
            <a:off x="6439239" y="1643298"/>
            <a:ext cx="2253648" cy="1274441"/>
            <a:chOff x="5408623" y="1397043"/>
            <a:chExt cx="2253648" cy="1274441"/>
          </a:xfrm>
        </p:grpSpPr>
        <p:grpSp>
          <p:nvGrpSpPr>
            <p:cNvPr id="189" name="Group 188">
              <a:extLst>
                <a:ext uri="{FF2B5EF4-FFF2-40B4-BE49-F238E27FC236}">
                  <a16:creationId xmlns:a16="http://schemas.microsoft.com/office/drawing/2014/main" id="{B7D0D2ED-EE4B-5A05-C98C-6DE983A9C445}"/>
                </a:ext>
              </a:extLst>
            </p:cNvPr>
            <p:cNvGrpSpPr/>
            <p:nvPr/>
          </p:nvGrpSpPr>
          <p:grpSpPr>
            <a:xfrm>
              <a:off x="5408623" y="1397043"/>
              <a:ext cx="2102883" cy="95403"/>
              <a:chOff x="9811916" y="5000013"/>
              <a:chExt cx="2788489" cy="95425"/>
            </a:xfrm>
          </p:grpSpPr>
          <p:sp>
            <p:nvSpPr>
              <p:cNvPr id="211" name="Rectangle 210">
                <a:extLst>
                  <a:ext uri="{FF2B5EF4-FFF2-40B4-BE49-F238E27FC236}">
                    <a16:creationId xmlns:a16="http://schemas.microsoft.com/office/drawing/2014/main" id="{C6A55512-24BD-C770-F53B-C9453E4B3E5B}"/>
                  </a:ext>
                </a:extLst>
              </p:cNvPr>
              <p:cNvSpPr/>
              <p:nvPr/>
            </p:nvSpPr>
            <p:spPr>
              <a:xfrm>
                <a:off x="9811916" y="5000013"/>
                <a:ext cx="180392" cy="95425"/>
              </a:xfrm>
              <a:prstGeom prst="rect">
                <a:avLst/>
              </a:prstGeom>
              <a:solidFill>
                <a:srgbClr val="000000"/>
              </a:solidFill>
              <a:ln w="9525" cap="rnd" cmpd="sng" algn="ctr">
                <a:solidFill>
                  <a:srgbClr val="052A67"/>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12" name="Rectangle 211">
                <a:extLst>
                  <a:ext uri="{FF2B5EF4-FFF2-40B4-BE49-F238E27FC236}">
                    <a16:creationId xmlns:a16="http://schemas.microsoft.com/office/drawing/2014/main" id="{B941C0B2-48B0-3BEA-B8B2-0D4A8660665C}"/>
                  </a:ext>
                </a:extLst>
              </p:cNvPr>
              <p:cNvSpPr/>
              <p:nvPr/>
            </p:nvSpPr>
            <p:spPr>
              <a:xfrm>
                <a:off x="9948143" y="5000013"/>
                <a:ext cx="2652262"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a:solidFill>
                      <a:srgbClr val="575757"/>
                    </a:solidFill>
                    <a:latin typeface="+mj-lt"/>
                  </a:rPr>
                  <a:t>USA (All respondents)</a:t>
                </a:r>
              </a:p>
            </p:txBody>
          </p:sp>
        </p:grpSp>
        <p:grpSp>
          <p:nvGrpSpPr>
            <p:cNvPr id="190" name="Group 189">
              <a:extLst>
                <a:ext uri="{FF2B5EF4-FFF2-40B4-BE49-F238E27FC236}">
                  <a16:creationId xmlns:a16="http://schemas.microsoft.com/office/drawing/2014/main" id="{0E4F23FF-6B02-076D-94DE-85690D154868}"/>
                </a:ext>
              </a:extLst>
            </p:cNvPr>
            <p:cNvGrpSpPr/>
            <p:nvPr/>
          </p:nvGrpSpPr>
          <p:grpSpPr>
            <a:xfrm>
              <a:off x="5408626" y="1565477"/>
              <a:ext cx="1648869" cy="95403"/>
              <a:chOff x="9811916" y="5194657"/>
              <a:chExt cx="2186452" cy="95425"/>
            </a:xfrm>
          </p:grpSpPr>
          <p:sp>
            <p:nvSpPr>
              <p:cNvPr id="209" name="Rectangle 208">
                <a:extLst>
                  <a:ext uri="{FF2B5EF4-FFF2-40B4-BE49-F238E27FC236}">
                    <a16:creationId xmlns:a16="http://schemas.microsoft.com/office/drawing/2014/main" id="{5AA2CC4E-5A5F-3C79-0F67-C767CF5A78D0}"/>
                  </a:ext>
                </a:extLst>
              </p:cNvPr>
              <p:cNvSpPr/>
              <p:nvPr/>
            </p:nvSpPr>
            <p:spPr>
              <a:xfrm>
                <a:off x="9811916" y="5194657"/>
                <a:ext cx="180392" cy="95425"/>
              </a:xfrm>
              <a:prstGeom prst="rect">
                <a:avLst/>
              </a:prstGeom>
              <a:solidFill>
                <a:srgbClr val="3078B3"/>
              </a:solidFill>
              <a:ln w="9525" cap="rnd" cmpd="sng" algn="ctr">
                <a:solidFill>
                  <a:srgbClr val="3078B3"/>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10" name="Rectangle 209">
                <a:extLst>
                  <a:ext uri="{FF2B5EF4-FFF2-40B4-BE49-F238E27FC236}">
                    <a16:creationId xmlns:a16="http://schemas.microsoft.com/office/drawing/2014/main" id="{672A9B01-8AAB-25ED-EF9D-1BDA291BE007}"/>
                  </a:ext>
                </a:extLst>
              </p:cNvPr>
              <p:cNvSpPr/>
              <p:nvPr/>
            </p:nvSpPr>
            <p:spPr>
              <a:xfrm>
                <a:off x="9948144" y="5194657"/>
                <a:ext cx="2050224"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a:solidFill>
                      <a:srgbClr val="575757"/>
                    </a:solidFill>
                    <a:latin typeface="+mj-lt"/>
                  </a:rPr>
                  <a:t>Europe (All respondents)</a:t>
                </a:r>
              </a:p>
            </p:txBody>
          </p:sp>
        </p:grpSp>
        <p:grpSp>
          <p:nvGrpSpPr>
            <p:cNvPr id="191" name="Group 190">
              <a:extLst>
                <a:ext uri="{FF2B5EF4-FFF2-40B4-BE49-F238E27FC236}">
                  <a16:creationId xmlns:a16="http://schemas.microsoft.com/office/drawing/2014/main" id="{71FBD336-2E8D-680E-A03B-BC92B3B606E9}"/>
                </a:ext>
              </a:extLst>
            </p:cNvPr>
            <p:cNvGrpSpPr/>
            <p:nvPr/>
          </p:nvGrpSpPr>
          <p:grpSpPr>
            <a:xfrm>
              <a:off x="5408626" y="1733911"/>
              <a:ext cx="1694380" cy="95403"/>
              <a:chOff x="9811916" y="5389301"/>
              <a:chExt cx="2246801" cy="95425"/>
            </a:xfrm>
          </p:grpSpPr>
          <p:sp>
            <p:nvSpPr>
              <p:cNvPr id="207" name="Rectangle 206">
                <a:extLst>
                  <a:ext uri="{FF2B5EF4-FFF2-40B4-BE49-F238E27FC236}">
                    <a16:creationId xmlns:a16="http://schemas.microsoft.com/office/drawing/2014/main" id="{F344CE1C-B874-581A-C366-4FA25D0ED4FD}"/>
                  </a:ext>
                </a:extLst>
              </p:cNvPr>
              <p:cNvSpPr/>
              <p:nvPr/>
            </p:nvSpPr>
            <p:spPr>
              <a:xfrm>
                <a:off x="9811916" y="5389301"/>
                <a:ext cx="180392" cy="95425"/>
              </a:xfrm>
              <a:prstGeom prst="rect">
                <a:avLst/>
              </a:prstGeom>
              <a:solidFill>
                <a:srgbClr val="F67E58"/>
              </a:solidFill>
              <a:ln w="9525" cap="rnd" cmpd="sng" algn="ctr">
                <a:solidFill>
                  <a:srgbClr val="F67E58"/>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08" name="Rectangle 207">
                <a:extLst>
                  <a:ext uri="{FF2B5EF4-FFF2-40B4-BE49-F238E27FC236}">
                    <a16:creationId xmlns:a16="http://schemas.microsoft.com/office/drawing/2014/main" id="{D7B42D78-754A-2F65-DED2-4FFA522DE97A}"/>
                  </a:ext>
                </a:extLst>
              </p:cNvPr>
              <p:cNvSpPr/>
              <p:nvPr/>
            </p:nvSpPr>
            <p:spPr>
              <a:xfrm>
                <a:off x="9948145" y="5389301"/>
                <a:ext cx="2110572"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a:solidFill>
                      <a:srgbClr val="575757"/>
                    </a:solidFill>
                    <a:latin typeface="+mj-lt"/>
                  </a:rPr>
                  <a:t>Asia (All respondents)</a:t>
                </a:r>
              </a:p>
            </p:txBody>
          </p:sp>
        </p:grpSp>
        <p:grpSp>
          <p:nvGrpSpPr>
            <p:cNvPr id="192" name="Group 191">
              <a:extLst>
                <a:ext uri="{FF2B5EF4-FFF2-40B4-BE49-F238E27FC236}">
                  <a16:creationId xmlns:a16="http://schemas.microsoft.com/office/drawing/2014/main" id="{0ADDEF58-71A1-7B2C-2907-3087332F2596}"/>
                </a:ext>
              </a:extLst>
            </p:cNvPr>
            <p:cNvGrpSpPr/>
            <p:nvPr/>
          </p:nvGrpSpPr>
          <p:grpSpPr>
            <a:xfrm>
              <a:off x="5408681" y="2070779"/>
              <a:ext cx="2166514" cy="95403"/>
              <a:chOff x="9811916" y="5000013"/>
              <a:chExt cx="2872845" cy="95425"/>
            </a:xfrm>
          </p:grpSpPr>
          <p:sp>
            <p:nvSpPr>
              <p:cNvPr id="205" name="Rectangle 204">
                <a:extLst>
                  <a:ext uri="{FF2B5EF4-FFF2-40B4-BE49-F238E27FC236}">
                    <a16:creationId xmlns:a16="http://schemas.microsoft.com/office/drawing/2014/main" id="{6A10F23C-4006-A109-015F-66C6882DD8CD}"/>
                  </a:ext>
                </a:extLst>
              </p:cNvPr>
              <p:cNvSpPr/>
              <p:nvPr/>
            </p:nvSpPr>
            <p:spPr>
              <a:xfrm>
                <a:off x="9811916" y="5000013"/>
                <a:ext cx="180392" cy="95425"/>
              </a:xfrm>
              <a:prstGeom prst="rect">
                <a:avLst/>
              </a:prstGeom>
              <a:noFill/>
              <a:ln w="9525" cap="rnd" cmpd="sng" algn="ctr">
                <a:solidFill>
                  <a:srgbClr val="000000"/>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06" name="Rectangle 205">
                <a:extLst>
                  <a:ext uri="{FF2B5EF4-FFF2-40B4-BE49-F238E27FC236}">
                    <a16:creationId xmlns:a16="http://schemas.microsoft.com/office/drawing/2014/main" id="{86606C3A-50A6-4C8F-79C2-FBC4BDDFB756}"/>
                  </a:ext>
                </a:extLst>
              </p:cNvPr>
              <p:cNvSpPr/>
              <p:nvPr/>
            </p:nvSpPr>
            <p:spPr>
              <a:xfrm>
                <a:off x="9948128" y="5000013"/>
                <a:ext cx="2736633"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dirty="0">
                    <a:solidFill>
                      <a:srgbClr val="7F7F7F"/>
                    </a:solidFill>
                    <a:latin typeface="+mj-lt"/>
                  </a:rPr>
                  <a:t>USA (Private sector respondents)</a:t>
                </a:r>
              </a:p>
            </p:txBody>
          </p:sp>
        </p:grpSp>
        <p:grpSp>
          <p:nvGrpSpPr>
            <p:cNvPr id="193" name="Group 192">
              <a:extLst>
                <a:ext uri="{FF2B5EF4-FFF2-40B4-BE49-F238E27FC236}">
                  <a16:creationId xmlns:a16="http://schemas.microsoft.com/office/drawing/2014/main" id="{DF3C0077-16A2-DB43-713F-B9DA97DA557A}"/>
                </a:ext>
              </a:extLst>
            </p:cNvPr>
            <p:cNvGrpSpPr/>
            <p:nvPr/>
          </p:nvGrpSpPr>
          <p:grpSpPr>
            <a:xfrm>
              <a:off x="5408681" y="2239213"/>
              <a:ext cx="2253590" cy="95403"/>
              <a:chOff x="9811916" y="5194657"/>
              <a:chExt cx="2988309" cy="95425"/>
            </a:xfrm>
          </p:grpSpPr>
          <p:sp>
            <p:nvSpPr>
              <p:cNvPr id="203" name="Rectangle 202">
                <a:extLst>
                  <a:ext uri="{FF2B5EF4-FFF2-40B4-BE49-F238E27FC236}">
                    <a16:creationId xmlns:a16="http://schemas.microsoft.com/office/drawing/2014/main" id="{48F27D47-8974-6403-180E-CE138DC23E40}"/>
                  </a:ext>
                </a:extLst>
              </p:cNvPr>
              <p:cNvSpPr/>
              <p:nvPr/>
            </p:nvSpPr>
            <p:spPr>
              <a:xfrm>
                <a:off x="9811916" y="5194657"/>
                <a:ext cx="180392" cy="95425"/>
              </a:xfrm>
              <a:prstGeom prst="rect">
                <a:avLst/>
              </a:prstGeom>
              <a:noFill/>
              <a:ln w="9525" cap="rnd" cmpd="sng" algn="ctr">
                <a:solidFill>
                  <a:srgbClr val="212695"/>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04" name="Rectangle 203">
                <a:extLst>
                  <a:ext uri="{FF2B5EF4-FFF2-40B4-BE49-F238E27FC236}">
                    <a16:creationId xmlns:a16="http://schemas.microsoft.com/office/drawing/2014/main" id="{FE104843-CCE5-6140-A539-B090271BD5C9}"/>
                  </a:ext>
                </a:extLst>
              </p:cNvPr>
              <p:cNvSpPr/>
              <p:nvPr/>
            </p:nvSpPr>
            <p:spPr>
              <a:xfrm>
                <a:off x="9948129" y="5194657"/>
                <a:ext cx="2852096"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dirty="0">
                    <a:solidFill>
                      <a:srgbClr val="7F7F7F"/>
                    </a:solidFill>
                    <a:latin typeface="+mj-lt"/>
                  </a:rPr>
                  <a:t>Europe (Private sector respondents)</a:t>
                </a:r>
              </a:p>
            </p:txBody>
          </p:sp>
        </p:grpSp>
        <p:grpSp>
          <p:nvGrpSpPr>
            <p:cNvPr id="194" name="Group 193">
              <a:extLst>
                <a:ext uri="{FF2B5EF4-FFF2-40B4-BE49-F238E27FC236}">
                  <a16:creationId xmlns:a16="http://schemas.microsoft.com/office/drawing/2014/main" id="{28B164E3-2B11-FA44-2A27-23274421E614}"/>
                </a:ext>
              </a:extLst>
            </p:cNvPr>
            <p:cNvGrpSpPr/>
            <p:nvPr/>
          </p:nvGrpSpPr>
          <p:grpSpPr>
            <a:xfrm>
              <a:off x="5408679" y="2407647"/>
              <a:ext cx="2166516" cy="95403"/>
              <a:chOff x="9811916" y="5389301"/>
              <a:chExt cx="2872847" cy="95425"/>
            </a:xfrm>
          </p:grpSpPr>
          <p:sp>
            <p:nvSpPr>
              <p:cNvPr id="201" name="Rectangle 200">
                <a:extLst>
                  <a:ext uri="{FF2B5EF4-FFF2-40B4-BE49-F238E27FC236}">
                    <a16:creationId xmlns:a16="http://schemas.microsoft.com/office/drawing/2014/main" id="{5D1A2B97-9CDB-B845-93A3-B70BD5B51614}"/>
                  </a:ext>
                </a:extLst>
              </p:cNvPr>
              <p:cNvSpPr/>
              <p:nvPr/>
            </p:nvSpPr>
            <p:spPr>
              <a:xfrm>
                <a:off x="9811916" y="5389301"/>
                <a:ext cx="180392" cy="95425"/>
              </a:xfrm>
              <a:prstGeom prst="rect">
                <a:avLst/>
              </a:prstGeom>
              <a:noFill/>
              <a:ln w="9525" cap="rnd" cmpd="sng" algn="ctr">
                <a:solidFill>
                  <a:srgbClr val="F67E58"/>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02" name="Rectangle 201">
                <a:extLst>
                  <a:ext uri="{FF2B5EF4-FFF2-40B4-BE49-F238E27FC236}">
                    <a16:creationId xmlns:a16="http://schemas.microsoft.com/office/drawing/2014/main" id="{7C5FFB9D-5967-0F66-0EB5-DE79EF938D64}"/>
                  </a:ext>
                </a:extLst>
              </p:cNvPr>
              <p:cNvSpPr/>
              <p:nvPr/>
            </p:nvSpPr>
            <p:spPr>
              <a:xfrm>
                <a:off x="9948130" y="5389301"/>
                <a:ext cx="2736633"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dirty="0">
                    <a:solidFill>
                      <a:srgbClr val="7F7F7F"/>
                    </a:solidFill>
                    <a:latin typeface="+mj-lt"/>
                  </a:rPr>
                  <a:t>Asia (Private sector respondents)</a:t>
                </a:r>
                <a:endParaRPr lang="en-US" sz="600" dirty="0">
                  <a:solidFill>
                    <a:srgbClr val="575757"/>
                  </a:solidFill>
                  <a:latin typeface="+mj-lt"/>
                </a:endParaRPr>
              </a:p>
            </p:txBody>
          </p:sp>
        </p:grpSp>
        <p:grpSp>
          <p:nvGrpSpPr>
            <p:cNvPr id="195" name="Group 194">
              <a:extLst>
                <a:ext uri="{FF2B5EF4-FFF2-40B4-BE49-F238E27FC236}">
                  <a16:creationId xmlns:a16="http://schemas.microsoft.com/office/drawing/2014/main" id="{5ECD1E0C-19D5-AAAF-146E-EEC65050581D}"/>
                </a:ext>
              </a:extLst>
            </p:cNvPr>
            <p:cNvGrpSpPr/>
            <p:nvPr/>
          </p:nvGrpSpPr>
          <p:grpSpPr>
            <a:xfrm>
              <a:off x="5408623" y="1902345"/>
              <a:ext cx="1694378" cy="95403"/>
              <a:chOff x="9811916" y="5583945"/>
              <a:chExt cx="2246799" cy="95425"/>
            </a:xfrm>
          </p:grpSpPr>
          <p:sp>
            <p:nvSpPr>
              <p:cNvPr id="199" name="Rectangle 198">
                <a:extLst>
                  <a:ext uri="{FF2B5EF4-FFF2-40B4-BE49-F238E27FC236}">
                    <a16:creationId xmlns:a16="http://schemas.microsoft.com/office/drawing/2014/main" id="{AC34FE67-2EB8-6262-0C1A-96B8DCCDDD31}"/>
                  </a:ext>
                </a:extLst>
              </p:cNvPr>
              <p:cNvSpPr/>
              <p:nvPr/>
            </p:nvSpPr>
            <p:spPr>
              <a:xfrm>
                <a:off x="9811916" y="5583945"/>
                <a:ext cx="180392" cy="95425"/>
              </a:xfrm>
              <a:prstGeom prst="rect">
                <a:avLst/>
              </a:prstGeom>
              <a:solidFill>
                <a:srgbClr val="837F7F"/>
              </a:solidFill>
              <a:ln w="9525" cap="rnd" cmpd="sng" algn="ctr">
                <a:solidFill>
                  <a:srgbClr val="837F7F"/>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200" name="Rectangle 199">
                <a:extLst>
                  <a:ext uri="{FF2B5EF4-FFF2-40B4-BE49-F238E27FC236}">
                    <a16:creationId xmlns:a16="http://schemas.microsoft.com/office/drawing/2014/main" id="{B027357E-F42B-D19B-10F1-456D65B8C5C3}"/>
                  </a:ext>
                </a:extLst>
              </p:cNvPr>
              <p:cNvSpPr/>
              <p:nvPr/>
            </p:nvSpPr>
            <p:spPr>
              <a:xfrm>
                <a:off x="9948144" y="5583945"/>
                <a:ext cx="2110571"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a:solidFill>
                      <a:srgbClr val="575757"/>
                    </a:solidFill>
                    <a:latin typeface="+mj-lt"/>
                  </a:rPr>
                  <a:t>Other (All respondents)</a:t>
                </a:r>
              </a:p>
            </p:txBody>
          </p:sp>
        </p:grpSp>
        <p:grpSp>
          <p:nvGrpSpPr>
            <p:cNvPr id="196" name="Group 195">
              <a:extLst>
                <a:ext uri="{FF2B5EF4-FFF2-40B4-BE49-F238E27FC236}">
                  <a16:creationId xmlns:a16="http://schemas.microsoft.com/office/drawing/2014/main" id="{8335295C-AC33-43BB-AD80-572CAC58B86D}"/>
                </a:ext>
              </a:extLst>
            </p:cNvPr>
            <p:cNvGrpSpPr/>
            <p:nvPr/>
          </p:nvGrpSpPr>
          <p:grpSpPr>
            <a:xfrm>
              <a:off x="5408678" y="2576081"/>
              <a:ext cx="2166515" cy="95403"/>
              <a:chOff x="9811916" y="5583945"/>
              <a:chExt cx="2872846" cy="95425"/>
            </a:xfrm>
          </p:grpSpPr>
          <p:sp>
            <p:nvSpPr>
              <p:cNvPr id="197" name="Rectangle 196">
                <a:extLst>
                  <a:ext uri="{FF2B5EF4-FFF2-40B4-BE49-F238E27FC236}">
                    <a16:creationId xmlns:a16="http://schemas.microsoft.com/office/drawing/2014/main" id="{ADF2F934-6591-2F6E-1F3D-480D71F6BD5C}"/>
                  </a:ext>
                </a:extLst>
              </p:cNvPr>
              <p:cNvSpPr/>
              <p:nvPr/>
            </p:nvSpPr>
            <p:spPr>
              <a:xfrm>
                <a:off x="9811916" y="5583945"/>
                <a:ext cx="180392" cy="95425"/>
              </a:xfrm>
              <a:prstGeom prst="rect">
                <a:avLst/>
              </a:prstGeom>
              <a:noFill/>
              <a:ln w="9525" cap="rnd" cmpd="sng" algn="ctr">
                <a:solidFill>
                  <a:srgbClr val="837F7F"/>
                </a:solidFill>
                <a:prstDash val="dash"/>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000">
                  <a:solidFill>
                    <a:srgbClr val="FFFFFF"/>
                  </a:solidFill>
                  <a:latin typeface="DINPro" panose="020B0504020201010104" pitchFamily="34" charset="0"/>
                </a:endParaRPr>
              </a:p>
            </p:txBody>
          </p:sp>
          <p:sp>
            <p:nvSpPr>
              <p:cNvPr id="198" name="Rectangle 197">
                <a:extLst>
                  <a:ext uri="{FF2B5EF4-FFF2-40B4-BE49-F238E27FC236}">
                    <a16:creationId xmlns:a16="http://schemas.microsoft.com/office/drawing/2014/main" id="{0883DDED-8DB4-020D-EC2D-ADACCBBD9F28}"/>
                  </a:ext>
                </a:extLst>
              </p:cNvPr>
              <p:cNvSpPr/>
              <p:nvPr/>
            </p:nvSpPr>
            <p:spPr>
              <a:xfrm>
                <a:off x="9948129" y="5583945"/>
                <a:ext cx="2736633" cy="9542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600" dirty="0">
                    <a:solidFill>
                      <a:srgbClr val="7F7F7F"/>
                    </a:solidFill>
                    <a:latin typeface="+mj-lt"/>
                  </a:rPr>
                  <a:t>Other</a:t>
                </a:r>
                <a:r>
                  <a:rPr lang="en-US" sz="600" dirty="0">
                    <a:solidFill>
                      <a:srgbClr val="575757"/>
                    </a:solidFill>
                    <a:latin typeface="+mj-lt"/>
                  </a:rPr>
                  <a:t> </a:t>
                </a:r>
                <a:r>
                  <a:rPr lang="en-US" sz="600" dirty="0">
                    <a:solidFill>
                      <a:srgbClr val="7F7F7F"/>
                    </a:solidFill>
                    <a:latin typeface="+mj-lt"/>
                  </a:rPr>
                  <a:t>(Private sector respondents)</a:t>
                </a:r>
                <a:r>
                  <a:rPr lang="en-US" sz="600" dirty="0">
                    <a:solidFill>
                      <a:srgbClr val="575757"/>
                    </a:solidFill>
                    <a:latin typeface="+mj-lt"/>
                  </a:rPr>
                  <a:t> </a:t>
                </a:r>
              </a:p>
            </p:txBody>
          </p:sp>
        </p:grpSp>
      </p:grpSp>
      <p:sp>
        <p:nvSpPr>
          <p:cNvPr id="244" name="Rectangle 243">
            <a:extLst>
              <a:ext uri="{FF2B5EF4-FFF2-40B4-BE49-F238E27FC236}">
                <a16:creationId xmlns:a16="http://schemas.microsoft.com/office/drawing/2014/main" id="{1D74A072-9F09-2A0D-7DB0-06E199DC2306}"/>
              </a:ext>
            </a:extLst>
          </p:cNvPr>
          <p:cNvSpPr/>
          <p:nvPr/>
        </p:nvSpPr>
        <p:spPr>
          <a:xfrm>
            <a:off x="367194" y="996960"/>
            <a:ext cx="4077719" cy="3975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08E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r>
              <a:rPr lang="en-US" sz="1000" b="1" dirty="0">
                <a:solidFill>
                  <a:schemeClr val="tx1"/>
                </a:solidFill>
              </a:rPr>
              <a:t>The Finnish industry's direct geographical connections</a:t>
            </a:r>
          </a:p>
        </p:txBody>
      </p:sp>
      <p:sp>
        <p:nvSpPr>
          <p:cNvPr id="245" name="Rectangle 244">
            <a:extLst>
              <a:ext uri="{FF2B5EF4-FFF2-40B4-BE49-F238E27FC236}">
                <a16:creationId xmlns:a16="http://schemas.microsoft.com/office/drawing/2014/main" id="{0E871521-D876-97AE-880B-04E53B46C4C4}"/>
              </a:ext>
            </a:extLst>
          </p:cNvPr>
          <p:cNvSpPr/>
          <p:nvPr/>
        </p:nvSpPr>
        <p:spPr>
          <a:xfrm>
            <a:off x="367195" y="1470025"/>
            <a:ext cx="4169879" cy="2238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08E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r>
              <a:rPr lang="en-US" sz="800" i="1" dirty="0">
                <a:solidFill>
                  <a:schemeClr val="tx1"/>
                </a:solidFill>
              </a:rPr>
              <a:t>Survey results</a:t>
            </a:r>
            <a:r>
              <a:rPr lang="en-US" sz="800" i="1" baseline="30000" dirty="0">
                <a:solidFill>
                  <a:schemeClr val="tx1"/>
                </a:solidFill>
              </a:rPr>
              <a:t>1: </a:t>
            </a:r>
            <a:r>
              <a:rPr lang="en-US" sz="800" i="1" dirty="0">
                <a:solidFill>
                  <a:schemeClr val="tx1"/>
                </a:solidFill>
              </a:rPr>
              <a:t>Share of 'Direct Connection' selections by economy or region</a:t>
            </a:r>
          </a:p>
          <a:p>
            <a:pPr defTabSz="685800"/>
            <a:endParaRPr lang="en-US" sz="800" i="1" dirty="0">
              <a:solidFill>
                <a:schemeClr val="tx1"/>
              </a:solidFill>
            </a:endParaRPr>
          </a:p>
        </p:txBody>
      </p:sp>
      <p:sp>
        <p:nvSpPr>
          <p:cNvPr id="7" name="Footer Placeholder 3">
            <a:extLst>
              <a:ext uri="{FF2B5EF4-FFF2-40B4-BE49-F238E27FC236}">
                <a16:creationId xmlns:a16="http://schemas.microsoft.com/office/drawing/2014/main" id="{13CAEFBA-2787-3AFF-B8CD-42844596EB12}"/>
              </a:ext>
            </a:extLst>
          </p:cNvPr>
          <p:cNvSpPr txBox="1">
            <a:spLocks/>
          </p:cNvSpPr>
          <p:nvPr/>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Technology Industries of Finland</a:t>
            </a:r>
          </a:p>
        </p:txBody>
      </p:sp>
    </p:spTree>
    <p:extLst>
      <p:ext uri="{BB962C8B-B14F-4D97-AF65-F5344CB8AC3E}">
        <p14:creationId xmlns:p14="http://schemas.microsoft.com/office/powerpoint/2010/main" val="326499322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527DAFC8-E43F-B664-298B-52B12FD413D3}"/>
              </a:ext>
            </a:extLst>
          </p:cNvPr>
          <p:cNvSpPr>
            <a:spLocks noGrp="1"/>
          </p:cNvSpPr>
          <p:nvPr>
            <p:ph type="body" sz="quarter" idx="15"/>
          </p:nvPr>
        </p:nvSpPr>
        <p:spPr/>
        <p:txBody>
          <a:bodyPr/>
          <a:lstStyle/>
          <a:p>
            <a:r>
              <a:rPr lang="en-US" dirty="0"/>
              <a:t>Finland’s six growth opportunities</a:t>
            </a:r>
          </a:p>
        </p:txBody>
      </p:sp>
      <p:sp>
        <p:nvSpPr>
          <p:cNvPr id="2" name="Slide Number Placeholder 1">
            <a:extLst>
              <a:ext uri="{FF2B5EF4-FFF2-40B4-BE49-F238E27FC236}">
                <a16:creationId xmlns:a16="http://schemas.microsoft.com/office/drawing/2014/main" id="{71BBAD17-DC65-091A-7D06-4F91B719CB49}"/>
              </a:ext>
            </a:extLst>
          </p:cNvPr>
          <p:cNvSpPr>
            <a:spLocks noGrp="1"/>
          </p:cNvSpPr>
          <p:nvPr>
            <p:ph type="sldNum" sz="quarter" idx="12"/>
          </p:nvPr>
        </p:nvSpPr>
        <p:spPr/>
        <p:txBody>
          <a:bodyPr/>
          <a:lstStyle/>
          <a:p>
            <a:fld id="{6FCB6B90-8271-4E8F-82C1-E646FBB48A2E}" type="slidenum">
              <a:rPr lang="en-US" smtClean="0"/>
              <a:pPr/>
              <a:t>18</a:t>
            </a:fld>
            <a:endParaRPr lang="en-US"/>
          </a:p>
        </p:txBody>
      </p:sp>
      <p:sp>
        <p:nvSpPr>
          <p:cNvPr id="3" name="Date Placeholder 2">
            <a:extLst>
              <a:ext uri="{FF2B5EF4-FFF2-40B4-BE49-F238E27FC236}">
                <a16:creationId xmlns:a16="http://schemas.microsoft.com/office/drawing/2014/main" id="{F462CA51-9EAF-985A-38ED-2C060F44855E}"/>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F9400000-C18F-D4D7-8C99-C8F6546F8E1F}"/>
              </a:ext>
            </a:extLst>
          </p:cNvPr>
          <p:cNvSpPr>
            <a:spLocks noGrp="1"/>
          </p:cNvSpPr>
          <p:nvPr>
            <p:ph type="ftr" sz="quarter" idx="11"/>
          </p:nvPr>
        </p:nvSpPr>
        <p:spPr/>
        <p:txBody>
          <a:bodyPr/>
          <a:lstStyle/>
          <a:p>
            <a:r>
              <a:rPr lang="en-US"/>
              <a:t>Technology Industries of Finland</a:t>
            </a:r>
          </a:p>
        </p:txBody>
      </p:sp>
    </p:spTree>
    <p:extLst>
      <p:ext uri="{BB962C8B-B14F-4D97-AF65-F5344CB8AC3E}">
        <p14:creationId xmlns:p14="http://schemas.microsoft.com/office/powerpoint/2010/main" val="410526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 name="think-cell data - do not delete" hidden="1">
            <a:extLst>
              <a:ext uri="{FF2B5EF4-FFF2-40B4-BE49-F238E27FC236}">
                <a16:creationId xmlns:a16="http://schemas.microsoft.com/office/drawing/2014/main" id="{22851849-4C10-96E2-BD6C-6F8E110DBBDE}"/>
              </a:ext>
            </a:extLst>
          </p:cNvPr>
          <p:cNvGraphicFramePr>
            <a:graphicFrameLocks noChangeAspect="1"/>
          </p:cNvGraphicFramePr>
          <p:nvPr>
            <p:custDataLst>
              <p:tags r:id="rId1"/>
            </p:custDataLst>
            <p:extLst>
              <p:ext uri="{D42A27DB-BD31-4B8C-83A1-F6EECF244321}">
                <p14:modId xmlns:p14="http://schemas.microsoft.com/office/powerpoint/2010/main" val="4025602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17" name="think-cell data - do not delete" hidden="1">
                        <a:extLst>
                          <a:ext uri="{FF2B5EF4-FFF2-40B4-BE49-F238E27FC236}">
                            <a16:creationId xmlns:a16="http://schemas.microsoft.com/office/drawing/2014/main" id="{22851849-4C10-96E2-BD6C-6F8E110DBB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42E61B1A-B912-7B7A-4554-ECED51E59DAA}"/>
              </a:ext>
            </a:extLst>
          </p:cNvPr>
          <p:cNvSpPr>
            <a:spLocks noGrp="1"/>
          </p:cNvSpPr>
          <p:nvPr>
            <p:ph type="sldNum" sz="quarter" idx="12"/>
          </p:nvPr>
        </p:nvSpPr>
        <p:spPr/>
        <p:txBody>
          <a:bodyPr/>
          <a:lstStyle/>
          <a:p>
            <a:fld id="{6FCB6B90-8271-4E8F-82C1-E646FBB48A2E}" type="slidenum">
              <a:rPr lang="en-US" smtClean="0"/>
              <a:pPr/>
              <a:t>19</a:t>
            </a:fld>
            <a:endParaRPr lang="en-US"/>
          </a:p>
        </p:txBody>
      </p:sp>
      <p:pic>
        <p:nvPicPr>
          <p:cNvPr id="8" name="Picture 7">
            <a:extLst>
              <a:ext uri="{FF2B5EF4-FFF2-40B4-BE49-F238E27FC236}">
                <a16:creationId xmlns:a16="http://schemas.microsoft.com/office/drawing/2014/main" id="{5EBF93DC-DD2F-3E62-3ECA-356A280F8962}"/>
              </a:ext>
            </a:extLst>
          </p:cNvPr>
          <p:cNvPicPr>
            <a:picLocks noChangeAspect="1"/>
          </p:cNvPicPr>
          <p:nvPr/>
        </p:nvPicPr>
        <p:blipFill rotWithShape="1">
          <a:blip r:embed="rId6">
            <a:extLst>
              <a:ext uri="{28A0092B-C50C-407E-A947-70E740481C1C}">
                <a14:useLocalDpi xmlns:a14="http://schemas.microsoft.com/office/drawing/2010/main" val="0"/>
              </a:ext>
            </a:extLst>
          </a:blip>
          <a:srcRect l="41116" r="22083" b="17712"/>
          <a:stretch/>
        </p:blipFill>
        <p:spPr>
          <a:xfrm>
            <a:off x="0" y="0"/>
            <a:ext cx="3067050" cy="5143500"/>
          </a:xfrm>
          <a:prstGeom prst="rect">
            <a:avLst/>
          </a:prstGeom>
        </p:spPr>
      </p:pic>
      <p:sp>
        <p:nvSpPr>
          <p:cNvPr id="9" name="Rectangle 8">
            <a:extLst>
              <a:ext uri="{FF2B5EF4-FFF2-40B4-BE49-F238E27FC236}">
                <a16:creationId xmlns:a16="http://schemas.microsoft.com/office/drawing/2014/main" id="{AD648EFE-79D5-035A-24C8-86E2C3C05F44}"/>
              </a:ext>
            </a:extLst>
          </p:cNvPr>
          <p:cNvSpPr/>
          <p:nvPr/>
        </p:nvSpPr>
        <p:spPr>
          <a:xfrm>
            <a:off x="0" y="0"/>
            <a:ext cx="3067050" cy="5143500"/>
          </a:xfrm>
          <a:prstGeom prst="rect">
            <a:avLst/>
          </a:prstGeom>
          <a:gradFill flip="none" rotWithShape="1">
            <a:gsLst>
              <a:gs pos="17460">
                <a:srgbClr val="0E4380">
                  <a:alpha val="75000"/>
                </a:srgbClr>
              </a:gs>
              <a:gs pos="0">
                <a:srgbClr val="113972"/>
              </a:gs>
              <a:gs pos="97000">
                <a:srgbClr val="0070C0">
                  <a:alpha val="0"/>
                </a:srgbClr>
              </a:gs>
            </a:gsLst>
            <a:lin ang="5400000" scaled="1"/>
            <a:tileRect/>
          </a:gradFill>
          <a:ln w="10795" cap="flat" cmpd="sng" algn="ctr">
            <a:noFill/>
            <a:prstDash val="solid"/>
          </a:ln>
          <a:effectLst/>
        </p:spPr>
        <p:txBody>
          <a:bodyPr lIns="68580" tIns="68580" rIns="68580" bIns="68580" rtlCol="0" anchor="ctr"/>
          <a:lstStyle/>
          <a:p>
            <a:pPr algn="ctr" defTabSz="914400">
              <a:lnSpc>
                <a:spcPct val="95000"/>
              </a:lnSpc>
            </a:pPr>
            <a:endParaRPr lang="en-US" sz="1400" kern="0">
              <a:solidFill>
                <a:prstClr val="white"/>
              </a:solidFill>
            </a:endParaRPr>
          </a:p>
        </p:txBody>
      </p:sp>
      <p:sp>
        <p:nvSpPr>
          <p:cNvPr id="10" name="Text Placeholder 5">
            <a:extLst>
              <a:ext uri="{FF2B5EF4-FFF2-40B4-BE49-F238E27FC236}">
                <a16:creationId xmlns:a16="http://schemas.microsoft.com/office/drawing/2014/main" id="{AC80CF7A-54F5-ACCE-7182-BE26BEBF34D3}"/>
              </a:ext>
            </a:extLst>
          </p:cNvPr>
          <p:cNvSpPr>
            <a:spLocks noGrp="1"/>
          </p:cNvSpPr>
          <p:nvPr>
            <p:ph type="body" sz="quarter" idx="18"/>
          </p:nvPr>
        </p:nvSpPr>
        <p:spPr>
          <a:xfrm>
            <a:off x="215924" y="488874"/>
            <a:ext cx="2710113" cy="471914"/>
          </a:xfrm>
        </p:spPr>
        <p:txBody>
          <a:bodyPr>
            <a:noAutofit/>
          </a:bodyPr>
          <a:lstStyle/>
          <a:p>
            <a:pPr marL="21600" indent="0">
              <a:buNone/>
            </a:pPr>
            <a:r>
              <a:rPr lang="en-US" sz="1400" b="1" dirty="0">
                <a:solidFill>
                  <a:schemeClr val="bg1"/>
                </a:solidFill>
              </a:rPr>
              <a:t>Finland to surpass global market growth, yielding significant job creation and indirect economic impact over the next decade</a:t>
            </a:r>
          </a:p>
        </p:txBody>
      </p:sp>
      <p:pic>
        <p:nvPicPr>
          <p:cNvPr id="15" name="Picture 14">
            <a:extLst>
              <a:ext uri="{FF2B5EF4-FFF2-40B4-BE49-F238E27FC236}">
                <a16:creationId xmlns:a16="http://schemas.microsoft.com/office/drawing/2014/main" id="{25A5A99F-C7FF-A7F1-BCDF-C244FE24D5BF}"/>
              </a:ext>
            </a:extLst>
          </p:cNvPr>
          <p:cNvPicPr>
            <a:picLocks noChangeAspect="1"/>
          </p:cNvPicPr>
          <p:nvPr/>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3067050" y="0"/>
            <a:ext cx="526097" cy="5143500"/>
          </a:xfrm>
          <a:prstGeom prst="rect">
            <a:avLst/>
          </a:prstGeom>
        </p:spPr>
      </p:pic>
      <p:sp>
        <p:nvSpPr>
          <p:cNvPr id="16" name="ee4pFootnotes">
            <a:extLst>
              <a:ext uri="{FF2B5EF4-FFF2-40B4-BE49-F238E27FC236}">
                <a16:creationId xmlns:a16="http://schemas.microsoft.com/office/drawing/2014/main" id="{0A651DAC-C789-8291-AED6-89676A1EA53B}"/>
              </a:ext>
            </a:extLst>
          </p:cNvPr>
          <p:cNvSpPr>
            <a:spLocks noChangeArrowheads="1"/>
          </p:cNvSpPr>
          <p:nvPr/>
        </p:nvSpPr>
        <p:spPr bwMode="auto">
          <a:xfrm>
            <a:off x="3349076" y="4672648"/>
            <a:ext cx="5316622" cy="3877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700"/>
              <a:t>1. Average and median responses from a Finnish semiconductor industry survey: 'What is your estimate for an annual growth rate of Finland Microelectronics &amp; Semiconductor industry until 2035?' (Global market expected to grow ~7-8% YoY, Gartner) 2. Based on the SIA report 'How Federal Investment in Semiconductor R&amp;D Spurs U.S. Economic Growth and Job Creation</a:t>
            </a:r>
          </a:p>
        </p:txBody>
      </p:sp>
      <p:sp>
        <p:nvSpPr>
          <p:cNvPr id="3" name="Date Placeholder 2">
            <a:extLst>
              <a:ext uri="{FF2B5EF4-FFF2-40B4-BE49-F238E27FC236}">
                <a16:creationId xmlns:a16="http://schemas.microsoft.com/office/drawing/2014/main" id="{7733BD07-A5C9-38A8-252B-50EEEC9791B6}"/>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41A210D3-E90F-38B6-8E5F-B6B669998383}"/>
              </a:ext>
            </a:extLst>
          </p:cNvPr>
          <p:cNvSpPr>
            <a:spLocks noGrp="1"/>
          </p:cNvSpPr>
          <p:nvPr>
            <p:ph type="ftr" sz="quarter" idx="11"/>
          </p:nvPr>
        </p:nvSpPr>
        <p:spPr/>
        <p:txBody>
          <a:bodyPr/>
          <a:lstStyle/>
          <a:p>
            <a:r>
              <a:rPr lang="en-US"/>
              <a:t>Technology Industries of Finland</a:t>
            </a:r>
          </a:p>
        </p:txBody>
      </p:sp>
      <p:sp>
        <p:nvSpPr>
          <p:cNvPr id="18" name="TextBox 17">
            <a:extLst>
              <a:ext uri="{FF2B5EF4-FFF2-40B4-BE49-F238E27FC236}">
                <a16:creationId xmlns:a16="http://schemas.microsoft.com/office/drawing/2014/main" id="{BEED88C6-BEF2-D5F4-446F-21BB4D2DB470}"/>
              </a:ext>
            </a:extLst>
          </p:cNvPr>
          <p:cNvSpPr txBox="1"/>
          <p:nvPr/>
        </p:nvSpPr>
        <p:spPr>
          <a:xfrm>
            <a:off x="3349076" y="488874"/>
            <a:ext cx="5177704" cy="1750085"/>
          </a:xfrm>
          <a:prstGeom prst="rect">
            <a:avLst/>
          </a:prstGeom>
          <a:noFill/>
        </p:spPr>
        <p:txBody>
          <a:bodyPr wrap="square" lIns="36000" tIns="36000" rIns="36000" bIns="36000" rtlCol="0">
            <a:spAutoFit/>
          </a:bodyPr>
          <a:lstStyle/>
          <a:p>
            <a:r>
              <a:rPr lang="en-US" sz="1400" b="1" spc="-40" dirty="0">
                <a:latin typeface="+mj-lt"/>
              </a:rPr>
              <a:t>+10% annual revenue growth</a:t>
            </a:r>
            <a:r>
              <a:rPr lang="en-US" sz="1400" b="1" spc="-40" baseline="30000" dirty="0">
                <a:latin typeface="+mj-lt"/>
              </a:rPr>
              <a:t>1</a:t>
            </a:r>
            <a:r>
              <a:rPr lang="en-US" sz="1400" b="1" spc="-40" dirty="0">
                <a:latin typeface="+mj-lt"/>
              </a:rPr>
              <a:t> </a:t>
            </a:r>
          </a:p>
          <a:p>
            <a:endParaRPr lang="en-US" sz="500" b="1" spc="-40" dirty="0">
              <a:latin typeface="+mj-lt"/>
            </a:endParaRPr>
          </a:p>
          <a:p>
            <a:r>
              <a:rPr lang="en-US" sz="1000" spc="-40" dirty="0">
                <a:latin typeface="+mj-lt"/>
              </a:rPr>
              <a:t>The Finnish semiconductor industry projects to outpace the global average growth of 7-8% over the next 10 years, tripling Finnish revenue to €5-6B by 2035</a:t>
            </a:r>
            <a:endParaRPr lang="en-US" sz="1000" spc="-40" baseline="30000" dirty="0">
              <a:latin typeface="+mj-lt"/>
            </a:endParaRPr>
          </a:p>
          <a:p>
            <a:endParaRPr lang="en-US" sz="500" spc="-40" dirty="0">
              <a:latin typeface="+mj-lt"/>
            </a:endParaRPr>
          </a:p>
          <a:p>
            <a:endParaRPr lang="en-US" sz="500" spc="-40" dirty="0">
              <a:latin typeface="+mj-lt"/>
            </a:endParaRPr>
          </a:p>
          <a:p>
            <a:r>
              <a:rPr lang="en-US" sz="1000" spc="-40" dirty="0">
                <a:latin typeface="+mj-lt"/>
              </a:rPr>
              <a:t>Most Finnish semiconductor companies and research are focused on above-market growth segments, such as wireless connectivity, SoC chip design, quantum technologies – and serve customers in growing end use segments</a:t>
            </a:r>
          </a:p>
          <a:p>
            <a:endParaRPr lang="en-US" sz="1000" spc="-40" dirty="0">
              <a:latin typeface="+mj-lt"/>
            </a:endParaRPr>
          </a:p>
          <a:p>
            <a:r>
              <a:rPr lang="en-US" sz="1000" spc="-40" dirty="0">
                <a:latin typeface="+mj-lt"/>
              </a:rPr>
              <a:t>Finnish semiconductor industry emphasizes that growth cannot be sustained without skilled resources, long-term investments and collaboration in R&amp;D </a:t>
            </a:r>
            <a:endParaRPr lang="en-US" sz="500" spc="-40" dirty="0">
              <a:latin typeface="+mj-lt"/>
            </a:endParaRPr>
          </a:p>
        </p:txBody>
      </p:sp>
      <p:sp>
        <p:nvSpPr>
          <p:cNvPr id="5" name="TextBox 4">
            <a:extLst>
              <a:ext uri="{FF2B5EF4-FFF2-40B4-BE49-F238E27FC236}">
                <a16:creationId xmlns:a16="http://schemas.microsoft.com/office/drawing/2014/main" id="{27ECD9F2-EE12-A1F5-FBDE-734AEBE5D72E}"/>
              </a:ext>
            </a:extLst>
          </p:cNvPr>
          <p:cNvSpPr txBox="1"/>
          <p:nvPr/>
        </p:nvSpPr>
        <p:spPr>
          <a:xfrm>
            <a:off x="3349076" y="2460954"/>
            <a:ext cx="5262308" cy="749812"/>
          </a:xfrm>
          <a:prstGeom prst="rect">
            <a:avLst/>
          </a:prstGeom>
        </p:spPr>
        <p:txBody>
          <a:bodyPr wrap="square" lIns="36000" tIns="36000" rIns="36000" bIns="36000" rtlCol="0">
            <a:spAutoFit/>
          </a:bodyPr>
          <a:lstStyle/>
          <a:p>
            <a:r>
              <a:rPr lang="en-US" sz="1400" b="1" spc="-40" dirty="0">
                <a:latin typeface="+mj-lt"/>
              </a:rPr>
              <a:t>15.000 new jobs</a:t>
            </a:r>
          </a:p>
          <a:p>
            <a:endParaRPr lang="en-US" sz="500" b="1" spc="-40" dirty="0">
              <a:latin typeface="+mj-lt"/>
            </a:endParaRPr>
          </a:p>
          <a:p>
            <a:r>
              <a:rPr lang="en-US" sz="1000" spc="-40" dirty="0">
                <a:latin typeface="+mj-lt"/>
              </a:rPr>
              <a:t>The number of employees needs to increase from 7.000 to 20.000 by 2035</a:t>
            </a:r>
          </a:p>
          <a:p>
            <a:endParaRPr lang="en-US" sz="500" spc="-40" dirty="0">
              <a:latin typeface="+mj-lt"/>
            </a:endParaRPr>
          </a:p>
          <a:p>
            <a:r>
              <a:rPr lang="en-US" sz="1000" spc="-40" dirty="0">
                <a:latin typeface="+mj-lt"/>
              </a:rPr>
              <a:t>Over 50% of new jobs require an MSc degree, 20% a BSc and 10% a PhD or DSc.</a:t>
            </a:r>
          </a:p>
        </p:txBody>
      </p:sp>
      <p:sp>
        <p:nvSpPr>
          <p:cNvPr id="23" name="TextBox 22">
            <a:extLst>
              <a:ext uri="{FF2B5EF4-FFF2-40B4-BE49-F238E27FC236}">
                <a16:creationId xmlns:a16="http://schemas.microsoft.com/office/drawing/2014/main" id="{5FA3478B-EE12-E61F-6829-0E31EFDFFA61}"/>
              </a:ext>
            </a:extLst>
          </p:cNvPr>
          <p:cNvSpPr txBox="1"/>
          <p:nvPr/>
        </p:nvSpPr>
        <p:spPr>
          <a:xfrm>
            <a:off x="3349076" y="3511936"/>
            <a:ext cx="5262308" cy="826756"/>
          </a:xfrm>
          <a:prstGeom prst="rect">
            <a:avLst/>
          </a:prstGeom>
        </p:spPr>
        <p:txBody>
          <a:bodyPr wrap="square" lIns="36000" tIns="36000" rIns="36000" bIns="36000" rtlCol="0">
            <a:spAutoFit/>
          </a:bodyPr>
          <a:lstStyle/>
          <a:p>
            <a:r>
              <a:rPr lang="en-US" sz="1400" b="1" spc="-40" dirty="0">
                <a:latin typeface="+mj-lt"/>
              </a:rPr>
              <a:t>Significant indirect economic impacts</a:t>
            </a:r>
          </a:p>
          <a:p>
            <a:endParaRPr lang="en-US" sz="500" spc="-40" dirty="0">
              <a:latin typeface="+mj-lt"/>
            </a:endParaRPr>
          </a:p>
          <a:p>
            <a:r>
              <a:rPr lang="en-US" sz="1000" spc="-40" dirty="0">
                <a:latin typeface="+mj-lt"/>
              </a:rPr>
              <a:t>R&amp;D investments into semiconductors are expected to create €90B to €180B indirect value to other sectors – and each euro invested in the sector's R&amp;D is estimated to increase the gross domestic product of Finland by €16,5</a:t>
            </a:r>
            <a:r>
              <a:rPr lang="en-US" sz="1000" spc="-40" baseline="30000" dirty="0">
                <a:latin typeface="+mj-lt"/>
              </a:rPr>
              <a:t>2</a:t>
            </a:r>
            <a:endParaRPr lang="en-US" sz="1000" spc="-40" dirty="0">
              <a:latin typeface="+mj-lt"/>
            </a:endParaRPr>
          </a:p>
        </p:txBody>
      </p:sp>
    </p:spTree>
    <p:extLst>
      <p:ext uri="{BB962C8B-B14F-4D97-AF65-F5344CB8AC3E}">
        <p14:creationId xmlns:p14="http://schemas.microsoft.com/office/powerpoint/2010/main" val="1205465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7D39FDD2-4218-9BCA-E08A-BFAA5DDABB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8" imgW="473" imgH="473" progId="TCLayout.ActiveDocument.1">
                  <p:embed/>
                </p:oleObj>
              </mc:Choice>
              <mc:Fallback>
                <p:oleObj name="think-cell Slide" r:id="rId8" imgW="473" imgH="473" progId="TCLayout.ActiveDocument.1">
                  <p:embed/>
                  <p:pic>
                    <p:nvPicPr>
                      <p:cNvPr id="55" name="think-cell data - do not delete" hidden="1">
                        <a:extLst>
                          <a:ext uri="{FF2B5EF4-FFF2-40B4-BE49-F238E27FC236}">
                            <a16:creationId xmlns:a16="http://schemas.microsoft.com/office/drawing/2014/main" id="{7D39FDD2-4218-9BCA-E08A-BFAA5DDABB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31" name="ee4pContent2">
            <a:extLst>
              <a:ext uri="{FF2B5EF4-FFF2-40B4-BE49-F238E27FC236}">
                <a16:creationId xmlns:a16="http://schemas.microsoft.com/office/drawing/2014/main" id="{CE43C715-41AA-01BB-C3C2-35785C86902F}"/>
              </a:ext>
            </a:extLst>
          </p:cNvPr>
          <p:cNvSpPr txBox="1"/>
          <p:nvPr/>
        </p:nvSpPr>
        <p:spPr>
          <a:xfrm>
            <a:off x="361258" y="422969"/>
            <a:ext cx="1635804" cy="245886"/>
          </a:xfrm>
          <a:prstGeom prst="rect">
            <a:avLst/>
          </a:prstGeom>
          <a:noFill/>
          <a:ln w="9525" cap="flat" cmpd="sng" algn="ctr">
            <a:noFill/>
            <a:prstDash val="solid"/>
            <a:round/>
            <a:headEnd type="none" w="med" len="med"/>
            <a:tailEnd type="none" w="med" len="med"/>
          </a:ln>
        </p:spPr>
        <p:txBody>
          <a:bodyPr vert="horz" wrap="square" lIns="0" tIns="0" rIns="0" bIns="0" anchor="ctr" anchorCtr="0" compatLnSpc="1">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2024</a:t>
            </a:r>
          </a:p>
        </p:txBody>
      </p:sp>
      <p:sp>
        <p:nvSpPr>
          <p:cNvPr id="132" name="ee4pContent2">
            <a:extLst>
              <a:ext uri="{FF2B5EF4-FFF2-40B4-BE49-F238E27FC236}">
                <a16:creationId xmlns:a16="http://schemas.microsoft.com/office/drawing/2014/main" id="{A2E81462-7832-A6E6-8DDA-4C2A0284D574}"/>
              </a:ext>
            </a:extLst>
          </p:cNvPr>
          <p:cNvSpPr txBox="1"/>
          <p:nvPr/>
        </p:nvSpPr>
        <p:spPr>
          <a:xfrm>
            <a:off x="7199824" y="422969"/>
            <a:ext cx="951400" cy="245886"/>
          </a:xfrm>
          <a:prstGeom prst="rect">
            <a:avLst/>
          </a:prstGeom>
          <a:noFill/>
          <a:ln w="9525" cap="flat" cmpd="sng" algn="ctr">
            <a:noFill/>
            <a:prstDash val="solid"/>
            <a:round/>
            <a:headEnd type="none" w="med" len="med"/>
            <a:tailEnd type="none" w="med" len="med"/>
          </a:ln>
        </p:spPr>
        <p:txBody>
          <a:bodyPr vert="horz" wrap="square" lIns="0" tIns="0" rIns="0" bIns="0" anchor="ctr" anchorCtr="0" compatLnSpc="1">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ea typeface="+mn-ea"/>
                <a:cs typeface="+mn-cs"/>
              </a:rPr>
              <a:t>2035</a:t>
            </a:r>
          </a:p>
        </p:txBody>
      </p:sp>
      <p:sp>
        <p:nvSpPr>
          <p:cNvPr id="46" name="Rectangle 45">
            <a:extLst>
              <a:ext uri="{FF2B5EF4-FFF2-40B4-BE49-F238E27FC236}">
                <a16:creationId xmlns:a16="http://schemas.microsoft.com/office/drawing/2014/main" id="{F6929839-E402-1BDE-6E21-C7DBFB0E4B4C}"/>
              </a:ext>
            </a:extLst>
          </p:cNvPr>
          <p:cNvSpPr/>
          <p:nvPr/>
        </p:nvSpPr>
        <p:spPr>
          <a:xfrm>
            <a:off x="361258" y="949654"/>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1,6B </a:t>
            </a:r>
            <a:r>
              <a:rPr kumimoji="0" lang="en-US" sz="1100" b="0" i="0" u="none" strike="noStrike" kern="1200" cap="none" spc="0" normalizeH="0" baseline="0" noProof="0" dirty="0">
                <a:ln>
                  <a:noFill/>
                </a:ln>
                <a:solidFill>
                  <a:srgbClr val="000000"/>
                </a:solidFill>
                <a:effectLst/>
                <a:uLnTx/>
                <a:uFillTx/>
                <a:ea typeface="+mn-ea"/>
                <a:cs typeface="+mn-cs"/>
              </a:rPr>
              <a:t>industry revenue</a:t>
            </a:r>
          </a:p>
        </p:txBody>
      </p:sp>
      <p:sp>
        <p:nvSpPr>
          <p:cNvPr id="47" name="Rectangle 46">
            <a:extLst>
              <a:ext uri="{FF2B5EF4-FFF2-40B4-BE49-F238E27FC236}">
                <a16:creationId xmlns:a16="http://schemas.microsoft.com/office/drawing/2014/main" id="{12185BC3-3529-3F31-73B7-9D799DE25259}"/>
              </a:ext>
            </a:extLst>
          </p:cNvPr>
          <p:cNvSpPr/>
          <p:nvPr/>
        </p:nvSpPr>
        <p:spPr>
          <a:xfrm>
            <a:off x="6315295" y="949654"/>
            <a:ext cx="252033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5B to €6B </a:t>
            </a:r>
            <a:r>
              <a:rPr kumimoji="0" lang="en-US" sz="1100" b="0" i="0" u="none" strike="noStrike" kern="1200" cap="none" spc="0" normalizeH="0" baseline="0" noProof="0" dirty="0">
                <a:ln>
                  <a:noFill/>
                </a:ln>
                <a:solidFill>
                  <a:srgbClr val="000000"/>
                </a:solidFill>
                <a:effectLst/>
                <a:uLnTx/>
                <a:uFillTx/>
                <a:ea typeface="+mn-ea"/>
                <a:cs typeface="+mn-cs"/>
              </a:rPr>
              <a:t>in industry revenue</a:t>
            </a:r>
          </a:p>
        </p:txBody>
      </p:sp>
      <p:sp>
        <p:nvSpPr>
          <p:cNvPr id="48" name="Rectangle 47">
            <a:extLst>
              <a:ext uri="{FF2B5EF4-FFF2-40B4-BE49-F238E27FC236}">
                <a16:creationId xmlns:a16="http://schemas.microsoft.com/office/drawing/2014/main" id="{3496AB01-BD19-33E9-A8D1-4B05519CB082}"/>
              </a:ext>
            </a:extLst>
          </p:cNvPr>
          <p:cNvSpPr/>
          <p:nvPr/>
        </p:nvSpPr>
        <p:spPr>
          <a:xfrm>
            <a:off x="361258" y="1238291"/>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90 companies </a:t>
            </a:r>
            <a:r>
              <a:rPr kumimoji="0" lang="en-US" sz="1100" b="0" i="0" u="none" strike="noStrike" kern="1200" cap="none" spc="0" normalizeH="0" baseline="0" noProof="0" dirty="0">
                <a:ln>
                  <a:noFill/>
                </a:ln>
                <a:solidFill>
                  <a:srgbClr val="000000"/>
                </a:solidFill>
                <a:effectLst/>
                <a:uLnTx/>
                <a:uFillTx/>
                <a:ea typeface="+mn-ea"/>
                <a:cs typeface="+mn-cs"/>
              </a:rPr>
              <a:t>across value chain</a:t>
            </a:r>
          </a:p>
        </p:txBody>
      </p:sp>
      <p:sp>
        <p:nvSpPr>
          <p:cNvPr id="51" name="Rectangle 50">
            <a:extLst>
              <a:ext uri="{FF2B5EF4-FFF2-40B4-BE49-F238E27FC236}">
                <a16:creationId xmlns:a16="http://schemas.microsoft.com/office/drawing/2014/main" id="{68478A72-4136-F504-82B0-2A65F6421852}"/>
              </a:ext>
            </a:extLst>
          </p:cNvPr>
          <p:cNvSpPr/>
          <p:nvPr/>
        </p:nvSpPr>
        <p:spPr>
          <a:xfrm>
            <a:off x="6315295" y="1238291"/>
            <a:ext cx="252033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90B to €180B </a:t>
            </a:r>
            <a:r>
              <a:rPr kumimoji="0" lang="en-US" sz="1100" b="0" i="0" u="none" strike="noStrike" kern="1200" cap="none" spc="0" normalizeH="0" baseline="0" noProof="0" dirty="0">
                <a:ln>
                  <a:noFill/>
                </a:ln>
                <a:solidFill>
                  <a:srgbClr val="000000"/>
                </a:solidFill>
                <a:effectLst/>
                <a:uLnTx/>
                <a:uFillTx/>
                <a:ea typeface="+mn-ea"/>
                <a:cs typeface="+mn-cs"/>
              </a:rPr>
              <a:t>indirect value</a:t>
            </a:r>
          </a:p>
        </p:txBody>
      </p:sp>
      <p:sp>
        <p:nvSpPr>
          <p:cNvPr id="50" name="Rectangle 49">
            <a:extLst>
              <a:ext uri="{FF2B5EF4-FFF2-40B4-BE49-F238E27FC236}">
                <a16:creationId xmlns:a16="http://schemas.microsoft.com/office/drawing/2014/main" id="{AB6DE524-BE9F-D5AC-BEFC-ECE9719856C5}"/>
              </a:ext>
            </a:extLst>
          </p:cNvPr>
          <p:cNvSpPr/>
          <p:nvPr/>
        </p:nvSpPr>
        <p:spPr>
          <a:xfrm>
            <a:off x="361258" y="1526928"/>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7.000 direct employees</a:t>
            </a: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49" name="Rectangle 48">
            <a:extLst>
              <a:ext uri="{FF2B5EF4-FFF2-40B4-BE49-F238E27FC236}">
                <a16:creationId xmlns:a16="http://schemas.microsoft.com/office/drawing/2014/main" id="{C8E79D77-8E06-C303-B969-AB5686466A9F}"/>
              </a:ext>
            </a:extLst>
          </p:cNvPr>
          <p:cNvSpPr/>
          <p:nvPr/>
        </p:nvSpPr>
        <p:spPr>
          <a:xfrm>
            <a:off x="6315295" y="1526928"/>
            <a:ext cx="252033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solidFill>
                <a:effectLst/>
                <a:uLnTx/>
                <a:uFillTx/>
                <a:ea typeface="+mn-ea"/>
                <a:cs typeface="+mn-cs"/>
              </a:rPr>
              <a:t>20.000 direct employees</a:t>
            </a:r>
            <a:endParaRPr kumimoji="0" lang="en-US" sz="1100" b="0" i="0" u="none" strike="noStrike" kern="1200" cap="none" spc="0" normalizeH="0" baseline="0" noProof="0" dirty="0">
              <a:ln>
                <a:noFill/>
              </a:ln>
              <a:solidFill>
                <a:srgbClr val="000000"/>
              </a:solidFill>
              <a:effectLst/>
              <a:uLnTx/>
              <a:uFillTx/>
              <a:ea typeface="+mn-ea"/>
              <a:cs typeface="+mn-cs"/>
            </a:endParaRPr>
          </a:p>
        </p:txBody>
      </p:sp>
      <p:sp>
        <p:nvSpPr>
          <p:cNvPr id="56" name="Rectangle 55">
            <a:extLst>
              <a:ext uri="{FF2B5EF4-FFF2-40B4-BE49-F238E27FC236}">
                <a16:creationId xmlns:a16="http://schemas.microsoft.com/office/drawing/2014/main" id="{1E824E82-7D2E-BD9B-8709-A61AB6BF366B}"/>
              </a:ext>
            </a:extLst>
          </p:cNvPr>
          <p:cNvSpPr/>
          <p:nvPr/>
        </p:nvSpPr>
        <p:spPr>
          <a:xfrm>
            <a:off x="361258" y="2042671"/>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F78B2"/>
                </a:solidFill>
                <a:effectLst/>
                <a:uLnTx/>
                <a:uFillTx/>
                <a:ea typeface="+mn-ea"/>
                <a:cs typeface="+mn-cs"/>
              </a:rPr>
              <a:t>Competitive advantages</a:t>
            </a:r>
          </a:p>
        </p:txBody>
      </p:sp>
      <p:sp>
        <p:nvSpPr>
          <p:cNvPr id="58" name="Rectangle 57">
            <a:extLst>
              <a:ext uri="{FF2B5EF4-FFF2-40B4-BE49-F238E27FC236}">
                <a16:creationId xmlns:a16="http://schemas.microsoft.com/office/drawing/2014/main" id="{890D33B8-4696-EBC1-BB0F-2A6C921976B5}"/>
              </a:ext>
            </a:extLst>
          </p:cNvPr>
          <p:cNvSpPr/>
          <p:nvPr/>
        </p:nvSpPr>
        <p:spPr>
          <a:xfrm>
            <a:off x="6446125" y="2042671"/>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F78B2"/>
                </a:solidFill>
                <a:effectLst/>
                <a:uLnTx/>
                <a:uFillTx/>
                <a:ea typeface="+mn-ea"/>
                <a:cs typeface="+mn-cs"/>
              </a:rPr>
              <a:t>Enabling outcomes</a:t>
            </a:r>
          </a:p>
        </p:txBody>
      </p:sp>
      <p:sp>
        <p:nvSpPr>
          <p:cNvPr id="59" name="Rectangle 58">
            <a:extLst>
              <a:ext uri="{FF2B5EF4-FFF2-40B4-BE49-F238E27FC236}">
                <a16:creationId xmlns:a16="http://schemas.microsoft.com/office/drawing/2014/main" id="{F15D4F24-6ED0-37FC-D230-CD76CA7E7773}"/>
              </a:ext>
            </a:extLst>
          </p:cNvPr>
          <p:cNvSpPr/>
          <p:nvPr/>
        </p:nvSpPr>
        <p:spPr>
          <a:xfrm>
            <a:off x="361258" y="2384829"/>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ocietal predictability and infrastructure</a:t>
            </a:r>
          </a:p>
        </p:txBody>
      </p:sp>
      <p:sp>
        <p:nvSpPr>
          <p:cNvPr id="63" name="Rectangle 62">
            <a:extLst>
              <a:ext uri="{FF2B5EF4-FFF2-40B4-BE49-F238E27FC236}">
                <a16:creationId xmlns:a16="http://schemas.microsoft.com/office/drawing/2014/main" id="{2A034BE6-679D-58EB-856B-D7AFDDF14204}"/>
              </a:ext>
            </a:extLst>
          </p:cNvPr>
          <p:cNvSpPr/>
          <p:nvPr/>
        </p:nvSpPr>
        <p:spPr>
          <a:xfrm>
            <a:off x="361258" y="2738452"/>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Mobile network expertise</a:t>
            </a:r>
          </a:p>
        </p:txBody>
      </p:sp>
      <p:sp>
        <p:nvSpPr>
          <p:cNvPr id="67" name="Rectangle 66">
            <a:extLst>
              <a:ext uri="{FF2B5EF4-FFF2-40B4-BE49-F238E27FC236}">
                <a16:creationId xmlns:a16="http://schemas.microsoft.com/office/drawing/2014/main" id="{47352017-C732-20D6-2385-BEF3AF914F72}"/>
              </a:ext>
            </a:extLst>
          </p:cNvPr>
          <p:cNvSpPr/>
          <p:nvPr/>
        </p:nvSpPr>
        <p:spPr>
          <a:xfrm>
            <a:off x="361258" y="3092075"/>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ystem chip design</a:t>
            </a:r>
          </a:p>
        </p:txBody>
      </p:sp>
      <p:sp>
        <p:nvSpPr>
          <p:cNvPr id="68" name="Rectangle 67">
            <a:extLst>
              <a:ext uri="{FF2B5EF4-FFF2-40B4-BE49-F238E27FC236}">
                <a16:creationId xmlns:a16="http://schemas.microsoft.com/office/drawing/2014/main" id="{AEB8457E-537A-4544-83D6-EA9E7D1AC755}"/>
              </a:ext>
            </a:extLst>
          </p:cNvPr>
          <p:cNvSpPr/>
          <p:nvPr/>
        </p:nvSpPr>
        <p:spPr>
          <a:xfrm>
            <a:off x="361258" y="3445698"/>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Sensors and MEMS</a:t>
            </a:r>
          </a:p>
        </p:txBody>
      </p:sp>
      <p:sp>
        <p:nvSpPr>
          <p:cNvPr id="71" name="Rectangle 70">
            <a:extLst>
              <a:ext uri="{FF2B5EF4-FFF2-40B4-BE49-F238E27FC236}">
                <a16:creationId xmlns:a16="http://schemas.microsoft.com/office/drawing/2014/main" id="{216EBD7B-272C-2FEF-E672-DBA81638D73F}"/>
              </a:ext>
            </a:extLst>
          </p:cNvPr>
          <p:cNvSpPr/>
          <p:nvPr/>
        </p:nvSpPr>
        <p:spPr>
          <a:xfrm>
            <a:off x="361258" y="3799321"/>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Process and material technologies</a:t>
            </a:r>
          </a:p>
        </p:txBody>
      </p:sp>
      <p:sp>
        <p:nvSpPr>
          <p:cNvPr id="69" name="Rectangle 68">
            <a:extLst>
              <a:ext uri="{FF2B5EF4-FFF2-40B4-BE49-F238E27FC236}">
                <a16:creationId xmlns:a16="http://schemas.microsoft.com/office/drawing/2014/main" id="{975A0020-9505-F243-E435-22D9CBA94D92}"/>
              </a:ext>
            </a:extLst>
          </p:cNvPr>
          <p:cNvSpPr/>
          <p:nvPr/>
        </p:nvSpPr>
        <p:spPr>
          <a:xfrm>
            <a:off x="361258" y="4152944"/>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Photonic technologies</a:t>
            </a:r>
          </a:p>
        </p:txBody>
      </p:sp>
      <p:sp>
        <p:nvSpPr>
          <p:cNvPr id="72" name="Rectangle 71">
            <a:extLst>
              <a:ext uri="{FF2B5EF4-FFF2-40B4-BE49-F238E27FC236}">
                <a16:creationId xmlns:a16="http://schemas.microsoft.com/office/drawing/2014/main" id="{01DE933F-6343-4985-593F-4E4306D1DFA1}"/>
              </a:ext>
            </a:extLst>
          </p:cNvPr>
          <p:cNvSpPr/>
          <p:nvPr/>
        </p:nvSpPr>
        <p:spPr>
          <a:xfrm>
            <a:off x="361258" y="4506566"/>
            <a:ext cx="2642700"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Quantum technologies</a:t>
            </a:r>
          </a:p>
        </p:txBody>
      </p:sp>
      <p:grpSp>
        <p:nvGrpSpPr>
          <p:cNvPr id="118" name="Group 117">
            <a:extLst>
              <a:ext uri="{FF2B5EF4-FFF2-40B4-BE49-F238E27FC236}">
                <a16:creationId xmlns:a16="http://schemas.microsoft.com/office/drawing/2014/main" id="{9DF6A383-70AE-551D-7021-CCB4835F1B44}"/>
              </a:ext>
            </a:extLst>
          </p:cNvPr>
          <p:cNvGrpSpPr/>
          <p:nvPr/>
        </p:nvGrpSpPr>
        <p:grpSpPr>
          <a:xfrm>
            <a:off x="6446125" y="2366718"/>
            <a:ext cx="2389502" cy="354520"/>
            <a:chOff x="6374164" y="2308657"/>
            <a:chExt cx="2389502" cy="354520"/>
          </a:xfrm>
        </p:grpSpPr>
        <p:sp>
          <p:nvSpPr>
            <p:cNvPr id="57" name="Rectangle 56">
              <a:extLst>
                <a:ext uri="{FF2B5EF4-FFF2-40B4-BE49-F238E27FC236}">
                  <a16:creationId xmlns:a16="http://schemas.microsoft.com/office/drawing/2014/main" id="{4E2CBEDC-1835-D331-B043-CE17D0D85CDE}"/>
                </a:ext>
              </a:extLst>
            </p:cNvPr>
            <p:cNvSpPr/>
            <p:nvPr/>
          </p:nvSpPr>
          <p:spPr>
            <a:xfrm>
              <a:off x="6374164" y="2320207"/>
              <a:ext cx="2389502" cy="342970"/>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en-US" sz="700" b="1" i="0" u="none" strike="noStrike" kern="1200" cap="none" spc="0" normalizeH="0" baseline="0" noProof="0" dirty="0">
                <a:ln>
                  <a:noFill/>
                </a:ln>
                <a:solidFill>
                  <a:srgbClr val="000000"/>
                </a:solidFill>
                <a:effectLst/>
                <a:uLnTx/>
                <a:uFillTx/>
                <a:ea typeface="+mn-ea"/>
                <a:cs typeface="+mn-cs"/>
              </a:endParaRPr>
            </a:p>
          </p:txBody>
        </p:sp>
        <p:sp>
          <p:nvSpPr>
            <p:cNvPr id="77" name="Rectangle 76">
              <a:extLst>
                <a:ext uri="{FF2B5EF4-FFF2-40B4-BE49-F238E27FC236}">
                  <a16:creationId xmlns:a16="http://schemas.microsoft.com/office/drawing/2014/main" id="{C9340056-848C-FEB2-4D94-5BCD5D27CB0B}"/>
                </a:ext>
              </a:extLst>
            </p:cNvPr>
            <p:cNvSpPr/>
            <p:nvPr/>
          </p:nvSpPr>
          <p:spPr>
            <a:xfrm>
              <a:off x="6374164" y="2308657"/>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Industry-academia-public collaboration</a:t>
              </a:r>
            </a:p>
          </p:txBody>
        </p:sp>
        <p:sp>
          <p:nvSpPr>
            <p:cNvPr id="156" name="Rectangle 155">
              <a:extLst>
                <a:ext uri="{FF2B5EF4-FFF2-40B4-BE49-F238E27FC236}">
                  <a16:creationId xmlns:a16="http://schemas.microsoft.com/office/drawing/2014/main" id="{9395C042-59AE-0C6E-D2A9-33B55A4D6ED2}"/>
                </a:ext>
              </a:extLst>
            </p:cNvPr>
            <p:cNvSpPr/>
            <p:nvPr/>
          </p:nvSpPr>
          <p:spPr>
            <a:xfrm>
              <a:off x="6374164" y="2449151"/>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Effective collaboration structures and resources</a:t>
              </a:r>
            </a:p>
          </p:txBody>
        </p:sp>
      </p:grpSp>
      <p:grpSp>
        <p:nvGrpSpPr>
          <p:cNvPr id="117" name="Group 116">
            <a:extLst>
              <a:ext uri="{FF2B5EF4-FFF2-40B4-BE49-F238E27FC236}">
                <a16:creationId xmlns:a16="http://schemas.microsoft.com/office/drawing/2014/main" id="{5AAD3008-215E-5410-1A4C-4301BE473802}"/>
              </a:ext>
            </a:extLst>
          </p:cNvPr>
          <p:cNvGrpSpPr/>
          <p:nvPr/>
        </p:nvGrpSpPr>
        <p:grpSpPr>
          <a:xfrm>
            <a:off x="6446125" y="2874114"/>
            <a:ext cx="2389502" cy="344443"/>
            <a:chOff x="6374164" y="2770477"/>
            <a:chExt cx="2389502" cy="344443"/>
          </a:xfrm>
        </p:grpSpPr>
        <p:sp>
          <p:nvSpPr>
            <p:cNvPr id="79" name="Rectangle 78">
              <a:extLst>
                <a:ext uri="{FF2B5EF4-FFF2-40B4-BE49-F238E27FC236}">
                  <a16:creationId xmlns:a16="http://schemas.microsoft.com/office/drawing/2014/main" id="{527D40B5-A60F-9237-6AFD-8E8837099318}"/>
                </a:ext>
              </a:extLst>
            </p:cNvPr>
            <p:cNvSpPr/>
            <p:nvPr/>
          </p:nvSpPr>
          <p:spPr>
            <a:xfrm>
              <a:off x="6374164" y="2770477"/>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Competitive R&amp;D ecosystem</a:t>
              </a:r>
            </a:p>
          </p:txBody>
        </p:sp>
        <p:sp>
          <p:nvSpPr>
            <p:cNvPr id="157" name="Rectangle 156">
              <a:extLst>
                <a:ext uri="{FF2B5EF4-FFF2-40B4-BE49-F238E27FC236}">
                  <a16:creationId xmlns:a16="http://schemas.microsoft.com/office/drawing/2014/main" id="{17D8BEF7-5126-93DC-5441-361E5C226DFA}"/>
                </a:ext>
              </a:extLst>
            </p:cNvPr>
            <p:cNvSpPr/>
            <p:nvPr/>
          </p:nvSpPr>
          <p:spPr>
            <a:xfrm>
              <a:off x="6374164" y="2910971"/>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Joint R&amp;D funding of €5B over ten years</a:t>
              </a:r>
            </a:p>
          </p:txBody>
        </p:sp>
      </p:grpSp>
      <p:grpSp>
        <p:nvGrpSpPr>
          <p:cNvPr id="116" name="Group 115">
            <a:extLst>
              <a:ext uri="{FF2B5EF4-FFF2-40B4-BE49-F238E27FC236}">
                <a16:creationId xmlns:a16="http://schemas.microsoft.com/office/drawing/2014/main" id="{71D29C18-4962-0436-BFF7-2A7B4ECDF948}"/>
              </a:ext>
            </a:extLst>
          </p:cNvPr>
          <p:cNvGrpSpPr/>
          <p:nvPr/>
        </p:nvGrpSpPr>
        <p:grpSpPr>
          <a:xfrm>
            <a:off x="6446125" y="3371433"/>
            <a:ext cx="2389502" cy="344443"/>
            <a:chOff x="6374164" y="3232297"/>
            <a:chExt cx="2389502" cy="344443"/>
          </a:xfrm>
        </p:grpSpPr>
        <p:sp>
          <p:nvSpPr>
            <p:cNvPr id="78" name="Rectangle 77">
              <a:extLst>
                <a:ext uri="{FF2B5EF4-FFF2-40B4-BE49-F238E27FC236}">
                  <a16:creationId xmlns:a16="http://schemas.microsoft.com/office/drawing/2014/main" id="{BE502856-C8A3-73D3-A5FA-4E3495ADDD3A}"/>
                </a:ext>
              </a:extLst>
            </p:cNvPr>
            <p:cNvSpPr/>
            <p:nvPr/>
          </p:nvSpPr>
          <p:spPr>
            <a:xfrm>
              <a:off x="6374164" y="3232297"/>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Over 15.000 new employees</a:t>
              </a:r>
            </a:p>
          </p:txBody>
        </p:sp>
        <p:sp>
          <p:nvSpPr>
            <p:cNvPr id="158" name="Rectangle 157">
              <a:extLst>
                <a:ext uri="{FF2B5EF4-FFF2-40B4-BE49-F238E27FC236}">
                  <a16:creationId xmlns:a16="http://schemas.microsoft.com/office/drawing/2014/main" id="{FDF9F50F-AE21-B3DC-41ED-9425F429B756}"/>
                </a:ext>
              </a:extLst>
            </p:cNvPr>
            <p:cNvSpPr/>
            <p:nvPr/>
          </p:nvSpPr>
          <p:spPr>
            <a:xfrm>
              <a:off x="6374164" y="3372791"/>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Elevated education output and talent attraction</a:t>
              </a:r>
            </a:p>
          </p:txBody>
        </p:sp>
      </p:grpSp>
      <p:grpSp>
        <p:nvGrpSpPr>
          <p:cNvPr id="115" name="Group 114">
            <a:extLst>
              <a:ext uri="{FF2B5EF4-FFF2-40B4-BE49-F238E27FC236}">
                <a16:creationId xmlns:a16="http://schemas.microsoft.com/office/drawing/2014/main" id="{0A0133D7-030C-694B-D86F-1A84248DE472}"/>
              </a:ext>
            </a:extLst>
          </p:cNvPr>
          <p:cNvGrpSpPr/>
          <p:nvPr/>
        </p:nvGrpSpPr>
        <p:grpSpPr>
          <a:xfrm>
            <a:off x="6332131" y="3868752"/>
            <a:ext cx="2503496" cy="344443"/>
            <a:chOff x="6260170" y="3694117"/>
            <a:chExt cx="2503496" cy="344443"/>
          </a:xfrm>
        </p:grpSpPr>
        <p:sp>
          <p:nvSpPr>
            <p:cNvPr id="80" name="Rectangle 79">
              <a:extLst>
                <a:ext uri="{FF2B5EF4-FFF2-40B4-BE49-F238E27FC236}">
                  <a16:creationId xmlns:a16="http://schemas.microsoft.com/office/drawing/2014/main" id="{2C69C719-C9C2-7864-2D10-0B83BC650B67}"/>
                </a:ext>
              </a:extLst>
            </p:cNvPr>
            <p:cNvSpPr/>
            <p:nvPr/>
          </p:nvSpPr>
          <p:spPr>
            <a:xfrm>
              <a:off x="6374164" y="3694117"/>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New established R&amp;D and design centers</a:t>
              </a:r>
            </a:p>
          </p:txBody>
        </p:sp>
        <p:sp>
          <p:nvSpPr>
            <p:cNvPr id="159" name="Rectangle 158">
              <a:extLst>
                <a:ext uri="{FF2B5EF4-FFF2-40B4-BE49-F238E27FC236}">
                  <a16:creationId xmlns:a16="http://schemas.microsoft.com/office/drawing/2014/main" id="{5309DFEF-172B-4066-FC3A-3588F3C8261A}"/>
                </a:ext>
              </a:extLst>
            </p:cNvPr>
            <p:cNvSpPr/>
            <p:nvPr/>
          </p:nvSpPr>
          <p:spPr>
            <a:xfrm>
              <a:off x="6260170" y="3834611"/>
              <a:ext cx="2503496"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Promotion of talent, startup and technology clusters</a:t>
              </a:r>
            </a:p>
          </p:txBody>
        </p:sp>
      </p:grpSp>
      <p:grpSp>
        <p:nvGrpSpPr>
          <p:cNvPr id="114" name="Group 113">
            <a:extLst>
              <a:ext uri="{FF2B5EF4-FFF2-40B4-BE49-F238E27FC236}">
                <a16:creationId xmlns:a16="http://schemas.microsoft.com/office/drawing/2014/main" id="{8562D04E-4D33-09A8-F45C-097AC9CD673C}"/>
              </a:ext>
            </a:extLst>
          </p:cNvPr>
          <p:cNvGrpSpPr/>
          <p:nvPr/>
        </p:nvGrpSpPr>
        <p:grpSpPr>
          <a:xfrm>
            <a:off x="6332131" y="4366072"/>
            <a:ext cx="2503496" cy="344443"/>
            <a:chOff x="6260170" y="4155935"/>
            <a:chExt cx="2503496" cy="344443"/>
          </a:xfrm>
        </p:grpSpPr>
        <p:sp>
          <p:nvSpPr>
            <p:cNvPr id="81" name="Rectangle 80">
              <a:extLst>
                <a:ext uri="{FF2B5EF4-FFF2-40B4-BE49-F238E27FC236}">
                  <a16:creationId xmlns:a16="http://schemas.microsoft.com/office/drawing/2014/main" id="{1292EBCE-A9EE-FC84-57A3-59BD13603010}"/>
                </a:ext>
              </a:extLst>
            </p:cNvPr>
            <p:cNvSpPr/>
            <p:nvPr/>
          </p:nvSpPr>
          <p:spPr>
            <a:xfrm>
              <a:off x="6374164" y="4155935"/>
              <a:ext cx="2389502"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Over €1B manufacturing site investments</a:t>
              </a:r>
            </a:p>
          </p:txBody>
        </p:sp>
        <p:sp>
          <p:nvSpPr>
            <p:cNvPr id="160" name="Rectangle 159">
              <a:extLst>
                <a:ext uri="{FF2B5EF4-FFF2-40B4-BE49-F238E27FC236}">
                  <a16:creationId xmlns:a16="http://schemas.microsoft.com/office/drawing/2014/main" id="{0A843D8E-77FB-2ADB-2B79-285AC0575ED5}"/>
                </a:ext>
              </a:extLst>
            </p:cNvPr>
            <p:cNvSpPr/>
            <p:nvPr/>
          </p:nvSpPr>
          <p:spPr>
            <a:xfrm>
              <a:off x="6260170" y="4296429"/>
              <a:ext cx="2503496"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00000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Public-private collaboration and public instruments</a:t>
              </a:r>
            </a:p>
          </p:txBody>
        </p:sp>
      </p:grpSp>
      <p:sp>
        <p:nvSpPr>
          <p:cNvPr id="126" name="Rectangle 125">
            <a:extLst>
              <a:ext uri="{FF2B5EF4-FFF2-40B4-BE49-F238E27FC236}">
                <a16:creationId xmlns:a16="http://schemas.microsoft.com/office/drawing/2014/main" id="{98C04FE3-BC79-DEC5-EC10-E1013BAEE48E}"/>
              </a:ext>
            </a:extLst>
          </p:cNvPr>
          <p:cNvSpPr/>
          <p:nvPr/>
        </p:nvSpPr>
        <p:spPr>
          <a:xfrm>
            <a:off x="1226633" y="444157"/>
            <a:ext cx="6705599" cy="20394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solidFill>
                <a:effectLst/>
                <a:uLnTx/>
                <a:uFillTx/>
                <a:ea typeface="+mn-ea"/>
                <a:cs typeface="+mn-cs"/>
              </a:rPr>
              <a:t>Chips from the North: Semiconductor Strategy for Finland</a:t>
            </a:r>
          </a:p>
        </p:txBody>
      </p:sp>
      <p:pic>
        <p:nvPicPr>
          <p:cNvPr id="174" name="Picture 173" descr="A logo with a tree in the middle&#10;&#10;Description automatically generated">
            <a:extLst>
              <a:ext uri="{FF2B5EF4-FFF2-40B4-BE49-F238E27FC236}">
                <a16:creationId xmlns:a16="http://schemas.microsoft.com/office/drawing/2014/main" id="{2E357B41-A948-DB1E-BFA7-97381A77FA5F}"/>
              </a:ext>
            </a:extLst>
          </p:cNvPr>
          <p:cNvPicPr>
            <a:picLocks noChangeAspect="1"/>
          </p:cNvPicPr>
          <p:nvPr/>
        </p:nvPicPr>
        <p:blipFill rotWithShape="1">
          <a:blip r:embed="rId10">
            <a:lum bright="70000" contrast="-70000"/>
            <a:alphaModFix amt="20000"/>
          </a:blip>
          <a:srcRect l="20610" t="21512" r="20911" b="16633"/>
          <a:stretch/>
        </p:blipFill>
        <p:spPr>
          <a:xfrm>
            <a:off x="3047712" y="1747181"/>
            <a:ext cx="3048575" cy="2830566"/>
          </a:xfrm>
          <a:prstGeom prst="ellipse">
            <a:avLst/>
          </a:prstGeom>
        </p:spPr>
      </p:pic>
      <p:sp>
        <p:nvSpPr>
          <p:cNvPr id="93" name="Rectangle 92">
            <a:extLst>
              <a:ext uri="{FF2B5EF4-FFF2-40B4-BE49-F238E27FC236}">
                <a16:creationId xmlns:a16="http://schemas.microsoft.com/office/drawing/2014/main" id="{0F553B37-850B-8CB5-1935-606100B86476}"/>
              </a:ext>
            </a:extLst>
          </p:cNvPr>
          <p:cNvSpPr/>
          <p:nvPr/>
        </p:nvSpPr>
        <p:spPr>
          <a:xfrm>
            <a:off x="3013928" y="1605511"/>
            <a:ext cx="3116144" cy="3105004"/>
          </a:xfrm>
          <a:prstGeom prst="rect">
            <a:avLst/>
          </a:prstGeom>
          <a:ln w="76200" cap="rnd" cmpd="sng" algn="ctr">
            <a:gradFill>
              <a:gsLst>
                <a:gs pos="0">
                  <a:srgbClr val="0070C0"/>
                </a:gs>
                <a:gs pos="50000">
                  <a:srgbClr val="7DC7FD"/>
                </a:gs>
                <a:gs pos="100000">
                  <a:srgbClr val="2475AF"/>
                </a:gs>
              </a:gsLst>
              <a:lin ang="5400000" scaled="1"/>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FFFFFF"/>
              </a:solidFill>
              <a:effectLst/>
              <a:uLnTx/>
              <a:uFillTx/>
              <a:ea typeface="+mn-ea"/>
              <a:cs typeface="+mn-cs"/>
            </a:endParaRPr>
          </a:p>
        </p:txBody>
      </p:sp>
      <p:sp>
        <p:nvSpPr>
          <p:cNvPr id="94" name="TextBox 93">
            <a:extLst>
              <a:ext uri="{FF2B5EF4-FFF2-40B4-BE49-F238E27FC236}">
                <a16:creationId xmlns:a16="http://schemas.microsoft.com/office/drawing/2014/main" id="{57FF6488-B373-105F-8FBB-BA792B803861}"/>
              </a:ext>
            </a:extLst>
          </p:cNvPr>
          <p:cNvSpPr txBox="1"/>
          <p:nvPr/>
        </p:nvSpPr>
        <p:spPr>
          <a:xfrm>
            <a:off x="3116662" y="3307078"/>
            <a:ext cx="11998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Chips design</a:t>
            </a:r>
          </a:p>
        </p:txBody>
      </p:sp>
      <p:sp>
        <p:nvSpPr>
          <p:cNvPr id="95" name="TextBox 94">
            <a:extLst>
              <a:ext uri="{FF2B5EF4-FFF2-40B4-BE49-F238E27FC236}">
                <a16:creationId xmlns:a16="http://schemas.microsoft.com/office/drawing/2014/main" id="{B12C17AB-CD2A-5C48-BF33-DB35225CCC16}"/>
              </a:ext>
            </a:extLst>
          </p:cNvPr>
          <p:cNvSpPr txBox="1"/>
          <p:nvPr/>
        </p:nvSpPr>
        <p:spPr>
          <a:xfrm>
            <a:off x="3116662" y="2315854"/>
            <a:ext cx="986956"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Advanced materials</a:t>
            </a:r>
          </a:p>
        </p:txBody>
      </p:sp>
      <p:sp>
        <p:nvSpPr>
          <p:cNvPr id="96" name="TextBox 95">
            <a:extLst>
              <a:ext uri="{FF2B5EF4-FFF2-40B4-BE49-F238E27FC236}">
                <a16:creationId xmlns:a16="http://schemas.microsoft.com/office/drawing/2014/main" id="{35EF2258-B4AC-EB66-14A1-63A534ED5693}"/>
              </a:ext>
            </a:extLst>
          </p:cNvPr>
          <p:cNvSpPr txBox="1"/>
          <p:nvPr/>
        </p:nvSpPr>
        <p:spPr>
          <a:xfrm>
            <a:off x="5272645" y="2799083"/>
            <a:ext cx="738106"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Photonic</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technologies</a:t>
            </a:r>
          </a:p>
        </p:txBody>
      </p:sp>
      <p:sp>
        <p:nvSpPr>
          <p:cNvPr id="97" name="TextBox 96">
            <a:extLst>
              <a:ext uri="{FF2B5EF4-FFF2-40B4-BE49-F238E27FC236}">
                <a16:creationId xmlns:a16="http://schemas.microsoft.com/office/drawing/2014/main" id="{93FC2F03-B143-3A37-6C18-012E61B00140}"/>
              </a:ext>
            </a:extLst>
          </p:cNvPr>
          <p:cNvSpPr txBox="1"/>
          <p:nvPr/>
        </p:nvSpPr>
        <p:spPr>
          <a:xfrm>
            <a:off x="5272645" y="3376488"/>
            <a:ext cx="738106"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Quantum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technologies</a:t>
            </a:r>
          </a:p>
        </p:txBody>
      </p:sp>
      <p:sp>
        <p:nvSpPr>
          <p:cNvPr id="98" name="TextBox 97">
            <a:extLst>
              <a:ext uri="{FF2B5EF4-FFF2-40B4-BE49-F238E27FC236}">
                <a16:creationId xmlns:a16="http://schemas.microsoft.com/office/drawing/2014/main" id="{A0588E39-2F95-6819-2568-94FDF9D7798C}"/>
              </a:ext>
            </a:extLst>
          </p:cNvPr>
          <p:cNvSpPr txBox="1"/>
          <p:nvPr/>
        </p:nvSpPr>
        <p:spPr>
          <a:xfrm>
            <a:off x="3116663" y="3884483"/>
            <a:ext cx="909774"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MEMS and sensors</a:t>
            </a:r>
          </a:p>
        </p:txBody>
      </p:sp>
      <p:sp>
        <p:nvSpPr>
          <p:cNvPr id="99" name="TextBox 98">
            <a:extLst>
              <a:ext uri="{FF2B5EF4-FFF2-40B4-BE49-F238E27FC236}">
                <a16:creationId xmlns:a16="http://schemas.microsoft.com/office/drawing/2014/main" id="{C0D05B77-E36B-976F-E679-0F010FE6C4B0}"/>
              </a:ext>
            </a:extLst>
          </p:cNvPr>
          <p:cNvSpPr txBox="1"/>
          <p:nvPr/>
        </p:nvSpPr>
        <p:spPr>
          <a:xfrm>
            <a:off x="3116662" y="2811466"/>
            <a:ext cx="763386"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defPPr>
              <a:defRPr lang="en-US"/>
            </a:defPPr>
            <a:lvl1pPr lvl="0" algn="r" defTabSz="914400">
              <a:defRPr sz="800">
                <a:solidFill>
                  <a:srgbClr val="2576B0"/>
                </a:solidFill>
                <a:latin typeface="DINPro" panose="020B05040202010101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srgbClr val="000000"/>
                </a:solidFill>
                <a:effectLst/>
                <a:uLnTx/>
                <a:uFillTx/>
                <a:latin typeface="+mn-lt"/>
                <a:ea typeface="+mn-ea"/>
                <a:cs typeface="+mn-cs"/>
              </a:rPr>
              <a:t>Process technologies</a:t>
            </a:r>
          </a:p>
        </p:txBody>
      </p:sp>
      <p:sp>
        <p:nvSpPr>
          <p:cNvPr id="104" name="Rectangle 103">
            <a:extLst>
              <a:ext uri="{FF2B5EF4-FFF2-40B4-BE49-F238E27FC236}">
                <a16:creationId xmlns:a16="http://schemas.microsoft.com/office/drawing/2014/main" id="{6A7F8090-F6B8-82CA-B858-96B1F5E83BBC}"/>
              </a:ext>
            </a:extLst>
          </p:cNvPr>
          <p:cNvSpPr/>
          <p:nvPr/>
        </p:nvSpPr>
        <p:spPr>
          <a:xfrm>
            <a:off x="2894076" y="1481820"/>
            <a:ext cx="3355848" cy="3352386"/>
          </a:xfrm>
          <a:prstGeom prst="rect">
            <a:avLst/>
          </a:prstGeom>
          <a:ln w="9525" cap="rnd" cmpd="sng" algn="ctr">
            <a:solidFill>
              <a:schemeClr val="bg1">
                <a:lumMod val="8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FFFFFF"/>
              </a:solidFill>
              <a:effectLst/>
              <a:uLnTx/>
              <a:uFillTx/>
              <a:latin typeface="DINPro" panose="020B0504020201010104"/>
              <a:ea typeface="+mn-ea"/>
              <a:cs typeface="+mn-cs"/>
            </a:endParaRPr>
          </a:p>
        </p:txBody>
      </p:sp>
      <p:sp>
        <p:nvSpPr>
          <p:cNvPr id="101" name="TextBox 100">
            <a:extLst>
              <a:ext uri="{FF2B5EF4-FFF2-40B4-BE49-F238E27FC236}">
                <a16:creationId xmlns:a16="http://schemas.microsoft.com/office/drawing/2014/main" id="{EC9D612D-5263-9C1B-6352-ED2E8BB02DFD}"/>
              </a:ext>
            </a:extLst>
          </p:cNvPr>
          <p:cNvSpPr txBox="1"/>
          <p:nvPr/>
        </p:nvSpPr>
        <p:spPr>
          <a:xfrm>
            <a:off x="4642310" y="1753964"/>
            <a:ext cx="1404726" cy="272459"/>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rPr>
              <a:t>Leading </a:t>
            </a:r>
            <a:r>
              <a:rPr lang="en-US" sz="1000" b="1" dirty="0">
                <a:solidFill>
                  <a:srgbClr val="000000"/>
                </a:solidFill>
              </a:rPr>
              <a:t>talent</a:t>
            </a:r>
            <a:r>
              <a:rPr kumimoji="0" lang="en-US" sz="1000" b="1" i="0" u="none" strike="noStrike" kern="1200" cap="none" spc="0" normalizeH="0" baseline="0" noProof="0" dirty="0">
                <a:ln>
                  <a:noFill/>
                </a:ln>
                <a:solidFill>
                  <a:srgbClr val="000000"/>
                </a:solidFill>
                <a:effectLst/>
                <a:uLnTx/>
                <a:uFillTx/>
              </a:rPr>
              <a:t> and startup clusters</a:t>
            </a:r>
          </a:p>
        </p:txBody>
      </p:sp>
      <p:sp>
        <p:nvSpPr>
          <p:cNvPr id="102" name="TextBox 101">
            <a:extLst>
              <a:ext uri="{FF2B5EF4-FFF2-40B4-BE49-F238E27FC236}">
                <a16:creationId xmlns:a16="http://schemas.microsoft.com/office/drawing/2014/main" id="{16849A92-EEF6-75AA-CBE1-E88B6B5DE730}"/>
              </a:ext>
            </a:extLst>
          </p:cNvPr>
          <p:cNvSpPr txBox="1"/>
          <p:nvPr/>
        </p:nvSpPr>
        <p:spPr>
          <a:xfrm>
            <a:off x="3102148" y="1753964"/>
            <a:ext cx="1389600" cy="272459"/>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ea typeface="+mn-ea"/>
                <a:cs typeface="+mn-cs"/>
              </a:rPr>
              <a:t>Leading position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000000"/>
                </a:solidFill>
                <a:effectLst/>
                <a:uLnTx/>
                <a:uFillTx/>
                <a:ea typeface="+mn-ea"/>
                <a:cs typeface="+mn-cs"/>
              </a:rPr>
              <a:t>in Europe</a:t>
            </a:r>
          </a:p>
        </p:txBody>
      </p:sp>
      <p:grpSp>
        <p:nvGrpSpPr>
          <p:cNvPr id="4" name="Group 3">
            <a:extLst>
              <a:ext uri="{FF2B5EF4-FFF2-40B4-BE49-F238E27FC236}">
                <a16:creationId xmlns:a16="http://schemas.microsoft.com/office/drawing/2014/main" id="{505FBE72-CC7D-052A-0902-9298A048EFE8}"/>
              </a:ext>
            </a:extLst>
          </p:cNvPr>
          <p:cNvGrpSpPr/>
          <p:nvPr/>
        </p:nvGrpSpPr>
        <p:grpSpPr>
          <a:xfrm rot="5400000">
            <a:off x="3384192" y="3069347"/>
            <a:ext cx="2381234" cy="504364"/>
            <a:chOff x="630000" y="2080801"/>
            <a:chExt cx="7097950" cy="487432"/>
          </a:xfrm>
        </p:grpSpPr>
        <p:sp>
          <p:nvSpPr>
            <p:cNvPr id="5" name="ee4pHeader1">
              <a:extLst>
                <a:ext uri="{FF2B5EF4-FFF2-40B4-BE49-F238E27FC236}">
                  <a16:creationId xmlns:a16="http://schemas.microsoft.com/office/drawing/2014/main" id="{2C573EE1-64D9-F1F2-40DD-CDCA716738CB}"/>
                </a:ext>
              </a:extLst>
            </p:cNvPr>
            <p:cNvSpPr>
              <a:spLocks noChangeArrowheads="1"/>
            </p:cNvSpPr>
            <p:nvPr>
              <p:custDataLst>
                <p:tags r:id="rId2"/>
              </p:custDataLst>
            </p:nvPr>
          </p:nvSpPr>
          <p:spPr bwMode="gray">
            <a:xfrm>
              <a:off x="630000" y="2080801"/>
              <a:ext cx="1411829" cy="487432"/>
            </a:xfrm>
            <a:prstGeom prst="homePlate">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7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6" name="ee4pHeader2">
              <a:extLst>
                <a:ext uri="{FF2B5EF4-FFF2-40B4-BE49-F238E27FC236}">
                  <a16:creationId xmlns:a16="http://schemas.microsoft.com/office/drawing/2014/main" id="{EF27A0E0-7864-55B4-63B6-1BC94A861D74}"/>
                </a:ext>
              </a:extLst>
            </p:cNvPr>
            <p:cNvSpPr>
              <a:spLocks noChangeArrowheads="1"/>
            </p:cNvSpPr>
            <p:nvPr>
              <p:custDataLst>
                <p:tags r:id="rId3"/>
              </p:custDataLst>
            </p:nvPr>
          </p:nvSpPr>
          <p:spPr bwMode="gray">
            <a:xfrm>
              <a:off x="2051531"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7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7" name="ee4pHeader3">
              <a:extLst>
                <a:ext uri="{FF2B5EF4-FFF2-40B4-BE49-F238E27FC236}">
                  <a16:creationId xmlns:a16="http://schemas.microsoft.com/office/drawing/2014/main" id="{4D3368F2-AE0D-AF4C-B509-891A9E5B9842}"/>
                </a:ext>
              </a:extLst>
            </p:cNvPr>
            <p:cNvSpPr>
              <a:spLocks noChangeArrowheads="1"/>
            </p:cNvSpPr>
            <p:nvPr>
              <p:custDataLst>
                <p:tags r:id="rId4"/>
              </p:custDataLst>
            </p:nvPr>
          </p:nvSpPr>
          <p:spPr bwMode="gray">
            <a:xfrm>
              <a:off x="3473061"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7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8" name="ee4pHeader4">
              <a:extLst>
                <a:ext uri="{FF2B5EF4-FFF2-40B4-BE49-F238E27FC236}">
                  <a16:creationId xmlns:a16="http://schemas.microsoft.com/office/drawing/2014/main" id="{26E1AC06-8C9C-FE4C-D2A1-F29F18BBB582}"/>
                </a:ext>
              </a:extLst>
            </p:cNvPr>
            <p:cNvSpPr>
              <a:spLocks noChangeArrowheads="1"/>
            </p:cNvSpPr>
            <p:nvPr>
              <p:custDataLst>
                <p:tags r:id="rId5"/>
              </p:custDataLst>
            </p:nvPr>
          </p:nvSpPr>
          <p:spPr bwMode="gray">
            <a:xfrm>
              <a:off x="4894592"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7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9" name="ee4pHeader5">
              <a:extLst>
                <a:ext uri="{FF2B5EF4-FFF2-40B4-BE49-F238E27FC236}">
                  <a16:creationId xmlns:a16="http://schemas.microsoft.com/office/drawing/2014/main" id="{ECBF2058-DB3C-CE4A-4004-FA0553421BF1}"/>
                </a:ext>
              </a:extLst>
            </p:cNvPr>
            <p:cNvSpPr>
              <a:spLocks noChangeArrowheads="1"/>
            </p:cNvSpPr>
            <p:nvPr>
              <p:custDataLst>
                <p:tags r:id="rId6"/>
              </p:custDataLst>
            </p:nvPr>
          </p:nvSpPr>
          <p:spPr bwMode="gray">
            <a:xfrm>
              <a:off x="6316121"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7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grpSp>
      <p:cxnSp>
        <p:nvCxnSpPr>
          <p:cNvPr id="10" name="Straight Connector 9">
            <a:extLst>
              <a:ext uri="{FF2B5EF4-FFF2-40B4-BE49-F238E27FC236}">
                <a16:creationId xmlns:a16="http://schemas.microsoft.com/office/drawing/2014/main" id="{BD9C3B01-2043-D398-B2C9-B6C9F8281FF0}"/>
              </a:ext>
            </a:extLst>
          </p:cNvPr>
          <p:cNvCxnSpPr>
            <a:cxnSpLocks/>
            <a:stCxn id="93" idx="0"/>
            <a:endCxn id="5" idx="1"/>
          </p:cNvCxnSpPr>
          <p:nvPr/>
        </p:nvCxnSpPr>
        <p:spPr>
          <a:xfrm>
            <a:off x="4572000" y="1605511"/>
            <a:ext cx="2809" cy="525402"/>
          </a:xfrm>
          <a:prstGeom prst="line">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1682B767-E46B-5DC3-9324-8532F6314C0C}"/>
              </a:ext>
            </a:extLst>
          </p:cNvPr>
          <p:cNvCxnSpPr>
            <a:cxnSpLocks/>
            <a:endCxn id="9" idx="3"/>
          </p:cNvCxnSpPr>
          <p:nvPr/>
        </p:nvCxnSpPr>
        <p:spPr>
          <a:xfrm flipV="1">
            <a:off x="4572000" y="4512146"/>
            <a:ext cx="2809" cy="234654"/>
          </a:xfrm>
          <a:prstGeom prst="line">
            <a:avLst/>
          </a:prstGeom>
          <a:ln w="9525" cap="rnd" cmpd="sng" algn="ctr">
            <a:solidFill>
              <a:srgbClr val="2475A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D032489-1BBB-E4F7-5285-B410D7059C7C}"/>
              </a:ext>
            </a:extLst>
          </p:cNvPr>
          <p:cNvSpPr txBox="1"/>
          <p:nvPr/>
        </p:nvSpPr>
        <p:spPr>
          <a:xfrm>
            <a:off x="4303574" y="2163457"/>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ea typeface="+mn-ea"/>
                <a:cs typeface="+mn-cs"/>
              </a:rPr>
              <a:t>Materials</a:t>
            </a:r>
          </a:p>
        </p:txBody>
      </p:sp>
      <p:sp>
        <p:nvSpPr>
          <p:cNvPr id="18" name="TextBox 17">
            <a:extLst>
              <a:ext uri="{FF2B5EF4-FFF2-40B4-BE49-F238E27FC236}">
                <a16:creationId xmlns:a16="http://schemas.microsoft.com/office/drawing/2014/main" id="{BF63875F-2D12-E9E3-7824-161DB2C63E1A}"/>
              </a:ext>
            </a:extLst>
          </p:cNvPr>
          <p:cNvSpPr txBox="1"/>
          <p:nvPr/>
        </p:nvSpPr>
        <p:spPr>
          <a:xfrm>
            <a:off x="4310358" y="2659069"/>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ea typeface="+mn-ea"/>
                <a:cs typeface="+mn-cs"/>
              </a:rPr>
              <a:t>Equipment</a:t>
            </a:r>
          </a:p>
        </p:txBody>
      </p:sp>
      <p:sp>
        <p:nvSpPr>
          <p:cNvPr id="19" name="TextBox 18">
            <a:extLst>
              <a:ext uri="{FF2B5EF4-FFF2-40B4-BE49-F238E27FC236}">
                <a16:creationId xmlns:a16="http://schemas.microsoft.com/office/drawing/2014/main" id="{BD980CA6-9B97-AB30-1E33-270903BE508F}"/>
              </a:ext>
            </a:extLst>
          </p:cNvPr>
          <p:cNvSpPr txBox="1"/>
          <p:nvPr/>
        </p:nvSpPr>
        <p:spPr>
          <a:xfrm>
            <a:off x="4310358" y="3154681"/>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ea typeface="+mn-ea"/>
                <a:cs typeface="+mn-cs"/>
              </a:rPr>
              <a:t>Design</a:t>
            </a:r>
          </a:p>
        </p:txBody>
      </p:sp>
      <p:sp>
        <p:nvSpPr>
          <p:cNvPr id="20" name="TextBox 19">
            <a:extLst>
              <a:ext uri="{FF2B5EF4-FFF2-40B4-BE49-F238E27FC236}">
                <a16:creationId xmlns:a16="http://schemas.microsoft.com/office/drawing/2014/main" id="{7EA63EBC-D01D-EBF1-DB30-49D14859FDC4}"/>
              </a:ext>
            </a:extLst>
          </p:cNvPr>
          <p:cNvSpPr txBox="1"/>
          <p:nvPr/>
        </p:nvSpPr>
        <p:spPr>
          <a:xfrm>
            <a:off x="4313073" y="3618184"/>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ea typeface="+mn-ea"/>
                <a:cs typeface="+mn-cs"/>
              </a:rPr>
              <a:t>Fabrication</a:t>
            </a:r>
          </a:p>
        </p:txBody>
      </p:sp>
      <p:sp>
        <p:nvSpPr>
          <p:cNvPr id="21" name="TextBox 20">
            <a:extLst>
              <a:ext uri="{FF2B5EF4-FFF2-40B4-BE49-F238E27FC236}">
                <a16:creationId xmlns:a16="http://schemas.microsoft.com/office/drawing/2014/main" id="{928CAAB9-9E74-A297-CCEB-5920A7C515BA}"/>
              </a:ext>
            </a:extLst>
          </p:cNvPr>
          <p:cNvSpPr txBox="1"/>
          <p:nvPr/>
        </p:nvSpPr>
        <p:spPr>
          <a:xfrm>
            <a:off x="4311929" y="4099238"/>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FFFFFF"/>
                </a:solidFill>
                <a:effectLst/>
                <a:uLnTx/>
                <a:uFillTx/>
                <a:ea typeface="+mn-ea"/>
                <a:cs typeface="+mn-cs"/>
              </a:rPr>
              <a:t>Assembly</a:t>
            </a:r>
          </a:p>
        </p:txBody>
      </p:sp>
      <p:cxnSp>
        <p:nvCxnSpPr>
          <p:cNvPr id="22" name="Straight Connector 21">
            <a:extLst>
              <a:ext uri="{FF2B5EF4-FFF2-40B4-BE49-F238E27FC236}">
                <a16:creationId xmlns:a16="http://schemas.microsoft.com/office/drawing/2014/main" id="{A31EE265-526E-06D8-8CEE-AFF9A2DCD629}"/>
              </a:ext>
            </a:extLst>
          </p:cNvPr>
          <p:cNvCxnSpPr>
            <a:cxnSpLocks/>
            <a:stCxn id="17" idx="1"/>
            <a:endCxn id="95" idx="3"/>
          </p:cNvCxnSpPr>
          <p:nvPr/>
        </p:nvCxnSpPr>
        <p:spPr>
          <a:xfrm rot="10800000" flipV="1">
            <a:off x="4103618" y="2342963"/>
            <a:ext cx="199956" cy="152397"/>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86271CCA-A7CB-DBE8-B74A-51058A9145A2}"/>
              </a:ext>
            </a:extLst>
          </p:cNvPr>
          <p:cNvCxnSpPr>
            <a:cxnSpLocks/>
            <a:stCxn id="18" idx="1"/>
            <a:endCxn id="99" idx="3"/>
          </p:cNvCxnSpPr>
          <p:nvPr/>
        </p:nvCxnSpPr>
        <p:spPr>
          <a:xfrm rot="10800000" flipV="1">
            <a:off x="3880048" y="2838575"/>
            <a:ext cx="430310" cy="152397"/>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F571F272-D03B-9157-947D-A9A4610A3E48}"/>
              </a:ext>
            </a:extLst>
          </p:cNvPr>
          <p:cNvCxnSpPr>
            <a:cxnSpLocks/>
            <a:stCxn id="19" idx="1"/>
          </p:cNvCxnSpPr>
          <p:nvPr/>
        </p:nvCxnSpPr>
        <p:spPr>
          <a:xfrm flipH="1">
            <a:off x="4059972" y="3334188"/>
            <a:ext cx="250386" cy="0"/>
          </a:xfrm>
          <a:prstGeom prst="line">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2A900F6-C728-99B5-259B-C4E2CC0ADF22}"/>
              </a:ext>
            </a:extLst>
          </p:cNvPr>
          <p:cNvCxnSpPr>
            <a:cxnSpLocks/>
            <a:stCxn id="20" idx="1"/>
            <a:endCxn id="98" idx="3"/>
          </p:cNvCxnSpPr>
          <p:nvPr/>
        </p:nvCxnSpPr>
        <p:spPr>
          <a:xfrm rot="10800000" flipV="1">
            <a:off x="4026437" y="3797690"/>
            <a:ext cx="286636" cy="266299"/>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6F6A9107-5FD3-4844-53E9-DAABCA175EFC}"/>
              </a:ext>
            </a:extLst>
          </p:cNvPr>
          <p:cNvCxnSpPr>
            <a:cxnSpLocks/>
            <a:stCxn id="19" idx="1"/>
            <a:endCxn id="98" idx="3"/>
          </p:cNvCxnSpPr>
          <p:nvPr/>
        </p:nvCxnSpPr>
        <p:spPr>
          <a:xfrm rot="10800000" flipV="1">
            <a:off x="4026438" y="3334188"/>
            <a:ext cx="283921" cy="729802"/>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5" name="Straight Connector 36">
            <a:extLst>
              <a:ext uri="{FF2B5EF4-FFF2-40B4-BE49-F238E27FC236}">
                <a16:creationId xmlns:a16="http://schemas.microsoft.com/office/drawing/2014/main" id="{2676B8AE-6D26-6FD6-A4A6-07EF3BA05EA8}"/>
              </a:ext>
            </a:extLst>
          </p:cNvPr>
          <p:cNvCxnSpPr>
            <a:cxnSpLocks/>
            <a:stCxn id="21" idx="1"/>
            <a:endCxn id="98" idx="3"/>
          </p:cNvCxnSpPr>
          <p:nvPr/>
        </p:nvCxnSpPr>
        <p:spPr>
          <a:xfrm rot="10800000">
            <a:off x="4026437" y="4063991"/>
            <a:ext cx="285492" cy="214755"/>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54" name="Straight Connector 36">
            <a:extLst>
              <a:ext uri="{FF2B5EF4-FFF2-40B4-BE49-F238E27FC236}">
                <a16:creationId xmlns:a16="http://schemas.microsoft.com/office/drawing/2014/main" id="{E5F85845-FC1E-FC4A-CB65-D42AFE290CE6}"/>
              </a:ext>
            </a:extLst>
          </p:cNvPr>
          <p:cNvCxnSpPr>
            <a:cxnSpLocks/>
            <a:stCxn id="19" idx="3"/>
            <a:endCxn id="96" idx="1"/>
          </p:cNvCxnSpPr>
          <p:nvPr/>
        </p:nvCxnSpPr>
        <p:spPr>
          <a:xfrm flipV="1">
            <a:off x="4848508" y="2978590"/>
            <a:ext cx="424137" cy="355598"/>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65" name="Straight Connector 36">
            <a:extLst>
              <a:ext uri="{FF2B5EF4-FFF2-40B4-BE49-F238E27FC236}">
                <a16:creationId xmlns:a16="http://schemas.microsoft.com/office/drawing/2014/main" id="{880C5335-C815-F370-AF53-B5D01DF87AAA}"/>
              </a:ext>
            </a:extLst>
          </p:cNvPr>
          <p:cNvCxnSpPr>
            <a:cxnSpLocks/>
            <a:stCxn id="17" idx="3"/>
            <a:endCxn id="96" idx="1"/>
          </p:cNvCxnSpPr>
          <p:nvPr/>
        </p:nvCxnSpPr>
        <p:spPr>
          <a:xfrm>
            <a:off x="4841724" y="2342964"/>
            <a:ext cx="430921" cy="635626"/>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3" name="Straight Connector 36">
            <a:extLst>
              <a:ext uri="{FF2B5EF4-FFF2-40B4-BE49-F238E27FC236}">
                <a16:creationId xmlns:a16="http://schemas.microsoft.com/office/drawing/2014/main" id="{9F16719D-3E14-2B8D-4F31-C848FDAA7052}"/>
              </a:ext>
            </a:extLst>
          </p:cNvPr>
          <p:cNvCxnSpPr>
            <a:cxnSpLocks/>
            <a:stCxn id="18" idx="3"/>
            <a:endCxn id="96" idx="1"/>
          </p:cNvCxnSpPr>
          <p:nvPr/>
        </p:nvCxnSpPr>
        <p:spPr>
          <a:xfrm>
            <a:off x="4848508" y="2838576"/>
            <a:ext cx="424137" cy="140014"/>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76" name="Straight Connector 36">
            <a:extLst>
              <a:ext uri="{FF2B5EF4-FFF2-40B4-BE49-F238E27FC236}">
                <a16:creationId xmlns:a16="http://schemas.microsoft.com/office/drawing/2014/main" id="{E03C5F96-6965-C156-4652-1A10D397AD68}"/>
              </a:ext>
            </a:extLst>
          </p:cNvPr>
          <p:cNvCxnSpPr>
            <a:cxnSpLocks/>
            <a:stCxn id="20" idx="3"/>
            <a:endCxn id="96" idx="1"/>
          </p:cNvCxnSpPr>
          <p:nvPr/>
        </p:nvCxnSpPr>
        <p:spPr>
          <a:xfrm flipV="1">
            <a:off x="4851223" y="2978590"/>
            <a:ext cx="421422" cy="819101"/>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84" name="Straight Connector 36">
            <a:extLst>
              <a:ext uri="{FF2B5EF4-FFF2-40B4-BE49-F238E27FC236}">
                <a16:creationId xmlns:a16="http://schemas.microsoft.com/office/drawing/2014/main" id="{19DBD780-0804-762D-713B-AF05292C6A06}"/>
              </a:ext>
            </a:extLst>
          </p:cNvPr>
          <p:cNvCxnSpPr>
            <a:cxnSpLocks/>
            <a:stCxn id="21" idx="3"/>
            <a:endCxn id="96" idx="1"/>
          </p:cNvCxnSpPr>
          <p:nvPr/>
        </p:nvCxnSpPr>
        <p:spPr>
          <a:xfrm flipV="1">
            <a:off x="4850079" y="2978590"/>
            <a:ext cx="422566" cy="1300155"/>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90" name="Straight Connector 36">
            <a:extLst>
              <a:ext uri="{FF2B5EF4-FFF2-40B4-BE49-F238E27FC236}">
                <a16:creationId xmlns:a16="http://schemas.microsoft.com/office/drawing/2014/main" id="{82ECE01E-72B7-ACF6-F2A0-04FE07E61201}"/>
              </a:ext>
            </a:extLst>
          </p:cNvPr>
          <p:cNvCxnSpPr>
            <a:cxnSpLocks/>
            <a:stCxn id="20" idx="3"/>
            <a:endCxn id="97" idx="1"/>
          </p:cNvCxnSpPr>
          <p:nvPr/>
        </p:nvCxnSpPr>
        <p:spPr>
          <a:xfrm flipV="1">
            <a:off x="4851223" y="3555995"/>
            <a:ext cx="421422" cy="241696"/>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05" name="Oval 20">
            <a:extLst>
              <a:ext uri="{FF2B5EF4-FFF2-40B4-BE49-F238E27FC236}">
                <a16:creationId xmlns:a16="http://schemas.microsoft.com/office/drawing/2014/main" id="{3A800E48-135B-08C4-A32E-FAC7E72E9894}"/>
              </a:ext>
            </a:extLst>
          </p:cNvPr>
          <p:cNvSpPr>
            <a:spLocks noChangeAspect="1" noChangeArrowheads="1"/>
          </p:cNvSpPr>
          <p:nvPr/>
        </p:nvSpPr>
        <p:spPr bwMode="auto">
          <a:xfrm>
            <a:off x="2910996" y="2883335"/>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2</a:t>
            </a:r>
          </a:p>
        </p:txBody>
      </p:sp>
      <p:sp>
        <p:nvSpPr>
          <p:cNvPr id="106" name="Oval 20">
            <a:extLst>
              <a:ext uri="{FF2B5EF4-FFF2-40B4-BE49-F238E27FC236}">
                <a16:creationId xmlns:a16="http://schemas.microsoft.com/office/drawing/2014/main" id="{43F26ED5-675E-49B0-0FC2-C90B74FE893C}"/>
              </a:ext>
            </a:extLst>
          </p:cNvPr>
          <p:cNvSpPr>
            <a:spLocks noChangeAspect="1" noChangeArrowheads="1"/>
          </p:cNvSpPr>
          <p:nvPr/>
        </p:nvSpPr>
        <p:spPr bwMode="auto">
          <a:xfrm>
            <a:off x="2910996" y="3388374"/>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3</a:t>
            </a:r>
          </a:p>
        </p:txBody>
      </p:sp>
      <p:sp>
        <p:nvSpPr>
          <p:cNvPr id="107" name="Oval 20">
            <a:extLst>
              <a:ext uri="{FF2B5EF4-FFF2-40B4-BE49-F238E27FC236}">
                <a16:creationId xmlns:a16="http://schemas.microsoft.com/office/drawing/2014/main" id="{E4E52E65-5720-3BCE-AEC5-2FE84B119B23}"/>
              </a:ext>
            </a:extLst>
          </p:cNvPr>
          <p:cNvSpPr>
            <a:spLocks noChangeAspect="1" noChangeArrowheads="1"/>
          </p:cNvSpPr>
          <p:nvPr/>
        </p:nvSpPr>
        <p:spPr bwMode="auto">
          <a:xfrm>
            <a:off x="2910996" y="3965779"/>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4</a:t>
            </a:r>
          </a:p>
        </p:txBody>
      </p:sp>
      <p:sp>
        <p:nvSpPr>
          <p:cNvPr id="108" name="Oval 20">
            <a:extLst>
              <a:ext uri="{FF2B5EF4-FFF2-40B4-BE49-F238E27FC236}">
                <a16:creationId xmlns:a16="http://schemas.microsoft.com/office/drawing/2014/main" id="{5398140B-A57F-8951-5810-D107AE990E03}"/>
              </a:ext>
            </a:extLst>
          </p:cNvPr>
          <p:cNvSpPr>
            <a:spLocks noChangeAspect="1" noChangeArrowheads="1"/>
          </p:cNvSpPr>
          <p:nvPr/>
        </p:nvSpPr>
        <p:spPr bwMode="auto">
          <a:xfrm>
            <a:off x="6029506" y="2880379"/>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5</a:t>
            </a:r>
          </a:p>
        </p:txBody>
      </p:sp>
      <p:sp>
        <p:nvSpPr>
          <p:cNvPr id="109" name="Oval 20">
            <a:extLst>
              <a:ext uri="{FF2B5EF4-FFF2-40B4-BE49-F238E27FC236}">
                <a16:creationId xmlns:a16="http://schemas.microsoft.com/office/drawing/2014/main" id="{0FBB68FC-6C76-67F5-C264-936970D8D29A}"/>
              </a:ext>
            </a:extLst>
          </p:cNvPr>
          <p:cNvSpPr>
            <a:spLocks noChangeAspect="1" noChangeArrowheads="1"/>
          </p:cNvSpPr>
          <p:nvPr/>
        </p:nvSpPr>
        <p:spPr bwMode="auto">
          <a:xfrm>
            <a:off x="6029506" y="3457784"/>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6</a:t>
            </a:r>
          </a:p>
        </p:txBody>
      </p:sp>
      <p:cxnSp>
        <p:nvCxnSpPr>
          <p:cNvPr id="85" name="Straight Connector 84">
            <a:extLst>
              <a:ext uri="{FF2B5EF4-FFF2-40B4-BE49-F238E27FC236}">
                <a16:creationId xmlns:a16="http://schemas.microsoft.com/office/drawing/2014/main" id="{BB43A9B1-8F7A-6962-B57C-2D85114AF593}"/>
              </a:ext>
            </a:extLst>
          </p:cNvPr>
          <p:cNvCxnSpPr>
            <a:cxnSpLocks/>
          </p:cNvCxnSpPr>
          <p:nvPr/>
        </p:nvCxnSpPr>
        <p:spPr>
          <a:xfrm flipH="1">
            <a:off x="6130072" y="1960980"/>
            <a:ext cx="2705555" cy="0"/>
          </a:xfrm>
          <a:prstGeom prst="line">
            <a:avLst/>
          </a:prstGeom>
          <a:ln w="9525" cap="rnd" cmpd="sng" algn="ctr">
            <a:solidFill>
              <a:srgbClr val="2475AF"/>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55777BB3-EA7F-3506-65BC-7AFEF11AC399}"/>
              </a:ext>
            </a:extLst>
          </p:cNvPr>
          <p:cNvCxnSpPr>
            <a:cxnSpLocks/>
          </p:cNvCxnSpPr>
          <p:nvPr/>
        </p:nvCxnSpPr>
        <p:spPr>
          <a:xfrm flipH="1">
            <a:off x="361258" y="1960980"/>
            <a:ext cx="2652670" cy="0"/>
          </a:xfrm>
          <a:prstGeom prst="line">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03" name="Oval 20">
            <a:extLst>
              <a:ext uri="{FF2B5EF4-FFF2-40B4-BE49-F238E27FC236}">
                <a16:creationId xmlns:a16="http://schemas.microsoft.com/office/drawing/2014/main" id="{7E3D7D2A-35B5-871F-390A-007DCB1A27CD}"/>
              </a:ext>
            </a:extLst>
          </p:cNvPr>
          <p:cNvSpPr>
            <a:spLocks noChangeAspect="1" noChangeArrowheads="1"/>
          </p:cNvSpPr>
          <p:nvPr/>
        </p:nvSpPr>
        <p:spPr bwMode="auto">
          <a:xfrm>
            <a:off x="2910996" y="2387724"/>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prstClr val="white"/>
                </a:solidFill>
                <a:effectLst/>
                <a:uLnTx/>
                <a:uFillTx/>
                <a:ea typeface="+mn-ea"/>
                <a:cs typeface="+mn-cs"/>
              </a:rPr>
              <a:t>1</a:t>
            </a:r>
          </a:p>
        </p:txBody>
      </p:sp>
      <p:sp>
        <p:nvSpPr>
          <p:cNvPr id="2" name="TextBox 1">
            <a:extLst>
              <a:ext uri="{FF2B5EF4-FFF2-40B4-BE49-F238E27FC236}">
                <a16:creationId xmlns:a16="http://schemas.microsoft.com/office/drawing/2014/main" id="{7E79A8EF-BB21-B449-1542-25A49852131B}"/>
              </a:ext>
            </a:extLst>
          </p:cNvPr>
          <p:cNvSpPr txBox="1"/>
          <p:nvPr/>
        </p:nvSpPr>
        <p:spPr>
          <a:xfrm>
            <a:off x="5421086" y="-74748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36576" tIns="36576" rIns="36576" bIns="36576"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000000"/>
              </a:solidFill>
              <a:effectLst/>
              <a:uLnTx/>
              <a:uFillTx/>
              <a:latin typeface="Verdana"/>
              <a:ea typeface="+mn-ea"/>
              <a:cs typeface="+mn-cs"/>
            </a:endParaRPr>
          </a:p>
        </p:txBody>
      </p:sp>
      <p:sp>
        <p:nvSpPr>
          <p:cNvPr id="11" name="Rectangle 10">
            <a:extLst>
              <a:ext uri="{FF2B5EF4-FFF2-40B4-BE49-F238E27FC236}">
                <a16:creationId xmlns:a16="http://schemas.microsoft.com/office/drawing/2014/main" id="{742847F0-0CF5-02D2-2B7D-77B91DBF31DC}"/>
              </a:ext>
            </a:extLst>
          </p:cNvPr>
          <p:cNvSpPr/>
          <p:nvPr/>
        </p:nvSpPr>
        <p:spPr>
          <a:xfrm>
            <a:off x="2894076" y="1215966"/>
            <a:ext cx="3355848" cy="203949"/>
          </a:xfrm>
          <a:prstGeom prst="rect">
            <a:avLst/>
          </a:prstGeom>
          <a:no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i-FI" sz="1100" b="1" i="0" u="none" strike="noStrike" kern="1200" cap="none" spc="0" normalizeH="0" baseline="0" noProof="1">
                <a:ln>
                  <a:noFill/>
                </a:ln>
                <a:solidFill>
                  <a:srgbClr val="0F78B2"/>
                </a:solidFill>
                <a:effectLst/>
                <a:uLnTx/>
                <a:uFillTx/>
                <a:ea typeface="+mn-ea"/>
                <a:cs typeface="+mn-cs"/>
              </a:rPr>
              <a:t>Finland’s six growth opportunities</a:t>
            </a:r>
          </a:p>
        </p:txBody>
      </p:sp>
    </p:spTree>
    <p:extLst>
      <p:ext uri="{BB962C8B-B14F-4D97-AF65-F5344CB8AC3E}">
        <p14:creationId xmlns:p14="http://schemas.microsoft.com/office/powerpoint/2010/main" val="3848020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0" name="Picture 149">
            <a:extLst>
              <a:ext uri="{FF2B5EF4-FFF2-40B4-BE49-F238E27FC236}">
                <a16:creationId xmlns:a16="http://schemas.microsoft.com/office/drawing/2014/main" id="{0FC92CCE-1BB0-AA76-9B0C-6F4C3A9DE997}"/>
              </a:ext>
            </a:extLst>
          </p:cNvPr>
          <p:cNvPicPr>
            <a:picLocks noChangeAspect="1"/>
          </p:cNvPicPr>
          <p:nvPr/>
        </p:nvPicPr>
        <p:blipFill rotWithShape="1">
          <a:blip r:embed="rId4">
            <a:extLst>
              <a:ext uri="{28A0092B-C50C-407E-A947-70E740481C1C}">
                <a14:useLocalDpi xmlns:a14="http://schemas.microsoft.com/office/drawing/2010/main" val="0"/>
              </a:ext>
            </a:extLst>
          </a:blip>
          <a:srcRect t="39805"/>
          <a:stretch/>
        </p:blipFill>
        <p:spPr>
          <a:xfrm>
            <a:off x="6023352" y="1199364"/>
            <a:ext cx="1279080" cy="767828"/>
          </a:xfrm>
          <a:prstGeom prst="rect">
            <a:avLst/>
          </a:prstGeom>
        </p:spPr>
      </p:pic>
      <p:sp>
        <p:nvSpPr>
          <p:cNvPr id="47" name="TextBox 46">
            <a:extLst>
              <a:ext uri="{FF2B5EF4-FFF2-40B4-BE49-F238E27FC236}">
                <a16:creationId xmlns:a16="http://schemas.microsoft.com/office/drawing/2014/main" id="{C5496458-A953-531B-05A4-F5CC4D44D01C}"/>
              </a:ext>
            </a:extLst>
          </p:cNvPr>
          <p:cNvSpPr txBox="1"/>
          <p:nvPr/>
        </p:nvSpPr>
        <p:spPr>
          <a:xfrm>
            <a:off x="6023352" y="2456008"/>
            <a:ext cx="1279080" cy="1713668"/>
          </a:xfrm>
          <a:prstGeom prst="rect">
            <a:avLst/>
          </a:prstGeom>
          <a:noFill/>
          <a:ln w="63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oAutofit/>
          </a:bodyPr>
          <a:lstStyle/>
          <a:p>
            <a:r>
              <a:rPr lang="en-US" sz="800" dirty="0">
                <a:solidFill>
                  <a:srgbClr val="000000"/>
                </a:solidFill>
                <a:effectLst/>
                <a:ea typeface="Calibri" panose="020F0502020204030204" pitchFamily="34" charset="0"/>
                <a:cs typeface="Times New Roman" panose="02020603050405020304" pitchFamily="18" charset="0"/>
              </a:rPr>
              <a:t>Finland has a reinforced domestic photonics end-to-end value chain to design and manufacture world-leading photonic solutions</a:t>
            </a:r>
          </a:p>
          <a:p>
            <a:endParaRPr lang="en-FI"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leads globally in photonics-microelectronic </a:t>
            </a:r>
            <a:r>
              <a:rPr lang="en-US" sz="800" dirty="0" err="1">
                <a:solidFill>
                  <a:srgbClr val="000000"/>
                </a:solidFill>
                <a:effectLst/>
                <a:ea typeface="Calibri" panose="020F0502020204030204" pitchFamily="34" charset="0"/>
                <a:cs typeface="Times New Roman" panose="02020603050405020304" pitchFamily="18" charset="0"/>
              </a:rPr>
              <a:t>SiP</a:t>
            </a:r>
            <a:r>
              <a:rPr lang="en-US" sz="800" dirty="0">
                <a:solidFill>
                  <a:srgbClr val="000000"/>
                </a:solidFill>
                <a:effectLst/>
                <a:ea typeface="Calibri" panose="020F0502020204030204" pitchFamily="34" charset="0"/>
                <a:cs typeface="Times New Roman" panose="02020603050405020304" pitchFamily="18" charset="0"/>
              </a:rPr>
              <a:t> design capabilities</a:t>
            </a:r>
            <a:endParaRPr lang="en-FI" sz="800" dirty="0">
              <a:solidFill>
                <a:srgbClr val="000000"/>
              </a:solidFill>
              <a:effectLst/>
              <a:ea typeface="Calibri" panose="020F0502020204030204" pitchFamily="34" charset="0"/>
              <a:cs typeface="Times New Roman" panose="02020603050405020304" pitchFamily="18" charset="0"/>
            </a:endParaRPr>
          </a:p>
          <a:p>
            <a:endParaRPr lang="en-US"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breaks new grounds in healthcare, silicon-photonics, and quantum integration</a:t>
            </a:r>
            <a:endParaRPr lang="en-FI" sz="800" dirty="0">
              <a:solidFill>
                <a:srgbClr val="000000"/>
              </a:solidFill>
              <a:effectLst/>
              <a:ea typeface="Calibri" panose="020F0502020204030204" pitchFamily="34" charset="0"/>
              <a:cs typeface="Times New Roman" panose="02020603050405020304" pitchFamily="18" charset="0"/>
            </a:endParaRPr>
          </a:p>
        </p:txBody>
      </p:sp>
      <p:sp>
        <p:nvSpPr>
          <p:cNvPr id="125" name="Rounded Rectangle 42">
            <a:extLst>
              <a:ext uri="{FF2B5EF4-FFF2-40B4-BE49-F238E27FC236}">
                <a16:creationId xmlns:a16="http://schemas.microsoft.com/office/drawing/2014/main" id="{2A47D68E-7632-E269-C462-053214A6BADB}"/>
              </a:ext>
            </a:extLst>
          </p:cNvPr>
          <p:cNvSpPr/>
          <p:nvPr/>
        </p:nvSpPr>
        <p:spPr>
          <a:xfrm>
            <a:off x="6023352" y="209085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a:solidFill>
                  <a:srgbClr val="000C20"/>
                </a:solidFill>
              </a:rPr>
              <a:t>Photonics</a:t>
            </a:r>
          </a:p>
        </p:txBody>
      </p:sp>
      <p:sp>
        <p:nvSpPr>
          <p:cNvPr id="11" name="Oval 20">
            <a:extLst>
              <a:ext uri="{FF2B5EF4-FFF2-40B4-BE49-F238E27FC236}">
                <a16:creationId xmlns:a16="http://schemas.microsoft.com/office/drawing/2014/main" id="{0AACC3E9-427E-A7BC-F87F-13C5D9EF1D9F}"/>
              </a:ext>
            </a:extLst>
          </p:cNvPr>
          <p:cNvSpPr>
            <a:spLocks noChangeAspect="1" noChangeArrowheads="1"/>
          </p:cNvSpPr>
          <p:nvPr/>
        </p:nvSpPr>
        <p:spPr bwMode="auto">
          <a:xfrm>
            <a:off x="6564681" y="1106303"/>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5</a:t>
            </a:r>
          </a:p>
        </p:txBody>
      </p:sp>
      <p:cxnSp>
        <p:nvCxnSpPr>
          <p:cNvPr id="167" name="Straight Connector 166">
            <a:extLst>
              <a:ext uri="{FF2B5EF4-FFF2-40B4-BE49-F238E27FC236}">
                <a16:creationId xmlns:a16="http://schemas.microsoft.com/office/drawing/2014/main" id="{53B44BE2-9B69-40DA-D693-45DFB53DA678}"/>
              </a:ext>
            </a:extLst>
          </p:cNvPr>
          <p:cNvCxnSpPr>
            <a:cxnSpLocks/>
          </p:cNvCxnSpPr>
          <p:nvPr/>
        </p:nvCxnSpPr>
        <p:spPr>
          <a:xfrm flipH="1">
            <a:off x="6023352" y="2336912"/>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4" name="Half Frame 173">
            <a:extLst>
              <a:ext uri="{FF2B5EF4-FFF2-40B4-BE49-F238E27FC236}">
                <a16:creationId xmlns:a16="http://schemas.microsoft.com/office/drawing/2014/main" id="{88D20422-445D-B25A-3B86-AAB9546772E7}"/>
              </a:ext>
            </a:extLst>
          </p:cNvPr>
          <p:cNvSpPr>
            <a:spLocks/>
          </p:cNvSpPr>
          <p:nvPr/>
        </p:nvSpPr>
        <p:spPr bwMode="auto">
          <a:xfrm rot="13449344">
            <a:off x="6614505" y="2276202"/>
            <a:ext cx="96774" cy="99082"/>
          </a:xfrm>
          <a:prstGeom prst="halfFrame">
            <a:avLst/>
          </a:prstGeom>
          <a:solidFill>
            <a:schemeClr val="bg1">
              <a:lumMod val="50000"/>
            </a:schemeClr>
          </a:solidFill>
          <a:ln>
            <a:noFill/>
          </a:ln>
        </p:spPr>
        <p:txBody>
          <a:bodyPr vert="horz" wrap="square" lIns="45720" tIns="22860" rIns="45720" bIns="22860" numCol="1" rtlCol="0" anchor="t" anchorCtr="0" compatLnSpc="1">
            <a:prstTxWarp prst="textNoShape">
              <a:avLst/>
            </a:prstTxWarp>
          </a:bodyPr>
          <a:lstStyle/>
          <a:p>
            <a:pPr algn="ctr"/>
            <a:endParaRPr lang="en-US"/>
          </a:p>
        </p:txBody>
      </p:sp>
      <p:graphicFrame>
        <p:nvGraphicFramePr>
          <p:cNvPr id="92" name="think-cell data - do not delete" hidden="1">
            <a:extLst>
              <a:ext uri="{FF2B5EF4-FFF2-40B4-BE49-F238E27FC236}">
                <a16:creationId xmlns:a16="http://schemas.microsoft.com/office/drawing/2014/main" id="{701DF10B-BD15-1CC5-106E-42D7102AC1E6}"/>
              </a:ext>
            </a:extLst>
          </p:cNvPr>
          <p:cNvGraphicFramePr>
            <a:graphicFrameLocks noChangeAspect="1"/>
          </p:cNvGraphicFramePr>
          <p:nvPr>
            <p:custDataLst>
              <p:tags r:id="rId1"/>
            </p:custDataLst>
            <p:extLst>
              <p:ext uri="{D42A27DB-BD31-4B8C-83A1-F6EECF244321}">
                <p14:modId xmlns:p14="http://schemas.microsoft.com/office/powerpoint/2010/main" val="5855164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04" imgH="405" progId="TCLayout.ActiveDocument.1">
                  <p:embed/>
                </p:oleObj>
              </mc:Choice>
              <mc:Fallback>
                <p:oleObj name="think-cell Slide" r:id="rId5" imgW="404" imgH="405" progId="TCLayout.ActiveDocument.1">
                  <p:embed/>
                  <p:pic>
                    <p:nvPicPr>
                      <p:cNvPr id="92" name="think-cell data - do not delete" hidden="1">
                        <a:extLst>
                          <a:ext uri="{FF2B5EF4-FFF2-40B4-BE49-F238E27FC236}">
                            <a16:creationId xmlns:a16="http://schemas.microsoft.com/office/drawing/2014/main" id="{701DF10B-BD15-1CC5-106E-42D7102AC1E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a:xfrm>
            <a:off x="8005977" y="4896249"/>
            <a:ext cx="863990" cy="165406"/>
          </a:xfrm>
        </p:spPr>
        <p:txBody>
          <a:bodyPr/>
          <a:lstStyle/>
          <a:p>
            <a:fld id="{6FCB6B90-8271-4E8F-82C1-E646FBB48A2E}" type="slidenum">
              <a:rPr lang="en-US" smtClean="0"/>
              <a:pPr/>
              <a:t>20</a:t>
            </a:fld>
            <a:endParaRPr lang="en-US"/>
          </a:p>
        </p:txBody>
      </p:sp>
      <p:sp>
        <p:nvSpPr>
          <p:cNvPr id="53" name="TextBox 52">
            <a:extLst>
              <a:ext uri="{FF2B5EF4-FFF2-40B4-BE49-F238E27FC236}">
                <a16:creationId xmlns:a16="http://schemas.microsoft.com/office/drawing/2014/main" id="{A6F89742-99AE-4CE2-861F-863085C718ED}"/>
              </a:ext>
            </a:extLst>
          </p:cNvPr>
          <p:cNvSpPr txBox="1"/>
          <p:nvPr/>
        </p:nvSpPr>
        <p:spPr>
          <a:xfrm>
            <a:off x="1758462" y="2456008"/>
            <a:ext cx="1279080" cy="1713668"/>
          </a:xfrm>
          <a:prstGeom prst="rect">
            <a:avLst/>
          </a:prstGeom>
          <a:noFill/>
          <a:ln w="63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oAutofit/>
          </a:bodyPr>
          <a:lstStyle/>
          <a:p>
            <a:r>
              <a:rPr lang="en-US" sz="800" dirty="0">
                <a:solidFill>
                  <a:srgbClr val="000000"/>
                </a:solidFill>
                <a:effectLst/>
                <a:ea typeface="Calibri" panose="020F0502020204030204" pitchFamily="34" charset="0"/>
                <a:cs typeface="Times New Roman" panose="02020603050405020304" pitchFamily="18" charset="0"/>
              </a:rPr>
              <a:t>Finland leads in research, development and productization of thin films for novel applications</a:t>
            </a:r>
            <a:endParaRPr lang="en-FI" sz="800" dirty="0">
              <a:solidFill>
                <a:srgbClr val="000000"/>
              </a:solidFill>
              <a:effectLst/>
              <a:ea typeface="Calibri" panose="020F0502020204030204" pitchFamily="34" charset="0"/>
              <a:cs typeface="Times New Roman" panose="02020603050405020304" pitchFamily="18" charset="0"/>
            </a:endParaRPr>
          </a:p>
          <a:p>
            <a:endParaRPr lang="en-US"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a:t>
            </a:r>
            <a:r>
              <a:rPr lang="en-US" sz="800" dirty="0">
                <a:solidFill>
                  <a:srgbClr val="000000"/>
                </a:solidFill>
                <a:effectLst/>
                <a:ea typeface="Times New Roman" panose="02020603050405020304" pitchFamily="18" charset="0"/>
                <a:cs typeface="Henderson BCG Serif" panose="02030502050406020204" pitchFamily="18" charset="77"/>
              </a:rPr>
              <a:t>develops leading flexible </a:t>
            </a:r>
            <a:r>
              <a:rPr lang="en-US" sz="800" dirty="0">
                <a:solidFill>
                  <a:srgbClr val="000000"/>
                </a:solidFill>
                <a:effectLst/>
                <a:ea typeface="Calibri" panose="020F0502020204030204" pitchFamily="34" charset="0"/>
                <a:cs typeface="Times New Roman" panose="02020603050405020304" pitchFamily="18" charset="0"/>
              </a:rPr>
              <a:t>and biodegradable process and manufacturing technologies</a:t>
            </a:r>
            <a:endParaRPr lang="en-FI" sz="800" dirty="0">
              <a:solidFill>
                <a:srgbClr val="000000"/>
              </a:solidFill>
              <a:effectLst/>
              <a:ea typeface="Calibri" panose="020F0502020204030204" pitchFamily="34" charset="0"/>
              <a:cs typeface="Times New Roman" panose="02020603050405020304" pitchFamily="18" charset="0"/>
            </a:endParaRPr>
          </a:p>
        </p:txBody>
      </p:sp>
      <p:sp>
        <p:nvSpPr>
          <p:cNvPr id="128" name="Rounded Rectangle 42">
            <a:extLst>
              <a:ext uri="{FF2B5EF4-FFF2-40B4-BE49-F238E27FC236}">
                <a16:creationId xmlns:a16="http://schemas.microsoft.com/office/drawing/2014/main" id="{0B5A4D5A-F9C7-7DE5-6872-98B3631F2115}"/>
              </a:ext>
            </a:extLst>
          </p:cNvPr>
          <p:cNvSpPr/>
          <p:nvPr/>
        </p:nvSpPr>
        <p:spPr>
          <a:xfrm>
            <a:off x="1758462" y="209085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dirty="0">
                <a:solidFill>
                  <a:srgbClr val="000C20"/>
                </a:solidFill>
              </a:rPr>
              <a:t>Process technologies</a:t>
            </a:r>
          </a:p>
        </p:txBody>
      </p:sp>
      <p:pic>
        <p:nvPicPr>
          <p:cNvPr id="152" name="Picture 151">
            <a:extLst>
              <a:ext uri="{FF2B5EF4-FFF2-40B4-BE49-F238E27FC236}">
                <a16:creationId xmlns:a16="http://schemas.microsoft.com/office/drawing/2014/main" id="{CC97601C-DBF1-C5BA-291C-961C903BBF2C}"/>
              </a:ext>
            </a:extLst>
          </p:cNvPr>
          <p:cNvPicPr>
            <a:picLocks noChangeAspect="1"/>
          </p:cNvPicPr>
          <p:nvPr/>
        </p:nvPicPr>
        <p:blipFill rotWithShape="1">
          <a:blip r:embed="rId7">
            <a:extLst>
              <a:ext uri="{28A0092B-C50C-407E-A947-70E740481C1C}">
                <a14:useLocalDpi xmlns:a14="http://schemas.microsoft.com/office/drawing/2010/main" val="0"/>
              </a:ext>
            </a:extLst>
          </a:blip>
          <a:srcRect t="32586"/>
          <a:stretch/>
        </p:blipFill>
        <p:spPr>
          <a:xfrm>
            <a:off x="1758462" y="1201787"/>
            <a:ext cx="1279080" cy="765323"/>
          </a:xfrm>
          <a:prstGeom prst="rect">
            <a:avLst/>
          </a:prstGeom>
        </p:spPr>
      </p:pic>
      <p:sp>
        <p:nvSpPr>
          <p:cNvPr id="15" name="Oval 20">
            <a:extLst>
              <a:ext uri="{FF2B5EF4-FFF2-40B4-BE49-F238E27FC236}">
                <a16:creationId xmlns:a16="http://schemas.microsoft.com/office/drawing/2014/main" id="{74BEE305-4132-3F5C-CD00-789BF9BDCEAC}"/>
              </a:ext>
            </a:extLst>
          </p:cNvPr>
          <p:cNvSpPr>
            <a:spLocks noChangeAspect="1" noChangeArrowheads="1"/>
          </p:cNvSpPr>
          <p:nvPr/>
        </p:nvSpPr>
        <p:spPr bwMode="auto">
          <a:xfrm>
            <a:off x="2299791" y="1106303"/>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2</a:t>
            </a:r>
          </a:p>
        </p:txBody>
      </p:sp>
      <p:cxnSp>
        <p:nvCxnSpPr>
          <p:cNvPr id="170" name="Straight Connector 169">
            <a:extLst>
              <a:ext uri="{FF2B5EF4-FFF2-40B4-BE49-F238E27FC236}">
                <a16:creationId xmlns:a16="http://schemas.microsoft.com/office/drawing/2014/main" id="{56ADE1F7-F101-FD1C-402D-CE9F77533349}"/>
              </a:ext>
            </a:extLst>
          </p:cNvPr>
          <p:cNvCxnSpPr>
            <a:cxnSpLocks/>
          </p:cNvCxnSpPr>
          <p:nvPr/>
        </p:nvCxnSpPr>
        <p:spPr>
          <a:xfrm flipH="1">
            <a:off x="1758462" y="2336912"/>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7" name="Half Frame 176">
            <a:extLst>
              <a:ext uri="{FF2B5EF4-FFF2-40B4-BE49-F238E27FC236}">
                <a16:creationId xmlns:a16="http://schemas.microsoft.com/office/drawing/2014/main" id="{B425E9E1-6311-6B7E-D6F0-0DEE242B0415}"/>
              </a:ext>
            </a:extLst>
          </p:cNvPr>
          <p:cNvSpPr>
            <a:spLocks/>
          </p:cNvSpPr>
          <p:nvPr/>
        </p:nvSpPr>
        <p:spPr bwMode="auto">
          <a:xfrm rot="13449344">
            <a:off x="2349615" y="2276202"/>
            <a:ext cx="96774" cy="99082"/>
          </a:xfrm>
          <a:prstGeom prst="halfFrame">
            <a:avLst/>
          </a:prstGeom>
          <a:solidFill>
            <a:schemeClr val="bg1">
              <a:lumMod val="50000"/>
            </a:schemeClr>
          </a:solidFill>
          <a:ln>
            <a:noFill/>
          </a:ln>
        </p:spPr>
        <p:txBody>
          <a:bodyPr vert="horz" wrap="square" lIns="45720" tIns="22860" rIns="45720" bIns="22860" numCol="1" rtlCol="0" anchor="t" anchorCtr="0" compatLnSpc="1">
            <a:prstTxWarp prst="textNoShape">
              <a:avLst/>
            </a:prstTxWarp>
          </a:bodyPr>
          <a:lstStyle/>
          <a:p>
            <a:pPr algn="ctr"/>
            <a:endParaRPr lang="en-US"/>
          </a:p>
        </p:txBody>
      </p:sp>
      <p:sp>
        <p:nvSpPr>
          <p:cNvPr id="85" name="TextBox 84">
            <a:extLst>
              <a:ext uri="{FF2B5EF4-FFF2-40B4-BE49-F238E27FC236}">
                <a16:creationId xmlns:a16="http://schemas.microsoft.com/office/drawing/2014/main" id="{60BECB16-66DC-ED92-B420-482909299A4E}"/>
              </a:ext>
            </a:extLst>
          </p:cNvPr>
          <p:cNvSpPr txBox="1"/>
          <p:nvPr/>
        </p:nvSpPr>
        <p:spPr>
          <a:xfrm>
            <a:off x="3180452" y="2456009"/>
            <a:ext cx="1279080" cy="1713668"/>
          </a:xfrm>
          <a:prstGeom prst="rect">
            <a:avLst/>
          </a:prstGeom>
          <a:noFill/>
          <a:ln w="63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000" tIns="36000" rIns="36000" bIns="36000" numCol="1" spcCol="0" rtlCol="0" fromWordArt="0" anchor="t" anchorCtr="0" forceAA="0" compatLnSpc="1">
            <a:prstTxWarp prst="textNoShape">
              <a:avLst/>
            </a:prstTxWarp>
            <a:noAutofit/>
          </a:bodyPr>
          <a:lstStyle/>
          <a:p>
            <a:r>
              <a:rPr lang="en-US" sz="800" dirty="0">
                <a:solidFill>
                  <a:srgbClr val="000000"/>
                </a:solidFill>
                <a:effectLst/>
                <a:ea typeface="Calibri" panose="020F0502020204030204" pitchFamily="34" charset="0"/>
                <a:cs typeface="Times New Roman" panose="02020603050405020304" pitchFamily="18" charset="0"/>
              </a:rPr>
              <a:t>Finland designs leading next-generation mobile network chips</a:t>
            </a:r>
          </a:p>
          <a:p>
            <a:endParaRPr lang="en-FI"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is integrated deeply with Europe’s industrial demand for automation, AI, and robotics</a:t>
            </a:r>
          </a:p>
          <a:p>
            <a:endParaRPr lang="en-FI"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breaks new grounds with energy-efficient, ultra-low power chips </a:t>
            </a:r>
          </a:p>
          <a:p>
            <a:endParaRPr lang="en-US" sz="800" dirty="0">
              <a:solidFill>
                <a:srgbClr val="000000"/>
              </a:solidFill>
              <a:ea typeface="Calibri" panose="020F0502020204030204" pitchFamily="34" charset="0"/>
              <a:cs typeface="Times New Roman" panose="02020603050405020304" pitchFamily="18" charset="0"/>
            </a:endParaRPr>
          </a:p>
          <a:p>
            <a:endParaRPr lang="en-FI" sz="800" dirty="0">
              <a:solidFill>
                <a:srgbClr val="000000"/>
              </a:solidFill>
              <a:effectLst/>
              <a:ea typeface="Calibri" panose="020F0502020204030204" pitchFamily="34" charset="0"/>
              <a:cs typeface="Times New Roman" panose="02020603050405020304" pitchFamily="18" charset="0"/>
            </a:endParaRPr>
          </a:p>
          <a:p>
            <a:endParaRPr lang="en-FI" sz="800" dirty="0">
              <a:solidFill>
                <a:srgbClr val="000000"/>
              </a:solidFill>
              <a:effectLst/>
              <a:ea typeface="Calibri" panose="020F0502020204030204" pitchFamily="34" charset="0"/>
              <a:cs typeface="Times New Roman" panose="02020603050405020304" pitchFamily="18" charset="0"/>
            </a:endParaRPr>
          </a:p>
          <a:p>
            <a:endParaRPr lang="en-FI" sz="800" dirty="0">
              <a:solidFill>
                <a:srgbClr val="000000"/>
              </a:solidFill>
              <a:effectLst/>
              <a:ea typeface="Calibri" panose="020F0502020204030204" pitchFamily="34" charset="0"/>
              <a:cs typeface="Times New Roman" panose="02020603050405020304" pitchFamily="18" charset="0"/>
            </a:endParaRPr>
          </a:p>
        </p:txBody>
      </p:sp>
      <p:cxnSp>
        <p:nvCxnSpPr>
          <p:cNvPr id="86" name="Straight Connector 85">
            <a:extLst>
              <a:ext uri="{FF2B5EF4-FFF2-40B4-BE49-F238E27FC236}">
                <a16:creationId xmlns:a16="http://schemas.microsoft.com/office/drawing/2014/main" id="{FFF5CB0D-A2E1-B2B0-4E2D-9AD92449820C}"/>
              </a:ext>
            </a:extLst>
          </p:cNvPr>
          <p:cNvCxnSpPr>
            <a:cxnSpLocks/>
          </p:cNvCxnSpPr>
          <p:nvPr/>
        </p:nvCxnSpPr>
        <p:spPr>
          <a:xfrm flipH="1">
            <a:off x="3180452" y="2336912"/>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23" name="Rounded Rectangle 42">
            <a:extLst>
              <a:ext uri="{FF2B5EF4-FFF2-40B4-BE49-F238E27FC236}">
                <a16:creationId xmlns:a16="http://schemas.microsoft.com/office/drawing/2014/main" id="{488D5A92-DDD7-DC0C-12A3-67E844C1EAAA}"/>
              </a:ext>
            </a:extLst>
          </p:cNvPr>
          <p:cNvSpPr/>
          <p:nvPr/>
        </p:nvSpPr>
        <p:spPr>
          <a:xfrm>
            <a:off x="3180452" y="209085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a:solidFill>
                  <a:srgbClr val="000C20"/>
                </a:solidFill>
              </a:rPr>
              <a:t>Chip design</a:t>
            </a:r>
          </a:p>
        </p:txBody>
      </p:sp>
      <p:pic>
        <p:nvPicPr>
          <p:cNvPr id="137" name="Picture 136">
            <a:extLst>
              <a:ext uri="{FF2B5EF4-FFF2-40B4-BE49-F238E27FC236}">
                <a16:creationId xmlns:a16="http://schemas.microsoft.com/office/drawing/2014/main" id="{527F7124-6950-9FB7-D1A1-D696ADA945D0}"/>
              </a:ext>
            </a:extLst>
          </p:cNvPr>
          <p:cNvPicPr>
            <a:picLocks noChangeAspect="1"/>
          </p:cNvPicPr>
          <p:nvPr/>
        </p:nvPicPr>
        <p:blipFill rotWithShape="1">
          <a:blip r:embed="rId8">
            <a:extLst>
              <a:ext uri="{28A0092B-C50C-407E-A947-70E740481C1C}">
                <a14:useLocalDpi xmlns:a14="http://schemas.microsoft.com/office/drawing/2010/main" val="0"/>
              </a:ext>
            </a:extLst>
          </a:blip>
          <a:srcRect t="32065"/>
          <a:stretch/>
        </p:blipFill>
        <p:spPr>
          <a:xfrm>
            <a:off x="3180452" y="1199364"/>
            <a:ext cx="1279080" cy="767828"/>
          </a:xfrm>
          <a:prstGeom prst="rect">
            <a:avLst/>
          </a:prstGeom>
        </p:spPr>
      </p:pic>
      <p:sp>
        <p:nvSpPr>
          <p:cNvPr id="7" name="Oval 20">
            <a:extLst>
              <a:ext uri="{FF2B5EF4-FFF2-40B4-BE49-F238E27FC236}">
                <a16:creationId xmlns:a16="http://schemas.microsoft.com/office/drawing/2014/main" id="{01B5B5C7-D71D-509F-97AC-D918F9BF78A6}"/>
              </a:ext>
            </a:extLst>
          </p:cNvPr>
          <p:cNvSpPr>
            <a:spLocks noChangeAspect="1" noChangeArrowheads="1"/>
          </p:cNvSpPr>
          <p:nvPr/>
        </p:nvSpPr>
        <p:spPr bwMode="auto">
          <a:xfrm>
            <a:off x="3721781" y="1106303"/>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3</a:t>
            </a:r>
          </a:p>
        </p:txBody>
      </p:sp>
      <p:sp>
        <p:nvSpPr>
          <p:cNvPr id="171" name="Half Frame 170">
            <a:extLst>
              <a:ext uri="{FF2B5EF4-FFF2-40B4-BE49-F238E27FC236}">
                <a16:creationId xmlns:a16="http://schemas.microsoft.com/office/drawing/2014/main" id="{6FA24F68-9266-B3DF-8A62-EDE790A60EC4}"/>
              </a:ext>
            </a:extLst>
          </p:cNvPr>
          <p:cNvSpPr>
            <a:spLocks/>
          </p:cNvSpPr>
          <p:nvPr/>
        </p:nvSpPr>
        <p:spPr bwMode="auto">
          <a:xfrm rot="13449344">
            <a:off x="3771605" y="2276202"/>
            <a:ext cx="96774" cy="99082"/>
          </a:xfrm>
          <a:prstGeom prst="halfFrame">
            <a:avLst/>
          </a:prstGeom>
          <a:solidFill>
            <a:schemeClr val="bg1">
              <a:lumMod val="50000"/>
            </a:schemeClr>
          </a:solidFill>
          <a:ln>
            <a:noFill/>
          </a:ln>
        </p:spPr>
        <p:txBody>
          <a:bodyPr vert="horz" wrap="square" lIns="45720" tIns="22860" rIns="45720" bIns="22860" numCol="1" rtlCol="0" anchor="t" anchorCtr="0" compatLnSpc="1">
            <a:prstTxWarp prst="textNoShape">
              <a:avLst/>
            </a:prstTxWarp>
          </a:bodyPr>
          <a:lstStyle/>
          <a:p>
            <a:pPr algn="ctr"/>
            <a:endParaRPr lang="en-US"/>
          </a:p>
        </p:txBody>
      </p:sp>
      <p:cxnSp>
        <p:nvCxnSpPr>
          <p:cNvPr id="6" name="Straight Connector 5">
            <a:extLst>
              <a:ext uri="{FF2B5EF4-FFF2-40B4-BE49-F238E27FC236}">
                <a16:creationId xmlns:a16="http://schemas.microsoft.com/office/drawing/2014/main" id="{A09EF56E-9608-350C-914B-254CC14B6286}"/>
              </a:ext>
            </a:extLst>
          </p:cNvPr>
          <p:cNvCxnSpPr>
            <a:cxnSpLocks/>
          </p:cNvCxnSpPr>
          <p:nvPr/>
        </p:nvCxnSpPr>
        <p:spPr>
          <a:xfrm>
            <a:off x="3108997" y="2456007"/>
            <a:ext cx="0" cy="1713672"/>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pic>
        <p:nvPicPr>
          <p:cNvPr id="178" name="Picture 177">
            <a:extLst>
              <a:ext uri="{FF2B5EF4-FFF2-40B4-BE49-F238E27FC236}">
                <a16:creationId xmlns:a16="http://schemas.microsoft.com/office/drawing/2014/main" id="{E8EFCBE3-1176-04E7-1096-1C5FFA455A78}"/>
              </a:ext>
            </a:extLst>
          </p:cNvPr>
          <p:cNvPicPr>
            <a:picLocks noChangeAspect="1"/>
          </p:cNvPicPr>
          <p:nvPr/>
        </p:nvPicPr>
        <p:blipFill rotWithShape="1">
          <a:blip r:embed="rId9">
            <a:extLst>
              <a:ext uri="{28A0092B-C50C-407E-A947-70E740481C1C}">
                <a14:useLocalDpi xmlns:a14="http://schemas.microsoft.com/office/drawing/2010/main" val="0"/>
              </a:ext>
            </a:extLst>
          </a:blip>
          <a:srcRect t="19074" b="21314"/>
          <a:stretch/>
        </p:blipFill>
        <p:spPr>
          <a:xfrm>
            <a:off x="4602442" y="1197907"/>
            <a:ext cx="1278000" cy="767828"/>
          </a:xfrm>
          <a:prstGeom prst="rect">
            <a:avLst/>
          </a:prstGeom>
        </p:spPr>
      </p:pic>
      <p:sp>
        <p:nvSpPr>
          <p:cNvPr id="45" name="TextBox 44">
            <a:extLst>
              <a:ext uri="{FF2B5EF4-FFF2-40B4-BE49-F238E27FC236}">
                <a16:creationId xmlns:a16="http://schemas.microsoft.com/office/drawing/2014/main" id="{4657879F-3BC5-6301-1001-5ED1AEE61328}"/>
              </a:ext>
            </a:extLst>
          </p:cNvPr>
          <p:cNvSpPr txBox="1"/>
          <p:nvPr/>
        </p:nvSpPr>
        <p:spPr>
          <a:xfrm>
            <a:off x="4602442" y="2456008"/>
            <a:ext cx="1278000" cy="1713668"/>
          </a:xfrm>
          <a:prstGeom prst="rect">
            <a:avLst/>
          </a:prstGeom>
          <a:noFill/>
          <a:ln w="63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oAutofit/>
          </a:bodyPr>
          <a:lstStyle/>
          <a:p>
            <a:r>
              <a:rPr lang="en-US" sz="800" dirty="0">
                <a:solidFill>
                  <a:srgbClr val="000000"/>
                </a:solidFill>
                <a:effectLst/>
                <a:ea typeface="Calibri" panose="020F0502020204030204" pitchFamily="34" charset="0"/>
                <a:cs typeface="Times New Roman" panose="02020603050405020304" pitchFamily="18" charset="0"/>
              </a:rPr>
              <a:t>Finland leads in design and manufacturing of MEMS solutions for communications, industrial, automotive, and healthcare sectors</a:t>
            </a:r>
            <a:endParaRPr lang="en-FI" sz="800" dirty="0">
              <a:solidFill>
                <a:srgbClr val="000000"/>
              </a:solidFill>
              <a:effectLst/>
              <a:ea typeface="Calibri" panose="020F0502020204030204" pitchFamily="34" charset="0"/>
              <a:cs typeface="Times New Roman" panose="02020603050405020304" pitchFamily="18" charset="0"/>
            </a:endParaRPr>
          </a:p>
          <a:p>
            <a:endParaRPr lang="en-US"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leads in innovations for next generation advanced sensor solutions</a:t>
            </a:r>
          </a:p>
        </p:txBody>
      </p:sp>
      <p:sp>
        <p:nvSpPr>
          <p:cNvPr id="124" name="Rounded Rectangle 42">
            <a:extLst>
              <a:ext uri="{FF2B5EF4-FFF2-40B4-BE49-F238E27FC236}">
                <a16:creationId xmlns:a16="http://schemas.microsoft.com/office/drawing/2014/main" id="{B3AB5812-AFAF-BA1D-A45A-34AB4E61D0B1}"/>
              </a:ext>
            </a:extLst>
          </p:cNvPr>
          <p:cNvSpPr/>
          <p:nvPr/>
        </p:nvSpPr>
        <p:spPr>
          <a:xfrm>
            <a:off x="4602442" y="2090850"/>
            <a:ext cx="127800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a:solidFill>
                  <a:srgbClr val="000C20"/>
                </a:solidFill>
              </a:rPr>
              <a:t>MEMS and sensors</a:t>
            </a:r>
          </a:p>
        </p:txBody>
      </p:sp>
      <p:sp>
        <p:nvSpPr>
          <p:cNvPr id="8" name="Oval 20">
            <a:extLst>
              <a:ext uri="{FF2B5EF4-FFF2-40B4-BE49-F238E27FC236}">
                <a16:creationId xmlns:a16="http://schemas.microsoft.com/office/drawing/2014/main" id="{FD43C108-832B-9534-6541-EC3E71B4F390}"/>
              </a:ext>
            </a:extLst>
          </p:cNvPr>
          <p:cNvSpPr>
            <a:spLocks noChangeAspect="1" noChangeArrowheads="1"/>
          </p:cNvSpPr>
          <p:nvPr/>
        </p:nvSpPr>
        <p:spPr bwMode="auto">
          <a:xfrm>
            <a:off x="5143231" y="1106303"/>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Verdana"/>
                <a:ea typeface="+mn-ea"/>
                <a:cs typeface="+mn-cs"/>
              </a:rPr>
              <a:t>4</a:t>
            </a:r>
          </a:p>
        </p:txBody>
      </p:sp>
      <p:cxnSp>
        <p:nvCxnSpPr>
          <p:cNvPr id="166" name="Straight Connector 165">
            <a:extLst>
              <a:ext uri="{FF2B5EF4-FFF2-40B4-BE49-F238E27FC236}">
                <a16:creationId xmlns:a16="http://schemas.microsoft.com/office/drawing/2014/main" id="{46A93D87-B412-819F-712F-6E004866FA35}"/>
              </a:ext>
            </a:extLst>
          </p:cNvPr>
          <p:cNvCxnSpPr>
            <a:cxnSpLocks/>
          </p:cNvCxnSpPr>
          <p:nvPr/>
        </p:nvCxnSpPr>
        <p:spPr>
          <a:xfrm flipH="1">
            <a:off x="4602442" y="2336912"/>
            <a:ext cx="127800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3" name="Half Frame 172">
            <a:extLst>
              <a:ext uri="{FF2B5EF4-FFF2-40B4-BE49-F238E27FC236}">
                <a16:creationId xmlns:a16="http://schemas.microsoft.com/office/drawing/2014/main" id="{365FFD61-F1FA-94E8-D81A-5D80F71E5C59}"/>
              </a:ext>
            </a:extLst>
          </p:cNvPr>
          <p:cNvSpPr>
            <a:spLocks/>
          </p:cNvSpPr>
          <p:nvPr/>
        </p:nvSpPr>
        <p:spPr bwMode="auto">
          <a:xfrm rot="13449344">
            <a:off x="5193055" y="2276202"/>
            <a:ext cx="96774" cy="99082"/>
          </a:xfrm>
          <a:prstGeom prst="halfFrame">
            <a:avLst/>
          </a:prstGeom>
          <a:solidFill>
            <a:schemeClr val="bg1">
              <a:lumMod val="50000"/>
            </a:schemeClr>
          </a:solidFill>
          <a:ln>
            <a:noFill/>
          </a:ln>
        </p:spPr>
        <p:txBody>
          <a:bodyPr vert="horz" wrap="square" lIns="45720" tIns="22860" rIns="45720" bIns="22860" numCol="1" rtlCol="0" anchor="t" anchorCtr="0" compatLnSpc="1">
            <a:prstTxWarp prst="textNoShape">
              <a:avLst/>
            </a:prstTxWarp>
          </a:bodyPr>
          <a:lstStyle/>
          <a:p>
            <a:pPr algn="ctr"/>
            <a:endParaRPr lang="en-US"/>
          </a:p>
        </p:txBody>
      </p:sp>
      <p:sp>
        <p:nvSpPr>
          <p:cNvPr id="5" name="TextBox 4">
            <a:extLst>
              <a:ext uri="{FF2B5EF4-FFF2-40B4-BE49-F238E27FC236}">
                <a16:creationId xmlns:a16="http://schemas.microsoft.com/office/drawing/2014/main" id="{38AD75EA-8C8C-60FA-AEBD-BC4729D23AF0}"/>
              </a:ext>
            </a:extLst>
          </p:cNvPr>
          <p:cNvSpPr txBox="1"/>
          <p:nvPr/>
        </p:nvSpPr>
        <p:spPr>
          <a:xfrm rot="16200000">
            <a:off x="-611564" y="3219859"/>
            <a:ext cx="1639787" cy="195814"/>
          </a:xfrm>
          <a:prstGeom prst="rect">
            <a:avLst/>
          </a:prstGeom>
          <a:noFill/>
        </p:spPr>
        <p:txBody>
          <a:bodyPr wrap="square" lIns="36000" tIns="36000" rIns="36000" bIns="36000" rtlCol="0">
            <a:spAutoFit/>
          </a:bodyPr>
          <a:lstStyle/>
          <a:p>
            <a:pPr algn="r"/>
            <a:r>
              <a:rPr lang="en-US" sz="800" b="1" spc="-40" dirty="0"/>
              <a:t>Vision</a:t>
            </a:r>
          </a:p>
        </p:txBody>
      </p:sp>
      <p:sp>
        <p:nvSpPr>
          <p:cNvPr id="9" name="Date Placeholder 2">
            <a:extLst>
              <a:ext uri="{FF2B5EF4-FFF2-40B4-BE49-F238E27FC236}">
                <a16:creationId xmlns:a16="http://schemas.microsoft.com/office/drawing/2014/main" id="{8B906931-74A7-2CB0-052E-7823C807FEED}"/>
              </a:ext>
            </a:extLst>
          </p:cNvPr>
          <p:cNvSpPr>
            <a:spLocks noGrp="1"/>
          </p:cNvSpPr>
          <p:nvPr>
            <p:ph type="dt" sz="half" idx="10"/>
          </p:nvPr>
        </p:nvSpPr>
        <p:spPr>
          <a:xfrm>
            <a:off x="282027" y="4728047"/>
            <a:ext cx="916709" cy="164690"/>
          </a:xfrm>
        </p:spPr>
        <p:txBody>
          <a:bodyPr/>
          <a:lstStyle/>
          <a:p>
            <a:fld id="{F553C366-6A2C-43B9-A437-B827E0484441}" type="datetime1">
              <a:rPr lang="fi-FI" smtClean="0"/>
              <a:pPr/>
              <a:t>9.4.2024</a:t>
            </a:fld>
            <a:endParaRPr lang="en-US">
              <a:latin typeface="+mj-lt"/>
            </a:endParaRPr>
          </a:p>
        </p:txBody>
      </p:sp>
      <p:pic>
        <p:nvPicPr>
          <p:cNvPr id="153" name="Picture 152">
            <a:extLst>
              <a:ext uri="{FF2B5EF4-FFF2-40B4-BE49-F238E27FC236}">
                <a16:creationId xmlns:a16="http://schemas.microsoft.com/office/drawing/2014/main" id="{DDFEF92C-DBB7-975A-8BB6-DB5ADCFAD09C}"/>
              </a:ext>
            </a:extLst>
          </p:cNvPr>
          <p:cNvPicPr>
            <a:picLocks noChangeAspect="1"/>
          </p:cNvPicPr>
          <p:nvPr/>
        </p:nvPicPr>
        <p:blipFill rotWithShape="1">
          <a:blip r:embed="rId10">
            <a:extLst>
              <a:ext uri="{28A0092B-C50C-407E-A947-70E740481C1C}">
                <a14:useLocalDpi xmlns:a14="http://schemas.microsoft.com/office/drawing/2010/main" val="0"/>
              </a:ext>
            </a:extLst>
          </a:blip>
          <a:srcRect t="19614"/>
          <a:stretch/>
        </p:blipFill>
        <p:spPr>
          <a:xfrm>
            <a:off x="7445338" y="1201787"/>
            <a:ext cx="1279080" cy="765324"/>
          </a:xfrm>
          <a:prstGeom prst="rect">
            <a:avLst/>
          </a:prstGeom>
        </p:spPr>
      </p:pic>
      <p:sp>
        <p:nvSpPr>
          <p:cNvPr id="49" name="TextBox 48">
            <a:extLst>
              <a:ext uri="{FF2B5EF4-FFF2-40B4-BE49-F238E27FC236}">
                <a16:creationId xmlns:a16="http://schemas.microsoft.com/office/drawing/2014/main" id="{DC3A8934-BC51-C1BD-9E37-3C01E30634A5}"/>
              </a:ext>
            </a:extLst>
          </p:cNvPr>
          <p:cNvSpPr txBox="1"/>
          <p:nvPr/>
        </p:nvSpPr>
        <p:spPr>
          <a:xfrm>
            <a:off x="7445338" y="2456008"/>
            <a:ext cx="1279080" cy="1713668"/>
          </a:xfrm>
          <a:prstGeom prst="rect">
            <a:avLst/>
          </a:prstGeom>
          <a:noFill/>
          <a:ln w="63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oAutofit/>
          </a:bodyPr>
          <a:lstStyle/>
          <a:p>
            <a:r>
              <a:rPr lang="en-US" sz="800" dirty="0">
                <a:solidFill>
                  <a:srgbClr val="000000"/>
                </a:solidFill>
                <a:effectLst/>
                <a:ea typeface="Calibri" panose="020F0502020204030204" pitchFamily="34" charset="0"/>
                <a:cs typeface="Times New Roman" panose="02020603050405020304" pitchFamily="18" charset="0"/>
              </a:rPr>
              <a:t>Finland has technological and export superiority in Europe in designing and manufacturing quantum technologies </a:t>
            </a:r>
          </a:p>
          <a:p>
            <a:endParaRPr lang="en-FI"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has an end-to-end value chain with state-of-the-art quantum infrastructure</a:t>
            </a:r>
          </a:p>
          <a:p>
            <a:endParaRPr lang="en-FI"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a:t>
            </a:r>
            <a:r>
              <a:rPr lang="en-US" sz="800" dirty="0">
                <a:solidFill>
                  <a:srgbClr val="000000"/>
                </a:solidFill>
                <a:ea typeface="Calibri" panose="020F0502020204030204" pitchFamily="34" charset="0"/>
                <a:cs typeface="Times New Roman" panose="02020603050405020304" pitchFamily="18" charset="0"/>
              </a:rPr>
              <a:t>d is </a:t>
            </a:r>
            <a:r>
              <a:rPr lang="en-US" sz="800" dirty="0">
                <a:solidFill>
                  <a:srgbClr val="000000"/>
                </a:solidFill>
                <a:effectLst/>
                <a:ea typeface="Calibri" panose="020F0502020204030204" pitchFamily="34" charset="0"/>
                <a:cs typeface="Times New Roman" panose="02020603050405020304" pitchFamily="18" charset="0"/>
              </a:rPr>
              <a:t>Europe’s leading quantum ecosystem for academia-industry collaboration</a:t>
            </a:r>
          </a:p>
        </p:txBody>
      </p:sp>
      <p:sp>
        <p:nvSpPr>
          <p:cNvPr id="126" name="Rounded Rectangle 42">
            <a:extLst>
              <a:ext uri="{FF2B5EF4-FFF2-40B4-BE49-F238E27FC236}">
                <a16:creationId xmlns:a16="http://schemas.microsoft.com/office/drawing/2014/main" id="{77CBCD88-F46F-F7B6-7DED-70CC83903EA1}"/>
              </a:ext>
            </a:extLst>
          </p:cNvPr>
          <p:cNvSpPr/>
          <p:nvPr/>
        </p:nvSpPr>
        <p:spPr>
          <a:xfrm>
            <a:off x="7445338" y="209085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dirty="0">
                <a:solidFill>
                  <a:srgbClr val="000C20"/>
                </a:solidFill>
              </a:rPr>
              <a:t>Quantum tech</a:t>
            </a:r>
          </a:p>
        </p:txBody>
      </p:sp>
      <p:sp>
        <p:nvSpPr>
          <p:cNvPr id="13" name="Oval 20">
            <a:extLst>
              <a:ext uri="{FF2B5EF4-FFF2-40B4-BE49-F238E27FC236}">
                <a16:creationId xmlns:a16="http://schemas.microsoft.com/office/drawing/2014/main" id="{BCBD0213-85D5-4227-527F-F975C0902B1F}"/>
              </a:ext>
            </a:extLst>
          </p:cNvPr>
          <p:cNvSpPr>
            <a:spLocks noChangeAspect="1" noChangeArrowheads="1"/>
          </p:cNvSpPr>
          <p:nvPr/>
        </p:nvSpPr>
        <p:spPr bwMode="auto">
          <a:xfrm>
            <a:off x="7986667" y="1106303"/>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dirty="0">
                <a:solidFill>
                  <a:prstClr val="white"/>
                </a:solidFill>
                <a:latin typeface="Verdana"/>
              </a:rPr>
              <a:t>6</a:t>
            </a:r>
            <a:endParaRPr kumimoji="0" lang="en-US" sz="800" b="0"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68" name="Straight Connector 167">
            <a:extLst>
              <a:ext uri="{FF2B5EF4-FFF2-40B4-BE49-F238E27FC236}">
                <a16:creationId xmlns:a16="http://schemas.microsoft.com/office/drawing/2014/main" id="{94B3EEBE-311D-A777-FB77-949B535B1B4B}"/>
              </a:ext>
            </a:extLst>
          </p:cNvPr>
          <p:cNvCxnSpPr>
            <a:cxnSpLocks/>
          </p:cNvCxnSpPr>
          <p:nvPr/>
        </p:nvCxnSpPr>
        <p:spPr>
          <a:xfrm flipH="1">
            <a:off x="7445338" y="2336912"/>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75" name="Half Frame 174">
            <a:extLst>
              <a:ext uri="{FF2B5EF4-FFF2-40B4-BE49-F238E27FC236}">
                <a16:creationId xmlns:a16="http://schemas.microsoft.com/office/drawing/2014/main" id="{0FA37D84-DDD5-AF3B-454D-ADD1A11929B4}"/>
              </a:ext>
            </a:extLst>
          </p:cNvPr>
          <p:cNvSpPr>
            <a:spLocks/>
          </p:cNvSpPr>
          <p:nvPr/>
        </p:nvSpPr>
        <p:spPr bwMode="auto">
          <a:xfrm rot="13449344">
            <a:off x="7425809" y="1534908"/>
            <a:ext cx="96774" cy="99082"/>
          </a:xfrm>
          <a:prstGeom prst="halfFrame">
            <a:avLst/>
          </a:prstGeom>
          <a:solidFill>
            <a:schemeClr val="bg1">
              <a:lumMod val="50000"/>
            </a:schemeClr>
          </a:solidFill>
          <a:ln>
            <a:noFill/>
          </a:ln>
        </p:spPr>
        <p:txBody>
          <a:bodyPr vert="horz" wrap="square" lIns="45720" tIns="22860" rIns="45720" bIns="22860" numCol="1" rtlCol="0" anchor="t" anchorCtr="0" compatLnSpc="1">
            <a:prstTxWarp prst="textNoShape">
              <a:avLst/>
            </a:prstTxWarp>
          </a:bodyPr>
          <a:lstStyle/>
          <a:p>
            <a:pPr algn="ctr"/>
            <a:endParaRPr lang="en-US"/>
          </a:p>
        </p:txBody>
      </p:sp>
      <p:pic>
        <p:nvPicPr>
          <p:cNvPr id="151" name="Picture 150">
            <a:extLst>
              <a:ext uri="{FF2B5EF4-FFF2-40B4-BE49-F238E27FC236}">
                <a16:creationId xmlns:a16="http://schemas.microsoft.com/office/drawing/2014/main" id="{126CFF9B-946D-C268-D174-D3A82F8A545A}"/>
              </a:ext>
            </a:extLst>
          </p:cNvPr>
          <p:cNvPicPr>
            <a:picLocks noChangeAspect="1"/>
          </p:cNvPicPr>
          <p:nvPr/>
        </p:nvPicPr>
        <p:blipFill rotWithShape="1">
          <a:blip r:embed="rId11">
            <a:extLst>
              <a:ext uri="{28A0092B-C50C-407E-A947-70E740481C1C}">
                <a14:useLocalDpi xmlns:a14="http://schemas.microsoft.com/office/drawing/2010/main" val="0"/>
              </a:ext>
            </a:extLst>
          </a:blip>
          <a:srcRect t="32280"/>
          <a:stretch/>
        </p:blipFill>
        <p:spPr>
          <a:xfrm>
            <a:off x="336472" y="1201787"/>
            <a:ext cx="1279080" cy="765324"/>
          </a:xfrm>
          <a:prstGeom prst="rect">
            <a:avLst/>
          </a:prstGeom>
        </p:spPr>
      </p:pic>
      <p:sp>
        <p:nvSpPr>
          <p:cNvPr id="51" name="TextBox 50">
            <a:extLst>
              <a:ext uri="{FF2B5EF4-FFF2-40B4-BE49-F238E27FC236}">
                <a16:creationId xmlns:a16="http://schemas.microsoft.com/office/drawing/2014/main" id="{D19B4448-A9F7-C160-12D9-32F81019B264}"/>
              </a:ext>
            </a:extLst>
          </p:cNvPr>
          <p:cNvSpPr txBox="1"/>
          <p:nvPr/>
        </p:nvSpPr>
        <p:spPr>
          <a:xfrm>
            <a:off x="336472" y="2456008"/>
            <a:ext cx="1279080" cy="1713668"/>
          </a:xfrm>
          <a:prstGeom prst="rect">
            <a:avLst/>
          </a:prstGeom>
          <a:noFill/>
          <a:ln w="6350" cap="rnd">
            <a:noFill/>
            <a:prstDash val="solid"/>
            <a:round/>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oAutofit/>
          </a:bodyPr>
          <a:lstStyle/>
          <a:p>
            <a:r>
              <a:rPr lang="en-US" sz="800" dirty="0">
                <a:solidFill>
                  <a:srgbClr val="000000"/>
                </a:solidFill>
                <a:effectLst/>
                <a:ea typeface="Calibri" panose="020F0502020204030204" pitchFamily="34" charset="0"/>
                <a:cs typeface="Times New Roman" panose="02020603050405020304" pitchFamily="18" charset="0"/>
              </a:rPr>
              <a:t>Finland has reinforced specialized wafer production capabilities and </a:t>
            </a:r>
            <a:r>
              <a:rPr lang="en-US" sz="800" dirty="0">
                <a:solidFill>
                  <a:srgbClr val="000000"/>
                </a:solidFill>
                <a:effectLst/>
                <a:ea typeface="Times New Roman" panose="02020603050405020304" pitchFamily="18" charset="0"/>
                <a:cs typeface="Henderson BCG Serif" panose="02030502050406020204" pitchFamily="18" charset="77"/>
              </a:rPr>
              <a:t>manufactures world-leading specialized wafer</a:t>
            </a:r>
          </a:p>
          <a:p>
            <a:endParaRPr lang="en-FI" sz="800" dirty="0">
              <a:solidFill>
                <a:srgbClr val="000000"/>
              </a:solidFill>
              <a:effectLst/>
              <a:ea typeface="Calibri" panose="020F0502020204030204" pitchFamily="34" charset="0"/>
              <a:cs typeface="Times New Roman" panose="02020603050405020304" pitchFamily="18" charset="0"/>
            </a:endParaRPr>
          </a:p>
          <a:p>
            <a:r>
              <a:rPr lang="en-US" sz="800" dirty="0">
                <a:solidFill>
                  <a:srgbClr val="000000"/>
                </a:solidFill>
                <a:effectLst/>
                <a:ea typeface="Calibri" panose="020F0502020204030204" pitchFamily="34" charset="0"/>
                <a:cs typeface="Times New Roman" panose="02020603050405020304" pitchFamily="18" charset="0"/>
              </a:rPr>
              <a:t>Finland leads design and manufacturing of novel high-performance semiconductor materials</a:t>
            </a:r>
          </a:p>
          <a:p>
            <a:endParaRPr lang="en-US" sz="800" dirty="0">
              <a:solidFill>
                <a:srgbClr val="000000"/>
              </a:solidFill>
              <a:ea typeface="Calibri" panose="020F0502020204030204" pitchFamily="34" charset="0"/>
              <a:cs typeface="Times New Roman" panose="02020603050405020304" pitchFamily="18" charset="0"/>
            </a:endParaRPr>
          </a:p>
          <a:p>
            <a:r>
              <a:rPr lang="en-US" sz="800" dirty="0">
                <a:solidFill>
                  <a:srgbClr val="000000"/>
                </a:solidFill>
                <a:effectLst/>
                <a:ea typeface="Times New Roman" panose="02020603050405020304" pitchFamily="18" charset="0"/>
                <a:cs typeface="Henderson BCG Serif" panose="02030502050406020204" pitchFamily="18" charset="77"/>
              </a:rPr>
              <a:t> </a:t>
            </a:r>
            <a:endParaRPr lang="en-FI" sz="800" dirty="0">
              <a:solidFill>
                <a:srgbClr val="000000"/>
              </a:solidFill>
              <a:effectLst/>
              <a:ea typeface="Calibri" panose="020F0502020204030204" pitchFamily="34" charset="0"/>
              <a:cs typeface="Times New Roman" panose="02020603050405020304" pitchFamily="18" charset="0"/>
            </a:endParaRPr>
          </a:p>
          <a:p>
            <a:endParaRPr lang="en-FI" sz="800" dirty="0">
              <a:solidFill>
                <a:srgbClr val="000000"/>
              </a:solidFill>
              <a:effectLst/>
              <a:ea typeface="Calibri" panose="020F0502020204030204" pitchFamily="34" charset="0"/>
              <a:cs typeface="Times New Roman" panose="02020603050405020304" pitchFamily="18" charset="0"/>
            </a:endParaRPr>
          </a:p>
        </p:txBody>
      </p:sp>
      <p:sp>
        <p:nvSpPr>
          <p:cNvPr id="127" name="Rounded Rectangle 42">
            <a:extLst>
              <a:ext uri="{FF2B5EF4-FFF2-40B4-BE49-F238E27FC236}">
                <a16:creationId xmlns:a16="http://schemas.microsoft.com/office/drawing/2014/main" id="{73B863C3-D621-5C94-C8F4-62322391F49C}"/>
              </a:ext>
            </a:extLst>
          </p:cNvPr>
          <p:cNvSpPr/>
          <p:nvPr/>
        </p:nvSpPr>
        <p:spPr>
          <a:xfrm>
            <a:off x="336472" y="209085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dirty="0">
                <a:solidFill>
                  <a:srgbClr val="000C20"/>
                </a:solidFill>
              </a:rPr>
              <a:t>Advanced materials</a:t>
            </a:r>
          </a:p>
        </p:txBody>
      </p:sp>
      <p:sp>
        <p:nvSpPr>
          <p:cNvPr id="14" name="Oval 20">
            <a:extLst>
              <a:ext uri="{FF2B5EF4-FFF2-40B4-BE49-F238E27FC236}">
                <a16:creationId xmlns:a16="http://schemas.microsoft.com/office/drawing/2014/main" id="{2A580079-F2CF-6BB1-0B0B-B614111176A6}"/>
              </a:ext>
            </a:extLst>
          </p:cNvPr>
          <p:cNvSpPr>
            <a:spLocks noChangeAspect="1" noChangeArrowheads="1"/>
          </p:cNvSpPr>
          <p:nvPr/>
        </p:nvSpPr>
        <p:spPr bwMode="auto">
          <a:xfrm>
            <a:off x="877801" y="1106303"/>
            <a:ext cx="196422" cy="196422"/>
          </a:xfrm>
          <a:prstGeom prst="ellipse">
            <a:avLst/>
          </a:prstGeom>
          <a:solidFill>
            <a:srgbClr val="005490"/>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lang="en-US" sz="800" dirty="0">
                <a:solidFill>
                  <a:prstClr val="white"/>
                </a:solidFill>
                <a:latin typeface="Verdana"/>
              </a:rPr>
              <a:t>1</a:t>
            </a:r>
            <a:endParaRPr kumimoji="0" lang="en-US" sz="800" b="0" i="0" u="none" strike="noStrike" kern="1200" cap="none" spc="0" normalizeH="0" baseline="0" noProof="0" dirty="0">
              <a:ln>
                <a:noFill/>
              </a:ln>
              <a:solidFill>
                <a:prstClr val="white"/>
              </a:solidFill>
              <a:effectLst/>
              <a:uLnTx/>
              <a:uFillTx/>
              <a:latin typeface="Verdana"/>
              <a:ea typeface="+mn-ea"/>
              <a:cs typeface="+mn-cs"/>
            </a:endParaRPr>
          </a:p>
        </p:txBody>
      </p:sp>
      <p:cxnSp>
        <p:nvCxnSpPr>
          <p:cNvPr id="169" name="Straight Connector 168">
            <a:extLst>
              <a:ext uri="{FF2B5EF4-FFF2-40B4-BE49-F238E27FC236}">
                <a16:creationId xmlns:a16="http://schemas.microsoft.com/office/drawing/2014/main" id="{29F7AC04-702E-E1D0-B236-1DD8F24D723C}"/>
              </a:ext>
            </a:extLst>
          </p:cNvPr>
          <p:cNvCxnSpPr>
            <a:cxnSpLocks/>
          </p:cNvCxnSpPr>
          <p:nvPr/>
        </p:nvCxnSpPr>
        <p:spPr>
          <a:xfrm flipH="1">
            <a:off x="336472" y="2336912"/>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sp>
        <p:nvSpPr>
          <p:cNvPr id="10" name="Footer Placeholder 3">
            <a:extLst>
              <a:ext uri="{FF2B5EF4-FFF2-40B4-BE49-F238E27FC236}">
                <a16:creationId xmlns:a16="http://schemas.microsoft.com/office/drawing/2014/main" id="{A206C3BD-3FFF-0A34-08FF-0F16FF32F26F}"/>
              </a:ext>
            </a:extLst>
          </p:cNvPr>
          <p:cNvSpPr>
            <a:spLocks noGrp="1"/>
          </p:cNvSpPr>
          <p:nvPr>
            <p:ph type="ftr" sz="quarter" idx="11"/>
          </p:nvPr>
        </p:nvSpPr>
        <p:spPr>
          <a:xfrm>
            <a:off x="1111510" y="4728047"/>
            <a:ext cx="2034868" cy="164690"/>
          </a:xfrm>
        </p:spPr>
        <p:txBody>
          <a:bodyPr/>
          <a:lstStyle/>
          <a:p>
            <a:r>
              <a:rPr lang="en-US">
                <a:latin typeface="+mj-lt"/>
              </a:rPr>
              <a:t>Technology Industries of Finland</a:t>
            </a:r>
          </a:p>
        </p:txBody>
      </p:sp>
      <p:sp>
        <p:nvSpPr>
          <p:cNvPr id="4" name="Text Placeholder 4">
            <a:extLst>
              <a:ext uri="{FF2B5EF4-FFF2-40B4-BE49-F238E27FC236}">
                <a16:creationId xmlns:a16="http://schemas.microsoft.com/office/drawing/2014/main" id="{1ACE0363-4257-C076-AC52-76509DDD2E0C}"/>
              </a:ext>
            </a:extLst>
          </p:cNvPr>
          <p:cNvSpPr txBox="1">
            <a:spLocks/>
          </p:cNvSpPr>
          <p:nvPr/>
        </p:nvSpPr>
        <p:spPr>
          <a:xfrm>
            <a:off x="251999" y="290513"/>
            <a:ext cx="8090143" cy="519709"/>
          </a:xfrm>
          <a:prstGeom prst="rect">
            <a:avLst/>
          </a:prstGeom>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defTabSz="679871">
              <a:lnSpc>
                <a:spcPts val="1600"/>
              </a:lnSpc>
              <a:buSzTx/>
              <a:defRPr/>
            </a:pPr>
            <a:r>
              <a:rPr lang="en-US" sz="1400" b="1" dirty="0">
                <a:solidFill>
                  <a:srgbClr val="29282E"/>
                </a:solidFill>
                <a:latin typeface="+mj-lt"/>
                <a:ea typeface="+mn-ea"/>
                <a:cs typeface="+mn-cs"/>
              </a:rPr>
              <a:t>Finland has six growth opportunities, which are based on its competitive strengths and increasing demand</a:t>
            </a:r>
          </a:p>
        </p:txBody>
      </p:sp>
      <p:sp>
        <p:nvSpPr>
          <p:cNvPr id="3" name="Footer Placeholder 3">
            <a:extLst>
              <a:ext uri="{FF2B5EF4-FFF2-40B4-BE49-F238E27FC236}">
                <a16:creationId xmlns:a16="http://schemas.microsoft.com/office/drawing/2014/main" id="{C2914163-58A9-3DAA-B6A0-363146614978}"/>
              </a:ext>
            </a:extLst>
          </p:cNvPr>
          <p:cNvSpPr txBox="1">
            <a:spLocks/>
          </p:cNvSpPr>
          <p:nvPr/>
        </p:nvSpPr>
        <p:spPr>
          <a:xfrm>
            <a:off x="2879724" y="4708997"/>
            <a:ext cx="5597525"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latin typeface="+mn-lt"/>
              </a:rPr>
              <a:t>Note: SoC = System-on-Chip; </a:t>
            </a:r>
            <a:r>
              <a:rPr lang="en-US" err="1">
                <a:latin typeface="+mn-lt"/>
              </a:rPr>
              <a:t>SiP</a:t>
            </a:r>
            <a:r>
              <a:rPr lang="en-US">
                <a:latin typeface="+mn-lt"/>
              </a:rPr>
              <a:t> = System-in-Package; MEMS = Microelectromechanical systems; HF/HV = High-frequency/High-voltage; </a:t>
            </a:r>
            <a:r>
              <a:rPr lang="en-US" err="1">
                <a:latin typeface="+mn-lt"/>
              </a:rPr>
              <a:t>ALD</a:t>
            </a:r>
            <a:r>
              <a:rPr lang="en-US">
                <a:latin typeface="+mn-lt"/>
              </a:rPr>
              <a:t> = Atomic layer deposition</a:t>
            </a:r>
          </a:p>
          <a:p>
            <a:r>
              <a:rPr lang="en-US">
                <a:latin typeface="+mn-lt"/>
              </a:rPr>
              <a:t>Source: BCG</a:t>
            </a:r>
          </a:p>
        </p:txBody>
      </p:sp>
      <p:cxnSp>
        <p:nvCxnSpPr>
          <p:cNvPr id="22" name="Straight Connector 21">
            <a:extLst>
              <a:ext uri="{FF2B5EF4-FFF2-40B4-BE49-F238E27FC236}">
                <a16:creationId xmlns:a16="http://schemas.microsoft.com/office/drawing/2014/main" id="{2AB7B13D-C545-0F3A-0A46-51EDCCA2D1EE}"/>
              </a:ext>
            </a:extLst>
          </p:cNvPr>
          <p:cNvCxnSpPr>
            <a:cxnSpLocks/>
          </p:cNvCxnSpPr>
          <p:nvPr/>
        </p:nvCxnSpPr>
        <p:spPr>
          <a:xfrm>
            <a:off x="1687007" y="2456007"/>
            <a:ext cx="0" cy="1713672"/>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C8BD4259-B5BF-5748-D504-44C53FE3F7ED}"/>
              </a:ext>
            </a:extLst>
          </p:cNvPr>
          <p:cNvCxnSpPr>
            <a:cxnSpLocks/>
          </p:cNvCxnSpPr>
          <p:nvPr/>
        </p:nvCxnSpPr>
        <p:spPr>
          <a:xfrm>
            <a:off x="4530987" y="2456007"/>
            <a:ext cx="0" cy="1713672"/>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663A9B04-36ED-B881-D05F-CB3F50A5532D}"/>
              </a:ext>
            </a:extLst>
          </p:cNvPr>
          <p:cNvCxnSpPr>
            <a:cxnSpLocks/>
          </p:cNvCxnSpPr>
          <p:nvPr/>
        </p:nvCxnSpPr>
        <p:spPr>
          <a:xfrm>
            <a:off x="5951897" y="2456007"/>
            <a:ext cx="0" cy="1713672"/>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413CB64B-D2E0-53A6-C73A-ED7A1B23BE84}"/>
              </a:ext>
            </a:extLst>
          </p:cNvPr>
          <p:cNvCxnSpPr>
            <a:cxnSpLocks/>
          </p:cNvCxnSpPr>
          <p:nvPr/>
        </p:nvCxnSpPr>
        <p:spPr>
          <a:xfrm>
            <a:off x="7373887" y="2456007"/>
            <a:ext cx="0" cy="1713672"/>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3FA127D7-96D7-4D3D-F4CF-89BA952AD3E5}"/>
              </a:ext>
            </a:extLst>
          </p:cNvPr>
          <p:cNvGrpSpPr/>
          <p:nvPr/>
        </p:nvGrpSpPr>
        <p:grpSpPr>
          <a:xfrm>
            <a:off x="336471" y="871808"/>
            <a:ext cx="5543963" cy="190303"/>
            <a:chOff x="336472" y="855080"/>
            <a:chExt cx="1279080" cy="190303"/>
          </a:xfrm>
        </p:grpSpPr>
        <p:sp>
          <p:nvSpPr>
            <p:cNvPr id="28" name="Rounded Rectangle 42">
              <a:extLst>
                <a:ext uri="{FF2B5EF4-FFF2-40B4-BE49-F238E27FC236}">
                  <a16:creationId xmlns:a16="http://schemas.microsoft.com/office/drawing/2014/main" id="{BE63950E-C190-07EB-D418-53FB322145B3}"/>
                </a:ext>
              </a:extLst>
            </p:cNvPr>
            <p:cNvSpPr/>
            <p:nvPr/>
          </p:nvSpPr>
          <p:spPr>
            <a:xfrm>
              <a:off x="336472" y="85508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dirty="0">
                  <a:solidFill>
                    <a:srgbClr val="000C20"/>
                  </a:solidFill>
                </a:rPr>
                <a:t>Leading positions in Europe</a:t>
              </a:r>
            </a:p>
          </p:txBody>
        </p:sp>
        <p:cxnSp>
          <p:nvCxnSpPr>
            <p:cNvPr id="29" name="Straight Connector 28">
              <a:extLst>
                <a:ext uri="{FF2B5EF4-FFF2-40B4-BE49-F238E27FC236}">
                  <a16:creationId xmlns:a16="http://schemas.microsoft.com/office/drawing/2014/main" id="{BCF10936-A99F-DD3B-099E-CCF03DD993DF}"/>
                </a:ext>
              </a:extLst>
            </p:cNvPr>
            <p:cNvCxnSpPr>
              <a:cxnSpLocks/>
            </p:cNvCxnSpPr>
            <p:nvPr/>
          </p:nvCxnSpPr>
          <p:spPr>
            <a:xfrm flipH="1">
              <a:off x="336472" y="1045383"/>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88855BFC-0897-400D-12D8-018E00A27966}"/>
              </a:ext>
            </a:extLst>
          </p:cNvPr>
          <p:cNvGrpSpPr/>
          <p:nvPr/>
        </p:nvGrpSpPr>
        <p:grpSpPr>
          <a:xfrm>
            <a:off x="6023353" y="863111"/>
            <a:ext cx="2701066" cy="190303"/>
            <a:chOff x="336472" y="855080"/>
            <a:chExt cx="1279080" cy="190303"/>
          </a:xfrm>
        </p:grpSpPr>
        <p:sp>
          <p:nvSpPr>
            <p:cNvPr id="32" name="Rounded Rectangle 42">
              <a:extLst>
                <a:ext uri="{FF2B5EF4-FFF2-40B4-BE49-F238E27FC236}">
                  <a16:creationId xmlns:a16="http://schemas.microsoft.com/office/drawing/2014/main" id="{04D39CB0-5BF7-65B5-7F02-F231E3AC1080}"/>
                </a:ext>
              </a:extLst>
            </p:cNvPr>
            <p:cNvSpPr/>
            <p:nvPr/>
          </p:nvSpPr>
          <p:spPr>
            <a:xfrm>
              <a:off x="336472" y="855080"/>
              <a:ext cx="1279080" cy="123111"/>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chemeClr val="accent6">
                      <a:lumMod val="20000"/>
                      <a:lumOff val="8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ctr" defTabSz="685800"/>
              <a:r>
                <a:rPr lang="en-US" sz="800" b="1" dirty="0">
                  <a:solidFill>
                    <a:srgbClr val="000C20"/>
                  </a:solidFill>
                </a:rPr>
                <a:t>Leading talent and startup clusters</a:t>
              </a:r>
            </a:p>
          </p:txBody>
        </p:sp>
        <p:cxnSp>
          <p:nvCxnSpPr>
            <p:cNvPr id="33" name="Straight Connector 32">
              <a:extLst>
                <a:ext uri="{FF2B5EF4-FFF2-40B4-BE49-F238E27FC236}">
                  <a16:creationId xmlns:a16="http://schemas.microsoft.com/office/drawing/2014/main" id="{B4755645-BE19-E752-1E0B-48F1DCE75BD7}"/>
                </a:ext>
              </a:extLst>
            </p:cNvPr>
            <p:cNvCxnSpPr>
              <a:cxnSpLocks/>
            </p:cNvCxnSpPr>
            <p:nvPr/>
          </p:nvCxnSpPr>
          <p:spPr>
            <a:xfrm flipH="1">
              <a:off x="336472" y="1045383"/>
              <a:ext cx="1279080" cy="0"/>
            </a:xfrm>
            <a:prstGeom prst="line">
              <a:avLst/>
            </a:prstGeom>
            <a:ln w="6350" cap="rnd">
              <a:solidFill>
                <a:schemeClr val="bg1">
                  <a:lumMod val="85000"/>
                </a:schemeClr>
              </a:solidFill>
              <a:prstDash val="solid"/>
              <a:round/>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20516602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think-cell data - do not delete" hidden="1">
            <a:extLst>
              <a:ext uri="{FF2B5EF4-FFF2-40B4-BE49-F238E27FC236}">
                <a16:creationId xmlns:a16="http://schemas.microsoft.com/office/drawing/2014/main" id="{1146DD91-9E7D-C4AC-92B3-E70103965632}"/>
              </a:ext>
            </a:extLst>
          </p:cNvPr>
          <p:cNvGraphicFramePr>
            <a:graphicFrameLocks noChangeAspect="1"/>
          </p:cNvGraphicFramePr>
          <p:nvPr>
            <p:custDataLst>
              <p:tags r:id="rId1"/>
            </p:custDataLst>
            <p:extLst>
              <p:ext uri="{D42A27DB-BD31-4B8C-83A1-F6EECF244321}">
                <p14:modId xmlns:p14="http://schemas.microsoft.com/office/powerpoint/2010/main" val="102376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404" imgH="405" progId="TCLayout.ActiveDocument.1">
                  <p:embed/>
                </p:oleObj>
              </mc:Choice>
              <mc:Fallback>
                <p:oleObj name="think-cell Slide" r:id="rId39" imgW="404" imgH="405" progId="TCLayout.ActiveDocument.1">
                  <p:embed/>
                  <p:pic>
                    <p:nvPicPr>
                      <p:cNvPr id="46" name="think-cell data - do not delete" hidden="1">
                        <a:extLst>
                          <a:ext uri="{FF2B5EF4-FFF2-40B4-BE49-F238E27FC236}">
                            <a16:creationId xmlns:a16="http://schemas.microsoft.com/office/drawing/2014/main" id="{1146DD91-9E7D-C4AC-92B3-E70103965632}"/>
                          </a:ext>
                        </a:extLst>
                      </p:cNvPr>
                      <p:cNvPicPr/>
                      <p:nvPr/>
                    </p:nvPicPr>
                    <p:blipFill>
                      <a:blip r:embed="rId40"/>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BC0B914-B399-C0DC-19F9-15CAD22445E2}"/>
              </a:ext>
            </a:extLst>
          </p:cNvPr>
          <p:cNvSpPr>
            <a:spLocks noGrp="1"/>
          </p:cNvSpPr>
          <p:nvPr>
            <p:ph type="sldNum" sz="quarter" idx="12"/>
          </p:nvPr>
        </p:nvSpPr>
        <p:spPr/>
        <p:txBody>
          <a:bodyPr/>
          <a:lstStyle/>
          <a:p>
            <a:fld id="{6FCB6B90-8271-4E8F-82C1-E646FBB48A2E}" type="slidenum">
              <a:rPr lang="en-US" smtClean="0"/>
              <a:pPr/>
              <a:t>21</a:t>
            </a:fld>
            <a:endParaRPr lang="en-US"/>
          </a:p>
        </p:txBody>
      </p:sp>
      <p:sp>
        <p:nvSpPr>
          <p:cNvPr id="3" name="Date Placeholder 2">
            <a:extLst>
              <a:ext uri="{FF2B5EF4-FFF2-40B4-BE49-F238E27FC236}">
                <a16:creationId xmlns:a16="http://schemas.microsoft.com/office/drawing/2014/main" id="{E61F54FD-301D-50D2-049C-775E4F28D645}"/>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D046A7B9-FBC8-3664-2D5D-651DF683D353}"/>
              </a:ext>
            </a:extLst>
          </p:cNvPr>
          <p:cNvSpPr>
            <a:spLocks noGrp="1"/>
          </p:cNvSpPr>
          <p:nvPr>
            <p:ph type="ftr" sz="quarter" idx="11"/>
          </p:nvPr>
        </p:nvSpPr>
        <p:spPr/>
        <p:txBody>
          <a:bodyPr/>
          <a:lstStyle/>
          <a:p>
            <a:r>
              <a:rPr lang="en-US"/>
              <a:t>Technology Industries of Finland</a:t>
            </a:r>
          </a:p>
        </p:txBody>
      </p:sp>
      <p:cxnSp>
        <p:nvCxnSpPr>
          <p:cNvPr id="23" name="Straight Connector 22">
            <a:extLst>
              <a:ext uri="{FF2B5EF4-FFF2-40B4-BE49-F238E27FC236}">
                <a16:creationId xmlns:a16="http://schemas.microsoft.com/office/drawing/2014/main" id="{70B41A9F-7340-FC5D-C40B-FA14321B036B}"/>
              </a:ext>
            </a:extLst>
          </p:cNvPr>
          <p:cNvCxnSpPr/>
          <p:nvPr>
            <p:custDataLst>
              <p:tags r:id="rId2"/>
            </p:custDataLst>
          </p:nvPr>
        </p:nvCxnSpPr>
        <p:spPr bwMode="gray">
          <a:xfrm>
            <a:off x="5507038" y="3598863"/>
            <a:ext cx="22383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Straight Connector 24">
            <a:extLst>
              <a:ext uri="{FF2B5EF4-FFF2-40B4-BE49-F238E27FC236}">
                <a16:creationId xmlns:a16="http://schemas.microsoft.com/office/drawing/2014/main" id="{95181FE9-6C10-2434-7A8E-26C03123F4A2}"/>
              </a:ext>
            </a:extLst>
          </p:cNvPr>
          <p:cNvCxnSpPr/>
          <p:nvPr>
            <p:custDataLst>
              <p:tags r:id="rId3"/>
            </p:custDataLst>
          </p:nvPr>
        </p:nvCxnSpPr>
        <p:spPr bwMode="gray">
          <a:xfrm>
            <a:off x="6708775" y="2062163"/>
            <a:ext cx="223838"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 name="Straight Connector 23">
            <a:extLst>
              <a:ext uri="{FF2B5EF4-FFF2-40B4-BE49-F238E27FC236}">
                <a16:creationId xmlns:a16="http://schemas.microsoft.com/office/drawing/2014/main" id="{0C914F45-F97C-8E89-92F7-EE28B26854C7}"/>
              </a:ext>
            </a:extLst>
          </p:cNvPr>
          <p:cNvCxnSpPr/>
          <p:nvPr>
            <p:custDataLst>
              <p:tags r:id="rId4"/>
            </p:custDataLst>
          </p:nvPr>
        </p:nvCxnSpPr>
        <p:spPr bwMode="gray">
          <a:xfrm>
            <a:off x="6107113" y="3863975"/>
            <a:ext cx="225425" cy="0"/>
          </a:xfrm>
          <a:prstGeom prst="line">
            <a:avLst/>
          </a:prstGeom>
          <a:ln w="9525" cap="flat" cmpd="sng" algn="ctr">
            <a:solidFill>
              <a:srgbClr val="6E6F73"/>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14" name="Chart 13">
            <a:extLst>
              <a:ext uri="{FF2B5EF4-FFF2-40B4-BE49-F238E27FC236}">
                <a16:creationId xmlns:a16="http://schemas.microsoft.com/office/drawing/2014/main" id="{70B4BC57-6188-BBEF-9455-FDF3AA31C325}"/>
              </a:ext>
            </a:extLst>
          </p:cNvPr>
          <p:cNvGraphicFramePr/>
          <p:nvPr>
            <p:custDataLst>
              <p:tags r:id="rId5"/>
            </p:custDataLst>
            <p:extLst>
              <p:ext uri="{D42A27DB-BD31-4B8C-83A1-F6EECF244321}">
                <p14:modId xmlns:p14="http://schemas.microsoft.com/office/powerpoint/2010/main" val="4286785354"/>
              </p:ext>
            </p:extLst>
          </p:nvPr>
        </p:nvGraphicFramePr>
        <p:xfrm>
          <a:off x="4935538" y="1876425"/>
          <a:ext cx="2568575" cy="2676525"/>
        </p:xfrm>
        <a:graphic>
          <a:graphicData uri="http://schemas.openxmlformats.org/drawingml/2006/chart">
            <c:chart xmlns:c="http://schemas.openxmlformats.org/drawingml/2006/chart" xmlns:r="http://schemas.openxmlformats.org/officeDocument/2006/relationships" r:id="rId41"/>
          </a:graphicData>
        </a:graphic>
      </p:graphicFrame>
      <p:sp>
        <p:nvSpPr>
          <p:cNvPr id="30" name="Text Placeholder 3">
            <a:extLst>
              <a:ext uri="{FF2B5EF4-FFF2-40B4-BE49-F238E27FC236}">
                <a16:creationId xmlns:a16="http://schemas.microsoft.com/office/drawing/2014/main" id="{5836E5E8-31EA-E390-E90D-2CD528CFE18A}"/>
              </a:ext>
            </a:extLst>
          </p:cNvPr>
          <p:cNvSpPr>
            <a:spLocks noGrp="1"/>
          </p:cNvSpPr>
          <p:nvPr>
            <p:custDataLst>
              <p:tags r:id="rId6"/>
            </p:custDataLst>
          </p:nvPr>
        </p:nvSpPr>
        <p:spPr bwMode="gray">
          <a:xfrm>
            <a:off x="6951663" y="4400550"/>
            <a:ext cx="3365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546731C7-CBC2-4456-B1D6-F3A0C1074AF5}" type="datetime'''''2''''''''''''''0''''''''''''''''''35''''''''''''E'''''''">
              <a:rPr lang="en-US" altLang="en-US" sz="800" smtClean="0"/>
              <a:pPr lvl="0" algn="ctr">
                <a:spcBef>
                  <a:spcPct val="0"/>
                </a:spcBef>
                <a:spcAft>
                  <a:spcPct val="0"/>
                </a:spcAft>
              </a:pPr>
              <a:t>2035E</a:t>
            </a:fld>
            <a:endParaRPr lang="en-US" sz="800">
              <a:sym typeface="DINPro" panose="020B0504020201010104" pitchFamily="34" charset="0"/>
            </a:endParaRPr>
          </a:p>
        </p:txBody>
      </p:sp>
      <p:sp>
        <p:nvSpPr>
          <p:cNvPr id="29" name="Text Placeholder 3">
            <a:extLst>
              <a:ext uri="{FF2B5EF4-FFF2-40B4-BE49-F238E27FC236}">
                <a16:creationId xmlns:a16="http://schemas.microsoft.com/office/drawing/2014/main" id="{96FA22ED-7AA3-8452-CFC2-8B966B3DFA20}"/>
              </a:ext>
            </a:extLst>
          </p:cNvPr>
          <p:cNvSpPr>
            <a:spLocks noGrp="1"/>
          </p:cNvSpPr>
          <p:nvPr>
            <p:custDataLst>
              <p:tags r:id="rId7"/>
            </p:custDataLst>
          </p:nvPr>
        </p:nvSpPr>
        <p:spPr bwMode="gray">
          <a:xfrm>
            <a:off x="6411913" y="4400550"/>
            <a:ext cx="21590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r>
              <a:rPr lang="en-US" altLang="en-US" sz="800"/>
              <a:t>Gap</a:t>
            </a:r>
            <a:endParaRPr lang="en-US" sz="800">
              <a:sym typeface="DINPro" panose="020B0504020201010104" pitchFamily="34" charset="0"/>
            </a:endParaRPr>
          </a:p>
        </p:txBody>
      </p:sp>
      <p:sp>
        <p:nvSpPr>
          <p:cNvPr id="28" name="Text Placeholder 3">
            <a:extLst>
              <a:ext uri="{FF2B5EF4-FFF2-40B4-BE49-F238E27FC236}">
                <a16:creationId xmlns:a16="http://schemas.microsoft.com/office/drawing/2014/main" id="{E9ADDDC6-7337-B9A5-3C6D-AF0021AB7D4C}"/>
              </a:ext>
            </a:extLst>
          </p:cNvPr>
          <p:cNvSpPr>
            <a:spLocks noGrp="1"/>
          </p:cNvSpPr>
          <p:nvPr>
            <p:custDataLst>
              <p:tags r:id="rId8"/>
            </p:custDataLst>
          </p:nvPr>
        </p:nvSpPr>
        <p:spPr bwMode="gray">
          <a:xfrm>
            <a:off x="5629275" y="4400550"/>
            <a:ext cx="57943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r>
              <a:rPr lang="en-US" altLang="en-US" sz="800" dirty="0"/>
              <a:t>Retirement</a:t>
            </a:r>
            <a:endParaRPr lang="en-US" sz="800" dirty="0">
              <a:sym typeface="DINPro" panose="020B0504020201010104" pitchFamily="34" charset="0"/>
            </a:endParaRPr>
          </a:p>
        </p:txBody>
      </p:sp>
      <p:sp>
        <p:nvSpPr>
          <p:cNvPr id="31" name="Text Placeholder 3">
            <a:extLst>
              <a:ext uri="{FF2B5EF4-FFF2-40B4-BE49-F238E27FC236}">
                <a16:creationId xmlns:a16="http://schemas.microsoft.com/office/drawing/2014/main" id="{E7D4E73E-549F-53C2-9068-778132F94CC9}"/>
              </a:ext>
            </a:extLst>
          </p:cNvPr>
          <p:cNvSpPr>
            <a:spLocks noGrp="1"/>
          </p:cNvSpPr>
          <p:nvPr>
            <p:custDataLst>
              <p:tags r:id="rId9"/>
            </p:custDataLst>
          </p:nvPr>
        </p:nvSpPr>
        <p:spPr bwMode="gray">
          <a:xfrm>
            <a:off x="6326188" y="1903413"/>
            <a:ext cx="3873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b">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4BF02C28-932F-434F-8230-7ECF195EF61A}" type="datetime'''''1''''''5'''''''''''''''''' ''66''''''''0'''">
              <a:rPr lang="en-US" altLang="en-US" sz="800" smtClean="0"/>
              <a:pPr lvl="0" algn="ctr">
                <a:spcBef>
                  <a:spcPct val="0"/>
                </a:spcBef>
                <a:spcAft>
                  <a:spcPct val="0"/>
                </a:spcAft>
              </a:pPr>
              <a:t>15 660</a:t>
            </a:fld>
            <a:endParaRPr lang="en-US" sz="800">
              <a:sym typeface="DINPro" panose="020B0504020201010104" pitchFamily="34" charset="0"/>
            </a:endParaRPr>
          </a:p>
        </p:txBody>
      </p:sp>
      <p:sp>
        <p:nvSpPr>
          <p:cNvPr id="27" name="Text Placeholder 3">
            <a:extLst>
              <a:ext uri="{FF2B5EF4-FFF2-40B4-BE49-F238E27FC236}">
                <a16:creationId xmlns:a16="http://schemas.microsoft.com/office/drawing/2014/main" id="{226D3426-8D8E-B00F-BDAA-61313408FA96}"/>
              </a:ext>
            </a:extLst>
          </p:cNvPr>
          <p:cNvSpPr>
            <a:spLocks noGrp="1"/>
          </p:cNvSpPr>
          <p:nvPr>
            <p:custDataLst>
              <p:tags r:id="rId10"/>
            </p:custDataLst>
          </p:nvPr>
        </p:nvSpPr>
        <p:spPr bwMode="gray">
          <a:xfrm>
            <a:off x="5181600" y="4400550"/>
            <a:ext cx="2730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1A5193A0-DF25-4C1A-BC20-F773E3AF25A0}" type="datetime'''''''''2''''''0''''2''''''2'''''''''''''''''''''''''''">
              <a:rPr lang="en-US" altLang="en-US" sz="800" smtClean="0"/>
              <a:pPr lvl="0" algn="ctr">
                <a:spcBef>
                  <a:spcPct val="0"/>
                </a:spcBef>
                <a:spcAft>
                  <a:spcPct val="0"/>
                </a:spcAft>
              </a:pPr>
              <a:t>2022</a:t>
            </a:fld>
            <a:endParaRPr lang="en-US" sz="800">
              <a:sym typeface="DINPro" panose="020B0504020201010104" pitchFamily="34" charset="0"/>
            </a:endParaRPr>
          </a:p>
        </p:txBody>
      </p:sp>
      <p:sp>
        <p:nvSpPr>
          <p:cNvPr id="37" name="Rectangle 36">
            <a:extLst>
              <a:ext uri="{FF2B5EF4-FFF2-40B4-BE49-F238E27FC236}">
                <a16:creationId xmlns:a16="http://schemas.microsoft.com/office/drawing/2014/main" id="{4F03420A-CDC5-43F3-8F3F-7639F1B6C4E0}"/>
              </a:ext>
            </a:extLst>
          </p:cNvPr>
          <p:cNvSpPr/>
          <p:nvPr>
            <p:custDataLst>
              <p:tags r:id="rId11"/>
            </p:custDataLst>
          </p:nvPr>
        </p:nvSpPr>
        <p:spPr bwMode="gray">
          <a:xfrm>
            <a:off x="7467600" y="4003675"/>
            <a:ext cx="142875" cy="106363"/>
          </a:xfrm>
          <a:prstGeom prst="rect">
            <a:avLst/>
          </a:prstGeom>
          <a:solidFill>
            <a:schemeClr val="tx2"/>
          </a:solidFill>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2" name="Rectangle 31">
            <a:extLst>
              <a:ext uri="{FF2B5EF4-FFF2-40B4-BE49-F238E27FC236}">
                <a16:creationId xmlns:a16="http://schemas.microsoft.com/office/drawing/2014/main" id="{1382ECAF-E9B1-5215-D23E-460C5DADF0E7}"/>
              </a:ext>
            </a:extLst>
          </p:cNvPr>
          <p:cNvSpPr/>
          <p:nvPr>
            <p:custDataLst>
              <p:tags r:id="rId12"/>
            </p:custDataLst>
          </p:nvPr>
        </p:nvSpPr>
        <p:spPr bwMode="gray">
          <a:xfrm>
            <a:off x="7467600" y="3114675"/>
            <a:ext cx="142875" cy="106363"/>
          </a:xfrm>
          <a:prstGeom prst="rect">
            <a:avLst/>
          </a:prstGeom>
          <a:solidFill>
            <a:srgbClr val="80CAFF"/>
          </a:solidFill>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6" name="Rectangle 35">
            <a:extLst>
              <a:ext uri="{FF2B5EF4-FFF2-40B4-BE49-F238E27FC236}">
                <a16:creationId xmlns:a16="http://schemas.microsoft.com/office/drawing/2014/main" id="{611A7901-95CE-5F34-E7C2-68D111B3FD4C}"/>
              </a:ext>
            </a:extLst>
          </p:cNvPr>
          <p:cNvSpPr/>
          <p:nvPr>
            <p:custDataLst>
              <p:tags r:id="rId13"/>
            </p:custDataLst>
          </p:nvPr>
        </p:nvSpPr>
        <p:spPr bwMode="gray">
          <a:xfrm>
            <a:off x="7467600" y="3825875"/>
            <a:ext cx="142875" cy="106363"/>
          </a:xfrm>
          <a:prstGeom prst="rect">
            <a:avLst/>
          </a:prstGeom>
          <a:solidFill>
            <a:srgbClr val="7F7F7F"/>
          </a:solidFill>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3" name="Rectangle 32">
            <a:extLst>
              <a:ext uri="{FF2B5EF4-FFF2-40B4-BE49-F238E27FC236}">
                <a16:creationId xmlns:a16="http://schemas.microsoft.com/office/drawing/2014/main" id="{1AA0EBE3-61F3-8A58-5DB7-3E8EA99F3F49}"/>
              </a:ext>
            </a:extLst>
          </p:cNvPr>
          <p:cNvSpPr/>
          <p:nvPr>
            <p:custDataLst>
              <p:tags r:id="rId14"/>
            </p:custDataLst>
          </p:nvPr>
        </p:nvSpPr>
        <p:spPr bwMode="gray">
          <a:xfrm>
            <a:off x="7467600" y="3292475"/>
            <a:ext cx="142875" cy="106363"/>
          </a:xfrm>
          <a:prstGeom prst="rect">
            <a:avLst/>
          </a:prstGeom>
          <a:solidFill>
            <a:srgbClr val="40B0FF"/>
          </a:solidFill>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5" name="Rectangle 34">
            <a:extLst>
              <a:ext uri="{FF2B5EF4-FFF2-40B4-BE49-F238E27FC236}">
                <a16:creationId xmlns:a16="http://schemas.microsoft.com/office/drawing/2014/main" id="{56AD032C-21FC-3644-1DA7-407F598E87A6}"/>
              </a:ext>
            </a:extLst>
          </p:cNvPr>
          <p:cNvSpPr/>
          <p:nvPr>
            <p:custDataLst>
              <p:tags r:id="rId15"/>
            </p:custDataLst>
          </p:nvPr>
        </p:nvSpPr>
        <p:spPr bwMode="gray">
          <a:xfrm>
            <a:off x="7467600" y="3648075"/>
            <a:ext cx="142875" cy="106363"/>
          </a:xfrm>
          <a:prstGeom prst="rect">
            <a:avLst/>
          </a:prstGeom>
          <a:solidFill>
            <a:srgbClr val="003860"/>
          </a:solidFill>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4" name="Rectangle 33">
            <a:extLst>
              <a:ext uri="{FF2B5EF4-FFF2-40B4-BE49-F238E27FC236}">
                <a16:creationId xmlns:a16="http://schemas.microsoft.com/office/drawing/2014/main" id="{7C606394-B636-123B-6E5C-810A470D8D21}"/>
              </a:ext>
            </a:extLst>
          </p:cNvPr>
          <p:cNvSpPr/>
          <p:nvPr>
            <p:custDataLst>
              <p:tags r:id="rId16"/>
            </p:custDataLst>
          </p:nvPr>
        </p:nvSpPr>
        <p:spPr bwMode="gray">
          <a:xfrm>
            <a:off x="7467600" y="3470275"/>
            <a:ext cx="142875" cy="106363"/>
          </a:xfrm>
          <a:prstGeom prst="rect">
            <a:avLst/>
          </a:prstGeom>
          <a:solidFill>
            <a:srgbClr val="005490"/>
          </a:solidFill>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9" name="Tekstin paikkamerkki 3">
            <a:extLst>
              <a:ext uri="{FF2B5EF4-FFF2-40B4-BE49-F238E27FC236}">
                <a16:creationId xmlns:a16="http://schemas.microsoft.com/office/drawing/2014/main" id="{1F531180-F827-488F-7157-F1DA0F62A4A8}"/>
              </a:ext>
            </a:extLst>
          </p:cNvPr>
          <p:cNvSpPr>
            <a:spLocks noGrp="1"/>
          </p:cNvSpPr>
          <p:nvPr>
            <p:custDataLst>
              <p:tags r:id="rId17"/>
            </p:custDataLst>
          </p:nvPr>
        </p:nvSpPr>
        <p:spPr bwMode="gray">
          <a:xfrm>
            <a:off x="7661275" y="3106738"/>
            <a:ext cx="204788"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fld id="{EE1731A4-1DE5-44D8-A011-7B9C78E3F2BF}" type="datetime'P''''''''h''''''''''''''''''''''''''D'''''''">
              <a:rPr lang="en-US" altLang="en-US" sz="800" spc="0" smtClean="0">
                <a:latin typeface="+mn-lt"/>
                <a:ea typeface="+mn-ea"/>
                <a:cs typeface="+mn-cs"/>
              </a:rPr>
              <a:pPr marL="0" lvl="0" indent="0">
                <a:lnSpc>
                  <a:spcPct val="104250"/>
                </a:lnSpc>
                <a:spcBef>
                  <a:spcPct val="0"/>
                </a:spcBef>
                <a:spcAft>
                  <a:spcPct val="0"/>
                </a:spcAft>
                <a:buNone/>
              </a:pPr>
              <a:t>PhD</a:t>
            </a:fld>
            <a:endParaRPr lang="en-US" sz="800" spc="0">
              <a:latin typeface="+mn-lt"/>
              <a:ea typeface="+mn-ea"/>
              <a:cs typeface="+mn-cs"/>
              <a:sym typeface="DINPro" panose="020B0504020201010104" pitchFamily="34" charset="0"/>
            </a:endParaRPr>
          </a:p>
        </p:txBody>
      </p:sp>
      <p:sp>
        <p:nvSpPr>
          <p:cNvPr id="42" name="Tekstin paikkamerkki 3">
            <a:extLst>
              <a:ext uri="{FF2B5EF4-FFF2-40B4-BE49-F238E27FC236}">
                <a16:creationId xmlns:a16="http://schemas.microsoft.com/office/drawing/2014/main" id="{A1613C35-C1C9-A480-FA5C-D982D9AF45A6}"/>
              </a:ext>
            </a:extLst>
          </p:cNvPr>
          <p:cNvSpPr>
            <a:spLocks noGrp="1"/>
          </p:cNvSpPr>
          <p:nvPr>
            <p:custDataLst>
              <p:tags r:id="rId18"/>
            </p:custDataLst>
          </p:nvPr>
        </p:nvSpPr>
        <p:spPr bwMode="gray">
          <a:xfrm>
            <a:off x="7661275" y="3462338"/>
            <a:ext cx="520700"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fld id="{0D541C16-548E-44B6-89B7-102A65E20541}" type="datetime'''''''''''''B''''''''''''''''''ach''''''el''''''o''r’''s'">
              <a:rPr lang="en-US" altLang="en-US" sz="800" spc="0" smtClean="0">
                <a:latin typeface="+mn-lt"/>
                <a:ea typeface="+mn-ea"/>
                <a:cs typeface="+mn-cs"/>
              </a:rPr>
              <a:pPr marL="0" lvl="0" indent="0">
                <a:lnSpc>
                  <a:spcPct val="104250"/>
                </a:lnSpc>
                <a:spcBef>
                  <a:spcPct val="0"/>
                </a:spcBef>
                <a:spcAft>
                  <a:spcPct val="0"/>
                </a:spcAft>
                <a:buNone/>
              </a:pPr>
              <a:t>Bachelor’s</a:t>
            </a:fld>
            <a:endParaRPr lang="en-US" sz="800" spc="0">
              <a:latin typeface="+mn-lt"/>
              <a:ea typeface="+mn-ea"/>
              <a:cs typeface="+mn-cs"/>
              <a:sym typeface="DINPro" panose="020B0504020201010104" pitchFamily="34" charset="0"/>
            </a:endParaRPr>
          </a:p>
        </p:txBody>
      </p:sp>
      <p:sp>
        <p:nvSpPr>
          <p:cNvPr id="40" name="Tekstin paikkamerkki 3">
            <a:extLst>
              <a:ext uri="{FF2B5EF4-FFF2-40B4-BE49-F238E27FC236}">
                <a16:creationId xmlns:a16="http://schemas.microsoft.com/office/drawing/2014/main" id="{EE25C1F2-9258-1BE1-7E7F-C428681EDB34}"/>
              </a:ext>
            </a:extLst>
          </p:cNvPr>
          <p:cNvSpPr>
            <a:spLocks noGrp="1"/>
          </p:cNvSpPr>
          <p:nvPr>
            <p:custDataLst>
              <p:tags r:id="rId19"/>
            </p:custDataLst>
          </p:nvPr>
        </p:nvSpPr>
        <p:spPr bwMode="gray">
          <a:xfrm>
            <a:off x="7661274" y="3817938"/>
            <a:ext cx="566738"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fld id="{F163287F-669B-4791-A267-9856D9CBB77F}" type="datetime'''''''''''''''''''R''''''''e''''''t''i''''''''rement'''''''">
              <a:rPr lang="en-US" altLang="en-US" sz="800" spc="0" smtClean="0">
                <a:latin typeface="+mn-lt"/>
                <a:ea typeface="+mn-ea"/>
                <a:cs typeface="+mn-cs"/>
              </a:rPr>
              <a:pPr/>
              <a:t>Retirement</a:t>
            </a:fld>
            <a:endParaRPr lang="en-US" sz="800" spc="0">
              <a:latin typeface="+mn-lt"/>
              <a:ea typeface="+mn-ea"/>
              <a:cs typeface="+mn-cs"/>
              <a:sym typeface="DINPro" panose="020B0504020201010104" pitchFamily="34" charset="0"/>
            </a:endParaRPr>
          </a:p>
        </p:txBody>
      </p:sp>
      <p:sp>
        <p:nvSpPr>
          <p:cNvPr id="41" name="Tekstin paikkamerkki 3">
            <a:extLst>
              <a:ext uri="{FF2B5EF4-FFF2-40B4-BE49-F238E27FC236}">
                <a16:creationId xmlns:a16="http://schemas.microsoft.com/office/drawing/2014/main" id="{C5E616B9-1FA0-767A-AB9A-80CF8D024F3D}"/>
              </a:ext>
            </a:extLst>
          </p:cNvPr>
          <p:cNvSpPr>
            <a:spLocks noGrp="1"/>
          </p:cNvSpPr>
          <p:nvPr>
            <p:custDataLst>
              <p:tags r:id="rId20"/>
            </p:custDataLst>
          </p:nvPr>
        </p:nvSpPr>
        <p:spPr bwMode="gray">
          <a:xfrm>
            <a:off x="7661275" y="3284538"/>
            <a:ext cx="420688"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fld id="{0401C71D-EC57-48C0-903A-97C39FBE3CE6}" type="datetime'''''''''''''Ma''''s''''''''''''''''''''''t''''er''''’''s'''">
              <a:rPr lang="en-US" altLang="en-US" sz="800" spc="0" smtClean="0">
                <a:latin typeface="+mn-lt"/>
                <a:ea typeface="+mn-ea"/>
                <a:cs typeface="+mn-cs"/>
              </a:rPr>
              <a:pPr marL="0" lvl="0" indent="0">
                <a:lnSpc>
                  <a:spcPct val="104250"/>
                </a:lnSpc>
                <a:spcBef>
                  <a:spcPct val="0"/>
                </a:spcBef>
                <a:spcAft>
                  <a:spcPct val="0"/>
                </a:spcAft>
                <a:buNone/>
              </a:pPr>
              <a:t>Master’s</a:t>
            </a:fld>
            <a:endParaRPr lang="en-US" sz="800" spc="0">
              <a:latin typeface="+mn-lt"/>
              <a:ea typeface="+mn-ea"/>
              <a:cs typeface="+mn-cs"/>
              <a:sym typeface="DINPro" panose="020B0504020201010104" pitchFamily="34" charset="0"/>
            </a:endParaRPr>
          </a:p>
        </p:txBody>
      </p:sp>
      <p:sp>
        <p:nvSpPr>
          <p:cNvPr id="38" name="Tekstin paikkamerkki 3">
            <a:extLst>
              <a:ext uri="{FF2B5EF4-FFF2-40B4-BE49-F238E27FC236}">
                <a16:creationId xmlns:a16="http://schemas.microsoft.com/office/drawing/2014/main" id="{9E1DA3FA-BCF4-C747-DEA3-AF9C10C5A30B}"/>
              </a:ext>
            </a:extLst>
          </p:cNvPr>
          <p:cNvSpPr>
            <a:spLocks noGrp="1"/>
          </p:cNvSpPr>
          <p:nvPr>
            <p:custDataLst>
              <p:tags r:id="rId21"/>
            </p:custDataLst>
          </p:nvPr>
        </p:nvSpPr>
        <p:spPr bwMode="gray">
          <a:xfrm>
            <a:off x="7661275" y="3995738"/>
            <a:ext cx="252413"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r>
              <a:rPr lang="en-US" altLang="en-US" sz="800" spc="0">
                <a:latin typeface="+mn-lt"/>
                <a:ea typeface="+mn-ea"/>
                <a:cs typeface="+mn-cs"/>
              </a:rPr>
              <a:t>Total</a:t>
            </a:r>
            <a:endParaRPr lang="en-US" sz="800" spc="0">
              <a:latin typeface="+mn-lt"/>
              <a:ea typeface="+mn-ea"/>
              <a:cs typeface="+mn-cs"/>
              <a:sym typeface="DINPro" panose="020B0504020201010104" pitchFamily="34" charset="0"/>
            </a:endParaRPr>
          </a:p>
        </p:txBody>
      </p:sp>
      <p:sp>
        <p:nvSpPr>
          <p:cNvPr id="43" name="Tekstin paikkamerkki 3">
            <a:extLst>
              <a:ext uri="{FF2B5EF4-FFF2-40B4-BE49-F238E27FC236}">
                <a16:creationId xmlns:a16="http://schemas.microsoft.com/office/drawing/2014/main" id="{80E3F9D9-8111-C267-D553-2CA0B85FBD61}"/>
              </a:ext>
            </a:extLst>
          </p:cNvPr>
          <p:cNvSpPr>
            <a:spLocks noGrp="1"/>
          </p:cNvSpPr>
          <p:nvPr>
            <p:custDataLst>
              <p:tags r:id="rId22"/>
            </p:custDataLst>
          </p:nvPr>
        </p:nvSpPr>
        <p:spPr bwMode="gray">
          <a:xfrm>
            <a:off x="7661275" y="3640138"/>
            <a:ext cx="1166813"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fld id="{24CFD137-A362-4E51-BC5B-0E700A3EB149}" type="datetime'Hig''h ''''s''''ch''oo''l/''Vo''''ca''''tio''n''''al'''">
              <a:rPr lang="en-US" altLang="en-US" sz="800" spc="0" smtClean="0">
                <a:latin typeface="+mn-lt"/>
                <a:ea typeface="+mn-ea"/>
                <a:cs typeface="+mn-cs"/>
              </a:rPr>
              <a:pPr marL="0" lvl="0" indent="0">
                <a:lnSpc>
                  <a:spcPct val="104250"/>
                </a:lnSpc>
                <a:spcBef>
                  <a:spcPct val="0"/>
                </a:spcBef>
                <a:spcAft>
                  <a:spcPct val="0"/>
                </a:spcAft>
                <a:buNone/>
              </a:pPr>
              <a:t>High school/Vocational</a:t>
            </a:fld>
            <a:endParaRPr lang="en-US" sz="800" spc="0">
              <a:latin typeface="+mn-lt"/>
              <a:ea typeface="+mn-ea"/>
              <a:cs typeface="+mn-cs"/>
              <a:sym typeface="DINPro" panose="020B0504020201010104" pitchFamily="34" charset="0"/>
            </a:endParaRPr>
          </a:p>
        </p:txBody>
      </p:sp>
      <p:sp>
        <p:nvSpPr>
          <p:cNvPr id="49" name="TextBox 48">
            <a:extLst>
              <a:ext uri="{FF2B5EF4-FFF2-40B4-BE49-F238E27FC236}">
                <a16:creationId xmlns:a16="http://schemas.microsoft.com/office/drawing/2014/main" id="{B5F23909-0CE2-4378-6026-F81A261AE437}"/>
              </a:ext>
            </a:extLst>
          </p:cNvPr>
          <p:cNvSpPr txBox="1"/>
          <p:nvPr/>
        </p:nvSpPr>
        <p:spPr>
          <a:xfrm>
            <a:off x="2879725" y="4610822"/>
            <a:ext cx="5883276" cy="52322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700">
                <a:solidFill>
                  <a:schemeClr val="tx1"/>
                </a:solidFill>
                <a:latin typeface="+mj-lt"/>
                <a:cs typeface="Arial" pitchFamily="34" charset="0"/>
              </a:rPr>
              <a:t>1. Q: Rank the following enablers from most critical to least critical for the success of the Finnish Microelectronics and Semiconductor industry 2. Based on estimates without productivity growth assumptions, i.e., static revenue per employee. Education data based on estimates from Norwegian semiconductor industry report. Retirement estimates based on EU figures</a:t>
            </a:r>
          </a:p>
          <a:p>
            <a:r>
              <a:rPr lang="en-US" sz="700">
                <a:solidFill>
                  <a:schemeClr val="tx1"/>
                </a:solidFill>
                <a:latin typeface="+mj-lt"/>
                <a:cs typeface="Arial" pitchFamily="34" charset="0"/>
              </a:rPr>
              <a:t>Source: Orbis, Company reports, Industry reports, Gartner, Industry survey, BCG</a:t>
            </a:r>
          </a:p>
        </p:txBody>
      </p:sp>
      <p:sp>
        <p:nvSpPr>
          <p:cNvPr id="50" name="Rectangle 49">
            <a:extLst>
              <a:ext uri="{FF2B5EF4-FFF2-40B4-BE49-F238E27FC236}">
                <a16:creationId xmlns:a16="http://schemas.microsoft.com/office/drawing/2014/main" id="{9C558A6F-2C4A-0AAE-B84A-6A68742524B8}"/>
              </a:ext>
            </a:extLst>
          </p:cNvPr>
          <p:cNvSpPr/>
          <p:nvPr/>
        </p:nvSpPr>
        <p:spPr>
          <a:xfrm>
            <a:off x="4852807" y="1470025"/>
            <a:ext cx="4083050" cy="2238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08E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r>
              <a:rPr lang="en-US" sz="800" i="1">
                <a:solidFill>
                  <a:schemeClr val="tx1"/>
                </a:solidFill>
              </a:rPr>
              <a:t>Total number of employees, by education level, in 2022-2035</a:t>
            </a:r>
          </a:p>
        </p:txBody>
      </p:sp>
      <p:graphicFrame>
        <p:nvGraphicFramePr>
          <p:cNvPr id="8" name="Chart 7">
            <a:extLst>
              <a:ext uri="{FF2B5EF4-FFF2-40B4-BE49-F238E27FC236}">
                <a16:creationId xmlns:a16="http://schemas.microsoft.com/office/drawing/2014/main" id="{4EDD1B49-8E52-C28B-2EC7-A48455BD70D0}"/>
              </a:ext>
            </a:extLst>
          </p:cNvPr>
          <p:cNvGraphicFramePr/>
          <p:nvPr>
            <p:custDataLst>
              <p:tags r:id="rId23"/>
            </p:custDataLst>
            <p:extLst>
              <p:ext uri="{D42A27DB-BD31-4B8C-83A1-F6EECF244321}">
                <p14:modId xmlns:p14="http://schemas.microsoft.com/office/powerpoint/2010/main" val="539097119"/>
              </p:ext>
            </p:extLst>
          </p:nvPr>
        </p:nvGraphicFramePr>
        <p:xfrm>
          <a:off x="2132013" y="1841500"/>
          <a:ext cx="1804987" cy="2608263"/>
        </p:xfrm>
        <a:graphic>
          <a:graphicData uri="http://schemas.openxmlformats.org/drawingml/2006/chart">
            <c:chart xmlns:c="http://schemas.openxmlformats.org/drawingml/2006/chart" xmlns:r="http://schemas.openxmlformats.org/officeDocument/2006/relationships" r:id="rId42"/>
          </a:graphicData>
        </a:graphic>
      </p:graphicFrame>
      <p:sp>
        <p:nvSpPr>
          <p:cNvPr id="81" name="Text Placeholder 3">
            <a:extLst>
              <a:ext uri="{FF2B5EF4-FFF2-40B4-BE49-F238E27FC236}">
                <a16:creationId xmlns:a16="http://schemas.microsoft.com/office/drawing/2014/main" id="{40A42BA0-2F73-96A5-726C-6B985D870710}"/>
              </a:ext>
            </a:extLst>
          </p:cNvPr>
          <p:cNvSpPr>
            <a:spLocks noGrp="1"/>
          </p:cNvSpPr>
          <p:nvPr>
            <p:custDataLst>
              <p:tags r:id="rId24"/>
            </p:custDataLst>
          </p:nvPr>
        </p:nvSpPr>
        <p:spPr bwMode="gray">
          <a:xfrm>
            <a:off x="1955800" y="2381250"/>
            <a:ext cx="19208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r>
              <a:rPr lang="en-US" altLang="en-US" sz="800" err="1"/>
              <a:t>RDI</a:t>
            </a:r>
            <a:endParaRPr lang="en-US" sz="800"/>
          </a:p>
        </p:txBody>
      </p:sp>
      <p:sp>
        <p:nvSpPr>
          <p:cNvPr id="82" name="Text Placeholder 3">
            <a:extLst>
              <a:ext uri="{FF2B5EF4-FFF2-40B4-BE49-F238E27FC236}">
                <a16:creationId xmlns:a16="http://schemas.microsoft.com/office/drawing/2014/main" id="{06C42EFD-06E9-E0A4-51B5-7C2B756498FE}"/>
              </a:ext>
            </a:extLst>
          </p:cNvPr>
          <p:cNvSpPr>
            <a:spLocks noGrp="1"/>
          </p:cNvSpPr>
          <p:nvPr>
            <p:custDataLst>
              <p:tags r:id="rId25"/>
            </p:custDataLst>
          </p:nvPr>
        </p:nvSpPr>
        <p:spPr bwMode="gray">
          <a:xfrm>
            <a:off x="688975" y="2730500"/>
            <a:ext cx="14589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069F0B48-941A-4B41-846A-D1FC8DAB6B2E}" type="datetime'Ecos''''yst''e''m ''an''d'' collab''''''or''''ati''on'''">
              <a:rPr lang="en-US" altLang="en-US" sz="800" smtClean="0"/>
              <a:pPr lvl="0" algn="r">
                <a:spcBef>
                  <a:spcPct val="0"/>
                </a:spcBef>
                <a:spcAft>
                  <a:spcPct val="0"/>
                </a:spcAft>
              </a:pPr>
              <a:t>Ecosystem and collaboration</a:t>
            </a:fld>
            <a:endParaRPr lang="en-US" sz="800"/>
          </a:p>
        </p:txBody>
      </p:sp>
      <p:sp>
        <p:nvSpPr>
          <p:cNvPr id="83" name="Text Placeholder 3">
            <a:extLst>
              <a:ext uri="{FF2B5EF4-FFF2-40B4-BE49-F238E27FC236}">
                <a16:creationId xmlns:a16="http://schemas.microsoft.com/office/drawing/2014/main" id="{F34E02FF-3CB1-4128-1FE8-78E813E89869}"/>
              </a:ext>
            </a:extLst>
          </p:cNvPr>
          <p:cNvSpPr>
            <a:spLocks noGrp="1"/>
          </p:cNvSpPr>
          <p:nvPr>
            <p:custDataLst>
              <p:tags r:id="rId26"/>
            </p:custDataLst>
          </p:nvPr>
        </p:nvSpPr>
        <p:spPr bwMode="gray">
          <a:xfrm>
            <a:off x="452438" y="3078163"/>
            <a:ext cx="16954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54826FD6-D44A-419C-B40D-8A02413F3A36}" type="datetime'''Pr''''''ivate i''nte''''r''national inve''st''''m''e''nts'">
              <a:rPr lang="en-US" altLang="en-US" sz="800" smtClean="0"/>
              <a:pPr lvl="0" algn="r">
                <a:spcBef>
                  <a:spcPct val="0"/>
                </a:spcBef>
                <a:spcAft>
                  <a:spcPct val="0"/>
                </a:spcAft>
              </a:pPr>
              <a:t>Private international investments</a:t>
            </a:fld>
            <a:endParaRPr lang="en-US" sz="800"/>
          </a:p>
        </p:txBody>
      </p:sp>
      <p:sp>
        <p:nvSpPr>
          <p:cNvPr id="84" name="Text Placeholder 3">
            <a:extLst>
              <a:ext uri="{FF2B5EF4-FFF2-40B4-BE49-F238E27FC236}">
                <a16:creationId xmlns:a16="http://schemas.microsoft.com/office/drawing/2014/main" id="{E60DE9FF-AF7B-8A3D-192C-38004CAEDB0A}"/>
              </a:ext>
            </a:extLst>
          </p:cNvPr>
          <p:cNvSpPr>
            <a:spLocks noGrp="1"/>
          </p:cNvSpPr>
          <p:nvPr>
            <p:custDataLst>
              <p:tags r:id="rId27"/>
            </p:custDataLst>
          </p:nvPr>
        </p:nvSpPr>
        <p:spPr bwMode="gray">
          <a:xfrm>
            <a:off x="1089025" y="3427413"/>
            <a:ext cx="105886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8031E870-75A5-4238-BA9E-045ABD72042E}" type="datetime'G''''''ov''''ern''''''me''''n''''t ''''suppo''''''''''r''''t'">
              <a:rPr lang="en-US" altLang="en-US" sz="800" smtClean="0"/>
              <a:pPr lvl="0" algn="r">
                <a:spcBef>
                  <a:spcPct val="0"/>
                </a:spcBef>
                <a:spcAft>
                  <a:spcPct val="0"/>
                </a:spcAft>
              </a:pPr>
              <a:t>Government support</a:t>
            </a:fld>
            <a:endParaRPr lang="en-US" sz="800"/>
          </a:p>
        </p:txBody>
      </p:sp>
      <p:sp>
        <p:nvSpPr>
          <p:cNvPr id="85" name="Text Placeholder 3">
            <a:extLst>
              <a:ext uri="{FF2B5EF4-FFF2-40B4-BE49-F238E27FC236}">
                <a16:creationId xmlns:a16="http://schemas.microsoft.com/office/drawing/2014/main" id="{B346302F-9CB2-95EB-39B9-29DCFA8AB954}"/>
              </a:ext>
            </a:extLst>
          </p:cNvPr>
          <p:cNvSpPr>
            <a:spLocks noGrp="1"/>
          </p:cNvSpPr>
          <p:nvPr>
            <p:custDataLst>
              <p:tags r:id="rId28"/>
            </p:custDataLst>
          </p:nvPr>
        </p:nvSpPr>
        <p:spPr bwMode="gray">
          <a:xfrm>
            <a:off x="736600" y="3776663"/>
            <a:ext cx="1411288"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buNone/>
            </a:pPr>
            <a:r>
              <a:rPr lang="en-US" sz="800" dirty="0"/>
              <a:t>EU funding (e.g., Chips Act)</a:t>
            </a:r>
          </a:p>
        </p:txBody>
      </p:sp>
      <p:sp>
        <p:nvSpPr>
          <p:cNvPr id="86" name="Text Placeholder 3">
            <a:extLst>
              <a:ext uri="{FF2B5EF4-FFF2-40B4-BE49-F238E27FC236}">
                <a16:creationId xmlns:a16="http://schemas.microsoft.com/office/drawing/2014/main" id="{5C961B16-EC74-CBBE-4BF3-244A30CD0E5C}"/>
              </a:ext>
            </a:extLst>
          </p:cNvPr>
          <p:cNvSpPr>
            <a:spLocks noGrp="1"/>
          </p:cNvSpPr>
          <p:nvPr>
            <p:custDataLst>
              <p:tags r:id="rId29"/>
            </p:custDataLst>
          </p:nvPr>
        </p:nvSpPr>
        <p:spPr bwMode="gray">
          <a:xfrm>
            <a:off x="688975" y="4125913"/>
            <a:ext cx="1458913"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A289FAB1-928C-4115-9D32-8EC75987815E}" type="datetime'Privat''e ''na''t''''''i''on''a''''l ''in''vestm''''e''n''ts'">
              <a:rPr lang="en-US" altLang="en-US" sz="800" smtClean="0"/>
              <a:pPr lvl="0" algn="r">
                <a:spcBef>
                  <a:spcPct val="0"/>
                </a:spcBef>
                <a:spcAft>
                  <a:spcPct val="0"/>
                </a:spcAft>
              </a:pPr>
              <a:t>Private national investments</a:t>
            </a:fld>
            <a:endParaRPr lang="en-US" sz="800" dirty="0"/>
          </a:p>
        </p:txBody>
      </p:sp>
      <p:sp>
        <p:nvSpPr>
          <p:cNvPr id="80" name="Text Placeholder 3">
            <a:extLst>
              <a:ext uri="{FF2B5EF4-FFF2-40B4-BE49-F238E27FC236}">
                <a16:creationId xmlns:a16="http://schemas.microsoft.com/office/drawing/2014/main" id="{09006858-39EA-3372-4480-0F76CAC9BA80}"/>
              </a:ext>
            </a:extLst>
          </p:cNvPr>
          <p:cNvSpPr>
            <a:spLocks noGrp="1"/>
          </p:cNvSpPr>
          <p:nvPr>
            <p:custDataLst>
              <p:tags r:id="rId30"/>
            </p:custDataLst>
          </p:nvPr>
        </p:nvSpPr>
        <p:spPr bwMode="gray">
          <a:xfrm>
            <a:off x="703263" y="2032000"/>
            <a:ext cx="144462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r">
              <a:spcBef>
                <a:spcPct val="0"/>
              </a:spcBef>
              <a:spcAft>
                <a:spcPct val="0"/>
              </a:spcAft>
            </a:pPr>
            <a:fld id="{24768E89-E385-4999-A4C1-9B72038960CE}" type="datetime'''''W''''o''rkfo''r''c''''''''''e'''' and'' Ed''''''uc''ation'">
              <a:rPr lang="en-US" altLang="en-US" sz="800" b="1" smtClean="0"/>
              <a:pPr lvl="0" algn="r">
                <a:spcBef>
                  <a:spcPct val="0"/>
                </a:spcBef>
                <a:spcAft>
                  <a:spcPct val="0"/>
                </a:spcAft>
              </a:pPr>
              <a:t>Workforce and Education</a:t>
            </a:fld>
            <a:endParaRPr lang="en-US" sz="800" b="1"/>
          </a:p>
        </p:txBody>
      </p:sp>
      <p:sp>
        <p:nvSpPr>
          <p:cNvPr id="18" name="Tekstin paikkamerkki 3">
            <a:extLst>
              <a:ext uri="{FF2B5EF4-FFF2-40B4-BE49-F238E27FC236}">
                <a16:creationId xmlns:a16="http://schemas.microsoft.com/office/drawing/2014/main" id="{08F65369-57DA-C244-E445-12ED99F7EEA3}"/>
              </a:ext>
            </a:extLst>
          </p:cNvPr>
          <p:cNvSpPr>
            <a:spLocks noGrp="1"/>
          </p:cNvSpPr>
          <p:nvPr>
            <p:custDataLst>
              <p:tags r:id="rId31"/>
            </p:custDataLst>
          </p:nvPr>
        </p:nvSpPr>
        <p:spPr bwMode="gray">
          <a:xfrm>
            <a:off x="2981325" y="2381250"/>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4025CF63-BAFB-4233-9B1D-D0D28966D9B2}" type="datetime'''''''''''''''2''''''''''''''''''''''''''''.2''''''''2'''''''">
              <a:rPr lang="en-US" altLang="en-US" sz="800" spc="0" smtClean="0">
                <a:effectLst/>
                <a:latin typeface="+mn-lt"/>
                <a:ea typeface="+mn-ea"/>
                <a:cs typeface="+mn-cs"/>
              </a:rPr>
              <a:pPr marL="0" lvl="0" indent="0">
                <a:lnSpc>
                  <a:spcPct val="110000"/>
                </a:lnSpc>
                <a:spcBef>
                  <a:spcPct val="0"/>
                </a:spcBef>
                <a:spcAft>
                  <a:spcPct val="0"/>
                </a:spcAft>
                <a:buNone/>
              </a:pPr>
              <a:t>2.22</a:t>
            </a:fld>
            <a:endParaRPr lang="en-US" sz="800" spc="0" dirty="0">
              <a:latin typeface="+mn-lt"/>
              <a:ea typeface="+mn-ea"/>
              <a:cs typeface="+mn-cs"/>
            </a:endParaRPr>
          </a:p>
        </p:txBody>
      </p:sp>
      <p:sp>
        <p:nvSpPr>
          <p:cNvPr id="19" name="Tekstin paikkamerkki 3">
            <a:extLst>
              <a:ext uri="{FF2B5EF4-FFF2-40B4-BE49-F238E27FC236}">
                <a16:creationId xmlns:a16="http://schemas.microsoft.com/office/drawing/2014/main" id="{CA278D2E-140F-7396-42D7-8EF92A4BEDB3}"/>
              </a:ext>
            </a:extLst>
          </p:cNvPr>
          <p:cNvSpPr>
            <a:spLocks noGrp="1"/>
          </p:cNvSpPr>
          <p:nvPr>
            <p:custDataLst>
              <p:tags r:id="rId32"/>
            </p:custDataLst>
          </p:nvPr>
        </p:nvSpPr>
        <p:spPr bwMode="gray">
          <a:xfrm>
            <a:off x="3392488" y="2730500"/>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5A2067C8-E115-4BDD-971B-AC280812252D}" type="datetime'''''''''''''''''''3''.''''''''''''''''''''''''''''''4''4'">
              <a:rPr lang="en-US" altLang="en-US" sz="800" spc="0" smtClean="0">
                <a:effectLst/>
                <a:latin typeface="+mn-lt"/>
                <a:ea typeface="+mn-ea"/>
                <a:cs typeface="+mn-cs"/>
              </a:rPr>
              <a:pPr marL="0" lvl="0" indent="0">
                <a:lnSpc>
                  <a:spcPct val="110000"/>
                </a:lnSpc>
                <a:spcBef>
                  <a:spcPct val="0"/>
                </a:spcBef>
                <a:spcAft>
                  <a:spcPct val="0"/>
                </a:spcAft>
                <a:buNone/>
              </a:pPr>
              <a:t>3.44</a:t>
            </a:fld>
            <a:endParaRPr lang="en-US" sz="800" spc="0" dirty="0">
              <a:latin typeface="+mn-lt"/>
              <a:ea typeface="+mn-ea"/>
              <a:cs typeface="+mn-cs"/>
            </a:endParaRPr>
          </a:p>
        </p:txBody>
      </p:sp>
      <p:sp>
        <p:nvSpPr>
          <p:cNvPr id="20" name="Tekstin paikkamerkki 3">
            <a:extLst>
              <a:ext uri="{FF2B5EF4-FFF2-40B4-BE49-F238E27FC236}">
                <a16:creationId xmlns:a16="http://schemas.microsoft.com/office/drawing/2014/main" id="{C44179B2-93DE-5668-79B7-6E715ABEB9F9}"/>
              </a:ext>
            </a:extLst>
          </p:cNvPr>
          <p:cNvSpPr>
            <a:spLocks noGrp="1"/>
          </p:cNvSpPr>
          <p:nvPr>
            <p:custDataLst>
              <p:tags r:id="rId33"/>
            </p:custDataLst>
          </p:nvPr>
        </p:nvSpPr>
        <p:spPr bwMode="gray">
          <a:xfrm>
            <a:off x="3586163" y="3078163"/>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BB615E77-3259-4323-A7C7-4E80604B5E0B}" type="datetime'''''4''''''''''''''''''''.''''0''''''''''2'''''''''''''">
              <a:rPr lang="en-US" altLang="en-US" sz="800" spc="0" smtClean="0">
                <a:effectLst/>
                <a:latin typeface="+mn-lt"/>
                <a:ea typeface="+mn-ea"/>
                <a:cs typeface="+mn-cs"/>
              </a:rPr>
              <a:pPr marL="0" lvl="0" indent="0">
                <a:lnSpc>
                  <a:spcPct val="110000"/>
                </a:lnSpc>
                <a:spcBef>
                  <a:spcPct val="0"/>
                </a:spcBef>
                <a:spcAft>
                  <a:spcPct val="0"/>
                </a:spcAft>
                <a:buNone/>
              </a:pPr>
              <a:t>4.02</a:t>
            </a:fld>
            <a:endParaRPr lang="en-US" sz="800" spc="0" dirty="0">
              <a:latin typeface="+mn-lt"/>
              <a:ea typeface="+mn-ea"/>
              <a:cs typeface="+mn-cs"/>
            </a:endParaRPr>
          </a:p>
        </p:txBody>
      </p:sp>
      <p:sp>
        <p:nvSpPr>
          <p:cNvPr id="21" name="Tekstin paikkamerkki 3">
            <a:extLst>
              <a:ext uri="{FF2B5EF4-FFF2-40B4-BE49-F238E27FC236}">
                <a16:creationId xmlns:a16="http://schemas.microsoft.com/office/drawing/2014/main" id="{F1E06132-E7B5-3964-D079-003702BA9D6B}"/>
              </a:ext>
            </a:extLst>
          </p:cNvPr>
          <p:cNvSpPr>
            <a:spLocks noGrp="1"/>
          </p:cNvSpPr>
          <p:nvPr>
            <p:custDataLst>
              <p:tags r:id="rId34"/>
            </p:custDataLst>
          </p:nvPr>
        </p:nvSpPr>
        <p:spPr bwMode="gray">
          <a:xfrm>
            <a:off x="3660775" y="3427413"/>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E28C09FD-BDA3-4C2C-90F9-FB13B3546210}" type="datetime'''''4''''''''''''.''''''''''''''''''''''''''''''2''4'''''">
              <a:rPr lang="en-US" altLang="en-US" sz="800" spc="0" smtClean="0">
                <a:effectLst/>
                <a:latin typeface="+mn-lt"/>
                <a:ea typeface="+mn-ea"/>
                <a:cs typeface="+mn-cs"/>
              </a:rPr>
              <a:pPr marL="0" lvl="0" indent="0">
                <a:lnSpc>
                  <a:spcPct val="110000"/>
                </a:lnSpc>
                <a:spcBef>
                  <a:spcPct val="0"/>
                </a:spcBef>
                <a:spcAft>
                  <a:spcPct val="0"/>
                </a:spcAft>
                <a:buNone/>
              </a:pPr>
              <a:t>4.24</a:t>
            </a:fld>
            <a:endParaRPr lang="en-US" sz="800" spc="0" dirty="0">
              <a:latin typeface="+mn-lt"/>
              <a:ea typeface="+mn-ea"/>
              <a:cs typeface="+mn-cs"/>
            </a:endParaRPr>
          </a:p>
        </p:txBody>
      </p:sp>
      <p:sp>
        <p:nvSpPr>
          <p:cNvPr id="22" name="Tekstin paikkamerkki 3">
            <a:extLst>
              <a:ext uri="{FF2B5EF4-FFF2-40B4-BE49-F238E27FC236}">
                <a16:creationId xmlns:a16="http://schemas.microsoft.com/office/drawing/2014/main" id="{9CC3351D-E241-0AA5-71D4-319BFE87FBA9}"/>
              </a:ext>
            </a:extLst>
          </p:cNvPr>
          <p:cNvSpPr>
            <a:spLocks noGrp="1"/>
          </p:cNvSpPr>
          <p:nvPr>
            <p:custDataLst>
              <p:tags r:id="rId35"/>
            </p:custDataLst>
          </p:nvPr>
        </p:nvSpPr>
        <p:spPr bwMode="gray">
          <a:xfrm>
            <a:off x="3878263" y="3776663"/>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EDEFE5D8-01F1-4F06-ABEF-FC7B88839ACA}" type="datetime'''''''''''''''4''''.''''''89'''''''''''''''''''''''''''">
              <a:rPr lang="en-US" altLang="en-US" sz="800" spc="0" smtClean="0">
                <a:effectLst/>
                <a:latin typeface="+mn-lt"/>
                <a:ea typeface="+mn-ea"/>
                <a:cs typeface="+mn-cs"/>
              </a:rPr>
              <a:pPr marL="0" lvl="0" indent="0">
                <a:lnSpc>
                  <a:spcPct val="110000"/>
                </a:lnSpc>
                <a:spcBef>
                  <a:spcPct val="0"/>
                </a:spcBef>
                <a:spcAft>
                  <a:spcPct val="0"/>
                </a:spcAft>
                <a:buNone/>
              </a:pPr>
              <a:t>4.89</a:t>
            </a:fld>
            <a:endParaRPr lang="en-US" sz="800" spc="0" dirty="0">
              <a:latin typeface="+mn-lt"/>
              <a:ea typeface="+mn-ea"/>
              <a:cs typeface="+mn-cs"/>
            </a:endParaRPr>
          </a:p>
        </p:txBody>
      </p:sp>
      <p:sp>
        <p:nvSpPr>
          <p:cNvPr id="26" name="Tekstin paikkamerkki 3">
            <a:extLst>
              <a:ext uri="{FF2B5EF4-FFF2-40B4-BE49-F238E27FC236}">
                <a16:creationId xmlns:a16="http://schemas.microsoft.com/office/drawing/2014/main" id="{EDFA4C3E-3C73-C7C9-22B4-82E191022EE8}"/>
              </a:ext>
            </a:extLst>
          </p:cNvPr>
          <p:cNvSpPr>
            <a:spLocks noGrp="1"/>
          </p:cNvSpPr>
          <p:nvPr>
            <p:custDataLst>
              <p:tags r:id="rId36"/>
            </p:custDataLst>
          </p:nvPr>
        </p:nvSpPr>
        <p:spPr bwMode="gray">
          <a:xfrm>
            <a:off x="3879850" y="4125913"/>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F49009DF-F749-49A1-973A-46C0CC43A9A9}" type="datetime'''''''4''''.''''''''9''''''''''''''''''''''''''''0'">
              <a:rPr lang="en-US" altLang="en-US" sz="800" spc="0" smtClean="0">
                <a:effectLst/>
                <a:latin typeface="+mn-lt"/>
                <a:ea typeface="+mn-ea"/>
                <a:cs typeface="+mn-cs"/>
              </a:rPr>
              <a:pPr marL="0" lvl="0" indent="0">
                <a:lnSpc>
                  <a:spcPct val="110000"/>
                </a:lnSpc>
                <a:spcBef>
                  <a:spcPct val="0"/>
                </a:spcBef>
                <a:spcAft>
                  <a:spcPct val="0"/>
                </a:spcAft>
                <a:buNone/>
              </a:pPr>
              <a:t>4.90</a:t>
            </a:fld>
            <a:endParaRPr lang="en-US" sz="800" spc="0" dirty="0">
              <a:latin typeface="+mn-lt"/>
              <a:ea typeface="+mn-ea"/>
              <a:cs typeface="+mn-cs"/>
            </a:endParaRPr>
          </a:p>
        </p:txBody>
      </p:sp>
      <p:sp>
        <p:nvSpPr>
          <p:cNvPr id="11" name="Tekstin paikkamerkki 3">
            <a:extLst>
              <a:ext uri="{FF2B5EF4-FFF2-40B4-BE49-F238E27FC236}">
                <a16:creationId xmlns:a16="http://schemas.microsoft.com/office/drawing/2014/main" id="{C03D5C2D-505A-7193-0506-88ADC697C800}"/>
              </a:ext>
            </a:extLst>
          </p:cNvPr>
          <p:cNvSpPr>
            <a:spLocks noGrp="1"/>
          </p:cNvSpPr>
          <p:nvPr>
            <p:custDataLst>
              <p:tags r:id="rId37"/>
            </p:custDataLst>
          </p:nvPr>
        </p:nvSpPr>
        <p:spPr bwMode="gray">
          <a:xfrm>
            <a:off x="2944813" y="2032000"/>
            <a:ext cx="257175"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12700" tIns="0" rIns="1270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10000"/>
              </a:lnSpc>
              <a:spcBef>
                <a:spcPct val="0"/>
              </a:spcBef>
              <a:spcAft>
                <a:spcPct val="0"/>
              </a:spcAft>
              <a:buNone/>
            </a:pPr>
            <a:fld id="{0E0E43A6-5763-407C-8771-D426B31DD46B}" type="datetime'''2.''''''''''''''''1''''1'''">
              <a:rPr lang="en-US" altLang="en-US" sz="800" spc="0" smtClean="0">
                <a:effectLst/>
                <a:latin typeface="+mn-lt"/>
                <a:ea typeface="+mn-ea"/>
                <a:cs typeface="+mn-cs"/>
              </a:rPr>
              <a:pPr marL="0" lvl="0" indent="0">
                <a:lnSpc>
                  <a:spcPct val="110000"/>
                </a:lnSpc>
                <a:spcBef>
                  <a:spcPct val="0"/>
                </a:spcBef>
                <a:spcAft>
                  <a:spcPct val="0"/>
                </a:spcAft>
                <a:buNone/>
              </a:pPr>
              <a:t>2.11</a:t>
            </a:fld>
            <a:endParaRPr lang="en-US" sz="800" spc="0" dirty="0">
              <a:latin typeface="+mn-lt"/>
              <a:ea typeface="+mn-ea"/>
              <a:cs typeface="+mn-cs"/>
            </a:endParaRPr>
          </a:p>
        </p:txBody>
      </p:sp>
      <p:sp>
        <p:nvSpPr>
          <p:cNvPr id="115" name="Rectangle 114">
            <a:extLst>
              <a:ext uri="{FF2B5EF4-FFF2-40B4-BE49-F238E27FC236}">
                <a16:creationId xmlns:a16="http://schemas.microsoft.com/office/drawing/2014/main" id="{632629E1-F4F8-FAF1-B86A-057578428D77}"/>
              </a:ext>
            </a:extLst>
          </p:cNvPr>
          <p:cNvSpPr/>
          <p:nvPr/>
        </p:nvSpPr>
        <p:spPr>
          <a:xfrm>
            <a:off x="367195" y="1110074"/>
            <a:ext cx="3924000" cy="3975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08E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r>
              <a:rPr lang="en-US" sz="1000" b="1" dirty="0">
                <a:solidFill>
                  <a:schemeClr val="tx1"/>
                </a:solidFill>
              </a:rPr>
              <a:t>The industry perceives that workforce and education are the most critical enablers for industry growth</a:t>
            </a:r>
            <a:endParaRPr lang="en-US" sz="800" dirty="0">
              <a:solidFill>
                <a:schemeClr val="tx1"/>
              </a:solidFill>
            </a:endParaRPr>
          </a:p>
        </p:txBody>
      </p:sp>
      <p:sp>
        <p:nvSpPr>
          <p:cNvPr id="112" name="Rectangle 111">
            <a:extLst>
              <a:ext uri="{FF2B5EF4-FFF2-40B4-BE49-F238E27FC236}">
                <a16:creationId xmlns:a16="http://schemas.microsoft.com/office/drawing/2014/main" id="{4445CFC4-7A3A-77CD-55B9-50106524C321}"/>
              </a:ext>
            </a:extLst>
          </p:cNvPr>
          <p:cNvSpPr/>
          <p:nvPr/>
        </p:nvSpPr>
        <p:spPr>
          <a:xfrm>
            <a:off x="4852807" y="1110074"/>
            <a:ext cx="3924000" cy="20035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08E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p>
            <a:pPr defTabSz="685800"/>
            <a:r>
              <a:rPr lang="en-US" sz="1000" b="1" dirty="0">
                <a:solidFill>
                  <a:schemeClr val="tx1"/>
                </a:solidFill>
              </a:rPr>
              <a:t>Industry is estimated to need over 15.000 mostly highly educated professionals</a:t>
            </a:r>
            <a:endParaRPr lang="en-US" sz="800" dirty="0">
              <a:solidFill>
                <a:schemeClr val="tx1"/>
              </a:solidFill>
            </a:endParaRPr>
          </a:p>
        </p:txBody>
      </p:sp>
      <p:cxnSp>
        <p:nvCxnSpPr>
          <p:cNvPr id="117" name="Straight Connector 116">
            <a:extLst>
              <a:ext uri="{FF2B5EF4-FFF2-40B4-BE49-F238E27FC236}">
                <a16:creationId xmlns:a16="http://schemas.microsoft.com/office/drawing/2014/main" id="{7B20A710-EB12-88E8-A5D7-A494D6B2B3E3}"/>
              </a:ext>
            </a:extLst>
          </p:cNvPr>
          <p:cNvCxnSpPr>
            <a:cxnSpLocks/>
          </p:cNvCxnSpPr>
          <p:nvPr/>
        </p:nvCxnSpPr>
        <p:spPr>
          <a:xfrm>
            <a:off x="4572000" y="1177492"/>
            <a:ext cx="0" cy="3451109"/>
          </a:xfrm>
          <a:prstGeom prst="line">
            <a:avLst/>
          </a:prstGeom>
          <a:ln w="12700">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129" name="Rectangle 128">
            <a:extLst>
              <a:ext uri="{FF2B5EF4-FFF2-40B4-BE49-F238E27FC236}">
                <a16:creationId xmlns:a16="http://schemas.microsoft.com/office/drawing/2014/main" id="{64FB43A5-0B00-C925-639F-2ED12D753BD0}"/>
              </a:ext>
            </a:extLst>
          </p:cNvPr>
          <p:cNvSpPr/>
          <p:nvPr/>
        </p:nvSpPr>
        <p:spPr>
          <a:xfrm>
            <a:off x="367196" y="1470025"/>
            <a:ext cx="4083050" cy="223838"/>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908E9C"/>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defTabSz="685800"/>
            <a:r>
              <a:rPr lang="en-US" sz="800" i="1" dirty="0">
                <a:solidFill>
                  <a:schemeClr val="tx1"/>
                </a:solidFill>
              </a:rPr>
              <a:t>Survey results</a:t>
            </a:r>
            <a:r>
              <a:rPr lang="en-US" sz="800" i="1" baseline="30000" dirty="0">
                <a:solidFill>
                  <a:schemeClr val="tx1"/>
                </a:solidFill>
              </a:rPr>
              <a:t>1: </a:t>
            </a:r>
            <a:r>
              <a:rPr lang="en-US" sz="800" i="1" dirty="0">
                <a:solidFill>
                  <a:schemeClr val="tx1"/>
                </a:solidFill>
              </a:rPr>
              <a:t>The lower the average rank, the more critical the enabler is</a:t>
            </a:r>
          </a:p>
        </p:txBody>
      </p:sp>
      <p:sp>
        <p:nvSpPr>
          <p:cNvPr id="6" name="Text Placeholder 4">
            <a:extLst>
              <a:ext uri="{FF2B5EF4-FFF2-40B4-BE49-F238E27FC236}">
                <a16:creationId xmlns:a16="http://schemas.microsoft.com/office/drawing/2014/main" id="{A0FD8DE8-7502-D220-4EDD-0CD169211AB5}"/>
              </a:ext>
            </a:extLst>
          </p:cNvPr>
          <p:cNvSpPr txBox="1">
            <a:spLocks/>
          </p:cNvSpPr>
          <p:nvPr/>
        </p:nvSpPr>
        <p:spPr>
          <a:xfrm>
            <a:off x="251999" y="290513"/>
            <a:ext cx="8085453" cy="515007"/>
          </a:xfrm>
          <a:prstGeom prst="rect">
            <a:avLst/>
          </a:prstGeom>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defTabSz="679871">
              <a:lnSpc>
                <a:spcPts val="1600"/>
              </a:lnSpc>
              <a:buSzTx/>
              <a:defRPr/>
            </a:pPr>
            <a:r>
              <a:rPr lang="en-US" sz="1400" b="1" dirty="0">
                <a:solidFill>
                  <a:srgbClr val="29282E"/>
                </a:solidFill>
                <a:latin typeface="+mj-lt"/>
                <a:ea typeface="+mn-ea"/>
                <a:cs typeface="+mn-cs"/>
              </a:rPr>
              <a:t>The success in growing Finnish semiconductor industry is highly dependent on the supply of workforce and research from higher education institutions</a:t>
            </a:r>
          </a:p>
        </p:txBody>
      </p:sp>
    </p:spTree>
    <p:extLst>
      <p:ext uri="{BB962C8B-B14F-4D97-AF65-F5344CB8AC3E}">
        <p14:creationId xmlns:p14="http://schemas.microsoft.com/office/powerpoint/2010/main" val="25641534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think-cell data - do not delete" hidden="1">
            <a:extLst>
              <a:ext uri="{FF2B5EF4-FFF2-40B4-BE49-F238E27FC236}">
                <a16:creationId xmlns:a16="http://schemas.microsoft.com/office/drawing/2014/main" id="{7D39FDD2-4218-9BCA-E08A-BFAA5DDABB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 imgW="473" imgH="473" progId="TCLayout.ActiveDocument.1">
                  <p:embed/>
                </p:oleObj>
              </mc:Choice>
              <mc:Fallback>
                <p:oleObj name="think-cell Slide" r:id="rId9" imgW="473" imgH="473" progId="TCLayout.ActiveDocument.1">
                  <p:embed/>
                  <p:pic>
                    <p:nvPicPr>
                      <p:cNvPr id="55" name="think-cell data - do not delete" hidden="1">
                        <a:extLst>
                          <a:ext uri="{FF2B5EF4-FFF2-40B4-BE49-F238E27FC236}">
                            <a16:creationId xmlns:a16="http://schemas.microsoft.com/office/drawing/2014/main" id="{7D39FDD2-4218-9BCA-E08A-BFAA5DDABB6A}"/>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pic>
        <p:nvPicPr>
          <p:cNvPr id="174" name="Picture 173" descr="A logo with a tree in the middle&#10;&#10;Description automatically generated">
            <a:extLst>
              <a:ext uri="{FF2B5EF4-FFF2-40B4-BE49-F238E27FC236}">
                <a16:creationId xmlns:a16="http://schemas.microsoft.com/office/drawing/2014/main" id="{2E357B41-A948-DB1E-BFA7-97381A77FA5F}"/>
              </a:ext>
            </a:extLst>
          </p:cNvPr>
          <p:cNvPicPr>
            <a:picLocks noChangeAspect="1"/>
          </p:cNvPicPr>
          <p:nvPr/>
        </p:nvPicPr>
        <p:blipFill rotWithShape="1">
          <a:blip r:embed="rId11">
            <a:lum bright="70000" contrast="-70000"/>
            <a:alphaModFix amt="20000"/>
          </a:blip>
          <a:srcRect l="20610" t="21512" r="20911" b="16633"/>
          <a:stretch/>
        </p:blipFill>
        <p:spPr>
          <a:xfrm>
            <a:off x="3047712" y="1747181"/>
            <a:ext cx="3048575" cy="2830566"/>
          </a:xfrm>
          <a:prstGeom prst="ellipse">
            <a:avLst/>
          </a:prstGeom>
        </p:spPr>
      </p:pic>
      <p:sp>
        <p:nvSpPr>
          <p:cNvPr id="93" name="Rectangle 92">
            <a:extLst>
              <a:ext uri="{FF2B5EF4-FFF2-40B4-BE49-F238E27FC236}">
                <a16:creationId xmlns:a16="http://schemas.microsoft.com/office/drawing/2014/main" id="{0F553B37-850B-8CB5-1935-606100B86476}"/>
              </a:ext>
            </a:extLst>
          </p:cNvPr>
          <p:cNvSpPr/>
          <p:nvPr/>
        </p:nvSpPr>
        <p:spPr>
          <a:xfrm>
            <a:off x="3013928" y="1605511"/>
            <a:ext cx="3116144" cy="3105004"/>
          </a:xfrm>
          <a:prstGeom prst="rect">
            <a:avLst/>
          </a:prstGeom>
          <a:ln w="76200" cap="rnd" cmpd="sng" algn="ctr">
            <a:gradFill>
              <a:gsLst>
                <a:gs pos="0">
                  <a:srgbClr val="0070C0"/>
                </a:gs>
                <a:gs pos="50000">
                  <a:srgbClr val="7DC7FD"/>
                </a:gs>
                <a:gs pos="100000">
                  <a:srgbClr val="2475AF"/>
                </a:gs>
              </a:gsLst>
              <a:lin ang="5400000" scaled="1"/>
            </a:gra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i-FI" sz="600" b="0" i="0" u="none" strike="noStrike" kern="1200" cap="none" spc="0" normalizeH="0" baseline="0" noProof="0" dirty="0">
              <a:ln>
                <a:noFill/>
              </a:ln>
              <a:solidFill>
                <a:srgbClr val="FFFFFF"/>
              </a:solidFill>
              <a:effectLst/>
              <a:uLnTx/>
              <a:uFillTx/>
              <a:ea typeface="+mn-ea"/>
              <a:cs typeface="+mn-cs"/>
            </a:endParaRPr>
          </a:p>
        </p:txBody>
      </p:sp>
      <p:sp>
        <p:nvSpPr>
          <p:cNvPr id="104" name="Rectangle 103">
            <a:extLst>
              <a:ext uri="{FF2B5EF4-FFF2-40B4-BE49-F238E27FC236}">
                <a16:creationId xmlns:a16="http://schemas.microsoft.com/office/drawing/2014/main" id="{6A7F8090-F6B8-82CA-B858-96B1F5E83BBC}"/>
              </a:ext>
            </a:extLst>
          </p:cNvPr>
          <p:cNvSpPr/>
          <p:nvPr/>
        </p:nvSpPr>
        <p:spPr>
          <a:xfrm>
            <a:off x="2894076" y="1481820"/>
            <a:ext cx="3355848" cy="3352386"/>
          </a:xfrm>
          <a:prstGeom prst="rect">
            <a:avLst/>
          </a:prstGeom>
          <a:ln w="9525" cap="rnd" cmpd="sng" algn="ctr">
            <a:solidFill>
              <a:schemeClr val="bg1">
                <a:lumMod val="85000"/>
              </a:schemeClr>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fi-FI" sz="800" b="0" i="0" u="none" strike="noStrike" kern="1200" cap="none" spc="0" normalizeH="0" baseline="0" noProof="0" dirty="0">
              <a:ln>
                <a:noFill/>
              </a:ln>
              <a:solidFill>
                <a:srgbClr val="FFFFFF"/>
              </a:solidFill>
              <a:effectLst/>
              <a:uLnTx/>
              <a:uFillTx/>
              <a:latin typeface="DINPro" panose="020B0504020201010104"/>
              <a:ea typeface="+mn-ea"/>
              <a:cs typeface="+mn-cs"/>
            </a:endParaRPr>
          </a:p>
        </p:txBody>
      </p:sp>
      <p:cxnSp>
        <p:nvCxnSpPr>
          <p:cNvPr id="10" name="Straight Connector 9">
            <a:extLst>
              <a:ext uri="{FF2B5EF4-FFF2-40B4-BE49-F238E27FC236}">
                <a16:creationId xmlns:a16="http://schemas.microsoft.com/office/drawing/2014/main" id="{BD9C3B01-2043-D398-B2C9-B6C9F8281FF0}"/>
              </a:ext>
            </a:extLst>
          </p:cNvPr>
          <p:cNvCxnSpPr>
            <a:cxnSpLocks/>
            <a:stCxn id="93" idx="0"/>
            <a:endCxn id="5" idx="1"/>
          </p:cNvCxnSpPr>
          <p:nvPr/>
        </p:nvCxnSpPr>
        <p:spPr>
          <a:xfrm>
            <a:off x="4572000" y="1605511"/>
            <a:ext cx="2809" cy="525402"/>
          </a:xfrm>
          <a:prstGeom prst="line">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42847F0-0CF5-02D2-2B7D-77B91DBF31DC}"/>
              </a:ext>
            </a:extLst>
          </p:cNvPr>
          <p:cNvSpPr/>
          <p:nvPr/>
        </p:nvSpPr>
        <p:spPr>
          <a:xfrm>
            <a:off x="2894076" y="1215966"/>
            <a:ext cx="3355848" cy="203949"/>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chemeClr val="bg1">
                    <a:lumMod val="95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fi-FI" sz="1050" b="1" i="0" u="none" strike="noStrike" kern="1200" cap="none" spc="0" normalizeH="0" baseline="0" noProof="1">
                <a:ln>
                  <a:noFill/>
                </a:ln>
                <a:solidFill>
                  <a:srgbClr val="0F78B2"/>
                </a:solidFill>
                <a:effectLst/>
                <a:uLnTx/>
                <a:uFillTx/>
                <a:ea typeface="+mn-ea"/>
                <a:cs typeface="+mn-cs"/>
              </a:rPr>
              <a:t>Five enabling outcomes</a:t>
            </a:r>
          </a:p>
        </p:txBody>
      </p:sp>
      <p:grpSp>
        <p:nvGrpSpPr>
          <p:cNvPr id="36" name="Group 35">
            <a:extLst>
              <a:ext uri="{FF2B5EF4-FFF2-40B4-BE49-F238E27FC236}">
                <a16:creationId xmlns:a16="http://schemas.microsoft.com/office/drawing/2014/main" id="{D9BA2636-44D3-743E-AAB6-B9ECDC26D6D2}"/>
              </a:ext>
            </a:extLst>
          </p:cNvPr>
          <p:cNvGrpSpPr/>
          <p:nvPr/>
        </p:nvGrpSpPr>
        <p:grpSpPr>
          <a:xfrm rot="5400000">
            <a:off x="3384192" y="3069347"/>
            <a:ext cx="2381234" cy="504364"/>
            <a:chOff x="630000" y="2080801"/>
            <a:chExt cx="7097950" cy="487432"/>
          </a:xfrm>
        </p:grpSpPr>
        <p:sp>
          <p:nvSpPr>
            <p:cNvPr id="38" name="ee4pHeader1">
              <a:extLst>
                <a:ext uri="{FF2B5EF4-FFF2-40B4-BE49-F238E27FC236}">
                  <a16:creationId xmlns:a16="http://schemas.microsoft.com/office/drawing/2014/main" id="{4CD5F152-CE19-444E-B0D8-B6ABAAB7FB2B}"/>
                </a:ext>
              </a:extLst>
            </p:cNvPr>
            <p:cNvSpPr>
              <a:spLocks noChangeArrowheads="1"/>
            </p:cNvSpPr>
            <p:nvPr>
              <p:custDataLst>
                <p:tags r:id="rId2"/>
              </p:custDataLst>
            </p:nvPr>
          </p:nvSpPr>
          <p:spPr bwMode="gray">
            <a:xfrm>
              <a:off x="630000" y="2080801"/>
              <a:ext cx="1411829" cy="487432"/>
            </a:xfrm>
            <a:prstGeom prst="homePlate">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6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39" name="ee4pHeader2">
              <a:extLst>
                <a:ext uri="{FF2B5EF4-FFF2-40B4-BE49-F238E27FC236}">
                  <a16:creationId xmlns:a16="http://schemas.microsoft.com/office/drawing/2014/main" id="{087CF4F4-3325-9F3A-B863-661BA4648BBC}"/>
                </a:ext>
              </a:extLst>
            </p:cNvPr>
            <p:cNvSpPr>
              <a:spLocks noChangeArrowheads="1"/>
            </p:cNvSpPr>
            <p:nvPr>
              <p:custDataLst>
                <p:tags r:id="rId3"/>
              </p:custDataLst>
            </p:nvPr>
          </p:nvSpPr>
          <p:spPr bwMode="gray">
            <a:xfrm>
              <a:off x="2051531"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6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40" name="ee4pHeader3">
              <a:extLst>
                <a:ext uri="{FF2B5EF4-FFF2-40B4-BE49-F238E27FC236}">
                  <a16:creationId xmlns:a16="http://schemas.microsoft.com/office/drawing/2014/main" id="{901936C4-396C-FCC1-41A7-987597954E20}"/>
                </a:ext>
              </a:extLst>
            </p:cNvPr>
            <p:cNvSpPr>
              <a:spLocks noChangeArrowheads="1"/>
            </p:cNvSpPr>
            <p:nvPr>
              <p:custDataLst>
                <p:tags r:id="rId4"/>
              </p:custDataLst>
            </p:nvPr>
          </p:nvSpPr>
          <p:spPr bwMode="gray">
            <a:xfrm>
              <a:off x="3473061"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6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41" name="ee4pHeader4">
              <a:extLst>
                <a:ext uri="{FF2B5EF4-FFF2-40B4-BE49-F238E27FC236}">
                  <a16:creationId xmlns:a16="http://schemas.microsoft.com/office/drawing/2014/main" id="{64C7F716-2DC4-05D1-22E6-A3FE979771C1}"/>
                </a:ext>
              </a:extLst>
            </p:cNvPr>
            <p:cNvSpPr>
              <a:spLocks noChangeArrowheads="1"/>
            </p:cNvSpPr>
            <p:nvPr>
              <p:custDataLst>
                <p:tags r:id="rId5"/>
              </p:custDataLst>
            </p:nvPr>
          </p:nvSpPr>
          <p:spPr bwMode="gray">
            <a:xfrm>
              <a:off x="4894592"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6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sp>
          <p:nvSpPr>
            <p:cNvPr id="42" name="ee4pHeader5">
              <a:extLst>
                <a:ext uri="{FF2B5EF4-FFF2-40B4-BE49-F238E27FC236}">
                  <a16:creationId xmlns:a16="http://schemas.microsoft.com/office/drawing/2014/main" id="{FD4DE56B-E1B7-9993-0473-3DE4BC0F467A}"/>
                </a:ext>
              </a:extLst>
            </p:cNvPr>
            <p:cNvSpPr>
              <a:spLocks noChangeArrowheads="1"/>
            </p:cNvSpPr>
            <p:nvPr>
              <p:custDataLst>
                <p:tags r:id="rId6"/>
              </p:custDataLst>
            </p:nvPr>
          </p:nvSpPr>
          <p:spPr bwMode="gray">
            <a:xfrm>
              <a:off x="6316121" y="2080801"/>
              <a:ext cx="1411829" cy="487432"/>
            </a:xfrm>
            <a:prstGeom prst="chevron">
              <a:avLst>
                <a:gd name="adj" fmla="val 12004"/>
              </a:avLst>
            </a:prstGeom>
            <a:gradFill>
              <a:gsLst>
                <a:gs pos="100000">
                  <a:schemeClr val="accent2"/>
                </a:gs>
                <a:gs pos="0">
                  <a:schemeClr val="tx2"/>
                </a:gs>
                <a:gs pos="50000">
                  <a:schemeClr val="tx2"/>
                </a:gs>
                <a:gs pos="50000">
                  <a:schemeClr val="accent2"/>
                </a:gs>
              </a:gsLst>
              <a:lin ang="5400000" scaled="1"/>
            </a:gradFill>
            <a:ln w="38100" cap="rnd" algn="ctr">
              <a:noFill/>
              <a:round/>
              <a:headEnd/>
              <a:tailEnd/>
            </a:ln>
          </p:spPr>
          <p:txBody>
            <a:bodyPr lIns="0" tIns="0" rIns="0" bIns="0" anchor="ctr" anchorCtr="0"/>
            <a:lstStyle/>
            <a:p>
              <a:pPr marL="0" marR="0" lvl="0" indent="0" algn="ctr" defTabSz="685800" rtl="0" eaLnBrk="0" fontAlgn="auto" latinLnBrk="0" hangingPunct="0">
                <a:lnSpc>
                  <a:spcPct val="100000"/>
                </a:lnSpc>
                <a:spcBef>
                  <a:spcPts val="0"/>
                </a:spcBef>
                <a:spcAft>
                  <a:spcPts val="600"/>
                </a:spcAft>
                <a:buClrTx/>
                <a:buSzTx/>
                <a:buFontTx/>
                <a:buNone/>
                <a:tabLst/>
                <a:defRPr/>
              </a:pPr>
              <a:endParaRPr kumimoji="0" lang="en-US" sz="600" b="0" i="0" u="none" strike="noStrike" kern="1200" cap="none" spc="0" normalizeH="0" baseline="0" noProof="0" dirty="0">
                <a:ln>
                  <a:noFill/>
                </a:ln>
                <a:solidFill>
                  <a:prstClr val="white"/>
                </a:solidFill>
                <a:effectLst/>
                <a:uLnTx/>
                <a:uFillTx/>
                <a:ea typeface="+mn-ea"/>
                <a:cs typeface="+mn-cs"/>
                <a:sym typeface="Trebuchet MS" panose="020B0603020202020204" pitchFamily="34" charset="0"/>
              </a:endParaRPr>
            </a:p>
          </p:txBody>
        </p:sp>
      </p:grpSp>
      <p:cxnSp>
        <p:nvCxnSpPr>
          <p:cNvPr id="43" name="Straight Connector 42">
            <a:extLst>
              <a:ext uri="{FF2B5EF4-FFF2-40B4-BE49-F238E27FC236}">
                <a16:creationId xmlns:a16="http://schemas.microsoft.com/office/drawing/2014/main" id="{4C127A8D-740E-D40D-EDDD-33B0E46990C6}"/>
              </a:ext>
            </a:extLst>
          </p:cNvPr>
          <p:cNvCxnSpPr>
            <a:cxnSpLocks/>
            <a:endCxn id="42" idx="3"/>
          </p:cNvCxnSpPr>
          <p:nvPr/>
        </p:nvCxnSpPr>
        <p:spPr>
          <a:xfrm flipV="1">
            <a:off x="4572000" y="4512146"/>
            <a:ext cx="2809" cy="234654"/>
          </a:xfrm>
          <a:prstGeom prst="line">
            <a:avLst/>
          </a:prstGeom>
          <a:ln w="9525" cap="rnd" cmpd="sng" algn="ctr">
            <a:solidFill>
              <a:srgbClr val="2475A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7CB5CE6B-7EA0-8964-75FD-C4AD6C94FA1A}"/>
              </a:ext>
            </a:extLst>
          </p:cNvPr>
          <p:cNvSpPr txBox="1"/>
          <p:nvPr/>
        </p:nvSpPr>
        <p:spPr>
          <a:xfrm>
            <a:off x="4303574" y="2163457"/>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ea typeface="+mn-ea"/>
                <a:cs typeface="+mn-cs"/>
              </a:rPr>
              <a:t>Materials</a:t>
            </a:r>
          </a:p>
        </p:txBody>
      </p:sp>
      <p:sp>
        <p:nvSpPr>
          <p:cNvPr id="52" name="TextBox 51">
            <a:extLst>
              <a:ext uri="{FF2B5EF4-FFF2-40B4-BE49-F238E27FC236}">
                <a16:creationId xmlns:a16="http://schemas.microsoft.com/office/drawing/2014/main" id="{190BA04C-2738-9220-ECB3-3AF0777FA625}"/>
              </a:ext>
            </a:extLst>
          </p:cNvPr>
          <p:cNvSpPr txBox="1"/>
          <p:nvPr/>
        </p:nvSpPr>
        <p:spPr>
          <a:xfrm>
            <a:off x="4310358" y="2659069"/>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ea typeface="+mn-ea"/>
                <a:cs typeface="+mn-cs"/>
              </a:rPr>
              <a:t>Equipment</a:t>
            </a:r>
          </a:p>
        </p:txBody>
      </p:sp>
      <p:sp>
        <p:nvSpPr>
          <p:cNvPr id="53" name="TextBox 52">
            <a:extLst>
              <a:ext uri="{FF2B5EF4-FFF2-40B4-BE49-F238E27FC236}">
                <a16:creationId xmlns:a16="http://schemas.microsoft.com/office/drawing/2014/main" id="{8881D24F-CCB1-7F85-12BA-3293E4006521}"/>
              </a:ext>
            </a:extLst>
          </p:cNvPr>
          <p:cNvSpPr txBox="1"/>
          <p:nvPr/>
        </p:nvSpPr>
        <p:spPr>
          <a:xfrm>
            <a:off x="4310358" y="3154681"/>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ea typeface="+mn-ea"/>
                <a:cs typeface="+mn-cs"/>
              </a:rPr>
              <a:t>Design</a:t>
            </a:r>
          </a:p>
        </p:txBody>
      </p:sp>
      <p:sp>
        <p:nvSpPr>
          <p:cNvPr id="60" name="TextBox 59">
            <a:extLst>
              <a:ext uri="{FF2B5EF4-FFF2-40B4-BE49-F238E27FC236}">
                <a16:creationId xmlns:a16="http://schemas.microsoft.com/office/drawing/2014/main" id="{A0CA23D4-6C69-90C0-D254-D3C30B136BE1}"/>
              </a:ext>
            </a:extLst>
          </p:cNvPr>
          <p:cNvSpPr txBox="1"/>
          <p:nvPr/>
        </p:nvSpPr>
        <p:spPr>
          <a:xfrm>
            <a:off x="4313073" y="3618184"/>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ea typeface="+mn-ea"/>
                <a:cs typeface="+mn-cs"/>
              </a:rPr>
              <a:t>Fabrication</a:t>
            </a:r>
          </a:p>
        </p:txBody>
      </p:sp>
      <p:sp>
        <p:nvSpPr>
          <p:cNvPr id="61" name="TextBox 60">
            <a:extLst>
              <a:ext uri="{FF2B5EF4-FFF2-40B4-BE49-F238E27FC236}">
                <a16:creationId xmlns:a16="http://schemas.microsoft.com/office/drawing/2014/main" id="{8AB02B59-CFBE-FD37-C07F-D35F51518DFB}"/>
              </a:ext>
            </a:extLst>
          </p:cNvPr>
          <p:cNvSpPr txBox="1"/>
          <p:nvPr/>
        </p:nvSpPr>
        <p:spPr>
          <a:xfrm>
            <a:off x="4311929" y="4099238"/>
            <a:ext cx="538150"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500" b="0" i="0" u="none" strike="noStrike" kern="1200" cap="none" spc="0" normalizeH="0" baseline="0" noProof="0" dirty="0">
                <a:ln>
                  <a:noFill/>
                </a:ln>
                <a:solidFill>
                  <a:srgbClr val="FFFFFF"/>
                </a:solidFill>
                <a:effectLst/>
                <a:uLnTx/>
                <a:uFillTx/>
                <a:ea typeface="+mn-ea"/>
                <a:cs typeface="+mn-cs"/>
              </a:rPr>
              <a:t>Assembly</a:t>
            </a:r>
          </a:p>
        </p:txBody>
      </p:sp>
      <p:cxnSp>
        <p:nvCxnSpPr>
          <p:cNvPr id="92" name="Straight Connector 91">
            <a:extLst>
              <a:ext uri="{FF2B5EF4-FFF2-40B4-BE49-F238E27FC236}">
                <a16:creationId xmlns:a16="http://schemas.microsoft.com/office/drawing/2014/main" id="{4475EE13-FC2E-C42C-DC85-020FD89B44D7}"/>
              </a:ext>
            </a:extLst>
          </p:cNvPr>
          <p:cNvCxnSpPr>
            <a:cxnSpLocks/>
          </p:cNvCxnSpPr>
          <p:nvPr/>
        </p:nvCxnSpPr>
        <p:spPr>
          <a:xfrm flipH="1" flipV="1">
            <a:off x="6138147" y="3107641"/>
            <a:ext cx="2743200" cy="0"/>
          </a:xfrm>
          <a:prstGeom prst="line">
            <a:avLst/>
          </a:prstGeom>
          <a:ln w="9525" cap="rnd" cmpd="sng" algn="ctr">
            <a:solidFill>
              <a:srgbClr val="2475AF"/>
            </a:solidFill>
            <a:prstDash val="solid"/>
            <a:round/>
            <a:headEnd type="none" w="med" len="med"/>
            <a:tailEnd type="oval" w="med" len="med"/>
          </a:ln>
        </p:spPr>
        <p:style>
          <a:lnRef idx="1">
            <a:schemeClr val="accent1"/>
          </a:lnRef>
          <a:fillRef idx="0">
            <a:schemeClr val="accent1"/>
          </a:fillRef>
          <a:effectRef idx="0">
            <a:schemeClr val="accent1"/>
          </a:effectRef>
          <a:fontRef idx="minor">
            <a:schemeClr val="tx1"/>
          </a:fontRef>
        </p:style>
      </p:cxnSp>
      <p:sp>
        <p:nvSpPr>
          <p:cNvPr id="100" name="TextBox 99">
            <a:extLst>
              <a:ext uri="{FF2B5EF4-FFF2-40B4-BE49-F238E27FC236}">
                <a16:creationId xmlns:a16="http://schemas.microsoft.com/office/drawing/2014/main" id="{9200D230-9AE7-3B25-F673-018529DED1C3}"/>
              </a:ext>
            </a:extLst>
          </p:cNvPr>
          <p:cNvSpPr txBox="1"/>
          <p:nvPr/>
        </p:nvSpPr>
        <p:spPr>
          <a:xfrm>
            <a:off x="6461715" y="4402738"/>
            <a:ext cx="2418655"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EU policy and funding influence</a:t>
            </a:r>
          </a:p>
        </p:txBody>
      </p:sp>
      <p:sp>
        <p:nvSpPr>
          <p:cNvPr id="110" name="TextBox 109">
            <a:extLst>
              <a:ext uri="{FF2B5EF4-FFF2-40B4-BE49-F238E27FC236}">
                <a16:creationId xmlns:a16="http://schemas.microsoft.com/office/drawing/2014/main" id="{2BD73EDB-B453-03E0-D43A-81CBD5A900B8}"/>
              </a:ext>
            </a:extLst>
          </p:cNvPr>
          <p:cNvSpPr txBox="1"/>
          <p:nvPr/>
        </p:nvSpPr>
        <p:spPr>
          <a:xfrm>
            <a:off x="6461715" y="3848174"/>
            <a:ext cx="2418655"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Effective industry collaboration structure</a:t>
            </a:r>
          </a:p>
        </p:txBody>
      </p:sp>
      <p:sp>
        <p:nvSpPr>
          <p:cNvPr id="111" name="TextBox 110">
            <a:extLst>
              <a:ext uri="{FF2B5EF4-FFF2-40B4-BE49-F238E27FC236}">
                <a16:creationId xmlns:a16="http://schemas.microsoft.com/office/drawing/2014/main" id="{20701FEE-6451-D713-061D-DDF6472A0D87}"/>
              </a:ext>
            </a:extLst>
          </p:cNvPr>
          <p:cNvSpPr txBox="1"/>
          <p:nvPr/>
        </p:nvSpPr>
        <p:spPr>
          <a:xfrm>
            <a:off x="6257999" y="4125457"/>
            <a:ext cx="2622371"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Geopolitical monitoring and coordinated response</a:t>
            </a:r>
          </a:p>
        </p:txBody>
      </p:sp>
      <p:sp>
        <p:nvSpPr>
          <p:cNvPr id="112" name="Arrow: Chevron 111">
            <a:extLst>
              <a:ext uri="{FF2B5EF4-FFF2-40B4-BE49-F238E27FC236}">
                <a16:creationId xmlns:a16="http://schemas.microsoft.com/office/drawing/2014/main" id="{417E6CB9-79DB-F5DB-6EF7-C53256670320}"/>
              </a:ext>
            </a:extLst>
          </p:cNvPr>
          <p:cNvSpPr/>
          <p:nvPr/>
        </p:nvSpPr>
        <p:spPr>
          <a:xfrm>
            <a:off x="6409617" y="3135262"/>
            <a:ext cx="2274329" cy="292380"/>
          </a:xfrm>
          <a:prstGeom prst="chevron">
            <a:avLst>
              <a:gd name="adj" fmla="val 12004"/>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0B0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F78B2"/>
                </a:solidFill>
                <a:effectLst/>
                <a:uLnTx/>
                <a:uFillTx/>
                <a:ea typeface="+mn-ea"/>
                <a:cs typeface="+mn-cs"/>
              </a:rPr>
              <a:t>Industry-public collaboration</a:t>
            </a:r>
          </a:p>
        </p:txBody>
      </p:sp>
      <p:sp>
        <p:nvSpPr>
          <p:cNvPr id="113" name="Arrow: Chevron 82">
            <a:extLst>
              <a:ext uri="{FF2B5EF4-FFF2-40B4-BE49-F238E27FC236}">
                <a16:creationId xmlns:a16="http://schemas.microsoft.com/office/drawing/2014/main" id="{57F38203-948F-6447-0AF0-2E33630B049A}"/>
              </a:ext>
            </a:extLst>
          </p:cNvPr>
          <p:cNvSpPr/>
          <p:nvPr/>
        </p:nvSpPr>
        <p:spPr>
          <a:xfrm>
            <a:off x="6409617" y="1171750"/>
            <a:ext cx="2274329" cy="292380"/>
          </a:xfrm>
          <a:prstGeom prst="chevron">
            <a:avLst>
              <a:gd name="adj" fmla="val 12004"/>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0B0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F78B2"/>
                </a:solidFill>
                <a:effectLst/>
                <a:uLnTx/>
                <a:uFillTx/>
                <a:ea typeface="+mn-ea"/>
                <a:cs typeface="+mn-cs"/>
              </a:rPr>
              <a:t>Workforce growth</a:t>
            </a:r>
          </a:p>
        </p:txBody>
      </p:sp>
      <p:sp>
        <p:nvSpPr>
          <p:cNvPr id="119" name="TextBox 118">
            <a:extLst>
              <a:ext uri="{FF2B5EF4-FFF2-40B4-BE49-F238E27FC236}">
                <a16:creationId xmlns:a16="http://schemas.microsoft.com/office/drawing/2014/main" id="{C5F56155-12FC-0238-8835-307532CC6AF2}"/>
              </a:ext>
            </a:extLst>
          </p:cNvPr>
          <p:cNvSpPr txBox="1"/>
          <p:nvPr/>
        </p:nvSpPr>
        <p:spPr>
          <a:xfrm>
            <a:off x="6461715" y="1802636"/>
            <a:ext cx="2418655"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Investments in education quantity and quality</a:t>
            </a:r>
          </a:p>
        </p:txBody>
      </p:sp>
      <p:sp>
        <p:nvSpPr>
          <p:cNvPr id="120" name="TextBox 119">
            <a:extLst>
              <a:ext uri="{FF2B5EF4-FFF2-40B4-BE49-F238E27FC236}">
                <a16:creationId xmlns:a16="http://schemas.microsoft.com/office/drawing/2014/main" id="{E90F1CDA-D0E0-EF23-1CEC-2F65BE4759E2}"/>
              </a:ext>
            </a:extLst>
          </p:cNvPr>
          <p:cNvSpPr txBox="1"/>
          <p:nvPr/>
        </p:nvSpPr>
        <p:spPr>
          <a:xfrm>
            <a:off x="6461715" y="2060669"/>
            <a:ext cx="2418655"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Funding mechanisms and tenure tracks</a:t>
            </a:r>
          </a:p>
        </p:txBody>
      </p:sp>
      <p:sp>
        <p:nvSpPr>
          <p:cNvPr id="121" name="TextBox 120">
            <a:extLst>
              <a:ext uri="{FF2B5EF4-FFF2-40B4-BE49-F238E27FC236}">
                <a16:creationId xmlns:a16="http://schemas.microsoft.com/office/drawing/2014/main" id="{8E269002-475D-7C8B-5C32-C7D495A1C67B}"/>
              </a:ext>
            </a:extLst>
          </p:cNvPr>
          <p:cNvSpPr txBox="1"/>
          <p:nvPr/>
        </p:nvSpPr>
        <p:spPr>
          <a:xfrm>
            <a:off x="6377851" y="2318702"/>
            <a:ext cx="2502519"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Scalable programs for upskilling and reskilling</a:t>
            </a:r>
          </a:p>
        </p:txBody>
      </p:sp>
      <p:sp>
        <p:nvSpPr>
          <p:cNvPr id="122" name="TextBox 121">
            <a:extLst>
              <a:ext uri="{FF2B5EF4-FFF2-40B4-BE49-F238E27FC236}">
                <a16:creationId xmlns:a16="http://schemas.microsoft.com/office/drawing/2014/main" id="{A1B9F99F-397A-0A87-DC8E-C35A7294DD22}"/>
              </a:ext>
            </a:extLst>
          </p:cNvPr>
          <p:cNvSpPr txBox="1"/>
          <p:nvPr/>
        </p:nvSpPr>
        <p:spPr>
          <a:xfrm>
            <a:off x="6461715" y="2576735"/>
            <a:ext cx="2418655"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Campaigns to promote industry attractiveness</a:t>
            </a:r>
          </a:p>
        </p:txBody>
      </p:sp>
      <p:sp>
        <p:nvSpPr>
          <p:cNvPr id="123" name="TextBox 122">
            <a:extLst>
              <a:ext uri="{FF2B5EF4-FFF2-40B4-BE49-F238E27FC236}">
                <a16:creationId xmlns:a16="http://schemas.microsoft.com/office/drawing/2014/main" id="{64CEE406-A2C4-DADC-25B6-A90A1CBD6889}"/>
              </a:ext>
            </a:extLst>
          </p:cNvPr>
          <p:cNvSpPr txBox="1"/>
          <p:nvPr/>
        </p:nvSpPr>
        <p:spPr>
          <a:xfrm>
            <a:off x="6461715" y="2834768"/>
            <a:ext cx="2418655"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tIns="91440" rIns="45720" bIns="9144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Coordinated international talent pipelines </a:t>
            </a:r>
          </a:p>
        </p:txBody>
      </p:sp>
      <p:sp>
        <p:nvSpPr>
          <p:cNvPr id="124" name="Arrow: Chevron 135">
            <a:extLst>
              <a:ext uri="{FF2B5EF4-FFF2-40B4-BE49-F238E27FC236}">
                <a16:creationId xmlns:a16="http://schemas.microsoft.com/office/drawing/2014/main" id="{3999A56E-E4CF-70C1-11D9-CB0B5CC12FA1}"/>
              </a:ext>
            </a:extLst>
          </p:cNvPr>
          <p:cNvSpPr/>
          <p:nvPr/>
        </p:nvSpPr>
        <p:spPr>
          <a:xfrm>
            <a:off x="6461715" y="1461934"/>
            <a:ext cx="2418655" cy="341562"/>
          </a:xfrm>
          <a:prstGeom prst="chevron">
            <a:avLst>
              <a:gd name="adj" fmla="val 12004"/>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0B0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Alleviate industry talent gap by educating and attracting 15.000 new employees  </a:t>
            </a:r>
          </a:p>
        </p:txBody>
      </p:sp>
      <p:sp>
        <p:nvSpPr>
          <p:cNvPr id="125" name="Oval 20">
            <a:extLst>
              <a:ext uri="{FF2B5EF4-FFF2-40B4-BE49-F238E27FC236}">
                <a16:creationId xmlns:a16="http://schemas.microsoft.com/office/drawing/2014/main" id="{FE328ACB-E82E-2430-892F-CE2F83A2BE59}"/>
              </a:ext>
            </a:extLst>
          </p:cNvPr>
          <p:cNvSpPr>
            <a:spLocks noChangeAspect="1" noChangeArrowheads="1"/>
          </p:cNvSpPr>
          <p:nvPr/>
        </p:nvSpPr>
        <p:spPr bwMode="auto">
          <a:xfrm>
            <a:off x="8683947" y="1219730"/>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2</a:t>
            </a:r>
          </a:p>
        </p:txBody>
      </p:sp>
      <p:sp>
        <p:nvSpPr>
          <p:cNvPr id="127" name="Oval 20">
            <a:extLst>
              <a:ext uri="{FF2B5EF4-FFF2-40B4-BE49-F238E27FC236}">
                <a16:creationId xmlns:a16="http://schemas.microsoft.com/office/drawing/2014/main" id="{63B436AC-567D-440E-892C-AE3E224D88D0}"/>
              </a:ext>
            </a:extLst>
          </p:cNvPr>
          <p:cNvSpPr>
            <a:spLocks noChangeAspect="1" noChangeArrowheads="1"/>
          </p:cNvSpPr>
          <p:nvPr/>
        </p:nvSpPr>
        <p:spPr bwMode="auto">
          <a:xfrm>
            <a:off x="8683947" y="3183241"/>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5</a:t>
            </a:r>
          </a:p>
        </p:txBody>
      </p:sp>
      <p:sp>
        <p:nvSpPr>
          <p:cNvPr id="128" name="Arrow: Chevron 198">
            <a:extLst>
              <a:ext uri="{FF2B5EF4-FFF2-40B4-BE49-F238E27FC236}">
                <a16:creationId xmlns:a16="http://schemas.microsoft.com/office/drawing/2014/main" id="{80BF7EDF-13C2-0D71-D141-E9C81F3347DB}"/>
              </a:ext>
            </a:extLst>
          </p:cNvPr>
          <p:cNvSpPr/>
          <p:nvPr/>
        </p:nvSpPr>
        <p:spPr>
          <a:xfrm>
            <a:off x="6409618" y="3455417"/>
            <a:ext cx="2470752" cy="349594"/>
          </a:xfrm>
          <a:prstGeom prst="chevron">
            <a:avLst>
              <a:gd name="adj" fmla="val 12004"/>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40B0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91440" rIns="0" bIns="91440" numCol="1" spcCol="0" rtlCol="0" fromWordArt="0" anchor="ctr" anchorCtr="0" forceAA="0" compatLnSpc="1">
            <a:prstTxWarp prst="textNoShape">
              <a:avLst/>
            </a:prstTxWarp>
            <a:noAutofit/>
          </a:bodyPr>
          <a:lstStyle/>
          <a:p>
            <a:pPr marL="0" marR="0" lvl="0" indent="0" algn="r"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Enable long-term collaboration among industry, academia, and government</a:t>
            </a:r>
          </a:p>
        </p:txBody>
      </p:sp>
      <p:sp>
        <p:nvSpPr>
          <p:cNvPr id="129" name="Arrow: Chevron 42">
            <a:extLst>
              <a:ext uri="{FF2B5EF4-FFF2-40B4-BE49-F238E27FC236}">
                <a16:creationId xmlns:a16="http://schemas.microsoft.com/office/drawing/2014/main" id="{DDD4A595-2F2D-756B-2951-BF99D7D46B70}"/>
              </a:ext>
            </a:extLst>
          </p:cNvPr>
          <p:cNvSpPr/>
          <p:nvPr/>
        </p:nvSpPr>
        <p:spPr>
          <a:xfrm>
            <a:off x="603399" y="1171750"/>
            <a:ext cx="2348297" cy="292381"/>
          </a:xfrm>
          <a:prstGeom prst="chevron">
            <a:avLst>
              <a:gd name="adj" fmla="val 0"/>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80CA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0" bIns="9144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F78B2"/>
                </a:solidFill>
                <a:effectLst/>
                <a:uLnTx/>
                <a:uFillTx/>
                <a:ea typeface="+mn-ea"/>
                <a:cs typeface="+mn-cs"/>
              </a:rPr>
              <a:t>Competitive R&amp;D ecosystem</a:t>
            </a:r>
          </a:p>
        </p:txBody>
      </p:sp>
      <p:sp>
        <p:nvSpPr>
          <p:cNvPr id="130" name="Arrow: Chevron 51">
            <a:extLst>
              <a:ext uri="{FF2B5EF4-FFF2-40B4-BE49-F238E27FC236}">
                <a16:creationId xmlns:a16="http://schemas.microsoft.com/office/drawing/2014/main" id="{3E4D0C4E-864C-2326-9F1A-509C6F39C156}"/>
              </a:ext>
            </a:extLst>
          </p:cNvPr>
          <p:cNvSpPr/>
          <p:nvPr/>
        </p:nvSpPr>
        <p:spPr>
          <a:xfrm>
            <a:off x="593232" y="2931023"/>
            <a:ext cx="2162044" cy="292780"/>
          </a:xfrm>
          <a:prstGeom prst="chevron">
            <a:avLst>
              <a:gd name="adj" fmla="val 0"/>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38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0" bIns="9144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F78B2"/>
                </a:solidFill>
                <a:effectLst/>
                <a:uLnTx/>
                <a:uFillTx/>
                <a:ea typeface="+mn-ea"/>
                <a:cs typeface="+mn-cs"/>
              </a:rPr>
              <a:t>Investment attraction</a:t>
            </a:r>
          </a:p>
        </p:txBody>
      </p:sp>
      <p:sp>
        <p:nvSpPr>
          <p:cNvPr id="133" name="TextBox 132">
            <a:extLst>
              <a:ext uri="{FF2B5EF4-FFF2-40B4-BE49-F238E27FC236}">
                <a16:creationId xmlns:a16="http://schemas.microsoft.com/office/drawing/2014/main" id="{D8272000-1693-D496-3B77-57E751FA357A}"/>
              </a:ext>
            </a:extLst>
          </p:cNvPr>
          <p:cNvSpPr txBox="1"/>
          <p:nvPr/>
        </p:nvSpPr>
        <p:spPr>
          <a:xfrm>
            <a:off x="406978" y="1992447"/>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Joint R&amp;D funding of €5B over ten years</a:t>
            </a:r>
          </a:p>
        </p:txBody>
      </p:sp>
      <p:sp>
        <p:nvSpPr>
          <p:cNvPr id="134" name="TextBox 133">
            <a:extLst>
              <a:ext uri="{FF2B5EF4-FFF2-40B4-BE49-F238E27FC236}">
                <a16:creationId xmlns:a16="http://schemas.microsoft.com/office/drawing/2014/main" id="{36E16004-558F-CDD1-0EB4-CDDBA065CB71}"/>
              </a:ext>
            </a:extLst>
          </p:cNvPr>
          <p:cNvSpPr txBox="1"/>
          <p:nvPr/>
        </p:nvSpPr>
        <p:spPr>
          <a:xfrm>
            <a:off x="406978" y="2182258"/>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Coordinated EU funding tracking</a:t>
            </a:r>
          </a:p>
        </p:txBody>
      </p:sp>
      <p:sp>
        <p:nvSpPr>
          <p:cNvPr id="135" name="TextBox 134">
            <a:extLst>
              <a:ext uri="{FF2B5EF4-FFF2-40B4-BE49-F238E27FC236}">
                <a16:creationId xmlns:a16="http://schemas.microsoft.com/office/drawing/2014/main" id="{247AACC6-D0BB-36C5-3BC7-F3AA7ED59137}"/>
              </a:ext>
            </a:extLst>
          </p:cNvPr>
          <p:cNvSpPr txBox="1"/>
          <p:nvPr/>
        </p:nvSpPr>
        <p:spPr>
          <a:xfrm>
            <a:off x="406978" y="1802636"/>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Pilot lines operating model</a:t>
            </a:r>
          </a:p>
        </p:txBody>
      </p:sp>
      <p:sp>
        <p:nvSpPr>
          <p:cNvPr id="136" name="TextBox 135">
            <a:extLst>
              <a:ext uri="{FF2B5EF4-FFF2-40B4-BE49-F238E27FC236}">
                <a16:creationId xmlns:a16="http://schemas.microsoft.com/office/drawing/2014/main" id="{1818F301-6020-0D03-8171-5FB43D636C32}"/>
              </a:ext>
            </a:extLst>
          </p:cNvPr>
          <p:cNvSpPr txBox="1"/>
          <p:nvPr/>
        </p:nvSpPr>
        <p:spPr>
          <a:xfrm>
            <a:off x="406978" y="2561879"/>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Closer non-EU bilateral relationships</a:t>
            </a:r>
          </a:p>
        </p:txBody>
      </p:sp>
      <p:sp>
        <p:nvSpPr>
          <p:cNvPr id="137" name="TextBox 136">
            <a:extLst>
              <a:ext uri="{FF2B5EF4-FFF2-40B4-BE49-F238E27FC236}">
                <a16:creationId xmlns:a16="http://schemas.microsoft.com/office/drawing/2014/main" id="{C5A98961-6928-DBED-0D56-87D1E64528B5}"/>
              </a:ext>
            </a:extLst>
          </p:cNvPr>
          <p:cNvSpPr txBox="1"/>
          <p:nvPr/>
        </p:nvSpPr>
        <p:spPr>
          <a:xfrm>
            <a:off x="406978" y="2372069"/>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Multi-year flagship research program </a:t>
            </a:r>
          </a:p>
        </p:txBody>
      </p:sp>
      <p:sp>
        <p:nvSpPr>
          <p:cNvPr id="138" name="TextBox 137">
            <a:extLst>
              <a:ext uri="{FF2B5EF4-FFF2-40B4-BE49-F238E27FC236}">
                <a16:creationId xmlns:a16="http://schemas.microsoft.com/office/drawing/2014/main" id="{F4218A5D-00C2-151C-BC63-E5969BC9AE99}"/>
              </a:ext>
            </a:extLst>
          </p:cNvPr>
          <p:cNvSpPr txBox="1"/>
          <p:nvPr/>
        </p:nvSpPr>
        <p:spPr>
          <a:xfrm>
            <a:off x="406978" y="3570891"/>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Promotion of talent and startup clusters</a:t>
            </a:r>
          </a:p>
        </p:txBody>
      </p:sp>
      <p:sp>
        <p:nvSpPr>
          <p:cNvPr id="139" name="TextBox 138">
            <a:extLst>
              <a:ext uri="{FF2B5EF4-FFF2-40B4-BE49-F238E27FC236}">
                <a16:creationId xmlns:a16="http://schemas.microsoft.com/office/drawing/2014/main" id="{2B64FEE5-8F87-E1BA-1FF2-FFBA0C3AE369}"/>
              </a:ext>
            </a:extLst>
          </p:cNvPr>
          <p:cNvSpPr txBox="1"/>
          <p:nvPr/>
        </p:nvSpPr>
        <p:spPr>
          <a:xfrm>
            <a:off x="406978" y="4125457"/>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Tx/>
              <a:buNone/>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Broad range of public instruments</a:t>
            </a:r>
          </a:p>
        </p:txBody>
      </p:sp>
      <p:sp>
        <p:nvSpPr>
          <p:cNvPr id="140" name="TextBox 139">
            <a:extLst>
              <a:ext uri="{FF2B5EF4-FFF2-40B4-BE49-F238E27FC236}">
                <a16:creationId xmlns:a16="http://schemas.microsoft.com/office/drawing/2014/main" id="{02D04E89-9FDF-E71F-D696-61112336DD3E}"/>
              </a:ext>
            </a:extLst>
          </p:cNvPr>
          <p:cNvSpPr txBox="1"/>
          <p:nvPr/>
        </p:nvSpPr>
        <p:spPr>
          <a:xfrm>
            <a:off x="406978" y="3848174"/>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6G EU Design Center of Excellence</a:t>
            </a:r>
          </a:p>
        </p:txBody>
      </p:sp>
      <p:sp>
        <p:nvSpPr>
          <p:cNvPr id="141" name="TextBox 140">
            <a:extLst>
              <a:ext uri="{FF2B5EF4-FFF2-40B4-BE49-F238E27FC236}">
                <a16:creationId xmlns:a16="http://schemas.microsoft.com/office/drawing/2014/main" id="{6CD6FF94-EE17-9654-8775-BF7D2F20C7F2}"/>
              </a:ext>
            </a:extLst>
          </p:cNvPr>
          <p:cNvSpPr txBox="1"/>
          <p:nvPr/>
        </p:nvSpPr>
        <p:spPr>
          <a:xfrm>
            <a:off x="406978" y="4402738"/>
            <a:ext cx="2348297" cy="29238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45720" tIns="91440" rIns="0" bIns="91440" anchor="ctr">
            <a:spAutoFit/>
          </a:bodyPr>
          <a:lstStyle/>
          <a:p>
            <a:pPr marL="0" marR="0" lvl="0" indent="0" algn="l" defTabSz="914400" rtl="0" eaLnBrk="1" fontAlgn="auto" latinLnBrk="0" hangingPunct="1">
              <a:lnSpc>
                <a:spcPct val="100000"/>
              </a:lnSpc>
              <a:spcBef>
                <a:spcPts val="0"/>
              </a:spcBef>
              <a:spcAft>
                <a:spcPts val="0"/>
              </a:spcAft>
              <a:buClrTx/>
              <a:buSzTx/>
              <a:buFont typeface="Trebuchet MS" panose="020B0603020202020204" pitchFamily="34" charset="0"/>
              <a:buChar char="​"/>
              <a:tabLst>
                <a:tab pos="457200" algn="l"/>
              </a:tabLst>
              <a:defRPr/>
            </a:pPr>
            <a:r>
              <a:rPr kumimoji="0" lang="en-US" sz="700" b="0" i="0" u="none" strike="noStrike" kern="1200" cap="none" spc="0" normalizeH="0" baseline="0" noProof="0" dirty="0">
                <a:ln>
                  <a:noFill/>
                </a:ln>
                <a:solidFill>
                  <a:srgbClr val="000000"/>
                </a:solidFill>
                <a:effectLst/>
                <a:uLnTx/>
                <a:uFillTx/>
                <a:ea typeface="Calibri" panose="020F0502020204030204" pitchFamily="34" charset="0"/>
                <a:cs typeface="Times New Roman" panose="02020603050405020304" pitchFamily="18" charset="0"/>
              </a:rPr>
              <a:t>Public-private collaboration</a:t>
            </a:r>
          </a:p>
        </p:txBody>
      </p:sp>
      <p:cxnSp>
        <p:nvCxnSpPr>
          <p:cNvPr id="142" name="Straight Connector 141">
            <a:extLst>
              <a:ext uri="{FF2B5EF4-FFF2-40B4-BE49-F238E27FC236}">
                <a16:creationId xmlns:a16="http://schemas.microsoft.com/office/drawing/2014/main" id="{C2531CC9-F570-7D19-1827-CCD1634F5168}"/>
              </a:ext>
            </a:extLst>
          </p:cNvPr>
          <p:cNvCxnSpPr>
            <a:cxnSpLocks/>
          </p:cNvCxnSpPr>
          <p:nvPr/>
        </p:nvCxnSpPr>
        <p:spPr>
          <a:xfrm flipH="1">
            <a:off x="406978" y="2893164"/>
            <a:ext cx="2615025" cy="0"/>
          </a:xfrm>
          <a:prstGeom prst="line">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43" name="Arrow: Chevron 133">
            <a:extLst>
              <a:ext uri="{FF2B5EF4-FFF2-40B4-BE49-F238E27FC236}">
                <a16:creationId xmlns:a16="http://schemas.microsoft.com/office/drawing/2014/main" id="{788FFB69-342C-D657-6412-36EBF38B154A}"/>
              </a:ext>
            </a:extLst>
          </p:cNvPr>
          <p:cNvSpPr/>
          <p:nvPr/>
        </p:nvSpPr>
        <p:spPr>
          <a:xfrm>
            <a:off x="406978" y="1571160"/>
            <a:ext cx="2348297" cy="123111"/>
          </a:xfrm>
          <a:prstGeom prst="chevron">
            <a:avLst>
              <a:gd name="adj" fmla="val 0"/>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80CA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0" bIns="9144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Increase R&amp;D investments, international collaborations and R&amp;D infrastructure</a:t>
            </a:r>
          </a:p>
        </p:txBody>
      </p:sp>
      <p:sp>
        <p:nvSpPr>
          <p:cNvPr id="144" name="Oval 20">
            <a:extLst>
              <a:ext uri="{FF2B5EF4-FFF2-40B4-BE49-F238E27FC236}">
                <a16:creationId xmlns:a16="http://schemas.microsoft.com/office/drawing/2014/main" id="{4BE331E4-0EFD-5289-4887-565E5C63ECE1}"/>
              </a:ext>
            </a:extLst>
          </p:cNvPr>
          <p:cNvSpPr>
            <a:spLocks noChangeAspect="1" noChangeArrowheads="1"/>
          </p:cNvSpPr>
          <p:nvPr/>
        </p:nvSpPr>
        <p:spPr bwMode="auto">
          <a:xfrm>
            <a:off x="406978" y="1219730"/>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1</a:t>
            </a:r>
          </a:p>
        </p:txBody>
      </p:sp>
      <p:sp>
        <p:nvSpPr>
          <p:cNvPr id="145" name="Oval 20">
            <a:extLst>
              <a:ext uri="{FF2B5EF4-FFF2-40B4-BE49-F238E27FC236}">
                <a16:creationId xmlns:a16="http://schemas.microsoft.com/office/drawing/2014/main" id="{40BCB2C7-57DB-6C29-88F9-6284F4573FA0}"/>
              </a:ext>
            </a:extLst>
          </p:cNvPr>
          <p:cNvSpPr>
            <a:spLocks noChangeAspect="1" noChangeArrowheads="1"/>
          </p:cNvSpPr>
          <p:nvPr/>
        </p:nvSpPr>
        <p:spPr bwMode="auto">
          <a:xfrm>
            <a:off x="406978" y="2979202"/>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solidFill>
                  <a:prstClr val="white"/>
                </a:solidFill>
                <a:effectLst/>
                <a:uLnTx/>
                <a:uFillTx/>
                <a:ea typeface="+mn-ea"/>
                <a:cs typeface="+mn-cs"/>
              </a:rPr>
              <a:t>3/4</a:t>
            </a:r>
          </a:p>
        </p:txBody>
      </p:sp>
      <p:sp>
        <p:nvSpPr>
          <p:cNvPr id="146" name="Arrow: Chevron 197">
            <a:extLst>
              <a:ext uri="{FF2B5EF4-FFF2-40B4-BE49-F238E27FC236}">
                <a16:creationId xmlns:a16="http://schemas.microsoft.com/office/drawing/2014/main" id="{6EF3FD11-9E16-01E6-2163-A525AD38778A}"/>
              </a:ext>
            </a:extLst>
          </p:cNvPr>
          <p:cNvSpPr/>
          <p:nvPr/>
        </p:nvSpPr>
        <p:spPr>
          <a:xfrm>
            <a:off x="406978" y="3221150"/>
            <a:ext cx="2348297" cy="349594"/>
          </a:xfrm>
          <a:prstGeom prst="chevron">
            <a:avLst>
              <a:gd name="adj" fmla="val 0"/>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003860"/>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45720" tIns="91440" rIns="0" bIns="9144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ea typeface="+mn-ea"/>
                <a:cs typeface="+mn-cs"/>
              </a:rPr>
              <a:t>Attract significant R&amp;D, design and manufacturing site investments</a:t>
            </a:r>
          </a:p>
        </p:txBody>
      </p:sp>
      <p:cxnSp>
        <p:nvCxnSpPr>
          <p:cNvPr id="147" name="Straight Connector 33">
            <a:extLst>
              <a:ext uri="{FF2B5EF4-FFF2-40B4-BE49-F238E27FC236}">
                <a16:creationId xmlns:a16="http://schemas.microsoft.com/office/drawing/2014/main" id="{9D2376D4-D8DA-FD9C-BBF6-5E5B32E4CE56}"/>
              </a:ext>
            </a:extLst>
          </p:cNvPr>
          <p:cNvCxnSpPr>
            <a:cxnSpLocks/>
          </p:cNvCxnSpPr>
          <p:nvPr/>
        </p:nvCxnSpPr>
        <p:spPr>
          <a:xfrm rot="10800000" flipV="1">
            <a:off x="4018072" y="3802074"/>
            <a:ext cx="303076" cy="113902"/>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8" name="Straight Connector 36">
            <a:extLst>
              <a:ext uri="{FF2B5EF4-FFF2-40B4-BE49-F238E27FC236}">
                <a16:creationId xmlns:a16="http://schemas.microsoft.com/office/drawing/2014/main" id="{ADF79F94-CA40-203A-0813-AF4605894BE8}"/>
              </a:ext>
            </a:extLst>
          </p:cNvPr>
          <p:cNvCxnSpPr>
            <a:cxnSpLocks/>
          </p:cNvCxnSpPr>
          <p:nvPr/>
        </p:nvCxnSpPr>
        <p:spPr>
          <a:xfrm rot="10800000">
            <a:off x="4018072" y="3915976"/>
            <a:ext cx="301932" cy="367152"/>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49" name="Straight Connector 36">
            <a:extLst>
              <a:ext uri="{FF2B5EF4-FFF2-40B4-BE49-F238E27FC236}">
                <a16:creationId xmlns:a16="http://schemas.microsoft.com/office/drawing/2014/main" id="{BEDFC780-EEBD-1A95-BE70-8330599674AA}"/>
              </a:ext>
            </a:extLst>
          </p:cNvPr>
          <p:cNvCxnSpPr>
            <a:cxnSpLocks/>
            <a:endCxn id="155" idx="1"/>
          </p:cNvCxnSpPr>
          <p:nvPr/>
        </p:nvCxnSpPr>
        <p:spPr>
          <a:xfrm>
            <a:off x="4856583" y="3338571"/>
            <a:ext cx="347937" cy="0"/>
          </a:xfrm>
          <a:prstGeom prst="straightConnector1">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0" name="Straight Connector 36">
            <a:extLst>
              <a:ext uri="{FF2B5EF4-FFF2-40B4-BE49-F238E27FC236}">
                <a16:creationId xmlns:a16="http://schemas.microsoft.com/office/drawing/2014/main" id="{326057DB-AD6C-2FA9-9246-D62B5D1895B7}"/>
              </a:ext>
            </a:extLst>
          </p:cNvPr>
          <p:cNvCxnSpPr>
            <a:cxnSpLocks/>
            <a:endCxn id="155" idx="1"/>
          </p:cNvCxnSpPr>
          <p:nvPr/>
        </p:nvCxnSpPr>
        <p:spPr>
          <a:xfrm>
            <a:off x="4849799" y="2347347"/>
            <a:ext cx="354721" cy="991224"/>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1" name="Straight Connector 36">
            <a:extLst>
              <a:ext uri="{FF2B5EF4-FFF2-40B4-BE49-F238E27FC236}">
                <a16:creationId xmlns:a16="http://schemas.microsoft.com/office/drawing/2014/main" id="{90EE1F82-3E64-5B74-D406-6AED180754AE}"/>
              </a:ext>
            </a:extLst>
          </p:cNvPr>
          <p:cNvCxnSpPr>
            <a:cxnSpLocks/>
            <a:endCxn id="155" idx="1"/>
          </p:cNvCxnSpPr>
          <p:nvPr/>
        </p:nvCxnSpPr>
        <p:spPr>
          <a:xfrm>
            <a:off x="4856583" y="2842959"/>
            <a:ext cx="347937" cy="495612"/>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2" name="Straight Connector 36">
            <a:extLst>
              <a:ext uri="{FF2B5EF4-FFF2-40B4-BE49-F238E27FC236}">
                <a16:creationId xmlns:a16="http://schemas.microsoft.com/office/drawing/2014/main" id="{DF03F595-0C4C-D165-0641-6D11178FF763}"/>
              </a:ext>
            </a:extLst>
          </p:cNvPr>
          <p:cNvCxnSpPr>
            <a:cxnSpLocks/>
            <a:endCxn id="155" idx="1"/>
          </p:cNvCxnSpPr>
          <p:nvPr/>
        </p:nvCxnSpPr>
        <p:spPr>
          <a:xfrm flipV="1">
            <a:off x="4859298" y="3338571"/>
            <a:ext cx="345222" cy="463503"/>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53" name="Straight Connector 36">
            <a:extLst>
              <a:ext uri="{FF2B5EF4-FFF2-40B4-BE49-F238E27FC236}">
                <a16:creationId xmlns:a16="http://schemas.microsoft.com/office/drawing/2014/main" id="{B349BA2E-A77E-4613-AD23-6C083B812B87}"/>
              </a:ext>
            </a:extLst>
          </p:cNvPr>
          <p:cNvCxnSpPr>
            <a:cxnSpLocks/>
            <a:endCxn id="155" idx="1"/>
          </p:cNvCxnSpPr>
          <p:nvPr/>
        </p:nvCxnSpPr>
        <p:spPr>
          <a:xfrm flipV="1">
            <a:off x="4858154" y="3338571"/>
            <a:ext cx="346366" cy="944557"/>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54" name="TextBox 153">
            <a:extLst>
              <a:ext uri="{FF2B5EF4-FFF2-40B4-BE49-F238E27FC236}">
                <a16:creationId xmlns:a16="http://schemas.microsoft.com/office/drawing/2014/main" id="{79DCE935-A145-C457-8844-79DCF74EDD63}"/>
              </a:ext>
            </a:extLst>
          </p:cNvPr>
          <p:cNvSpPr txBox="1"/>
          <p:nvPr/>
        </p:nvSpPr>
        <p:spPr>
          <a:xfrm>
            <a:off x="3058351" y="3705164"/>
            <a:ext cx="954104"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Manufacturing site investments</a:t>
            </a:r>
          </a:p>
        </p:txBody>
      </p:sp>
      <p:sp>
        <p:nvSpPr>
          <p:cNvPr id="155" name="TextBox 154">
            <a:extLst>
              <a:ext uri="{FF2B5EF4-FFF2-40B4-BE49-F238E27FC236}">
                <a16:creationId xmlns:a16="http://schemas.microsoft.com/office/drawing/2014/main" id="{58056716-4662-F49A-CBCC-75C272D66CFB}"/>
              </a:ext>
            </a:extLst>
          </p:cNvPr>
          <p:cNvSpPr txBox="1"/>
          <p:nvPr/>
        </p:nvSpPr>
        <p:spPr>
          <a:xfrm>
            <a:off x="5204520" y="3159064"/>
            <a:ext cx="782008"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ea typeface="+mn-ea"/>
                <a:cs typeface="+mn-cs"/>
              </a:rPr>
              <a:t>Industry-public collaboration</a:t>
            </a:r>
          </a:p>
        </p:txBody>
      </p:sp>
      <p:sp>
        <p:nvSpPr>
          <p:cNvPr id="161" name="TextBox 160">
            <a:extLst>
              <a:ext uri="{FF2B5EF4-FFF2-40B4-BE49-F238E27FC236}">
                <a16:creationId xmlns:a16="http://schemas.microsoft.com/office/drawing/2014/main" id="{253271BE-BDBB-0BC9-4F06-81DCDE7ED305}"/>
              </a:ext>
            </a:extLst>
          </p:cNvPr>
          <p:cNvSpPr txBox="1"/>
          <p:nvPr/>
        </p:nvSpPr>
        <p:spPr>
          <a:xfrm>
            <a:off x="3124737" y="2936502"/>
            <a:ext cx="887718" cy="35901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defPPr>
              <a:defRPr lang="en-US"/>
            </a:defPPr>
            <a:lvl1pPr lvl="0" algn="r" defTabSz="914400">
              <a:defRPr sz="800">
                <a:solidFill>
                  <a:srgbClr val="2576B0"/>
                </a:solidFill>
                <a:latin typeface="DINPro" panose="020B050402020101010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rPr>
              <a:t>R&amp;D and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rPr>
              <a:t>design site investments</a:t>
            </a:r>
          </a:p>
        </p:txBody>
      </p:sp>
      <p:cxnSp>
        <p:nvCxnSpPr>
          <p:cNvPr id="162" name="Straight Connector 36">
            <a:extLst>
              <a:ext uri="{FF2B5EF4-FFF2-40B4-BE49-F238E27FC236}">
                <a16:creationId xmlns:a16="http://schemas.microsoft.com/office/drawing/2014/main" id="{4840F41A-698A-4088-6CD2-2C6D2B04153C}"/>
              </a:ext>
            </a:extLst>
          </p:cNvPr>
          <p:cNvCxnSpPr>
            <a:cxnSpLocks/>
            <a:endCxn id="161" idx="3"/>
          </p:cNvCxnSpPr>
          <p:nvPr/>
        </p:nvCxnSpPr>
        <p:spPr>
          <a:xfrm rot="10800000">
            <a:off x="4012455" y="3116009"/>
            <a:ext cx="305978" cy="222562"/>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3" name="Straight Connector 36">
            <a:extLst>
              <a:ext uri="{FF2B5EF4-FFF2-40B4-BE49-F238E27FC236}">
                <a16:creationId xmlns:a16="http://schemas.microsoft.com/office/drawing/2014/main" id="{BF806D69-9CBB-40EA-3275-0A7E0A51881B}"/>
              </a:ext>
            </a:extLst>
          </p:cNvPr>
          <p:cNvCxnSpPr>
            <a:cxnSpLocks/>
            <a:endCxn id="161" idx="3"/>
          </p:cNvCxnSpPr>
          <p:nvPr/>
        </p:nvCxnSpPr>
        <p:spPr>
          <a:xfrm rot="10800000" flipV="1">
            <a:off x="4012455" y="2842959"/>
            <a:ext cx="305978" cy="273050"/>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64" name="Straight Connector 36">
            <a:extLst>
              <a:ext uri="{FF2B5EF4-FFF2-40B4-BE49-F238E27FC236}">
                <a16:creationId xmlns:a16="http://schemas.microsoft.com/office/drawing/2014/main" id="{D6BA6E1E-BBA1-D03B-63D6-CA575234C4FA}"/>
              </a:ext>
            </a:extLst>
          </p:cNvPr>
          <p:cNvCxnSpPr>
            <a:cxnSpLocks/>
            <a:endCxn id="161" idx="3"/>
          </p:cNvCxnSpPr>
          <p:nvPr/>
        </p:nvCxnSpPr>
        <p:spPr>
          <a:xfrm rot="10800000" flipV="1">
            <a:off x="4012455" y="2347347"/>
            <a:ext cx="299194" cy="768662"/>
          </a:xfrm>
          <a:prstGeom prst="bentConnector3">
            <a:avLst>
              <a:gd name="adj1" fmla="val 50000"/>
            </a:avLst>
          </a:prstGeom>
          <a:ln w="9525" cap="rnd" cmpd="sng" algn="ctr">
            <a:solidFill>
              <a:srgbClr val="2475AF"/>
            </a:solidFill>
            <a:prstDash val="solid"/>
            <a:round/>
            <a:headEnd type="oval" w="med" len="med"/>
            <a:tailEnd type="none" w="med" len="med"/>
          </a:ln>
        </p:spPr>
        <p:style>
          <a:lnRef idx="1">
            <a:schemeClr val="accent1"/>
          </a:lnRef>
          <a:fillRef idx="0">
            <a:schemeClr val="accent1"/>
          </a:fillRef>
          <a:effectRef idx="0">
            <a:schemeClr val="accent1"/>
          </a:effectRef>
          <a:fontRef idx="minor">
            <a:schemeClr val="tx1"/>
          </a:fontRef>
        </p:style>
      </p:cxnSp>
      <p:sp>
        <p:nvSpPr>
          <p:cNvPr id="165" name="Oval 20">
            <a:extLst>
              <a:ext uri="{FF2B5EF4-FFF2-40B4-BE49-F238E27FC236}">
                <a16:creationId xmlns:a16="http://schemas.microsoft.com/office/drawing/2014/main" id="{19A2E9B1-6243-1836-9028-AD27D96CFAA7}"/>
              </a:ext>
            </a:extLst>
          </p:cNvPr>
          <p:cNvSpPr>
            <a:spLocks noChangeAspect="1" noChangeArrowheads="1"/>
          </p:cNvSpPr>
          <p:nvPr/>
        </p:nvSpPr>
        <p:spPr bwMode="auto">
          <a:xfrm>
            <a:off x="4063030" y="3024078"/>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3</a:t>
            </a:r>
          </a:p>
        </p:txBody>
      </p:sp>
      <p:sp>
        <p:nvSpPr>
          <p:cNvPr id="166" name="Oval 20">
            <a:extLst>
              <a:ext uri="{FF2B5EF4-FFF2-40B4-BE49-F238E27FC236}">
                <a16:creationId xmlns:a16="http://schemas.microsoft.com/office/drawing/2014/main" id="{223883FB-914B-2F69-6C70-D72DD945B27D}"/>
              </a:ext>
            </a:extLst>
          </p:cNvPr>
          <p:cNvSpPr>
            <a:spLocks noChangeAspect="1" noChangeArrowheads="1"/>
          </p:cNvSpPr>
          <p:nvPr/>
        </p:nvSpPr>
        <p:spPr bwMode="auto">
          <a:xfrm>
            <a:off x="4063030" y="3829246"/>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4</a:t>
            </a:r>
          </a:p>
        </p:txBody>
      </p:sp>
      <p:sp>
        <p:nvSpPr>
          <p:cNvPr id="167" name="Oval 20">
            <a:extLst>
              <a:ext uri="{FF2B5EF4-FFF2-40B4-BE49-F238E27FC236}">
                <a16:creationId xmlns:a16="http://schemas.microsoft.com/office/drawing/2014/main" id="{F4F36897-8E0E-7A9E-6883-8F53D677BD9C}"/>
              </a:ext>
            </a:extLst>
          </p:cNvPr>
          <p:cNvSpPr>
            <a:spLocks noChangeAspect="1" noChangeArrowheads="1"/>
          </p:cNvSpPr>
          <p:nvPr/>
        </p:nvSpPr>
        <p:spPr bwMode="auto">
          <a:xfrm>
            <a:off x="4935050" y="3248364"/>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5</a:t>
            </a:r>
          </a:p>
        </p:txBody>
      </p:sp>
      <p:sp>
        <p:nvSpPr>
          <p:cNvPr id="168" name="Oval 20">
            <a:extLst>
              <a:ext uri="{FF2B5EF4-FFF2-40B4-BE49-F238E27FC236}">
                <a16:creationId xmlns:a16="http://schemas.microsoft.com/office/drawing/2014/main" id="{A2F2A35A-E784-A05E-ACD9-82D2E388F6C1}"/>
              </a:ext>
            </a:extLst>
          </p:cNvPr>
          <p:cNvSpPr>
            <a:spLocks noChangeAspect="1" noChangeArrowheads="1"/>
          </p:cNvSpPr>
          <p:nvPr/>
        </p:nvSpPr>
        <p:spPr bwMode="auto">
          <a:xfrm>
            <a:off x="4285768" y="1502707"/>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1</a:t>
            </a:r>
          </a:p>
        </p:txBody>
      </p:sp>
      <p:sp>
        <p:nvSpPr>
          <p:cNvPr id="169" name="Oval 20">
            <a:extLst>
              <a:ext uri="{FF2B5EF4-FFF2-40B4-BE49-F238E27FC236}">
                <a16:creationId xmlns:a16="http://schemas.microsoft.com/office/drawing/2014/main" id="{18FA60B5-38BD-0F78-9B66-22A8736CD226}"/>
              </a:ext>
            </a:extLst>
          </p:cNvPr>
          <p:cNvSpPr>
            <a:spLocks noChangeAspect="1" noChangeArrowheads="1"/>
          </p:cNvSpPr>
          <p:nvPr/>
        </p:nvSpPr>
        <p:spPr bwMode="auto">
          <a:xfrm>
            <a:off x="4672769" y="1502707"/>
            <a:ext cx="196422" cy="196422"/>
          </a:xfrm>
          <a:prstGeom prst="ellipse">
            <a:avLst/>
          </a:prstGeom>
          <a:solidFill>
            <a:srgbClr val="0F78B2"/>
          </a:solidFill>
          <a:ln>
            <a:noFill/>
          </a:ln>
        </p:spPr>
        <p:txBody>
          <a:bodyPr vert="horz" wrap="square" lIns="0" tIns="0" rIns="0" bIns="0" numCol="1" anchor="ctr" anchorCtr="0" compatLnSpc="1">
            <a:prstTxWarp prst="textNoShape">
              <a:avLst/>
            </a:prstTxWarp>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prstClr val="white"/>
                </a:solidFill>
                <a:effectLst/>
                <a:uLnTx/>
                <a:uFillTx/>
                <a:ea typeface="+mn-ea"/>
                <a:cs typeface="+mn-cs"/>
              </a:rPr>
              <a:t>2</a:t>
            </a:r>
          </a:p>
        </p:txBody>
      </p:sp>
      <p:sp>
        <p:nvSpPr>
          <p:cNvPr id="170" name="TextBox 169">
            <a:extLst>
              <a:ext uri="{FF2B5EF4-FFF2-40B4-BE49-F238E27FC236}">
                <a16:creationId xmlns:a16="http://schemas.microsoft.com/office/drawing/2014/main" id="{AB19585C-890E-2502-2646-006AB7757AD8}"/>
              </a:ext>
            </a:extLst>
          </p:cNvPr>
          <p:cNvSpPr txBox="1"/>
          <p:nvPr/>
        </p:nvSpPr>
        <p:spPr>
          <a:xfrm>
            <a:off x="3297949" y="1788576"/>
            <a:ext cx="1243779" cy="226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defPPr>
              <a:defRPr lang="en-US"/>
            </a:defPPr>
            <a:lvl1pPr lvl="0" algn="r" defTabSz="914400">
              <a:defRPr sz="800">
                <a:solidFill>
                  <a:srgbClr val="2576B0"/>
                </a:solidFill>
                <a:latin typeface="DINPro" panose="020B0504020201010104"/>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000000"/>
                </a:solidFill>
                <a:effectLst/>
                <a:uLnTx/>
                <a:uFillTx/>
                <a:latin typeface="+mn-lt"/>
                <a:ea typeface="+mn-ea"/>
                <a:cs typeface="+mn-cs"/>
              </a:rPr>
              <a:t>R&amp;D collaboratio</a:t>
            </a:r>
            <a:r>
              <a:rPr kumimoji="0" lang="en-US" sz="700" b="0" i="0" u="none" strike="noStrike" kern="1200" cap="none" spc="0" normalizeH="0" baseline="0" noProof="0" dirty="0">
                <a:ln>
                  <a:noFill/>
                </a:ln>
                <a:solidFill>
                  <a:srgbClr val="000000"/>
                </a:solidFill>
                <a:effectLst/>
                <a:uLnTx/>
                <a:uFillTx/>
                <a:latin typeface="+mn-lt"/>
                <a:ea typeface="+mn-ea"/>
                <a:cs typeface="+mn-cs"/>
              </a:rPr>
              <a:t>n</a:t>
            </a:r>
          </a:p>
        </p:txBody>
      </p:sp>
      <p:sp>
        <p:nvSpPr>
          <p:cNvPr id="171" name="TextBox 170">
            <a:extLst>
              <a:ext uri="{FF2B5EF4-FFF2-40B4-BE49-F238E27FC236}">
                <a16:creationId xmlns:a16="http://schemas.microsoft.com/office/drawing/2014/main" id="{6091FD50-7E9D-7822-6CD9-18799C34C60B}"/>
              </a:ext>
            </a:extLst>
          </p:cNvPr>
          <p:cNvSpPr txBox="1"/>
          <p:nvPr/>
        </p:nvSpPr>
        <p:spPr>
          <a:xfrm>
            <a:off x="4589642" y="1788576"/>
            <a:ext cx="1374132" cy="2266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defPPr>
              <a:defRPr lang="en-US"/>
            </a:defPPr>
            <a:lvl1pPr lvl="0" algn="r" defTabSz="914400">
              <a:defRPr sz="800">
                <a:solidFill>
                  <a:srgbClr val="2576B0"/>
                </a:solidFill>
                <a:latin typeface="DINPro" panose="020B0504020201010104"/>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000000"/>
                </a:solidFill>
                <a:effectLst/>
                <a:uLnTx/>
                <a:uFillTx/>
                <a:latin typeface="+mn-lt"/>
                <a:ea typeface="+mn-ea"/>
                <a:cs typeface="+mn-cs"/>
              </a:rPr>
              <a:t>Education and attraction</a:t>
            </a:r>
          </a:p>
        </p:txBody>
      </p:sp>
      <p:sp>
        <p:nvSpPr>
          <p:cNvPr id="2" name="Text Placeholder 4">
            <a:extLst>
              <a:ext uri="{FF2B5EF4-FFF2-40B4-BE49-F238E27FC236}">
                <a16:creationId xmlns:a16="http://schemas.microsoft.com/office/drawing/2014/main" id="{06D2E5C0-0503-9C45-AA23-9967E7696E81}"/>
              </a:ext>
            </a:extLst>
          </p:cNvPr>
          <p:cNvSpPr txBox="1">
            <a:spLocks/>
          </p:cNvSpPr>
          <p:nvPr/>
        </p:nvSpPr>
        <p:spPr>
          <a:xfrm>
            <a:off x="251999" y="290513"/>
            <a:ext cx="8161751" cy="517525"/>
          </a:xfrm>
          <a:prstGeom prst="rect">
            <a:avLst/>
          </a:prstGeom>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defTabSz="679871">
              <a:lnSpc>
                <a:spcPts val="1600"/>
              </a:lnSpc>
              <a:buSzTx/>
              <a:defRPr/>
            </a:pPr>
            <a:r>
              <a:rPr lang="en-US" sz="1400" b="1" dirty="0">
                <a:solidFill>
                  <a:srgbClr val="29282E"/>
                </a:solidFill>
                <a:latin typeface="+mj-lt"/>
                <a:ea typeface="+mn-ea"/>
                <a:cs typeface="+mn-cs"/>
              </a:rPr>
              <a:t>Finland should aim for five outcomes across the six growth opportunities and set up efficient public-private collaboration to coordinate supporting actions</a:t>
            </a:r>
          </a:p>
        </p:txBody>
      </p:sp>
    </p:spTree>
    <p:extLst>
      <p:ext uri="{BB962C8B-B14F-4D97-AF65-F5344CB8AC3E}">
        <p14:creationId xmlns:p14="http://schemas.microsoft.com/office/powerpoint/2010/main" val="410807152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B7D8C3E2-37A0-C53F-D7ED-A1EBBE495C04}"/>
              </a:ext>
            </a:extLst>
          </p:cNvPr>
          <p:cNvSpPr>
            <a:spLocks noGrp="1"/>
          </p:cNvSpPr>
          <p:nvPr>
            <p:ph type="body" sz="quarter" idx="15"/>
          </p:nvPr>
        </p:nvSpPr>
        <p:spPr/>
        <p:txBody>
          <a:bodyPr/>
          <a:lstStyle/>
          <a:p>
            <a:pPr marL="21600"/>
            <a:r>
              <a:rPr lang="en-US" sz="2400" b="1" dirty="0"/>
              <a:t>What can government and industry do?</a:t>
            </a:r>
          </a:p>
        </p:txBody>
      </p:sp>
      <p:sp>
        <p:nvSpPr>
          <p:cNvPr id="2" name="Slide Number Placeholder 1">
            <a:extLst>
              <a:ext uri="{FF2B5EF4-FFF2-40B4-BE49-F238E27FC236}">
                <a16:creationId xmlns:a16="http://schemas.microsoft.com/office/drawing/2014/main" id="{B4D5740A-3F4B-C954-5A78-CEDC078BD8A1}"/>
              </a:ext>
            </a:extLst>
          </p:cNvPr>
          <p:cNvSpPr>
            <a:spLocks noGrp="1"/>
          </p:cNvSpPr>
          <p:nvPr>
            <p:ph type="sldNum" sz="quarter" idx="12"/>
          </p:nvPr>
        </p:nvSpPr>
        <p:spPr/>
        <p:txBody>
          <a:bodyPr/>
          <a:lstStyle/>
          <a:p>
            <a:fld id="{6FCB6B90-8271-4E8F-82C1-E646FBB48A2E}" type="slidenum">
              <a:rPr lang="en-US" smtClean="0"/>
              <a:pPr/>
              <a:t>23</a:t>
            </a:fld>
            <a:endParaRPr lang="en-US"/>
          </a:p>
        </p:txBody>
      </p:sp>
      <p:sp>
        <p:nvSpPr>
          <p:cNvPr id="3" name="Date Placeholder 2">
            <a:extLst>
              <a:ext uri="{FF2B5EF4-FFF2-40B4-BE49-F238E27FC236}">
                <a16:creationId xmlns:a16="http://schemas.microsoft.com/office/drawing/2014/main" id="{D02E9E0D-C3A2-3BCA-49D1-1C99FE1964BD}"/>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79834DB1-6513-DE89-4252-1FA85E557C2E}"/>
              </a:ext>
            </a:extLst>
          </p:cNvPr>
          <p:cNvSpPr>
            <a:spLocks noGrp="1"/>
          </p:cNvSpPr>
          <p:nvPr>
            <p:ph type="ftr" sz="quarter" idx="11"/>
          </p:nvPr>
        </p:nvSpPr>
        <p:spPr/>
        <p:txBody>
          <a:bodyPr/>
          <a:lstStyle/>
          <a:p>
            <a:r>
              <a:rPr lang="en-US"/>
              <a:t>Technology Industries of Finland</a:t>
            </a:r>
          </a:p>
        </p:txBody>
      </p:sp>
    </p:spTree>
    <p:extLst>
      <p:ext uri="{BB962C8B-B14F-4D97-AF65-F5344CB8AC3E}">
        <p14:creationId xmlns:p14="http://schemas.microsoft.com/office/powerpoint/2010/main" val="6434895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C54D8AB-61CD-409A-F5D8-7EB72108CA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6" name="think-cell data - do not delete" hidden="1">
                        <a:extLst>
                          <a:ext uri="{FF2B5EF4-FFF2-40B4-BE49-F238E27FC236}">
                            <a16:creationId xmlns:a16="http://schemas.microsoft.com/office/drawing/2014/main" id="{9C54D8AB-61CD-409A-F5D8-7EB72108CA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p:txBody>
          <a:bodyPr/>
          <a:lstStyle/>
          <a:p>
            <a:fld id="{6FCB6B90-8271-4E8F-82C1-E646FBB48A2E}" type="slidenum">
              <a:rPr lang="en-US" smtClean="0"/>
              <a:pPr/>
              <a:t>24</a:t>
            </a:fld>
            <a:endParaRPr lang="en-US"/>
          </a:p>
        </p:txBody>
      </p:sp>
      <p:sp>
        <p:nvSpPr>
          <p:cNvPr id="3" name="Date Placeholder 2">
            <a:extLst>
              <a:ext uri="{FF2B5EF4-FFF2-40B4-BE49-F238E27FC236}">
                <a16:creationId xmlns:a16="http://schemas.microsoft.com/office/drawing/2014/main" id="{18FF0807-DAF8-B85E-04CD-C4F80F1262E3}"/>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D621C63B-DC3F-9AB3-994A-92E4128610F0}"/>
              </a:ext>
            </a:extLst>
          </p:cNvPr>
          <p:cNvSpPr>
            <a:spLocks noGrp="1"/>
          </p:cNvSpPr>
          <p:nvPr>
            <p:ph type="ftr" sz="quarter" idx="11"/>
          </p:nvPr>
        </p:nvSpPr>
        <p:spPr/>
        <p:txBody>
          <a:bodyPr/>
          <a:lstStyle/>
          <a:p>
            <a:r>
              <a:rPr lang="en-US"/>
              <a:t>Technology Industries of Finland</a:t>
            </a:r>
          </a:p>
        </p:txBody>
      </p:sp>
      <p:graphicFrame>
        <p:nvGraphicFramePr>
          <p:cNvPr id="9" name="Table 8">
            <a:extLst>
              <a:ext uri="{FF2B5EF4-FFF2-40B4-BE49-F238E27FC236}">
                <a16:creationId xmlns:a16="http://schemas.microsoft.com/office/drawing/2014/main" id="{ABC06D4E-302D-E39D-61E0-3DDC1AD7B6C6}"/>
              </a:ext>
            </a:extLst>
          </p:cNvPr>
          <p:cNvGraphicFramePr>
            <a:graphicFrameLocks noGrp="1"/>
          </p:cNvGraphicFramePr>
          <p:nvPr>
            <p:extLst>
              <p:ext uri="{D42A27DB-BD31-4B8C-83A1-F6EECF244321}">
                <p14:modId xmlns:p14="http://schemas.microsoft.com/office/powerpoint/2010/main" val="2376127576"/>
              </p:ext>
            </p:extLst>
          </p:nvPr>
        </p:nvGraphicFramePr>
        <p:xfrm>
          <a:off x="251999" y="808040"/>
          <a:ext cx="8511001" cy="3920008"/>
        </p:xfrm>
        <a:graphic>
          <a:graphicData uri="http://schemas.openxmlformats.org/drawingml/2006/table">
            <a:tbl>
              <a:tblPr firstRow="1" bandRow="1">
                <a:tableStyleId>{5C22544A-7EE6-4342-B048-85BDC9FD1C3A}</a:tableStyleId>
              </a:tblPr>
              <a:tblGrid>
                <a:gridCol w="265394">
                  <a:extLst>
                    <a:ext uri="{9D8B030D-6E8A-4147-A177-3AD203B41FA5}">
                      <a16:colId xmlns:a16="http://schemas.microsoft.com/office/drawing/2014/main" val="689332770"/>
                    </a:ext>
                  </a:extLst>
                </a:gridCol>
                <a:gridCol w="1218925">
                  <a:extLst>
                    <a:ext uri="{9D8B030D-6E8A-4147-A177-3AD203B41FA5}">
                      <a16:colId xmlns:a16="http://schemas.microsoft.com/office/drawing/2014/main" val="2115017034"/>
                    </a:ext>
                  </a:extLst>
                </a:gridCol>
                <a:gridCol w="5811602">
                  <a:extLst>
                    <a:ext uri="{9D8B030D-6E8A-4147-A177-3AD203B41FA5}">
                      <a16:colId xmlns:a16="http://schemas.microsoft.com/office/drawing/2014/main" val="3796980887"/>
                    </a:ext>
                  </a:extLst>
                </a:gridCol>
                <a:gridCol w="1215080">
                  <a:extLst>
                    <a:ext uri="{9D8B030D-6E8A-4147-A177-3AD203B41FA5}">
                      <a16:colId xmlns:a16="http://schemas.microsoft.com/office/drawing/2014/main" val="2223542228"/>
                    </a:ext>
                  </a:extLst>
                </a:gridCol>
              </a:tblGrid>
              <a:tr h="286013">
                <a:tc gridSpan="2">
                  <a:txBody>
                    <a:bodyPr/>
                    <a:lstStyle/>
                    <a:p>
                      <a:pPr marL="0" algn="l" defTabSz="806052" rtl="0" eaLnBrk="1" latinLnBrk="0" hangingPunct="1"/>
                      <a:r>
                        <a:rPr lang="en-US" sz="800" b="1" kern="1200" dirty="0">
                          <a:solidFill>
                            <a:schemeClr val="bg1"/>
                          </a:solidFill>
                          <a:latin typeface="+mn-lt"/>
                          <a:ea typeface="+mn-ea"/>
                          <a:cs typeface="+mn-cs"/>
                        </a:rPr>
                        <a:t>Outcom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dirty="0"/>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806052" rtl="0" eaLnBrk="1" latinLnBrk="0" hangingPunct="1"/>
                      <a:r>
                        <a:rPr lang="en-US" sz="800" b="1" kern="1200" dirty="0">
                          <a:solidFill>
                            <a:srgbClr val="000C20"/>
                          </a:solidFill>
                          <a:latin typeface="+mn-lt"/>
                          <a:ea typeface="+mn-ea"/>
                          <a:cs typeface="+mn-cs"/>
                        </a:rPr>
                        <a:t>Ac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806052" rtl="0" eaLnBrk="1" latinLnBrk="0" hangingPunct="1"/>
                      <a:r>
                        <a:rPr lang="en-US" sz="800" b="1" kern="1200" dirty="0">
                          <a:solidFill>
                            <a:srgbClr val="000C20"/>
                          </a:solidFill>
                          <a:latin typeface="+mn-lt"/>
                          <a:ea typeface="+mn-ea"/>
                          <a:cs typeface="+mn-cs"/>
                        </a:rPr>
                        <a:t>Responsibl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31764926"/>
                  </a:ext>
                </a:extLst>
              </a:tr>
              <a:tr h="311485">
                <a:tc rowSpan="4">
                  <a:txBody>
                    <a:bodyPr/>
                    <a:lstStyle/>
                    <a:p>
                      <a:pPr marL="0" algn="l" defTabSz="806052" rtl="0" eaLnBrk="1" latinLnBrk="0" hangingPunct="1"/>
                      <a:r>
                        <a:rPr lang="en-US" sz="700" b="0" kern="1200" dirty="0">
                          <a:solidFill>
                            <a:srgbClr val="000C20"/>
                          </a:solidFill>
                          <a:latin typeface="+mn-lt"/>
                          <a:ea typeface="+mn-ea"/>
                          <a:cs typeface="+mn-cs"/>
                        </a:rPr>
                        <a:t>1</a:t>
                      </a: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rowSpan="4">
                  <a:txBody>
                    <a:bodyPr/>
                    <a:lstStyle/>
                    <a:p>
                      <a:pPr marL="0" algn="l" defTabSz="806052" rtl="0" eaLnBrk="1" latinLnBrk="0" hangingPunct="1"/>
                      <a:r>
                        <a:rPr lang="en-US" sz="700" b="0" kern="1200" dirty="0">
                          <a:solidFill>
                            <a:srgbClr val="000C20"/>
                          </a:solidFill>
                          <a:latin typeface="+mn-lt"/>
                          <a:ea typeface="+mn-ea"/>
                          <a:cs typeface="+mn-cs"/>
                        </a:rPr>
                        <a:t>Finland should increase R&amp;D investments, secure international R&amp;D collaborations and build infrastructure to rapidly commercialize innovation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1.1 </a:t>
                      </a:r>
                      <a:r>
                        <a:rPr lang="en-US" sz="600" b="1" kern="1200" dirty="0">
                          <a:solidFill>
                            <a:srgbClr val="000C20"/>
                          </a:solidFill>
                          <a:latin typeface="+mn-lt"/>
                          <a:ea typeface="+mn-ea"/>
                          <a:cs typeface="+mn-cs"/>
                        </a:rPr>
                        <a:t>Finland needs a total funding of €5B for semiconductor R&amp;D over the next ten years</a:t>
                      </a:r>
                      <a:r>
                        <a:rPr lang="en-US" sz="600" b="0" kern="1200" dirty="0">
                          <a:solidFill>
                            <a:srgbClr val="000C20"/>
                          </a:solidFill>
                          <a:latin typeface="+mn-lt"/>
                          <a:ea typeface="+mn-ea"/>
                          <a:cs typeface="+mn-cs"/>
                        </a:rPr>
                        <a:t>, </a:t>
                      </a:r>
                      <a:r>
                        <a:rPr lang="en-US" sz="600" b="1" kern="1200" dirty="0">
                          <a:solidFill>
                            <a:srgbClr val="000C20"/>
                          </a:solidFill>
                          <a:latin typeface="+mn-lt"/>
                          <a:ea typeface="+mn-ea"/>
                          <a:cs typeface="+mn-cs"/>
                        </a:rPr>
                        <a:t>focused on the six opportunity areas</a:t>
                      </a:r>
                      <a:r>
                        <a:rPr lang="en-US" sz="600" b="0" kern="1200" dirty="0">
                          <a:solidFill>
                            <a:srgbClr val="000C20"/>
                          </a:solidFill>
                          <a:latin typeface="+mn-lt"/>
                          <a:ea typeface="+mn-ea"/>
                          <a:cs typeface="+mn-cs"/>
                        </a:rPr>
                        <a:t>. The majority of this will be carried out by the industry, with the government providing significant leverage through increased funding.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Industry, 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813788460"/>
                  </a:ext>
                </a:extLst>
              </a:tr>
              <a:tr h="415314">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1.2 </a:t>
                      </a:r>
                      <a:r>
                        <a:rPr lang="en-US" sz="600" b="1" kern="1200" dirty="0">
                          <a:solidFill>
                            <a:srgbClr val="000C20"/>
                          </a:solidFill>
                          <a:latin typeface="+mn-lt"/>
                          <a:ea typeface="+mn-ea"/>
                          <a:cs typeface="+mn-cs"/>
                        </a:rPr>
                        <a:t>Finland needs to create an operating model for pilot lines that builds and operates them, funds necessary equipment, attracts customers, and interacts with leading European research and technology organizations</a:t>
                      </a:r>
                      <a:r>
                        <a:rPr lang="en-US" sz="600" b="0" kern="1200" dirty="0">
                          <a:solidFill>
                            <a:srgbClr val="000C20"/>
                          </a:solidFill>
                          <a:latin typeface="+mn-lt"/>
                          <a:ea typeface="+mn-ea"/>
                          <a:cs typeface="+mn-cs"/>
                        </a:rPr>
                        <a:t>. The government should also pledge matching funds for these pilot lines and associated projects under the EU Chips Act and similar initiative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786949603"/>
                  </a:ext>
                </a:extLst>
              </a:tr>
              <a:tr h="415314">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1.3 </a:t>
                      </a:r>
                      <a:r>
                        <a:rPr lang="en-US" sz="600" b="1" kern="1200" dirty="0">
                          <a:solidFill>
                            <a:srgbClr val="000C20"/>
                          </a:solidFill>
                          <a:latin typeface="+mn-lt"/>
                          <a:ea typeface="+mn-ea"/>
                          <a:cs typeface="+mn-cs"/>
                        </a:rPr>
                        <a:t>Finland should establish and track a plan to gain the most benefit from semiconductor-related EU funding programs</a:t>
                      </a:r>
                      <a:r>
                        <a:rPr lang="en-US" sz="600" b="0" kern="1200" dirty="0">
                          <a:solidFill>
                            <a:srgbClr val="000C20"/>
                          </a:solidFill>
                          <a:latin typeface="+mn-lt"/>
                          <a:ea typeface="+mn-ea"/>
                          <a:cs typeface="+mn-cs"/>
                        </a:rPr>
                        <a:t>. The plan should include building networks to European research and technology organizations and global companies, enabling participation in multi-party funding calls and helping to attract international customer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Industry, 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037235669"/>
                  </a:ext>
                </a:extLst>
              </a:tr>
              <a:tr h="311485">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1.4 </a:t>
                      </a:r>
                      <a:r>
                        <a:rPr lang="en-US" sz="600" b="1" kern="1200" dirty="0">
                          <a:solidFill>
                            <a:srgbClr val="000C20"/>
                          </a:solidFill>
                          <a:latin typeface="+mn-lt"/>
                          <a:ea typeface="+mn-ea"/>
                          <a:cs typeface="+mn-cs"/>
                        </a:rPr>
                        <a:t>Finland should establish closer bilateral relationships on semiconductor technologies and related trade and R&amp;D initiatives </a:t>
                      </a:r>
                      <a:r>
                        <a:rPr lang="en-US" sz="600" b="0" kern="1200" dirty="0">
                          <a:solidFill>
                            <a:srgbClr val="000C20"/>
                          </a:solidFill>
                          <a:latin typeface="+mn-lt"/>
                          <a:ea typeface="+mn-ea"/>
                          <a:cs typeface="+mn-cs"/>
                        </a:rPr>
                        <a:t>with partners beyond the EU: in particular the US, the UK, Canada, Japan, South Korea, India, and Taiwan.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799911052"/>
                  </a:ext>
                </a:extLst>
              </a:tr>
              <a:tr h="415314">
                <a:tc rowSpan="6">
                  <a:txBody>
                    <a:bodyPr/>
                    <a:lstStyle/>
                    <a:p>
                      <a:pPr marL="0" algn="l" defTabSz="806052" rtl="0" eaLnBrk="1" latinLnBrk="0" hangingPunct="1"/>
                      <a:r>
                        <a:rPr lang="en-US" sz="700" b="0" kern="1200" dirty="0">
                          <a:solidFill>
                            <a:srgbClr val="000C20"/>
                          </a:solidFill>
                          <a:latin typeface="+mn-lt"/>
                          <a:ea typeface="+mn-ea"/>
                          <a:cs typeface="+mn-cs"/>
                        </a:rPr>
                        <a:t>2</a:t>
                      </a: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rowSpan="6">
                  <a:txBody>
                    <a:bodyPr/>
                    <a:lstStyle/>
                    <a:p>
                      <a:pPr marL="0" algn="l" defTabSz="806052" rtl="0" eaLnBrk="1" latinLnBrk="0" hangingPunct="1"/>
                      <a:r>
                        <a:rPr lang="en-US" sz="700" b="0" kern="1200" dirty="0">
                          <a:solidFill>
                            <a:srgbClr val="000C20"/>
                          </a:solidFill>
                          <a:latin typeface="+mn-lt"/>
                          <a:ea typeface="+mn-ea"/>
                          <a:cs typeface="+mn-cs"/>
                        </a:rPr>
                        <a:t>Finland should aim to alleviate the talent gap to support growth and industry competitivenes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sz="600" b="0" kern="1200" dirty="0">
                          <a:solidFill>
                            <a:srgbClr val="000C20"/>
                          </a:solidFill>
                          <a:latin typeface="+mn-lt"/>
                          <a:ea typeface="+mn-ea"/>
                          <a:cs typeface="+mn-cs"/>
                        </a:rPr>
                        <a:t>2.1 </a:t>
                      </a:r>
                      <a:r>
                        <a:rPr lang="en-US" sz="600" b="1" kern="1200" dirty="0">
                          <a:solidFill>
                            <a:srgbClr val="000C20"/>
                          </a:solidFill>
                          <a:latin typeface="+mn-lt"/>
                          <a:ea typeface="+mn-ea"/>
                          <a:cs typeface="+mn-cs"/>
                        </a:rPr>
                        <a:t>Finland should commit to raising the quality and quantity of microelectronics higher education</a:t>
                      </a:r>
                      <a:r>
                        <a:rPr lang="en-US" sz="600" b="0" kern="1200" dirty="0">
                          <a:solidFill>
                            <a:srgbClr val="000C20"/>
                          </a:solidFill>
                          <a:latin typeface="+mn-lt"/>
                          <a:ea typeface="+mn-ea"/>
                          <a:cs typeface="+mn-cs"/>
                        </a:rPr>
                        <a:t>. This means significantly increased student intake and adequate output of MSc and DSc graduates. Industry and academia should co-create degree programs that funnel new talent into the field.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sz="600" b="0" kern="1200" dirty="0">
                          <a:solidFill>
                            <a:srgbClr val="000C20"/>
                          </a:solidFill>
                          <a:latin typeface="+mn-lt"/>
                          <a:ea typeface="+mn-ea"/>
                          <a:cs typeface="+mn-cs"/>
                        </a:rPr>
                        <a:t>Government, Academia, Industry</a:t>
                      </a:r>
                    </a:p>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272244407"/>
                  </a:ext>
                </a:extLst>
              </a:tr>
              <a:tr h="415314">
                <a:tc vMerge="1">
                  <a:txBody>
                    <a:bodyPr/>
                    <a:lstStyle/>
                    <a:p>
                      <a:pPr marL="0" algn="l" defTabSz="806052" rtl="0" eaLnBrk="1" latinLnBrk="0" hangingPunct="1"/>
                      <a:r>
                        <a:rPr lang="en-US" sz="700" b="0" kern="1200" dirty="0">
                          <a:solidFill>
                            <a:srgbClr val="000C20"/>
                          </a:solidFill>
                          <a:latin typeface="+mn-lt"/>
                          <a:ea typeface="+mn-ea"/>
                          <a:cs typeface="+mn-cs"/>
                        </a:rPr>
                        <a:t>2</a:t>
                      </a: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r>
                        <a:rPr lang="en-US" sz="700" b="0" kern="1200" dirty="0">
                          <a:solidFill>
                            <a:srgbClr val="000C20"/>
                          </a:solidFill>
                          <a:latin typeface="+mn-lt"/>
                          <a:ea typeface="+mn-ea"/>
                          <a:cs typeface="+mn-cs"/>
                        </a:rPr>
                        <a:t>Finland should aim to alleviate the talent gap to support growth and industry competitivenes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2.2 </a:t>
                      </a:r>
                      <a:r>
                        <a:rPr lang="en-US" sz="600" b="1" kern="1200" dirty="0">
                          <a:solidFill>
                            <a:srgbClr val="000C20"/>
                          </a:solidFill>
                          <a:latin typeface="+mn-lt"/>
                          <a:ea typeface="+mn-ea"/>
                          <a:cs typeface="+mn-cs"/>
                        </a:rPr>
                        <a:t>Postdocs and professors should be attracted through innovative research funding mechanisms and world-class tenure tracks and campaigns</a:t>
                      </a:r>
                      <a:r>
                        <a:rPr lang="en-US" sz="600" b="0" kern="1200" dirty="0">
                          <a:solidFill>
                            <a:srgbClr val="000C20"/>
                          </a:solidFill>
                          <a:latin typeface="+mn-lt"/>
                          <a:ea typeface="+mn-ea"/>
                          <a:cs typeface="+mn-cs"/>
                        </a:rPr>
                        <a:t>. Additionally, research and industry should collaborate on further developing leading semiconductor publications, aiming to gain international visibility and attract top talent.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Academia, Industry, 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98094622"/>
                  </a:ext>
                </a:extLst>
              </a:tr>
              <a:tr h="311485">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2.3 </a:t>
                      </a:r>
                      <a:r>
                        <a:rPr lang="en-US" sz="600" b="1" kern="1200" dirty="0">
                          <a:solidFill>
                            <a:srgbClr val="000C20"/>
                          </a:solidFill>
                          <a:latin typeface="+mn-lt"/>
                          <a:ea typeface="+mn-ea"/>
                          <a:cs typeface="+mn-cs"/>
                        </a:rPr>
                        <a:t>Finland should foster vocational education and training in microelectronics</a:t>
                      </a:r>
                      <a:r>
                        <a:rPr lang="en-US" sz="600" b="0" kern="1200" dirty="0">
                          <a:solidFill>
                            <a:srgbClr val="000C20"/>
                          </a:solidFill>
                          <a:latin typeface="+mn-lt"/>
                          <a:ea typeface="+mn-ea"/>
                          <a:cs typeface="+mn-cs"/>
                        </a:rPr>
                        <a:t> through degree programs and short courses with appropriate use of on-the-job learning and apprenticeships to meet the growing demand for manufacturing staff.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43861258"/>
                  </a:ext>
                </a:extLst>
              </a:tr>
              <a:tr h="311485">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2.4 </a:t>
                      </a:r>
                      <a:r>
                        <a:rPr lang="en-US" sz="600" b="1" kern="1200" dirty="0">
                          <a:solidFill>
                            <a:srgbClr val="000C20"/>
                          </a:solidFill>
                          <a:latin typeface="+mn-lt"/>
                          <a:ea typeface="+mn-ea"/>
                          <a:cs typeface="+mn-cs"/>
                        </a:rPr>
                        <a:t>Scalable programs for upskilling and reskilling the current workforce should be put in place</a:t>
                      </a:r>
                      <a:r>
                        <a:rPr lang="en-US" sz="600" b="0" kern="1200" dirty="0">
                          <a:solidFill>
                            <a:srgbClr val="000C20"/>
                          </a:solidFill>
                          <a:latin typeface="+mn-lt"/>
                          <a:ea typeface="+mn-ea"/>
                          <a:cs typeface="+mn-cs"/>
                        </a:rPr>
                        <a:t>, enabling smooth career transitions within the semiconductor industry and building a talent pipeline from declining industrie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5909539"/>
                  </a:ext>
                </a:extLst>
              </a:tr>
              <a:tr h="415314">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2.5 </a:t>
                      </a:r>
                      <a:r>
                        <a:rPr lang="en-US" sz="600" b="1" kern="1200" dirty="0">
                          <a:solidFill>
                            <a:srgbClr val="000C20"/>
                          </a:solidFill>
                          <a:latin typeface="+mn-lt"/>
                          <a:ea typeface="+mn-ea"/>
                          <a:cs typeface="+mn-cs"/>
                        </a:rPr>
                        <a:t>Finland should launch campaigns to promote the attractiveness of semiconductor-related studies and careers among students</a:t>
                      </a:r>
                      <a:r>
                        <a:rPr lang="en-US" sz="600" b="0" kern="1200" dirty="0">
                          <a:solidFill>
                            <a:srgbClr val="000C20"/>
                          </a:solidFill>
                          <a:latin typeface="+mn-lt"/>
                          <a:ea typeface="+mn-ea"/>
                          <a:cs typeface="+mn-cs"/>
                        </a:rPr>
                        <a:t>. There should be internships and other efforts to provide practical work-related engagements during studies and communicate clear paths towards industry employment.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Industry,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3123711824"/>
                  </a:ext>
                </a:extLst>
              </a:tr>
              <a:tr h="311485">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2.6 </a:t>
                      </a:r>
                      <a:r>
                        <a:rPr lang="en-US" sz="600" b="1" kern="1200" dirty="0">
                          <a:solidFill>
                            <a:srgbClr val="000C20"/>
                          </a:solidFill>
                          <a:latin typeface="+mn-lt"/>
                          <a:ea typeface="+mn-ea"/>
                          <a:cs typeface="+mn-cs"/>
                        </a:rPr>
                        <a:t>Finland should establish coordinated international talent pipelines to Finland from abroad</a:t>
                      </a:r>
                      <a:r>
                        <a:rPr lang="en-US" sz="600" b="0" kern="1200" dirty="0">
                          <a:solidFill>
                            <a:srgbClr val="000C20"/>
                          </a:solidFill>
                          <a:latin typeface="+mn-lt"/>
                          <a:ea typeface="+mn-ea"/>
                          <a:cs typeface="+mn-cs"/>
                        </a:rPr>
                        <a:t>, ease immigration policies with targeted measures for critical talent, support pathways to industry jobs, and define joint actions to retain foreign students and talent in Finland.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78704882"/>
                  </a:ext>
                </a:extLst>
              </a:tr>
            </a:tbl>
          </a:graphicData>
        </a:graphic>
      </p:graphicFrame>
      <p:sp>
        <p:nvSpPr>
          <p:cNvPr id="17" name="Text Placeholder 4">
            <a:extLst>
              <a:ext uri="{FF2B5EF4-FFF2-40B4-BE49-F238E27FC236}">
                <a16:creationId xmlns:a16="http://schemas.microsoft.com/office/drawing/2014/main" id="{30AF310E-0E86-D8DA-C328-0078C3558288}"/>
              </a:ext>
            </a:extLst>
          </p:cNvPr>
          <p:cNvSpPr txBox="1">
            <a:spLocks/>
          </p:cNvSpPr>
          <p:nvPr/>
        </p:nvSpPr>
        <p:spPr>
          <a:xfrm>
            <a:off x="251999" y="290513"/>
            <a:ext cx="8161751" cy="517525"/>
          </a:xfrm>
          <a:prstGeom prst="rect">
            <a:avLst/>
          </a:prstGeom>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defTabSz="679871">
              <a:lnSpc>
                <a:spcPts val="1600"/>
              </a:lnSpc>
              <a:buSzTx/>
              <a:defRPr/>
            </a:pPr>
            <a:r>
              <a:rPr lang="en-US" sz="1400" b="1" dirty="0">
                <a:solidFill>
                  <a:srgbClr val="29282E"/>
                </a:solidFill>
                <a:latin typeface="+mj-lt"/>
                <a:ea typeface="+mn-ea"/>
                <a:cs typeface="+mn-cs"/>
              </a:rPr>
              <a:t>What government and industry can do (1/2) </a:t>
            </a:r>
          </a:p>
        </p:txBody>
      </p:sp>
    </p:spTree>
    <p:extLst>
      <p:ext uri="{BB962C8B-B14F-4D97-AF65-F5344CB8AC3E}">
        <p14:creationId xmlns:p14="http://schemas.microsoft.com/office/powerpoint/2010/main" val="37219818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9C54D8AB-61CD-409A-F5D8-7EB72108CAE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6" name="think-cell data - do not delete" hidden="1">
                        <a:extLst>
                          <a:ext uri="{FF2B5EF4-FFF2-40B4-BE49-F238E27FC236}">
                            <a16:creationId xmlns:a16="http://schemas.microsoft.com/office/drawing/2014/main" id="{9C54D8AB-61CD-409A-F5D8-7EB72108CAE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p:txBody>
          <a:bodyPr/>
          <a:lstStyle/>
          <a:p>
            <a:fld id="{6FCB6B90-8271-4E8F-82C1-E646FBB48A2E}" type="slidenum">
              <a:rPr lang="en-US" smtClean="0"/>
              <a:pPr/>
              <a:t>25</a:t>
            </a:fld>
            <a:endParaRPr lang="en-US"/>
          </a:p>
        </p:txBody>
      </p:sp>
      <p:sp>
        <p:nvSpPr>
          <p:cNvPr id="3" name="Date Placeholder 2">
            <a:extLst>
              <a:ext uri="{FF2B5EF4-FFF2-40B4-BE49-F238E27FC236}">
                <a16:creationId xmlns:a16="http://schemas.microsoft.com/office/drawing/2014/main" id="{18FF0807-DAF8-B85E-04CD-C4F80F1262E3}"/>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D621C63B-DC3F-9AB3-994A-92E4128610F0}"/>
              </a:ext>
            </a:extLst>
          </p:cNvPr>
          <p:cNvSpPr>
            <a:spLocks noGrp="1"/>
          </p:cNvSpPr>
          <p:nvPr>
            <p:ph type="ftr" sz="quarter" idx="11"/>
          </p:nvPr>
        </p:nvSpPr>
        <p:spPr/>
        <p:txBody>
          <a:bodyPr/>
          <a:lstStyle/>
          <a:p>
            <a:r>
              <a:rPr lang="en-US"/>
              <a:t>Technology Industries of Finland</a:t>
            </a:r>
          </a:p>
        </p:txBody>
      </p:sp>
      <p:graphicFrame>
        <p:nvGraphicFramePr>
          <p:cNvPr id="9" name="Table 8">
            <a:extLst>
              <a:ext uri="{FF2B5EF4-FFF2-40B4-BE49-F238E27FC236}">
                <a16:creationId xmlns:a16="http://schemas.microsoft.com/office/drawing/2014/main" id="{ABC06D4E-302D-E39D-61E0-3DDC1AD7B6C6}"/>
              </a:ext>
            </a:extLst>
          </p:cNvPr>
          <p:cNvGraphicFramePr>
            <a:graphicFrameLocks noGrp="1"/>
          </p:cNvGraphicFramePr>
          <p:nvPr>
            <p:extLst>
              <p:ext uri="{D42A27DB-BD31-4B8C-83A1-F6EECF244321}">
                <p14:modId xmlns:p14="http://schemas.microsoft.com/office/powerpoint/2010/main" val="1689400849"/>
              </p:ext>
            </p:extLst>
          </p:nvPr>
        </p:nvGraphicFramePr>
        <p:xfrm>
          <a:off x="251999" y="808038"/>
          <a:ext cx="8511001" cy="3938783"/>
        </p:xfrm>
        <a:graphic>
          <a:graphicData uri="http://schemas.openxmlformats.org/drawingml/2006/table">
            <a:tbl>
              <a:tblPr firstRow="1" bandRow="1">
                <a:tableStyleId>{5C22544A-7EE6-4342-B048-85BDC9FD1C3A}</a:tableStyleId>
              </a:tblPr>
              <a:tblGrid>
                <a:gridCol w="265395">
                  <a:extLst>
                    <a:ext uri="{9D8B030D-6E8A-4147-A177-3AD203B41FA5}">
                      <a16:colId xmlns:a16="http://schemas.microsoft.com/office/drawing/2014/main" val="689332770"/>
                    </a:ext>
                  </a:extLst>
                </a:gridCol>
                <a:gridCol w="1218924">
                  <a:extLst>
                    <a:ext uri="{9D8B030D-6E8A-4147-A177-3AD203B41FA5}">
                      <a16:colId xmlns:a16="http://schemas.microsoft.com/office/drawing/2014/main" val="2115017034"/>
                    </a:ext>
                  </a:extLst>
                </a:gridCol>
                <a:gridCol w="5811602">
                  <a:extLst>
                    <a:ext uri="{9D8B030D-6E8A-4147-A177-3AD203B41FA5}">
                      <a16:colId xmlns:a16="http://schemas.microsoft.com/office/drawing/2014/main" val="3796980887"/>
                    </a:ext>
                  </a:extLst>
                </a:gridCol>
                <a:gridCol w="1215080">
                  <a:extLst>
                    <a:ext uri="{9D8B030D-6E8A-4147-A177-3AD203B41FA5}">
                      <a16:colId xmlns:a16="http://schemas.microsoft.com/office/drawing/2014/main" val="2223542228"/>
                    </a:ext>
                  </a:extLst>
                </a:gridCol>
              </a:tblGrid>
              <a:tr h="275945">
                <a:tc gridSpan="2">
                  <a:txBody>
                    <a:bodyPr/>
                    <a:lstStyle/>
                    <a:p>
                      <a:pPr marL="0" algn="l" defTabSz="806052" rtl="0" eaLnBrk="1" latinLnBrk="0" hangingPunct="1"/>
                      <a:r>
                        <a:rPr lang="en-US" sz="800" b="1" kern="1200" dirty="0">
                          <a:solidFill>
                            <a:schemeClr val="bg1"/>
                          </a:solidFill>
                          <a:latin typeface="+mn-lt"/>
                          <a:ea typeface="+mn-ea"/>
                          <a:cs typeface="+mn-cs"/>
                        </a:rPr>
                        <a:t>Outcom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dirty="0"/>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806052" rtl="0" eaLnBrk="1" latinLnBrk="0" hangingPunct="1"/>
                      <a:r>
                        <a:rPr lang="en-US" sz="800" b="1" kern="1200" dirty="0">
                          <a:solidFill>
                            <a:srgbClr val="000C20"/>
                          </a:solidFill>
                          <a:latin typeface="+mn-lt"/>
                          <a:ea typeface="+mn-ea"/>
                          <a:cs typeface="+mn-cs"/>
                        </a:rPr>
                        <a:t>Action</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tc>
                  <a:txBody>
                    <a:bodyPr/>
                    <a:lstStyle/>
                    <a:p>
                      <a:pPr marL="0" algn="l" defTabSz="806052" rtl="0" eaLnBrk="1" latinLnBrk="0" hangingPunct="1"/>
                      <a:r>
                        <a:rPr lang="en-US" sz="800" b="1" kern="1200" dirty="0">
                          <a:solidFill>
                            <a:srgbClr val="000C20"/>
                          </a:solidFill>
                          <a:latin typeface="+mn-lt"/>
                          <a:ea typeface="+mn-ea"/>
                          <a:cs typeface="+mn-cs"/>
                        </a:rPr>
                        <a:t>Responsible</a:t>
                      </a:r>
                    </a:p>
                  </a:txBody>
                  <a:tcPr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12700" cap="flat" cmpd="sng" algn="ctr">
                      <a:solidFill>
                        <a:srgbClr val="FFFFFF"/>
                      </a:solidFill>
                      <a:prstDash val="solid"/>
                      <a:round/>
                      <a:headEnd type="none" w="med" len="med"/>
                      <a:tailEnd type="none" w="med" len="med"/>
                    </a:lnB>
                    <a:lnTlToBr w="12700" cmpd="sng">
                      <a:noFill/>
                      <a:prstDash val="solid"/>
                    </a:lnTlToBr>
                    <a:lnBlToTr w="12700" cmpd="sng">
                      <a:noFill/>
                      <a:prstDash val="solid"/>
                    </a:lnBlToTr>
                    <a:solidFill>
                      <a:srgbClr val="F2F2F2"/>
                    </a:solidFill>
                  </a:tcPr>
                </a:tc>
                <a:extLst>
                  <a:ext uri="{0D108BD9-81ED-4DB2-BD59-A6C34878D82A}">
                    <a16:rowId xmlns:a16="http://schemas.microsoft.com/office/drawing/2014/main" val="3331764926"/>
                  </a:ext>
                </a:extLst>
              </a:tr>
              <a:tr h="462653">
                <a:tc rowSpan="3">
                  <a:txBody>
                    <a:bodyPr/>
                    <a:lstStyle/>
                    <a:p>
                      <a:pPr marL="0" algn="l" defTabSz="806052" rtl="0" eaLnBrk="1" latinLnBrk="0" hangingPunct="1"/>
                      <a:r>
                        <a:rPr lang="en-US" sz="700" b="0" kern="1200" dirty="0">
                          <a:solidFill>
                            <a:srgbClr val="000C20"/>
                          </a:solidFill>
                          <a:latin typeface="+mn-lt"/>
                          <a:ea typeface="+mn-ea"/>
                          <a:cs typeface="+mn-cs"/>
                        </a:rPr>
                        <a:t>3</a:t>
                      </a: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rowSpan="3">
                  <a:txBody>
                    <a:bodyPr/>
                    <a:lstStyle/>
                    <a:p>
                      <a:pPr marL="0" algn="l" defTabSz="806052" rtl="0" eaLnBrk="1" latinLnBrk="0" hangingPunct="1"/>
                      <a:r>
                        <a:rPr lang="en-US" sz="700" b="0" kern="1200" dirty="0">
                          <a:solidFill>
                            <a:srgbClr val="000C20"/>
                          </a:solidFill>
                          <a:latin typeface="+mn-lt"/>
                          <a:ea typeface="+mn-ea"/>
                          <a:cs typeface="+mn-cs"/>
                        </a:rPr>
                        <a:t>Finland should aim to attract significant semiconductor R&amp;D and design sites from foreign companies.</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3.1 </a:t>
                      </a:r>
                      <a:r>
                        <a:rPr lang="en-US" sz="600" b="1" kern="1200" dirty="0">
                          <a:solidFill>
                            <a:srgbClr val="000C20"/>
                          </a:solidFill>
                          <a:latin typeface="+mn-lt"/>
                          <a:ea typeface="+mn-ea"/>
                          <a:cs typeface="+mn-cs"/>
                        </a:rPr>
                        <a:t>Finland must prioritize long-term initiatives to promote its design-related talent, startup, and technology clusters</a:t>
                      </a:r>
                      <a:r>
                        <a:rPr lang="en-US" sz="600" b="0" kern="1200" dirty="0">
                          <a:solidFill>
                            <a:srgbClr val="000C20"/>
                          </a:solidFill>
                          <a:latin typeface="+mn-lt"/>
                          <a:ea typeface="+mn-ea"/>
                          <a:cs typeface="+mn-cs"/>
                        </a:rPr>
                        <a:t>. This involves enhancing research-industry collaboration through forums, showcasing innovations at international trade shows, executing targeted marketing campaigns, and leveraging diplomatic channels to bolster visibility among large design companie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12700" cap="flat" cmpd="sng" algn="ctr">
                      <a:solidFill>
                        <a:srgbClr val="FFFFFF"/>
                      </a:solidFill>
                      <a:prstDash val="solid"/>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813788460"/>
                  </a:ext>
                </a:extLst>
              </a:tr>
              <a:tr h="231327">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3.2 </a:t>
                      </a:r>
                      <a:r>
                        <a:rPr lang="en-US" sz="600" b="1" kern="1200" dirty="0">
                          <a:solidFill>
                            <a:srgbClr val="000C20"/>
                          </a:solidFill>
                          <a:latin typeface="+mn-lt"/>
                          <a:ea typeface="+mn-ea"/>
                          <a:cs typeface="+mn-cs"/>
                        </a:rPr>
                        <a:t>A comprehensive set of public instruments should be developed and put forth</a:t>
                      </a:r>
                      <a:r>
                        <a:rPr lang="en-US" sz="600" b="0" kern="1200" dirty="0">
                          <a:solidFill>
                            <a:srgbClr val="000C20"/>
                          </a:solidFill>
                          <a:latin typeface="+mn-lt"/>
                          <a:ea typeface="+mn-ea"/>
                          <a:cs typeface="+mn-cs"/>
                        </a:rPr>
                        <a:t>, tailored to attracting specific design site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786949603"/>
                  </a:ext>
                </a:extLst>
              </a:tr>
              <a:tr h="346989">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3.3 </a:t>
                      </a:r>
                      <a:r>
                        <a:rPr lang="en-US" sz="600" b="1" kern="1200" dirty="0">
                          <a:solidFill>
                            <a:srgbClr val="000C20"/>
                          </a:solidFill>
                          <a:latin typeface="+mn-lt"/>
                          <a:ea typeface="+mn-ea"/>
                          <a:cs typeface="+mn-cs"/>
                        </a:rPr>
                        <a:t>Finland should establish an EU-labeled 6G and Edge AI Design Center of Excellence</a:t>
                      </a:r>
                      <a:r>
                        <a:rPr lang="en-US" sz="600" b="0" kern="1200" dirty="0">
                          <a:solidFill>
                            <a:srgbClr val="000C20"/>
                          </a:solidFill>
                          <a:latin typeface="+mn-lt"/>
                          <a:ea typeface="+mn-ea"/>
                          <a:cs typeface="+mn-cs"/>
                        </a:rPr>
                        <a:t> under the EU Chips Act.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Industry, Government,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2037235669"/>
                  </a:ext>
                </a:extLst>
              </a:tr>
              <a:tr h="346989">
                <a:tc rowSpan="2">
                  <a:txBody>
                    <a:bodyPr/>
                    <a:lstStyle/>
                    <a:p>
                      <a:pPr marL="0" algn="l" defTabSz="806052" rtl="0" eaLnBrk="1" latinLnBrk="0" hangingPunct="1"/>
                      <a:r>
                        <a:rPr lang="en-US" sz="700" b="0" kern="1200" dirty="0">
                          <a:solidFill>
                            <a:srgbClr val="000C20"/>
                          </a:solidFill>
                          <a:latin typeface="+mn-lt"/>
                          <a:ea typeface="+mn-ea"/>
                          <a:cs typeface="+mn-cs"/>
                        </a:rPr>
                        <a:t>4</a:t>
                      </a: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rowSpan="2">
                  <a:txBody>
                    <a:bodyPr/>
                    <a:lstStyle/>
                    <a:p>
                      <a:pPr marL="0" algn="l" defTabSz="806052" rtl="0" eaLnBrk="1" latinLnBrk="0" hangingPunct="1"/>
                      <a:r>
                        <a:rPr lang="en-US" sz="700" b="0" kern="1200" dirty="0">
                          <a:solidFill>
                            <a:srgbClr val="000C20"/>
                          </a:solidFill>
                          <a:latin typeface="+mn-lt"/>
                          <a:ea typeface="+mn-ea"/>
                          <a:cs typeface="+mn-cs"/>
                        </a:rPr>
                        <a:t>Finland should aim to attract significant (&gt;€1B) semiconductor manufacturing site investments from foreign companies.</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4.1 </a:t>
                      </a:r>
                      <a:r>
                        <a:rPr lang="en-US" sz="600" b="1" kern="1200" dirty="0">
                          <a:solidFill>
                            <a:srgbClr val="000C20"/>
                          </a:solidFill>
                          <a:latin typeface="+mn-lt"/>
                          <a:ea typeface="+mn-ea"/>
                          <a:cs typeface="+mn-cs"/>
                        </a:rPr>
                        <a:t>Public-private partnerships should be established to jointly attract manufacturing site investments</a:t>
                      </a:r>
                      <a:r>
                        <a:rPr lang="en-US" sz="600" b="0" kern="1200" dirty="0">
                          <a:solidFill>
                            <a:srgbClr val="000C20"/>
                          </a:solidFill>
                          <a:latin typeface="+mn-lt"/>
                          <a:ea typeface="+mn-ea"/>
                          <a:cs typeface="+mn-cs"/>
                        </a:rPr>
                        <a:t>. These partnerships should consistently promote Finland’s manufacturing capabilities at research-industry forums, international trade shows, and through diplomatic channel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1799911052"/>
                  </a:ext>
                </a:extLst>
              </a:tr>
              <a:tr h="462653">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4.2 </a:t>
                      </a:r>
                      <a:r>
                        <a:rPr lang="en-US" sz="600" b="1" kern="1200" dirty="0">
                          <a:solidFill>
                            <a:srgbClr val="000C20"/>
                          </a:solidFill>
                          <a:latin typeface="+mn-lt"/>
                          <a:ea typeface="+mn-ea"/>
                          <a:cs typeface="+mn-cs"/>
                        </a:rPr>
                        <a:t>Finland should establish and employ a comprehensive set of public instruments </a:t>
                      </a:r>
                      <a:r>
                        <a:rPr lang="en-US" sz="600" b="0" kern="1200" dirty="0">
                          <a:solidFill>
                            <a:srgbClr val="000C20"/>
                          </a:solidFill>
                          <a:latin typeface="+mn-lt"/>
                          <a:ea typeface="+mn-ea"/>
                          <a:cs typeface="+mn-cs"/>
                        </a:rPr>
                        <a:t>specifically designed to appeal to and secure specific manufacturing site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91672870"/>
                  </a:ext>
                </a:extLst>
              </a:tr>
              <a:tr h="346989">
                <a:tc rowSpan="3">
                  <a:txBody>
                    <a:bodyPr/>
                    <a:lstStyle/>
                    <a:p>
                      <a:pPr marL="0" algn="l" defTabSz="806052" rtl="0" eaLnBrk="1" latinLnBrk="0" hangingPunct="1"/>
                      <a:r>
                        <a:rPr lang="en-US" sz="700" b="0" kern="1200" dirty="0">
                          <a:solidFill>
                            <a:srgbClr val="000C20"/>
                          </a:solidFill>
                          <a:latin typeface="+mn-lt"/>
                          <a:ea typeface="+mn-ea"/>
                          <a:cs typeface="+mn-cs"/>
                        </a:rPr>
                        <a:t>5</a:t>
                      </a: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rowSpan="3">
                  <a:txBody>
                    <a:bodyPr/>
                    <a:lstStyle/>
                    <a:p>
                      <a:pPr marL="0" algn="l" defTabSz="806052" rtl="0" eaLnBrk="1" latinLnBrk="0" hangingPunct="1"/>
                      <a:r>
                        <a:rPr lang="en-US" sz="700" b="0" kern="1200" dirty="0">
                          <a:solidFill>
                            <a:srgbClr val="000C20"/>
                          </a:solidFill>
                          <a:latin typeface="+mn-lt"/>
                          <a:ea typeface="+mn-ea"/>
                          <a:cs typeface="+mn-cs"/>
                        </a:rPr>
                        <a:t>Finland should enable long-term collaboration among industry, academia, and government to support the execution of the strategy, and to maintain situational awareness on geopolitical, technological, and economic developments that affect the execution.</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5.1 </a:t>
                      </a:r>
                      <a:r>
                        <a:rPr lang="en-US" sz="600" b="1" kern="1200" dirty="0">
                          <a:solidFill>
                            <a:srgbClr val="000C20"/>
                          </a:solidFill>
                          <a:latin typeface="+mn-lt"/>
                          <a:ea typeface="+mn-ea"/>
                          <a:cs typeface="+mn-cs"/>
                        </a:rPr>
                        <a:t>Finland should establish an effective collaboration structure </a:t>
                      </a:r>
                      <a:r>
                        <a:rPr lang="en-US" sz="600" b="0" kern="1200" dirty="0">
                          <a:solidFill>
                            <a:srgbClr val="000C20"/>
                          </a:solidFill>
                          <a:latin typeface="+mn-lt"/>
                          <a:ea typeface="+mn-ea"/>
                          <a:cs typeface="+mn-cs"/>
                        </a:rPr>
                        <a:t>for the implementation of the national semiconductor strategy that enables tracking of key outcomes and action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Government, Industry, Academia</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98094622"/>
                  </a:ext>
                </a:extLst>
              </a:tr>
              <a:tr h="346989">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5.2 </a:t>
                      </a:r>
                      <a:r>
                        <a:rPr lang="en-US" sz="600" b="1" kern="1200" dirty="0">
                          <a:solidFill>
                            <a:srgbClr val="000C20"/>
                          </a:solidFill>
                          <a:latin typeface="+mn-lt"/>
                          <a:ea typeface="+mn-ea"/>
                          <a:cs typeface="+mn-cs"/>
                        </a:rPr>
                        <a:t>There should be an active process for sharing key developments in geopolitics and industrial and trade policies</a:t>
                      </a:r>
                      <a:r>
                        <a:rPr lang="en-US" sz="600" b="0" kern="1200" dirty="0">
                          <a:solidFill>
                            <a:srgbClr val="000C20"/>
                          </a:solidFill>
                          <a:latin typeface="+mn-lt"/>
                          <a:ea typeface="+mn-ea"/>
                          <a:cs typeface="+mn-cs"/>
                        </a:rPr>
                        <a:t>. The industry and government should define and support proactive industry activities that would address key challenges in the operating environment.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Industry, 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43861258"/>
                  </a:ext>
                </a:extLst>
              </a:tr>
              <a:tr h="1099478">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12700" cap="flat" cmpd="sng" algn="ctr">
                      <a:solidFill>
                        <a:srgbClr val="FFFFFF"/>
                      </a:solidFill>
                      <a:prstDash val="solid"/>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vMerge="1">
                  <a:txBody>
                    <a:bodyPr/>
                    <a:lstStyle/>
                    <a:p>
                      <a:pPr marL="0" algn="l" defTabSz="806052" rtl="0" eaLnBrk="1" latinLnBrk="0" hangingPunct="1"/>
                      <a:endParaRPr lang="en-US" sz="600" b="0" kern="1200" dirty="0">
                        <a:solidFill>
                          <a:srgbClr val="000C20"/>
                        </a:solidFill>
                        <a:latin typeface="+mn-lt"/>
                        <a:ea typeface="+mn-ea"/>
                        <a:cs typeface="+mn-cs"/>
                      </a:endParaRP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5.3 </a:t>
                      </a:r>
                      <a:r>
                        <a:rPr lang="en-US" sz="600" b="1" kern="1200" dirty="0">
                          <a:solidFill>
                            <a:srgbClr val="000C20"/>
                          </a:solidFill>
                          <a:latin typeface="+mn-lt"/>
                          <a:ea typeface="+mn-ea"/>
                          <a:cs typeface="+mn-cs"/>
                        </a:rPr>
                        <a:t>Finland should bolster the cooperation and resources needed to influence EU semiconductor-related policies</a:t>
                      </a:r>
                      <a:r>
                        <a:rPr lang="en-US" sz="600" b="0" kern="1200" dirty="0">
                          <a:solidFill>
                            <a:srgbClr val="000C20"/>
                          </a:solidFill>
                          <a:latin typeface="+mn-lt"/>
                          <a:ea typeface="+mn-ea"/>
                          <a:cs typeface="+mn-cs"/>
                        </a:rPr>
                        <a:t>, objectives, and funding instruments. </a:t>
                      </a:r>
                    </a:p>
                  </a:txBody>
                  <a:tcPr anchor="ctr">
                    <a:lnL w="6350" cap="flat" cmpd="sng" algn="ctr">
                      <a:solidFill>
                        <a:schemeClr val="bg1">
                          <a:lumMod val="75000"/>
                        </a:schemeClr>
                      </a:solidFill>
                      <a:prstDash val="sysDash"/>
                      <a:round/>
                      <a:headEnd type="none" w="med" len="med"/>
                      <a:tailEnd type="none" w="med" len="med"/>
                    </a:lnL>
                    <a:lnR w="6350" cap="flat" cmpd="sng" algn="ctr">
                      <a:solidFill>
                        <a:schemeClr val="bg1">
                          <a:lumMod val="75000"/>
                        </a:schemeClr>
                      </a:solidFill>
                      <a:prstDash val="sysDash"/>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tc>
                  <a:txBody>
                    <a:bodyPr/>
                    <a:lstStyle/>
                    <a:p>
                      <a:pPr marL="0" algn="l" defTabSz="806052" rtl="0" eaLnBrk="1" latinLnBrk="0" hangingPunct="1"/>
                      <a:r>
                        <a:rPr lang="en-US" sz="600" b="0" kern="1200" dirty="0">
                          <a:solidFill>
                            <a:srgbClr val="000C20"/>
                          </a:solidFill>
                          <a:latin typeface="+mn-lt"/>
                          <a:ea typeface="+mn-ea"/>
                          <a:cs typeface="+mn-cs"/>
                        </a:rPr>
                        <a:t>Industry, Government</a:t>
                      </a:r>
                    </a:p>
                  </a:txBody>
                  <a:tcPr anchor="ctr">
                    <a:lnL w="6350" cap="flat" cmpd="sng" algn="ctr">
                      <a:solidFill>
                        <a:schemeClr val="bg1">
                          <a:lumMod val="75000"/>
                        </a:schemeClr>
                      </a:solidFill>
                      <a:prstDash val="sysDash"/>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bg1">
                          <a:lumMod val="75000"/>
                        </a:schemeClr>
                      </a:solidFill>
                      <a:prstDash val="sysDash"/>
                      <a:round/>
                      <a:headEnd type="none" w="med" len="med"/>
                      <a:tailEnd type="none" w="med" len="med"/>
                    </a:lnT>
                    <a:lnB w="6350" cap="flat" cmpd="sng" algn="ctr">
                      <a:solidFill>
                        <a:schemeClr val="bg1">
                          <a:lumMod val="75000"/>
                        </a:schemeClr>
                      </a:solidFill>
                      <a:prstDash val="sysDash"/>
                      <a:round/>
                      <a:headEnd type="none" w="med" len="med"/>
                      <a:tailEnd type="none" w="med" len="med"/>
                    </a:lnB>
                    <a:solidFill>
                      <a:schemeClr val="bg1"/>
                    </a:solidFill>
                  </a:tcPr>
                </a:tc>
                <a:extLst>
                  <a:ext uri="{0D108BD9-81ED-4DB2-BD59-A6C34878D82A}">
                    <a16:rowId xmlns:a16="http://schemas.microsoft.com/office/drawing/2014/main" val="45909539"/>
                  </a:ext>
                </a:extLst>
              </a:tr>
            </a:tbl>
          </a:graphicData>
        </a:graphic>
      </p:graphicFrame>
      <p:sp>
        <p:nvSpPr>
          <p:cNvPr id="17" name="Text Placeholder 4">
            <a:extLst>
              <a:ext uri="{FF2B5EF4-FFF2-40B4-BE49-F238E27FC236}">
                <a16:creationId xmlns:a16="http://schemas.microsoft.com/office/drawing/2014/main" id="{30AF310E-0E86-D8DA-C328-0078C3558288}"/>
              </a:ext>
            </a:extLst>
          </p:cNvPr>
          <p:cNvSpPr txBox="1">
            <a:spLocks/>
          </p:cNvSpPr>
          <p:nvPr/>
        </p:nvSpPr>
        <p:spPr>
          <a:xfrm>
            <a:off x="251999" y="290513"/>
            <a:ext cx="8161751" cy="517525"/>
          </a:xfrm>
          <a:prstGeom prst="rect">
            <a:avLst/>
          </a:prstGeom>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defTabSz="679871">
              <a:lnSpc>
                <a:spcPts val="1600"/>
              </a:lnSpc>
              <a:buSzTx/>
              <a:defRPr/>
            </a:pPr>
            <a:r>
              <a:rPr lang="en-US" sz="1400" b="1" dirty="0">
                <a:solidFill>
                  <a:srgbClr val="29282E"/>
                </a:solidFill>
                <a:latin typeface="+mj-lt"/>
                <a:ea typeface="+mn-ea"/>
                <a:cs typeface="+mn-cs"/>
              </a:rPr>
              <a:t>What government and industry can do (2/2) </a:t>
            </a:r>
          </a:p>
        </p:txBody>
      </p:sp>
    </p:spTree>
    <p:extLst>
      <p:ext uri="{BB962C8B-B14F-4D97-AF65-F5344CB8AC3E}">
        <p14:creationId xmlns:p14="http://schemas.microsoft.com/office/powerpoint/2010/main" val="462276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Kuva 7"/>
          <p:cNvPicPr>
            <a:picLocks noChangeAspect="1"/>
          </p:cNvPicPr>
          <p:nvPr/>
        </p:nvPicPr>
        <p:blipFill>
          <a:blip r:embed="rId3"/>
          <a:stretch>
            <a:fillRect/>
          </a:stretch>
        </p:blipFill>
        <p:spPr>
          <a:xfrm>
            <a:off x="2079603" y="1975958"/>
            <a:ext cx="4813996" cy="1081796"/>
          </a:xfrm>
          <a:prstGeom prst="rect">
            <a:avLst/>
          </a:prstGeom>
        </p:spPr>
      </p:pic>
    </p:spTree>
    <p:extLst>
      <p:ext uri="{BB962C8B-B14F-4D97-AF65-F5344CB8AC3E}">
        <p14:creationId xmlns:p14="http://schemas.microsoft.com/office/powerpoint/2010/main" val="4801599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think-cell data - do not delete" hidden="1">
            <a:extLst>
              <a:ext uri="{FF2B5EF4-FFF2-40B4-BE49-F238E27FC236}">
                <a16:creationId xmlns:a16="http://schemas.microsoft.com/office/drawing/2014/main" id="{B1CC61E5-0241-A6BD-3ECF-06AC9F2AFA0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26" name="think-cell data - do not delete" hidden="1">
                        <a:extLst>
                          <a:ext uri="{FF2B5EF4-FFF2-40B4-BE49-F238E27FC236}">
                            <a16:creationId xmlns:a16="http://schemas.microsoft.com/office/drawing/2014/main" id="{B1CC61E5-0241-A6BD-3ECF-06AC9F2AFA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Footer Placeholder 3">
            <a:extLst>
              <a:ext uri="{FF2B5EF4-FFF2-40B4-BE49-F238E27FC236}">
                <a16:creationId xmlns:a16="http://schemas.microsoft.com/office/drawing/2014/main" id="{D621C63B-DC3F-9AB3-994A-92E4128610F0}"/>
              </a:ext>
            </a:extLst>
          </p:cNvPr>
          <p:cNvSpPr>
            <a:spLocks noGrp="1"/>
          </p:cNvSpPr>
          <p:nvPr>
            <p:ph type="ftr" sz="quarter" idx="11"/>
          </p:nvPr>
        </p:nvSpPr>
        <p:spPr/>
        <p:txBody>
          <a:bodyPr/>
          <a:lstStyle/>
          <a:p>
            <a:r>
              <a:rPr lang="en-US"/>
              <a:t>Technology Industries of Finland</a:t>
            </a:r>
          </a:p>
        </p:txBody>
      </p:sp>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p:txBody>
          <a:bodyPr/>
          <a:lstStyle/>
          <a:p>
            <a:fld id="{6FCB6B90-8271-4E8F-82C1-E646FBB48A2E}" type="slidenum">
              <a:rPr lang="en-US" smtClean="0"/>
              <a:pPr/>
              <a:t>3</a:t>
            </a:fld>
            <a:endParaRPr lang="en-US"/>
          </a:p>
        </p:txBody>
      </p:sp>
      <p:sp>
        <p:nvSpPr>
          <p:cNvPr id="3" name="Date Placeholder 2">
            <a:extLst>
              <a:ext uri="{FF2B5EF4-FFF2-40B4-BE49-F238E27FC236}">
                <a16:creationId xmlns:a16="http://schemas.microsoft.com/office/drawing/2014/main" id="{18FF0807-DAF8-B85E-04CD-C4F80F1262E3}"/>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6" name="Freeform 5">
            <a:extLst>
              <a:ext uri="{FF2B5EF4-FFF2-40B4-BE49-F238E27FC236}">
                <a16:creationId xmlns:a16="http://schemas.microsoft.com/office/drawing/2014/main" id="{61799F6B-2F1C-D2CF-506D-950CE08F9792}"/>
              </a:ext>
            </a:extLst>
          </p:cNvPr>
          <p:cNvSpPr>
            <a:spLocks noEditPoints="1"/>
          </p:cNvSpPr>
          <p:nvPr/>
        </p:nvSpPr>
        <p:spPr bwMode="auto">
          <a:xfrm>
            <a:off x="4812117" y="2170987"/>
            <a:ext cx="205712" cy="178317"/>
          </a:xfrm>
          <a:custGeom>
            <a:avLst/>
            <a:gdLst>
              <a:gd name="T0" fmla="*/ 264 w 880"/>
              <a:gd name="T1" fmla="*/ 212 h 772"/>
              <a:gd name="T2" fmla="*/ 117 w 880"/>
              <a:gd name="T3" fmla="*/ 227 h 772"/>
              <a:gd name="T4" fmla="*/ 131 w 880"/>
              <a:gd name="T5" fmla="*/ 376 h 772"/>
              <a:gd name="T6" fmla="*/ 279 w 880"/>
              <a:gd name="T7" fmla="*/ 362 h 772"/>
              <a:gd name="T8" fmla="*/ 306 w 880"/>
              <a:gd name="T9" fmla="*/ 209 h 772"/>
              <a:gd name="T10" fmla="*/ 285 w 880"/>
              <a:gd name="T11" fmla="*/ 190 h 772"/>
              <a:gd name="T12" fmla="*/ 145 w 880"/>
              <a:gd name="T13" fmla="*/ 348 h 772"/>
              <a:gd name="T14" fmla="*/ 239 w 880"/>
              <a:gd name="T15" fmla="*/ 241 h 772"/>
              <a:gd name="T16" fmla="*/ 186 w 880"/>
              <a:gd name="T17" fmla="*/ 266 h 772"/>
              <a:gd name="T18" fmla="*/ 163 w 880"/>
              <a:gd name="T19" fmla="*/ 283 h 772"/>
              <a:gd name="T20" fmla="*/ 197 w 880"/>
              <a:gd name="T21" fmla="*/ 321 h 772"/>
              <a:gd name="T22" fmla="*/ 208 w 880"/>
              <a:gd name="T23" fmla="*/ 317 h 772"/>
              <a:gd name="T24" fmla="*/ 251 w 880"/>
              <a:gd name="T25" fmla="*/ 348 h 772"/>
              <a:gd name="T26" fmla="*/ 22 w 880"/>
              <a:gd name="T27" fmla="*/ 0 h 772"/>
              <a:gd name="T28" fmla="*/ 0 w 880"/>
              <a:gd name="T29" fmla="*/ 621 h 772"/>
              <a:gd name="T30" fmla="*/ 337 w 880"/>
              <a:gd name="T31" fmla="*/ 643 h 772"/>
              <a:gd name="T32" fmla="*/ 276 w 880"/>
              <a:gd name="T33" fmla="*/ 728 h 772"/>
              <a:gd name="T34" fmla="*/ 276 w 880"/>
              <a:gd name="T35" fmla="*/ 772 h 772"/>
              <a:gd name="T36" fmla="*/ 626 w 880"/>
              <a:gd name="T37" fmla="*/ 750 h 772"/>
              <a:gd name="T38" fmla="*/ 543 w 880"/>
              <a:gd name="T39" fmla="*/ 728 h 772"/>
              <a:gd name="T40" fmla="*/ 858 w 880"/>
              <a:gd name="T41" fmla="*/ 643 h 772"/>
              <a:gd name="T42" fmla="*/ 880 w 880"/>
              <a:gd name="T43" fmla="*/ 22 h 772"/>
              <a:gd name="T44" fmla="*/ 440 w 880"/>
              <a:gd name="T45" fmla="*/ 600 h 772"/>
              <a:gd name="T46" fmla="*/ 440 w 880"/>
              <a:gd name="T47" fmla="*/ 529 h 772"/>
              <a:gd name="T48" fmla="*/ 440 w 880"/>
              <a:gd name="T49" fmla="*/ 600 h 772"/>
              <a:gd name="T50" fmla="*/ 810 w 880"/>
              <a:gd name="T51" fmla="*/ 500 h 772"/>
              <a:gd name="T52" fmla="*/ 60 w 880"/>
              <a:gd name="T53" fmla="*/ 490 h 772"/>
              <a:gd name="T54" fmla="*/ 70 w 880"/>
              <a:gd name="T55" fmla="*/ 62 h 772"/>
              <a:gd name="T56" fmla="*/ 820 w 880"/>
              <a:gd name="T57" fmla="*/ 72 h 772"/>
              <a:gd name="T58" fmla="*/ 767 w 880"/>
              <a:gd name="T59" fmla="*/ 246 h 772"/>
              <a:gd name="T60" fmla="*/ 371 w 880"/>
              <a:gd name="T61" fmla="*/ 268 h 772"/>
              <a:gd name="T62" fmla="*/ 371 w 880"/>
              <a:gd name="T63" fmla="*/ 224 h 772"/>
              <a:gd name="T64" fmla="*/ 767 w 880"/>
              <a:gd name="T65" fmla="*/ 246 h 772"/>
              <a:gd name="T66" fmla="*/ 745 w 880"/>
              <a:gd name="T67" fmla="*/ 364 h 772"/>
              <a:gd name="T68" fmla="*/ 349 w 880"/>
              <a:gd name="T69" fmla="*/ 342 h 772"/>
              <a:gd name="T70" fmla="*/ 745 w 880"/>
              <a:gd name="T71" fmla="*/ 320 h 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80" h="772">
                <a:moveTo>
                  <a:pt x="285" y="190"/>
                </a:moveTo>
                <a:cubicBezTo>
                  <a:pt x="264" y="212"/>
                  <a:pt x="264" y="212"/>
                  <a:pt x="264" y="212"/>
                </a:cubicBezTo>
                <a:cubicBezTo>
                  <a:pt x="131" y="212"/>
                  <a:pt x="131" y="212"/>
                  <a:pt x="131" y="212"/>
                </a:cubicBezTo>
                <a:cubicBezTo>
                  <a:pt x="123" y="212"/>
                  <a:pt x="117" y="219"/>
                  <a:pt x="117" y="227"/>
                </a:cubicBezTo>
                <a:cubicBezTo>
                  <a:pt x="117" y="362"/>
                  <a:pt x="117" y="362"/>
                  <a:pt x="117" y="362"/>
                </a:cubicBezTo>
                <a:cubicBezTo>
                  <a:pt x="117" y="369"/>
                  <a:pt x="123" y="376"/>
                  <a:pt x="131" y="376"/>
                </a:cubicBezTo>
                <a:cubicBezTo>
                  <a:pt x="265" y="376"/>
                  <a:pt x="265" y="376"/>
                  <a:pt x="265" y="376"/>
                </a:cubicBezTo>
                <a:cubicBezTo>
                  <a:pt x="273" y="376"/>
                  <a:pt x="279" y="369"/>
                  <a:pt x="279" y="362"/>
                </a:cubicBezTo>
                <a:cubicBezTo>
                  <a:pt x="279" y="238"/>
                  <a:pt x="279" y="238"/>
                  <a:pt x="279" y="238"/>
                </a:cubicBezTo>
                <a:cubicBezTo>
                  <a:pt x="306" y="209"/>
                  <a:pt x="306" y="209"/>
                  <a:pt x="306" y="209"/>
                </a:cubicBezTo>
                <a:cubicBezTo>
                  <a:pt x="311" y="203"/>
                  <a:pt x="310" y="194"/>
                  <a:pt x="305" y="189"/>
                </a:cubicBezTo>
                <a:cubicBezTo>
                  <a:pt x="299" y="184"/>
                  <a:pt x="290" y="185"/>
                  <a:pt x="285" y="190"/>
                </a:cubicBezTo>
                <a:close/>
                <a:moveTo>
                  <a:pt x="251" y="348"/>
                </a:moveTo>
                <a:cubicBezTo>
                  <a:pt x="251" y="348"/>
                  <a:pt x="251" y="348"/>
                  <a:pt x="145" y="348"/>
                </a:cubicBezTo>
                <a:cubicBezTo>
                  <a:pt x="145" y="348"/>
                  <a:pt x="145" y="348"/>
                  <a:pt x="145" y="241"/>
                </a:cubicBezTo>
                <a:cubicBezTo>
                  <a:pt x="145" y="241"/>
                  <a:pt x="145" y="241"/>
                  <a:pt x="239" y="241"/>
                </a:cubicBezTo>
                <a:cubicBezTo>
                  <a:pt x="239" y="241"/>
                  <a:pt x="239" y="241"/>
                  <a:pt x="199" y="285"/>
                </a:cubicBezTo>
                <a:cubicBezTo>
                  <a:pt x="199" y="285"/>
                  <a:pt x="199" y="285"/>
                  <a:pt x="186" y="266"/>
                </a:cubicBezTo>
                <a:cubicBezTo>
                  <a:pt x="182" y="260"/>
                  <a:pt x="173" y="259"/>
                  <a:pt x="167" y="263"/>
                </a:cubicBezTo>
                <a:cubicBezTo>
                  <a:pt x="160" y="268"/>
                  <a:pt x="159" y="276"/>
                  <a:pt x="163" y="283"/>
                </a:cubicBezTo>
                <a:cubicBezTo>
                  <a:pt x="163" y="283"/>
                  <a:pt x="163" y="283"/>
                  <a:pt x="186" y="315"/>
                </a:cubicBezTo>
                <a:cubicBezTo>
                  <a:pt x="189" y="319"/>
                  <a:pt x="192" y="321"/>
                  <a:pt x="197" y="321"/>
                </a:cubicBezTo>
                <a:cubicBezTo>
                  <a:pt x="197" y="321"/>
                  <a:pt x="198" y="321"/>
                  <a:pt x="198" y="321"/>
                </a:cubicBezTo>
                <a:cubicBezTo>
                  <a:pt x="202" y="321"/>
                  <a:pt x="206" y="319"/>
                  <a:pt x="208" y="317"/>
                </a:cubicBezTo>
                <a:cubicBezTo>
                  <a:pt x="208" y="317"/>
                  <a:pt x="208" y="317"/>
                  <a:pt x="251" y="269"/>
                </a:cubicBezTo>
                <a:cubicBezTo>
                  <a:pt x="251" y="269"/>
                  <a:pt x="251" y="269"/>
                  <a:pt x="251" y="348"/>
                </a:cubicBezTo>
                <a:close/>
                <a:moveTo>
                  <a:pt x="858" y="0"/>
                </a:moveTo>
                <a:cubicBezTo>
                  <a:pt x="22" y="0"/>
                  <a:pt x="22" y="0"/>
                  <a:pt x="22" y="0"/>
                </a:cubicBezTo>
                <a:cubicBezTo>
                  <a:pt x="10" y="0"/>
                  <a:pt x="0" y="10"/>
                  <a:pt x="0" y="22"/>
                </a:cubicBezTo>
                <a:cubicBezTo>
                  <a:pt x="0" y="621"/>
                  <a:pt x="0" y="621"/>
                  <a:pt x="0" y="621"/>
                </a:cubicBezTo>
                <a:cubicBezTo>
                  <a:pt x="0" y="633"/>
                  <a:pt x="10" y="643"/>
                  <a:pt x="22" y="643"/>
                </a:cubicBezTo>
                <a:cubicBezTo>
                  <a:pt x="337" y="643"/>
                  <a:pt x="337" y="643"/>
                  <a:pt x="337" y="643"/>
                </a:cubicBezTo>
                <a:cubicBezTo>
                  <a:pt x="337" y="728"/>
                  <a:pt x="337" y="728"/>
                  <a:pt x="337" y="728"/>
                </a:cubicBezTo>
                <a:cubicBezTo>
                  <a:pt x="276" y="728"/>
                  <a:pt x="276" y="728"/>
                  <a:pt x="276" y="728"/>
                </a:cubicBezTo>
                <a:cubicBezTo>
                  <a:pt x="264" y="728"/>
                  <a:pt x="254" y="737"/>
                  <a:pt x="254" y="750"/>
                </a:cubicBezTo>
                <a:cubicBezTo>
                  <a:pt x="254" y="762"/>
                  <a:pt x="264" y="772"/>
                  <a:pt x="276" y="772"/>
                </a:cubicBezTo>
                <a:cubicBezTo>
                  <a:pt x="604" y="772"/>
                  <a:pt x="604" y="772"/>
                  <a:pt x="604" y="772"/>
                </a:cubicBezTo>
                <a:cubicBezTo>
                  <a:pt x="616" y="772"/>
                  <a:pt x="626" y="762"/>
                  <a:pt x="626" y="750"/>
                </a:cubicBezTo>
                <a:cubicBezTo>
                  <a:pt x="626" y="737"/>
                  <a:pt x="616" y="728"/>
                  <a:pt x="604" y="728"/>
                </a:cubicBezTo>
                <a:cubicBezTo>
                  <a:pt x="543" y="728"/>
                  <a:pt x="543" y="728"/>
                  <a:pt x="543" y="728"/>
                </a:cubicBezTo>
                <a:cubicBezTo>
                  <a:pt x="543" y="643"/>
                  <a:pt x="543" y="643"/>
                  <a:pt x="543" y="643"/>
                </a:cubicBezTo>
                <a:cubicBezTo>
                  <a:pt x="858" y="643"/>
                  <a:pt x="858" y="643"/>
                  <a:pt x="858" y="643"/>
                </a:cubicBezTo>
                <a:cubicBezTo>
                  <a:pt x="870" y="643"/>
                  <a:pt x="880" y="633"/>
                  <a:pt x="880" y="621"/>
                </a:cubicBezTo>
                <a:cubicBezTo>
                  <a:pt x="880" y="22"/>
                  <a:pt x="880" y="22"/>
                  <a:pt x="880" y="22"/>
                </a:cubicBezTo>
                <a:cubicBezTo>
                  <a:pt x="880" y="10"/>
                  <a:pt x="870" y="0"/>
                  <a:pt x="858" y="0"/>
                </a:cubicBezTo>
                <a:close/>
                <a:moveTo>
                  <a:pt x="440" y="600"/>
                </a:moveTo>
                <a:cubicBezTo>
                  <a:pt x="421" y="600"/>
                  <a:pt x="405" y="584"/>
                  <a:pt x="405" y="565"/>
                </a:cubicBezTo>
                <a:cubicBezTo>
                  <a:pt x="405" y="545"/>
                  <a:pt x="421" y="529"/>
                  <a:pt x="440" y="529"/>
                </a:cubicBezTo>
                <a:cubicBezTo>
                  <a:pt x="459" y="529"/>
                  <a:pt x="475" y="545"/>
                  <a:pt x="475" y="565"/>
                </a:cubicBezTo>
                <a:cubicBezTo>
                  <a:pt x="475" y="584"/>
                  <a:pt x="459" y="600"/>
                  <a:pt x="440" y="600"/>
                </a:cubicBezTo>
                <a:close/>
                <a:moveTo>
                  <a:pt x="820" y="490"/>
                </a:moveTo>
                <a:cubicBezTo>
                  <a:pt x="820" y="495"/>
                  <a:pt x="816" y="500"/>
                  <a:pt x="810" y="500"/>
                </a:cubicBezTo>
                <a:cubicBezTo>
                  <a:pt x="70" y="500"/>
                  <a:pt x="70" y="500"/>
                  <a:pt x="70" y="500"/>
                </a:cubicBezTo>
                <a:cubicBezTo>
                  <a:pt x="64" y="500"/>
                  <a:pt x="60" y="495"/>
                  <a:pt x="60" y="490"/>
                </a:cubicBezTo>
                <a:cubicBezTo>
                  <a:pt x="60" y="72"/>
                  <a:pt x="60" y="72"/>
                  <a:pt x="60" y="72"/>
                </a:cubicBezTo>
                <a:cubicBezTo>
                  <a:pt x="60" y="67"/>
                  <a:pt x="64" y="62"/>
                  <a:pt x="70" y="62"/>
                </a:cubicBezTo>
                <a:cubicBezTo>
                  <a:pt x="810" y="62"/>
                  <a:pt x="810" y="62"/>
                  <a:pt x="810" y="62"/>
                </a:cubicBezTo>
                <a:cubicBezTo>
                  <a:pt x="816" y="62"/>
                  <a:pt x="820" y="67"/>
                  <a:pt x="820" y="72"/>
                </a:cubicBezTo>
                <a:lnTo>
                  <a:pt x="820" y="490"/>
                </a:lnTo>
                <a:close/>
                <a:moveTo>
                  <a:pt x="767" y="246"/>
                </a:moveTo>
                <a:cubicBezTo>
                  <a:pt x="767" y="258"/>
                  <a:pt x="757" y="268"/>
                  <a:pt x="745" y="268"/>
                </a:cubicBezTo>
                <a:cubicBezTo>
                  <a:pt x="371" y="268"/>
                  <a:pt x="371" y="268"/>
                  <a:pt x="371" y="268"/>
                </a:cubicBezTo>
                <a:cubicBezTo>
                  <a:pt x="359" y="268"/>
                  <a:pt x="349" y="258"/>
                  <a:pt x="349" y="246"/>
                </a:cubicBezTo>
                <a:cubicBezTo>
                  <a:pt x="349" y="234"/>
                  <a:pt x="359" y="224"/>
                  <a:pt x="371" y="224"/>
                </a:cubicBezTo>
                <a:cubicBezTo>
                  <a:pt x="745" y="224"/>
                  <a:pt x="745" y="224"/>
                  <a:pt x="745" y="224"/>
                </a:cubicBezTo>
                <a:cubicBezTo>
                  <a:pt x="757" y="224"/>
                  <a:pt x="767" y="234"/>
                  <a:pt x="767" y="246"/>
                </a:cubicBezTo>
                <a:close/>
                <a:moveTo>
                  <a:pt x="767" y="342"/>
                </a:moveTo>
                <a:cubicBezTo>
                  <a:pt x="767" y="354"/>
                  <a:pt x="757" y="364"/>
                  <a:pt x="745" y="364"/>
                </a:cubicBezTo>
                <a:cubicBezTo>
                  <a:pt x="371" y="364"/>
                  <a:pt x="371" y="364"/>
                  <a:pt x="371" y="364"/>
                </a:cubicBezTo>
                <a:cubicBezTo>
                  <a:pt x="359" y="364"/>
                  <a:pt x="349" y="354"/>
                  <a:pt x="349" y="342"/>
                </a:cubicBezTo>
                <a:cubicBezTo>
                  <a:pt x="349" y="330"/>
                  <a:pt x="359" y="320"/>
                  <a:pt x="371" y="320"/>
                </a:cubicBezTo>
                <a:cubicBezTo>
                  <a:pt x="745" y="320"/>
                  <a:pt x="745" y="320"/>
                  <a:pt x="745" y="320"/>
                </a:cubicBezTo>
                <a:cubicBezTo>
                  <a:pt x="757" y="320"/>
                  <a:pt x="767" y="330"/>
                  <a:pt x="767" y="342"/>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005"/>
          </a:p>
        </p:txBody>
      </p:sp>
      <p:sp>
        <p:nvSpPr>
          <p:cNvPr id="7" name="TextBox 6">
            <a:extLst>
              <a:ext uri="{FF2B5EF4-FFF2-40B4-BE49-F238E27FC236}">
                <a16:creationId xmlns:a16="http://schemas.microsoft.com/office/drawing/2014/main" id="{662CAB21-6D45-B391-170F-469FE0A64245}"/>
              </a:ext>
            </a:extLst>
          </p:cNvPr>
          <p:cNvSpPr txBox="1"/>
          <p:nvPr/>
        </p:nvSpPr>
        <p:spPr>
          <a:xfrm>
            <a:off x="473564" y="1667409"/>
            <a:ext cx="3896300" cy="2781137"/>
          </a:xfrm>
          <a:prstGeom prst="rect">
            <a:avLst/>
          </a:prstGeom>
          <a:noFill/>
        </p:spPr>
        <p:txBody>
          <a:bodyPr wrap="square" lIns="36000" tIns="36000" rIns="36000" bIns="36000" rtlCol="0">
            <a:spAutoFit/>
          </a:bodyPr>
          <a:lstStyle/>
          <a:p>
            <a:r>
              <a:rPr lang="en-US" sz="800" b="1" spc="-40" dirty="0">
                <a:solidFill>
                  <a:schemeClr val="tx2"/>
                </a:solidFill>
              </a:rPr>
              <a:t>Objectives of the strategy work:</a:t>
            </a:r>
          </a:p>
          <a:p>
            <a:endParaRPr lang="en-US" sz="800" b="1" spc="-40" dirty="0">
              <a:solidFill>
                <a:schemeClr val="tx2"/>
              </a:solidFill>
            </a:endParaRPr>
          </a:p>
          <a:p>
            <a:pPr marL="171450" indent="-171450">
              <a:buFont typeface="Arial" panose="020B0604020202020204" pitchFamily="34" charset="0"/>
              <a:buChar char="•"/>
            </a:pPr>
            <a:r>
              <a:rPr lang="en-US" sz="800" spc="-40" dirty="0">
                <a:solidFill>
                  <a:schemeClr val="tx2"/>
                </a:solidFill>
              </a:rPr>
              <a:t>Commit semiconductor industry and stakeholders to common goals</a:t>
            </a:r>
          </a:p>
          <a:p>
            <a:pPr marL="171450" indent="-171450">
              <a:buFont typeface="Arial" panose="020B0604020202020204" pitchFamily="34" charset="0"/>
              <a:buChar char="•"/>
            </a:pPr>
            <a:r>
              <a:rPr lang="en-US" sz="800" spc="-40" dirty="0">
                <a:solidFill>
                  <a:schemeClr val="tx2"/>
                </a:solidFill>
              </a:rPr>
              <a:t>Create a strong and sustainable network for industry and stakeholder collaboration in implementing the strategy</a:t>
            </a:r>
          </a:p>
          <a:p>
            <a:pPr marL="171450" indent="-171450">
              <a:buFont typeface="Arial" panose="020B0604020202020204" pitchFamily="34" charset="0"/>
              <a:buChar char="•"/>
            </a:pPr>
            <a:r>
              <a:rPr lang="en-US" sz="800" spc="-40" dirty="0">
                <a:solidFill>
                  <a:schemeClr val="tx2"/>
                </a:solidFill>
              </a:rPr>
              <a:t>Convince international investors and experts of the opportunities and ambition within the Finnish semiconductor industry and ecosystem</a:t>
            </a:r>
          </a:p>
          <a:p>
            <a:pPr marL="171450" indent="-171450">
              <a:buFont typeface="Arial" panose="020B0604020202020204" pitchFamily="34" charset="0"/>
              <a:buChar char="•"/>
            </a:pPr>
            <a:r>
              <a:rPr lang="en-US" sz="800" spc="-40" dirty="0">
                <a:solidFill>
                  <a:schemeClr val="tx2"/>
                </a:solidFill>
              </a:rPr>
              <a:t>Persuade national decision-makers of the sector's opportunities and ambitions and provide goals and measures to key parties.</a:t>
            </a:r>
          </a:p>
          <a:p>
            <a:endParaRPr lang="en-US" sz="800" spc="-40" dirty="0">
              <a:solidFill>
                <a:schemeClr val="tx2"/>
              </a:solidFill>
            </a:endParaRPr>
          </a:p>
          <a:p>
            <a:r>
              <a:rPr lang="en-US" sz="800" spc="-40" dirty="0">
                <a:solidFill>
                  <a:schemeClr val="tx2"/>
                </a:solidFill>
              </a:rPr>
              <a:t>Semiconductors are the basis of society's essential devices, from smartphones to computers, and from health technology to energy systems. Without innovations in semiconductors, many societal goals (such as those related to the environment, artificial intelligence, and automation) cannot be achieved</a:t>
            </a:r>
          </a:p>
          <a:p>
            <a:endParaRPr lang="en-US" sz="800" spc="-40" dirty="0">
              <a:solidFill>
                <a:schemeClr val="tx2"/>
              </a:solidFill>
            </a:endParaRPr>
          </a:p>
          <a:p>
            <a:r>
              <a:rPr lang="en-US" sz="800" spc="-40" dirty="0">
                <a:solidFill>
                  <a:schemeClr val="tx2"/>
                </a:solidFill>
              </a:rPr>
              <a:t>The significance of the sector to the economy and national security is substantial, which is why many countries (and regions) have sought to strengthen their semiconductor sectors by creating national strategies and supporting measures</a:t>
            </a:r>
          </a:p>
          <a:p>
            <a:endParaRPr lang="en-US" sz="800" spc="-40" dirty="0">
              <a:solidFill>
                <a:schemeClr val="tx2"/>
              </a:solidFill>
            </a:endParaRPr>
          </a:p>
          <a:p>
            <a:r>
              <a:rPr lang="en-US" sz="800" spc="-40" dirty="0">
                <a:solidFill>
                  <a:schemeClr val="tx2"/>
                </a:solidFill>
              </a:rPr>
              <a:t>Finland can be a significant player in the semiconductor industry by leveraging its strong expertise and increasing collaboration within Europe. This requires Finland to invest in education, collaboration, attractiveness, and innovation infrastructure</a:t>
            </a:r>
            <a:endParaRPr lang="en-US" sz="1000" spc="-40" dirty="0"/>
          </a:p>
        </p:txBody>
      </p:sp>
      <p:sp>
        <p:nvSpPr>
          <p:cNvPr id="8" name="TextBox 7">
            <a:extLst>
              <a:ext uri="{FF2B5EF4-FFF2-40B4-BE49-F238E27FC236}">
                <a16:creationId xmlns:a16="http://schemas.microsoft.com/office/drawing/2014/main" id="{14FF434B-48AC-9C83-7483-A64B2B4C7A20}"/>
              </a:ext>
            </a:extLst>
          </p:cNvPr>
          <p:cNvSpPr txBox="1"/>
          <p:nvPr/>
        </p:nvSpPr>
        <p:spPr>
          <a:xfrm>
            <a:off x="369369" y="1110098"/>
            <a:ext cx="3896300" cy="246221"/>
          </a:xfrm>
          <a:prstGeom prst="rect">
            <a:avLst/>
          </a:prstGeom>
        </p:spPr>
        <p:txBody>
          <a:bodyPr wrap="square">
            <a:spAutoFit/>
          </a:bodyPr>
          <a:lstStyle/>
          <a:p>
            <a:r>
              <a:rPr lang="en-US" sz="1000" b="1" spc="-40" dirty="0"/>
              <a:t>Why was the growth strategy developed?</a:t>
            </a:r>
          </a:p>
        </p:txBody>
      </p:sp>
      <p:sp>
        <p:nvSpPr>
          <p:cNvPr id="9" name="TextBox 8">
            <a:extLst>
              <a:ext uri="{FF2B5EF4-FFF2-40B4-BE49-F238E27FC236}">
                <a16:creationId xmlns:a16="http://schemas.microsoft.com/office/drawing/2014/main" id="{DCA9EE17-A63F-07D2-84EA-34CD67CEC5B1}"/>
              </a:ext>
            </a:extLst>
          </p:cNvPr>
          <p:cNvSpPr txBox="1"/>
          <p:nvPr/>
        </p:nvSpPr>
        <p:spPr>
          <a:xfrm>
            <a:off x="4686814" y="1110098"/>
            <a:ext cx="3896300" cy="246221"/>
          </a:xfrm>
          <a:prstGeom prst="rect">
            <a:avLst/>
          </a:prstGeom>
        </p:spPr>
        <p:txBody>
          <a:bodyPr wrap="square">
            <a:spAutoFit/>
          </a:bodyPr>
          <a:lstStyle/>
          <a:p>
            <a:r>
              <a:rPr lang="en-US" sz="1000" b="1" spc="-40" dirty="0"/>
              <a:t>How was the strategy developed?</a:t>
            </a:r>
          </a:p>
        </p:txBody>
      </p:sp>
      <p:sp>
        <p:nvSpPr>
          <p:cNvPr id="10" name="TextBox 9">
            <a:extLst>
              <a:ext uri="{FF2B5EF4-FFF2-40B4-BE49-F238E27FC236}">
                <a16:creationId xmlns:a16="http://schemas.microsoft.com/office/drawing/2014/main" id="{19FE99DC-1AED-7B2B-41A5-FB4A1B6E08DD}"/>
              </a:ext>
            </a:extLst>
          </p:cNvPr>
          <p:cNvSpPr txBox="1"/>
          <p:nvPr/>
        </p:nvSpPr>
        <p:spPr>
          <a:xfrm>
            <a:off x="4774137" y="4005683"/>
            <a:ext cx="4004114" cy="442035"/>
          </a:xfrm>
          <a:prstGeom prst="rect">
            <a:avLst/>
          </a:prstGeom>
          <a:noFill/>
        </p:spPr>
        <p:txBody>
          <a:bodyPr wrap="square" lIns="36000" tIns="36000" rIns="36000" bIns="36000" rtlCol="0">
            <a:spAutoFit/>
          </a:bodyPr>
          <a:lstStyle/>
          <a:p>
            <a:r>
              <a:rPr lang="en-US" sz="800" spc="-40"/>
              <a:t>Additionally, the report utilized numerous different sources, including the "Microelectronics in Finland" report by academics and the results of </a:t>
            </a:r>
            <a:r>
              <a:rPr lang="en-US" sz="800" spc="-40" err="1"/>
              <a:t>TIF's</a:t>
            </a:r>
            <a:r>
              <a:rPr lang="en-US" sz="800" spc="-40"/>
              <a:t> APR workshop in 2022</a:t>
            </a:r>
            <a:endParaRPr lang="en-US" sz="1000" spc="-40"/>
          </a:p>
        </p:txBody>
      </p:sp>
      <p:sp>
        <p:nvSpPr>
          <p:cNvPr id="11" name="TextBox 10">
            <a:extLst>
              <a:ext uri="{FF2B5EF4-FFF2-40B4-BE49-F238E27FC236}">
                <a16:creationId xmlns:a16="http://schemas.microsoft.com/office/drawing/2014/main" id="{745E615C-2ACE-07D9-CED4-CCDC72792CAF}"/>
              </a:ext>
            </a:extLst>
          </p:cNvPr>
          <p:cNvSpPr txBox="1"/>
          <p:nvPr/>
        </p:nvSpPr>
        <p:spPr>
          <a:xfrm>
            <a:off x="4774137" y="1685443"/>
            <a:ext cx="3982608" cy="318924"/>
          </a:xfrm>
          <a:prstGeom prst="rect">
            <a:avLst/>
          </a:prstGeom>
          <a:noFill/>
        </p:spPr>
        <p:txBody>
          <a:bodyPr wrap="square" lIns="36000" tIns="36000" rIns="36000" bIns="36000" rtlCol="0">
            <a:spAutoFit/>
          </a:bodyPr>
          <a:lstStyle/>
          <a:p>
            <a:r>
              <a:rPr lang="en-US" sz="800" b="1" spc="-40" dirty="0"/>
              <a:t>The strategy was industry-led</a:t>
            </a:r>
            <a:r>
              <a:rPr lang="en-US" sz="800" spc="-40" dirty="0"/>
              <a:t> – over 200 industry experts had the opportunity to influence the strategy through various methods:</a:t>
            </a:r>
            <a:endParaRPr lang="en-US" sz="800" b="1" spc="-40" dirty="0"/>
          </a:p>
        </p:txBody>
      </p:sp>
      <p:sp>
        <p:nvSpPr>
          <p:cNvPr id="12" name="TextBox 11">
            <a:extLst>
              <a:ext uri="{FF2B5EF4-FFF2-40B4-BE49-F238E27FC236}">
                <a16:creationId xmlns:a16="http://schemas.microsoft.com/office/drawing/2014/main" id="{1D9FCD67-9F44-4506-3C7C-AE3E5B37478B}"/>
              </a:ext>
            </a:extLst>
          </p:cNvPr>
          <p:cNvSpPr txBox="1"/>
          <p:nvPr/>
        </p:nvSpPr>
        <p:spPr>
          <a:xfrm>
            <a:off x="5015383" y="2117647"/>
            <a:ext cx="3708000" cy="461665"/>
          </a:xfrm>
          <a:prstGeom prst="rect">
            <a:avLst/>
          </a:prstGeom>
          <a:noFill/>
        </p:spPr>
        <p:txBody>
          <a:bodyPr wrap="square">
            <a:spAutoFit/>
          </a:bodyPr>
          <a:lstStyle/>
          <a:p>
            <a:r>
              <a:rPr lang="en-US" sz="800" b="1" spc="-40"/>
              <a:t>Survey </a:t>
            </a:r>
            <a:r>
              <a:rPr lang="en-US" sz="800" spc="-40"/>
              <a:t>(~100 responses): A survey focusing on Finland's strengths, opportunities, and support pillars, covering representatives from companies, academics, organizations, public institutions, and investors</a:t>
            </a:r>
            <a:endParaRPr lang="en-US" sz="800" b="1" spc="-40"/>
          </a:p>
        </p:txBody>
      </p:sp>
      <p:grpSp>
        <p:nvGrpSpPr>
          <p:cNvPr id="13" name="bcgBugs_1on1 Meeting Gender neutral ">
            <a:extLst>
              <a:ext uri="{FF2B5EF4-FFF2-40B4-BE49-F238E27FC236}">
                <a16:creationId xmlns:a16="http://schemas.microsoft.com/office/drawing/2014/main" id="{B81C3BF5-ADDA-FD12-3B4A-1156A6B8A7AA}"/>
              </a:ext>
            </a:extLst>
          </p:cNvPr>
          <p:cNvGrpSpPr>
            <a:grpSpLocks noChangeAspect="1"/>
          </p:cNvGrpSpPr>
          <p:nvPr/>
        </p:nvGrpSpPr>
        <p:grpSpPr>
          <a:xfrm>
            <a:off x="4812117" y="2666140"/>
            <a:ext cx="205712" cy="205712"/>
            <a:chOff x="7324949" y="3200401"/>
            <a:chExt cx="457200" cy="457200"/>
          </a:xfrm>
        </p:grpSpPr>
        <p:sp>
          <p:nvSpPr>
            <p:cNvPr id="14" name="AutoShape 4">
              <a:extLst>
                <a:ext uri="{FF2B5EF4-FFF2-40B4-BE49-F238E27FC236}">
                  <a16:creationId xmlns:a16="http://schemas.microsoft.com/office/drawing/2014/main" id="{56B4245E-9224-074A-606D-12F42ED133A6}"/>
                </a:ext>
              </a:extLst>
            </p:cNvPr>
            <p:cNvSpPr>
              <a:spLocks noChangeAspect="1"/>
            </p:cNvSpPr>
            <p:nvPr/>
          </p:nvSpPr>
          <p:spPr bwMode="auto">
            <a:xfrm>
              <a:off x="7324949" y="3200401"/>
              <a:ext cx="4572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68580" tIns="34290" rIns="68580" bIns="34290" numCol="1" anchor="t" anchorCtr="0" compatLnSpc="1">
              <a:prstTxWarp prst="textNoShape">
                <a:avLst/>
              </a:prstTxWarp>
            </a:bodyPr>
            <a:lstStyle/>
            <a:p>
              <a:endParaRPr lang="en-US" sz="1005"/>
            </a:p>
          </p:txBody>
        </p:sp>
        <p:sp>
          <p:nvSpPr>
            <p:cNvPr id="15" name="Freeform 6">
              <a:extLst>
                <a:ext uri="{FF2B5EF4-FFF2-40B4-BE49-F238E27FC236}">
                  <a16:creationId xmlns:a16="http://schemas.microsoft.com/office/drawing/2014/main" id="{AD32FFC0-ABBE-96C9-EE74-079A3B07342E}"/>
                </a:ext>
              </a:extLst>
            </p:cNvPr>
            <p:cNvSpPr>
              <a:spLocks/>
            </p:cNvSpPr>
            <p:nvPr/>
          </p:nvSpPr>
          <p:spPr bwMode="auto">
            <a:xfrm>
              <a:off x="7334570" y="3278718"/>
              <a:ext cx="438535" cy="301144"/>
            </a:xfrm>
            <a:custGeom>
              <a:avLst/>
              <a:gdLst>
                <a:gd name="T0" fmla="*/ 448 w 958"/>
                <a:gd name="T1" fmla="*/ 115 h 658"/>
                <a:gd name="T2" fmla="*/ 412 w 958"/>
                <a:gd name="T3" fmla="*/ 136 h 658"/>
                <a:gd name="T4" fmla="*/ 359 w 958"/>
                <a:gd name="T5" fmla="*/ 190 h 658"/>
                <a:gd name="T6" fmla="*/ 354 w 958"/>
                <a:gd name="T7" fmla="*/ 136 h 658"/>
                <a:gd name="T8" fmla="*/ 295 w 958"/>
                <a:gd name="T9" fmla="*/ 115 h 658"/>
                <a:gd name="T10" fmla="*/ 317 w 958"/>
                <a:gd name="T11" fmla="*/ 0 h 658"/>
                <a:gd name="T12" fmla="*/ 448 w 958"/>
                <a:gd name="T13" fmla="*/ 22 h 658"/>
                <a:gd name="T14" fmla="*/ 612 w 958"/>
                <a:gd name="T15" fmla="*/ 208 h 658"/>
                <a:gd name="T16" fmla="*/ 649 w 958"/>
                <a:gd name="T17" fmla="*/ 158 h 658"/>
                <a:gd name="T18" fmla="*/ 671 w 958"/>
                <a:gd name="T19" fmla="*/ 44 h 658"/>
                <a:gd name="T20" fmla="*/ 501 w 958"/>
                <a:gd name="T21" fmla="*/ 22 h 658"/>
                <a:gd name="T22" fmla="*/ 492 w 958"/>
                <a:gd name="T23" fmla="*/ 24 h 658"/>
                <a:gd name="T24" fmla="*/ 480 w 958"/>
                <a:gd name="T25" fmla="*/ 136 h 658"/>
                <a:gd name="T26" fmla="*/ 501 w 958"/>
                <a:gd name="T27" fmla="*/ 158 h 658"/>
                <a:gd name="T28" fmla="*/ 600 w 958"/>
                <a:gd name="T29" fmla="*/ 208 h 658"/>
                <a:gd name="T30" fmla="*/ 385 w 958"/>
                <a:gd name="T31" fmla="*/ 417 h 658"/>
                <a:gd name="T32" fmla="*/ 360 w 958"/>
                <a:gd name="T33" fmla="*/ 475 h 658"/>
                <a:gd name="T34" fmla="*/ 351 w 958"/>
                <a:gd name="T35" fmla="*/ 563 h 658"/>
                <a:gd name="T36" fmla="*/ 265 w 958"/>
                <a:gd name="T37" fmla="*/ 572 h 658"/>
                <a:gd name="T38" fmla="*/ 256 w 958"/>
                <a:gd name="T39" fmla="*/ 658 h 658"/>
                <a:gd name="T40" fmla="*/ 135 w 958"/>
                <a:gd name="T41" fmla="*/ 631 h 658"/>
                <a:gd name="T42" fmla="*/ 130 w 958"/>
                <a:gd name="T43" fmla="*/ 558 h 658"/>
                <a:gd name="T44" fmla="*/ 214 w 958"/>
                <a:gd name="T45" fmla="*/ 212 h 658"/>
                <a:gd name="T46" fmla="*/ 365 w 958"/>
                <a:gd name="T47" fmla="*/ 293 h 658"/>
                <a:gd name="T48" fmla="*/ 361 w 958"/>
                <a:gd name="T49" fmla="*/ 313 h 658"/>
                <a:gd name="T50" fmla="*/ 366 w 958"/>
                <a:gd name="T51" fmla="*/ 387 h 658"/>
                <a:gd name="T52" fmla="*/ 382 w 958"/>
                <a:gd name="T53" fmla="*/ 448 h 658"/>
                <a:gd name="T54" fmla="*/ 347 w 958"/>
                <a:gd name="T55" fmla="*/ 394 h 658"/>
                <a:gd name="T56" fmla="*/ 250 w 958"/>
                <a:gd name="T57" fmla="*/ 412 h 658"/>
                <a:gd name="T58" fmla="*/ 248 w 958"/>
                <a:gd name="T59" fmla="*/ 407 h 658"/>
                <a:gd name="T60" fmla="*/ 172 w 958"/>
                <a:gd name="T61" fmla="*/ 430 h 658"/>
                <a:gd name="T62" fmla="*/ 150 w 958"/>
                <a:gd name="T63" fmla="*/ 550 h 658"/>
                <a:gd name="T64" fmla="*/ 150 w 958"/>
                <a:gd name="T65" fmla="*/ 550 h 658"/>
                <a:gd name="T66" fmla="*/ 150 w 958"/>
                <a:gd name="T67" fmla="*/ 551 h 658"/>
                <a:gd name="T68" fmla="*/ 245 w 958"/>
                <a:gd name="T69" fmla="*/ 638 h 658"/>
                <a:gd name="T70" fmla="*/ 250 w 958"/>
                <a:gd name="T71" fmla="*/ 553 h 658"/>
                <a:gd name="T72" fmla="*/ 296 w 958"/>
                <a:gd name="T73" fmla="*/ 554 h 658"/>
                <a:gd name="T74" fmla="*/ 339 w 958"/>
                <a:gd name="T75" fmla="*/ 465 h 658"/>
                <a:gd name="T76" fmla="*/ 351 w 958"/>
                <a:gd name="T77" fmla="*/ 454 h 658"/>
                <a:gd name="T78" fmla="*/ 828 w 958"/>
                <a:gd name="T79" fmla="*/ 558 h 658"/>
                <a:gd name="T80" fmla="*/ 823 w 958"/>
                <a:gd name="T81" fmla="*/ 631 h 658"/>
                <a:gd name="T82" fmla="*/ 702 w 958"/>
                <a:gd name="T83" fmla="*/ 658 h 658"/>
                <a:gd name="T84" fmla="*/ 693 w 958"/>
                <a:gd name="T85" fmla="*/ 572 h 658"/>
                <a:gd name="T86" fmla="*/ 607 w 958"/>
                <a:gd name="T87" fmla="*/ 563 h 658"/>
                <a:gd name="T88" fmla="*/ 598 w 958"/>
                <a:gd name="T89" fmla="*/ 475 h 658"/>
                <a:gd name="T90" fmla="*/ 573 w 958"/>
                <a:gd name="T91" fmla="*/ 417 h 658"/>
                <a:gd name="T92" fmla="*/ 597 w 958"/>
                <a:gd name="T93" fmla="*/ 318 h 658"/>
                <a:gd name="T94" fmla="*/ 593 w 958"/>
                <a:gd name="T95" fmla="*/ 296 h 658"/>
                <a:gd name="T96" fmla="*/ 730 w 958"/>
                <a:gd name="T97" fmla="*/ 213 h 658"/>
                <a:gd name="T98" fmla="*/ 901 w 958"/>
                <a:gd name="T99" fmla="*/ 303 h 658"/>
                <a:gd name="T100" fmla="*/ 786 w 958"/>
                <a:gd name="T101" fmla="*/ 430 h 658"/>
                <a:gd name="T102" fmla="*/ 710 w 958"/>
                <a:gd name="T103" fmla="*/ 407 h 658"/>
                <a:gd name="T104" fmla="*/ 708 w 958"/>
                <a:gd name="T105" fmla="*/ 412 h 658"/>
                <a:gd name="T106" fmla="*/ 611 w 958"/>
                <a:gd name="T107" fmla="*/ 394 h 658"/>
                <a:gd name="T108" fmla="*/ 576 w 958"/>
                <a:gd name="T109" fmla="*/ 448 h 658"/>
                <a:gd name="T110" fmla="*/ 615 w 958"/>
                <a:gd name="T111" fmla="*/ 457 h 658"/>
                <a:gd name="T112" fmla="*/ 621 w 958"/>
                <a:gd name="T113" fmla="*/ 549 h 658"/>
                <a:gd name="T114" fmla="*/ 701 w 958"/>
                <a:gd name="T115" fmla="*/ 551 h 658"/>
                <a:gd name="T116" fmla="*/ 713 w 958"/>
                <a:gd name="T117" fmla="*/ 561 h 658"/>
                <a:gd name="T118" fmla="*/ 808 w 958"/>
                <a:gd name="T119" fmla="*/ 616 h 658"/>
                <a:gd name="T120" fmla="*/ 808 w 958"/>
                <a:gd name="T121" fmla="*/ 550 h 658"/>
                <a:gd name="T122" fmla="*/ 808 w 958"/>
                <a:gd name="T123" fmla="*/ 549 h 658"/>
                <a:gd name="T124" fmla="*/ 827 w 958"/>
                <a:gd name="T125" fmla="*/ 504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958" h="658">
                  <a:moveTo>
                    <a:pt x="448" y="22"/>
                  </a:moveTo>
                  <a:cubicBezTo>
                    <a:pt x="448" y="115"/>
                    <a:pt x="448" y="115"/>
                    <a:pt x="448" y="115"/>
                  </a:cubicBezTo>
                  <a:cubicBezTo>
                    <a:pt x="448" y="122"/>
                    <a:pt x="449" y="130"/>
                    <a:pt x="452" y="136"/>
                  </a:cubicBezTo>
                  <a:cubicBezTo>
                    <a:pt x="412" y="136"/>
                    <a:pt x="412" y="136"/>
                    <a:pt x="412" y="136"/>
                  </a:cubicBezTo>
                  <a:cubicBezTo>
                    <a:pt x="393" y="155"/>
                    <a:pt x="372" y="180"/>
                    <a:pt x="366" y="186"/>
                  </a:cubicBezTo>
                  <a:cubicBezTo>
                    <a:pt x="363" y="189"/>
                    <a:pt x="361" y="190"/>
                    <a:pt x="359" y="190"/>
                  </a:cubicBezTo>
                  <a:cubicBezTo>
                    <a:pt x="355" y="190"/>
                    <a:pt x="354" y="186"/>
                    <a:pt x="354" y="186"/>
                  </a:cubicBezTo>
                  <a:cubicBezTo>
                    <a:pt x="354" y="136"/>
                    <a:pt x="354" y="136"/>
                    <a:pt x="354" y="136"/>
                  </a:cubicBezTo>
                  <a:cubicBezTo>
                    <a:pt x="317" y="136"/>
                    <a:pt x="317" y="136"/>
                    <a:pt x="317" y="136"/>
                  </a:cubicBezTo>
                  <a:cubicBezTo>
                    <a:pt x="305" y="136"/>
                    <a:pt x="295" y="127"/>
                    <a:pt x="295" y="115"/>
                  </a:cubicBezTo>
                  <a:cubicBezTo>
                    <a:pt x="295" y="21"/>
                    <a:pt x="295" y="21"/>
                    <a:pt x="295" y="21"/>
                  </a:cubicBezTo>
                  <a:cubicBezTo>
                    <a:pt x="295" y="9"/>
                    <a:pt x="305" y="0"/>
                    <a:pt x="317" y="0"/>
                  </a:cubicBezTo>
                  <a:cubicBezTo>
                    <a:pt x="400" y="0"/>
                    <a:pt x="436" y="0"/>
                    <a:pt x="452" y="0"/>
                  </a:cubicBezTo>
                  <a:cubicBezTo>
                    <a:pt x="449" y="6"/>
                    <a:pt x="448" y="14"/>
                    <a:pt x="448" y="22"/>
                  </a:cubicBezTo>
                  <a:close/>
                  <a:moveTo>
                    <a:pt x="607" y="212"/>
                  </a:moveTo>
                  <a:cubicBezTo>
                    <a:pt x="611" y="212"/>
                    <a:pt x="612" y="208"/>
                    <a:pt x="612" y="208"/>
                  </a:cubicBezTo>
                  <a:cubicBezTo>
                    <a:pt x="612" y="158"/>
                    <a:pt x="612" y="158"/>
                    <a:pt x="612" y="158"/>
                  </a:cubicBezTo>
                  <a:cubicBezTo>
                    <a:pt x="649" y="158"/>
                    <a:pt x="649" y="158"/>
                    <a:pt x="649" y="158"/>
                  </a:cubicBezTo>
                  <a:cubicBezTo>
                    <a:pt x="661" y="158"/>
                    <a:pt x="671" y="149"/>
                    <a:pt x="671" y="137"/>
                  </a:cubicBezTo>
                  <a:cubicBezTo>
                    <a:pt x="671" y="44"/>
                    <a:pt x="671" y="44"/>
                    <a:pt x="671" y="44"/>
                  </a:cubicBezTo>
                  <a:cubicBezTo>
                    <a:pt x="671" y="32"/>
                    <a:pt x="661" y="22"/>
                    <a:pt x="649" y="22"/>
                  </a:cubicBezTo>
                  <a:cubicBezTo>
                    <a:pt x="501" y="22"/>
                    <a:pt x="501" y="22"/>
                    <a:pt x="501" y="22"/>
                  </a:cubicBezTo>
                  <a:cubicBezTo>
                    <a:pt x="499" y="22"/>
                    <a:pt x="497" y="22"/>
                    <a:pt x="495" y="23"/>
                  </a:cubicBezTo>
                  <a:cubicBezTo>
                    <a:pt x="494" y="23"/>
                    <a:pt x="493" y="24"/>
                    <a:pt x="492" y="24"/>
                  </a:cubicBezTo>
                  <a:cubicBezTo>
                    <a:pt x="485" y="27"/>
                    <a:pt x="480" y="35"/>
                    <a:pt x="480" y="44"/>
                  </a:cubicBezTo>
                  <a:cubicBezTo>
                    <a:pt x="480" y="117"/>
                    <a:pt x="480" y="133"/>
                    <a:pt x="480" y="136"/>
                  </a:cubicBezTo>
                  <a:cubicBezTo>
                    <a:pt x="480" y="137"/>
                    <a:pt x="480" y="137"/>
                    <a:pt x="480" y="137"/>
                  </a:cubicBezTo>
                  <a:cubicBezTo>
                    <a:pt x="480" y="149"/>
                    <a:pt x="489" y="158"/>
                    <a:pt x="501" y="158"/>
                  </a:cubicBezTo>
                  <a:cubicBezTo>
                    <a:pt x="553" y="158"/>
                    <a:pt x="553" y="158"/>
                    <a:pt x="553" y="158"/>
                  </a:cubicBezTo>
                  <a:cubicBezTo>
                    <a:pt x="572" y="177"/>
                    <a:pt x="593" y="201"/>
                    <a:pt x="600" y="208"/>
                  </a:cubicBezTo>
                  <a:cubicBezTo>
                    <a:pt x="603" y="211"/>
                    <a:pt x="605" y="212"/>
                    <a:pt x="607" y="212"/>
                  </a:cubicBezTo>
                  <a:close/>
                  <a:moveTo>
                    <a:pt x="385" y="417"/>
                  </a:moveTo>
                  <a:cubicBezTo>
                    <a:pt x="393" y="426"/>
                    <a:pt x="406" y="443"/>
                    <a:pt x="401" y="455"/>
                  </a:cubicBezTo>
                  <a:cubicBezTo>
                    <a:pt x="398" y="462"/>
                    <a:pt x="386" y="474"/>
                    <a:pt x="360" y="475"/>
                  </a:cubicBezTo>
                  <a:cubicBezTo>
                    <a:pt x="361" y="483"/>
                    <a:pt x="361" y="494"/>
                    <a:pt x="361" y="506"/>
                  </a:cubicBezTo>
                  <a:cubicBezTo>
                    <a:pt x="361" y="547"/>
                    <a:pt x="356" y="558"/>
                    <a:pt x="351" y="563"/>
                  </a:cubicBezTo>
                  <a:cubicBezTo>
                    <a:pt x="346" y="568"/>
                    <a:pt x="335" y="574"/>
                    <a:pt x="295" y="574"/>
                  </a:cubicBezTo>
                  <a:cubicBezTo>
                    <a:pt x="289" y="574"/>
                    <a:pt x="276" y="573"/>
                    <a:pt x="265" y="572"/>
                  </a:cubicBezTo>
                  <a:cubicBezTo>
                    <a:pt x="265" y="572"/>
                    <a:pt x="265" y="572"/>
                    <a:pt x="265" y="648"/>
                  </a:cubicBezTo>
                  <a:cubicBezTo>
                    <a:pt x="265" y="653"/>
                    <a:pt x="261" y="657"/>
                    <a:pt x="256" y="658"/>
                  </a:cubicBezTo>
                  <a:cubicBezTo>
                    <a:pt x="255" y="658"/>
                    <a:pt x="252" y="658"/>
                    <a:pt x="246" y="658"/>
                  </a:cubicBezTo>
                  <a:cubicBezTo>
                    <a:pt x="224" y="658"/>
                    <a:pt x="175" y="655"/>
                    <a:pt x="135" y="631"/>
                  </a:cubicBezTo>
                  <a:cubicBezTo>
                    <a:pt x="132" y="629"/>
                    <a:pt x="130" y="626"/>
                    <a:pt x="130" y="622"/>
                  </a:cubicBezTo>
                  <a:cubicBezTo>
                    <a:pt x="130" y="622"/>
                    <a:pt x="130" y="594"/>
                    <a:pt x="130" y="558"/>
                  </a:cubicBezTo>
                  <a:cubicBezTo>
                    <a:pt x="94" y="530"/>
                    <a:pt x="0" y="418"/>
                    <a:pt x="57" y="303"/>
                  </a:cubicBezTo>
                  <a:cubicBezTo>
                    <a:pt x="80" y="257"/>
                    <a:pt x="133" y="212"/>
                    <a:pt x="214" y="212"/>
                  </a:cubicBezTo>
                  <a:cubicBezTo>
                    <a:pt x="219" y="212"/>
                    <a:pt x="223" y="213"/>
                    <a:pt x="228" y="213"/>
                  </a:cubicBezTo>
                  <a:cubicBezTo>
                    <a:pt x="330" y="220"/>
                    <a:pt x="366" y="269"/>
                    <a:pt x="365" y="293"/>
                  </a:cubicBezTo>
                  <a:cubicBezTo>
                    <a:pt x="365" y="293"/>
                    <a:pt x="365" y="293"/>
                    <a:pt x="365" y="296"/>
                  </a:cubicBezTo>
                  <a:cubicBezTo>
                    <a:pt x="365" y="302"/>
                    <a:pt x="364" y="307"/>
                    <a:pt x="361" y="313"/>
                  </a:cubicBezTo>
                  <a:cubicBezTo>
                    <a:pt x="361" y="315"/>
                    <a:pt x="361" y="316"/>
                    <a:pt x="361" y="318"/>
                  </a:cubicBezTo>
                  <a:cubicBezTo>
                    <a:pt x="362" y="327"/>
                    <a:pt x="364" y="383"/>
                    <a:pt x="366" y="387"/>
                  </a:cubicBezTo>
                  <a:cubicBezTo>
                    <a:pt x="369" y="396"/>
                    <a:pt x="376" y="409"/>
                    <a:pt x="385" y="417"/>
                  </a:cubicBezTo>
                  <a:close/>
                  <a:moveTo>
                    <a:pt x="382" y="448"/>
                  </a:moveTo>
                  <a:cubicBezTo>
                    <a:pt x="381" y="444"/>
                    <a:pt x="377" y="438"/>
                    <a:pt x="371" y="431"/>
                  </a:cubicBezTo>
                  <a:cubicBezTo>
                    <a:pt x="357" y="418"/>
                    <a:pt x="349" y="400"/>
                    <a:pt x="347" y="394"/>
                  </a:cubicBezTo>
                  <a:cubicBezTo>
                    <a:pt x="345" y="390"/>
                    <a:pt x="344" y="362"/>
                    <a:pt x="343" y="342"/>
                  </a:cubicBezTo>
                  <a:cubicBezTo>
                    <a:pt x="322" y="364"/>
                    <a:pt x="277" y="398"/>
                    <a:pt x="250" y="412"/>
                  </a:cubicBezTo>
                  <a:cubicBezTo>
                    <a:pt x="250" y="412"/>
                    <a:pt x="250" y="412"/>
                    <a:pt x="249" y="412"/>
                  </a:cubicBezTo>
                  <a:cubicBezTo>
                    <a:pt x="247" y="412"/>
                    <a:pt x="246" y="409"/>
                    <a:pt x="248" y="407"/>
                  </a:cubicBezTo>
                  <a:cubicBezTo>
                    <a:pt x="257" y="400"/>
                    <a:pt x="263" y="394"/>
                    <a:pt x="267" y="388"/>
                  </a:cubicBezTo>
                  <a:cubicBezTo>
                    <a:pt x="230" y="404"/>
                    <a:pt x="194" y="421"/>
                    <a:pt x="172" y="430"/>
                  </a:cubicBezTo>
                  <a:cubicBezTo>
                    <a:pt x="145" y="442"/>
                    <a:pt x="128" y="472"/>
                    <a:pt x="131" y="504"/>
                  </a:cubicBezTo>
                  <a:cubicBezTo>
                    <a:pt x="134" y="526"/>
                    <a:pt x="149" y="538"/>
                    <a:pt x="150" y="550"/>
                  </a:cubicBezTo>
                  <a:cubicBezTo>
                    <a:pt x="150" y="549"/>
                    <a:pt x="150" y="549"/>
                    <a:pt x="150" y="549"/>
                  </a:cubicBezTo>
                  <a:cubicBezTo>
                    <a:pt x="150" y="550"/>
                    <a:pt x="150" y="550"/>
                    <a:pt x="150" y="550"/>
                  </a:cubicBezTo>
                  <a:cubicBezTo>
                    <a:pt x="150" y="550"/>
                    <a:pt x="150" y="550"/>
                    <a:pt x="150" y="550"/>
                  </a:cubicBezTo>
                  <a:cubicBezTo>
                    <a:pt x="150" y="551"/>
                    <a:pt x="150" y="551"/>
                    <a:pt x="150" y="551"/>
                  </a:cubicBezTo>
                  <a:cubicBezTo>
                    <a:pt x="150" y="558"/>
                    <a:pt x="150" y="586"/>
                    <a:pt x="150" y="616"/>
                  </a:cubicBezTo>
                  <a:cubicBezTo>
                    <a:pt x="185" y="635"/>
                    <a:pt x="227" y="638"/>
                    <a:pt x="245" y="638"/>
                  </a:cubicBezTo>
                  <a:cubicBezTo>
                    <a:pt x="245" y="638"/>
                    <a:pt x="245" y="638"/>
                    <a:pt x="245" y="561"/>
                  </a:cubicBezTo>
                  <a:cubicBezTo>
                    <a:pt x="245" y="558"/>
                    <a:pt x="247" y="555"/>
                    <a:pt x="250" y="553"/>
                  </a:cubicBezTo>
                  <a:cubicBezTo>
                    <a:pt x="252" y="551"/>
                    <a:pt x="255" y="551"/>
                    <a:pt x="257" y="551"/>
                  </a:cubicBezTo>
                  <a:cubicBezTo>
                    <a:pt x="261" y="552"/>
                    <a:pt x="278" y="553"/>
                    <a:pt x="296" y="554"/>
                  </a:cubicBezTo>
                  <a:cubicBezTo>
                    <a:pt x="328" y="554"/>
                    <a:pt x="335" y="550"/>
                    <a:pt x="337" y="549"/>
                  </a:cubicBezTo>
                  <a:cubicBezTo>
                    <a:pt x="342" y="542"/>
                    <a:pt x="342" y="500"/>
                    <a:pt x="339" y="465"/>
                  </a:cubicBezTo>
                  <a:cubicBezTo>
                    <a:pt x="339" y="462"/>
                    <a:pt x="340" y="459"/>
                    <a:pt x="343" y="457"/>
                  </a:cubicBezTo>
                  <a:cubicBezTo>
                    <a:pt x="345" y="455"/>
                    <a:pt x="348" y="454"/>
                    <a:pt x="351" y="454"/>
                  </a:cubicBezTo>
                  <a:cubicBezTo>
                    <a:pt x="369" y="457"/>
                    <a:pt x="379" y="451"/>
                    <a:pt x="382" y="448"/>
                  </a:cubicBezTo>
                  <a:close/>
                  <a:moveTo>
                    <a:pt x="828" y="558"/>
                  </a:moveTo>
                  <a:cubicBezTo>
                    <a:pt x="828" y="594"/>
                    <a:pt x="828" y="622"/>
                    <a:pt x="828" y="622"/>
                  </a:cubicBezTo>
                  <a:cubicBezTo>
                    <a:pt x="828" y="626"/>
                    <a:pt x="826" y="629"/>
                    <a:pt x="823" y="631"/>
                  </a:cubicBezTo>
                  <a:cubicBezTo>
                    <a:pt x="783" y="655"/>
                    <a:pt x="734" y="658"/>
                    <a:pt x="712" y="658"/>
                  </a:cubicBezTo>
                  <a:cubicBezTo>
                    <a:pt x="706" y="658"/>
                    <a:pt x="703" y="658"/>
                    <a:pt x="702" y="658"/>
                  </a:cubicBezTo>
                  <a:cubicBezTo>
                    <a:pt x="697" y="657"/>
                    <a:pt x="693" y="653"/>
                    <a:pt x="693" y="648"/>
                  </a:cubicBezTo>
                  <a:cubicBezTo>
                    <a:pt x="693" y="572"/>
                    <a:pt x="693" y="572"/>
                    <a:pt x="693" y="572"/>
                  </a:cubicBezTo>
                  <a:cubicBezTo>
                    <a:pt x="682" y="573"/>
                    <a:pt x="669" y="574"/>
                    <a:pt x="663" y="574"/>
                  </a:cubicBezTo>
                  <a:cubicBezTo>
                    <a:pt x="623" y="574"/>
                    <a:pt x="612" y="568"/>
                    <a:pt x="607" y="563"/>
                  </a:cubicBezTo>
                  <a:cubicBezTo>
                    <a:pt x="602" y="558"/>
                    <a:pt x="597" y="547"/>
                    <a:pt x="597" y="506"/>
                  </a:cubicBezTo>
                  <a:cubicBezTo>
                    <a:pt x="597" y="494"/>
                    <a:pt x="597" y="483"/>
                    <a:pt x="598" y="475"/>
                  </a:cubicBezTo>
                  <a:cubicBezTo>
                    <a:pt x="572" y="474"/>
                    <a:pt x="560" y="462"/>
                    <a:pt x="557" y="455"/>
                  </a:cubicBezTo>
                  <a:cubicBezTo>
                    <a:pt x="552" y="443"/>
                    <a:pt x="565" y="426"/>
                    <a:pt x="573" y="417"/>
                  </a:cubicBezTo>
                  <a:cubicBezTo>
                    <a:pt x="582" y="409"/>
                    <a:pt x="589" y="396"/>
                    <a:pt x="592" y="387"/>
                  </a:cubicBezTo>
                  <a:cubicBezTo>
                    <a:pt x="594" y="383"/>
                    <a:pt x="596" y="327"/>
                    <a:pt x="597" y="318"/>
                  </a:cubicBezTo>
                  <a:cubicBezTo>
                    <a:pt x="597" y="316"/>
                    <a:pt x="597" y="315"/>
                    <a:pt x="597" y="313"/>
                  </a:cubicBezTo>
                  <a:cubicBezTo>
                    <a:pt x="594" y="307"/>
                    <a:pt x="593" y="302"/>
                    <a:pt x="593" y="296"/>
                  </a:cubicBezTo>
                  <a:cubicBezTo>
                    <a:pt x="593" y="293"/>
                    <a:pt x="593" y="293"/>
                    <a:pt x="593" y="293"/>
                  </a:cubicBezTo>
                  <a:cubicBezTo>
                    <a:pt x="592" y="269"/>
                    <a:pt x="628" y="220"/>
                    <a:pt x="730" y="213"/>
                  </a:cubicBezTo>
                  <a:cubicBezTo>
                    <a:pt x="735" y="213"/>
                    <a:pt x="739" y="212"/>
                    <a:pt x="744" y="212"/>
                  </a:cubicBezTo>
                  <a:cubicBezTo>
                    <a:pt x="825" y="212"/>
                    <a:pt x="878" y="257"/>
                    <a:pt x="901" y="303"/>
                  </a:cubicBezTo>
                  <a:cubicBezTo>
                    <a:pt x="958" y="418"/>
                    <a:pt x="864" y="530"/>
                    <a:pt x="828" y="558"/>
                  </a:cubicBezTo>
                  <a:close/>
                  <a:moveTo>
                    <a:pt x="786" y="430"/>
                  </a:moveTo>
                  <a:cubicBezTo>
                    <a:pt x="764" y="421"/>
                    <a:pt x="728" y="404"/>
                    <a:pt x="691" y="388"/>
                  </a:cubicBezTo>
                  <a:cubicBezTo>
                    <a:pt x="695" y="394"/>
                    <a:pt x="701" y="400"/>
                    <a:pt x="710" y="407"/>
                  </a:cubicBezTo>
                  <a:cubicBezTo>
                    <a:pt x="712" y="409"/>
                    <a:pt x="711" y="412"/>
                    <a:pt x="709" y="412"/>
                  </a:cubicBezTo>
                  <a:cubicBezTo>
                    <a:pt x="708" y="412"/>
                    <a:pt x="708" y="412"/>
                    <a:pt x="708" y="412"/>
                  </a:cubicBezTo>
                  <a:cubicBezTo>
                    <a:pt x="681" y="398"/>
                    <a:pt x="636" y="364"/>
                    <a:pt x="615" y="342"/>
                  </a:cubicBezTo>
                  <a:cubicBezTo>
                    <a:pt x="614" y="362"/>
                    <a:pt x="613" y="390"/>
                    <a:pt x="611" y="394"/>
                  </a:cubicBezTo>
                  <a:cubicBezTo>
                    <a:pt x="609" y="400"/>
                    <a:pt x="601" y="418"/>
                    <a:pt x="587" y="431"/>
                  </a:cubicBezTo>
                  <a:cubicBezTo>
                    <a:pt x="581" y="438"/>
                    <a:pt x="577" y="444"/>
                    <a:pt x="576" y="448"/>
                  </a:cubicBezTo>
                  <a:cubicBezTo>
                    <a:pt x="579" y="451"/>
                    <a:pt x="589" y="457"/>
                    <a:pt x="607" y="454"/>
                  </a:cubicBezTo>
                  <a:cubicBezTo>
                    <a:pt x="610" y="454"/>
                    <a:pt x="613" y="455"/>
                    <a:pt x="615" y="457"/>
                  </a:cubicBezTo>
                  <a:cubicBezTo>
                    <a:pt x="618" y="459"/>
                    <a:pt x="619" y="462"/>
                    <a:pt x="619" y="465"/>
                  </a:cubicBezTo>
                  <a:cubicBezTo>
                    <a:pt x="616" y="500"/>
                    <a:pt x="616" y="542"/>
                    <a:pt x="621" y="549"/>
                  </a:cubicBezTo>
                  <a:cubicBezTo>
                    <a:pt x="623" y="550"/>
                    <a:pt x="630" y="554"/>
                    <a:pt x="662" y="554"/>
                  </a:cubicBezTo>
                  <a:cubicBezTo>
                    <a:pt x="680" y="553"/>
                    <a:pt x="697" y="552"/>
                    <a:pt x="701" y="551"/>
                  </a:cubicBezTo>
                  <a:cubicBezTo>
                    <a:pt x="703" y="551"/>
                    <a:pt x="706" y="551"/>
                    <a:pt x="708" y="553"/>
                  </a:cubicBezTo>
                  <a:cubicBezTo>
                    <a:pt x="711" y="555"/>
                    <a:pt x="713" y="558"/>
                    <a:pt x="713" y="561"/>
                  </a:cubicBezTo>
                  <a:cubicBezTo>
                    <a:pt x="713" y="638"/>
                    <a:pt x="713" y="638"/>
                    <a:pt x="713" y="638"/>
                  </a:cubicBezTo>
                  <a:cubicBezTo>
                    <a:pt x="731" y="638"/>
                    <a:pt x="773" y="635"/>
                    <a:pt x="808" y="616"/>
                  </a:cubicBezTo>
                  <a:cubicBezTo>
                    <a:pt x="808" y="586"/>
                    <a:pt x="808" y="558"/>
                    <a:pt x="808" y="551"/>
                  </a:cubicBezTo>
                  <a:cubicBezTo>
                    <a:pt x="808" y="551"/>
                    <a:pt x="808" y="551"/>
                    <a:pt x="808" y="550"/>
                  </a:cubicBezTo>
                  <a:cubicBezTo>
                    <a:pt x="808" y="550"/>
                    <a:pt x="808" y="550"/>
                    <a:pt x="808" y="550"/>
                  </a:cubicBezTo>
                  <a:cubicBezTo>
                    <a:pt x="808" y="549"/>
                    <a:pt x="808" y="549"/>
                    <a:pt x="808" y="549"/>
                  </a:cubicBezTo>
                  <a:cubicBezTo>
                    <a:pt x="808" y="549"/>
                    <a:pt x="808" y="549"/>
                    <a:pt x="808" y="550"/>
                  </a:cubicBezTo>
                  <a:cubicBezTo>
                    <a:pt x="809" y="538"/>
                    <a:pt x="824" y="526"/>
                    <a:pt x="827" y="504"/>
                  </a:cubicBezTo>
                  <a:cubicBezTo>
                    <a:pt x="830" y="472"/>
                    <a:pt x="813" y="442"/>
                    <a:pt x="786" y="430"/>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005"/>
            </a:p>
          </p:txBody>
        </p:sp>
      </p:grpSp>
      <p:grpSp>
        <p:nvGrpSpPr>
          <p:cNvPr id="16" name="bcgBugs_Social Group : People;Group;Social;Communication;Connection;Interaction">
            <a:extLst>
              <a:ext uri="{FF2B5EF4-FFF2-40B4-BE49-F238E27FC236}">
                <a16:creationId xmlns:a16="http://schemas.microsoft.com/office/drawing/2014/main" id="{54A6FAC6-955D-0118-3000-210C8AA43188}"/>
              </a:ext>
            </a:extLst>
          </p:cNvPr>
          <p:cNvGrpSpPr>
            <a:grpSpLocks noChangeAspect="1"/>
          </p:cNvGrpSpPr>
          <p:nvPr/>
        </p:nvGrpSpPr>
        <p:grpSpPr bwMode="auto">
          <a:xfrm>
            <a:off x="4807644" y="3628585"/>
            <a:ext cx="214657" cy="214657"/>
            <a:chOff x="4555" y="1847"/>
            <a:chExt cx="288" cy="288"/>
          </a:xfrm>
        </p:grpSpPr>
        <p:sp>
          <p:nvSpPr>
            <p:cNvPr id="17" name="AutoShape 412">
              <a:extLst>
                <a:ext uri="{FF2B5EF4-FFF2-40B4-BE49-F238E27FC236}">
                  <a16:creationId xmlns:a16="http://schemas.microsoft.com/office/drawing/2014/main" id="{F71CCEFD-6AA8-3E3E-1B84-655F9830C633}"/>
                </a:ext>
              </a:extLst>
            </p:cNvPr>
            <p:cNvSpPr>
              <a:spLocks noChangeAspect="1"/>
            </p:cNvSpPr>
            <p:nvPr/>
          </p:nvSpPr>
          <p:spPr bwMode="auto">
            <a:xfrm>
              <a:off x="4555" y="1847"/>
              <a:ext cx="288" cy="2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414">
              <a:extLst>
                <a:ext uri="{FF2B5EF4-FFF2-40B4-BE49-F238E27FC236}">
                  <a16:creationId xmlns:a16="http://schemas.microsoft.com/office/drawing/2014/main" id="{23829232-5663-BBF1-B9E9-A825D34E58C7}"/>
                </a:ext>
              </a:extLst>
            </p:cNvPr>
            <p:cNvSpPr>
              <a:spLocks/>
            </p:cNvSpPr>
            <p:nvPr/>
          </p:nvSpPr>
          <p:spPr bwMode="auto">
            <a:xfrm>
              <a:off x="4570" y="1868"/>
              <a:ext cx="260" cy="250"/>
            </a:xfrm>
            <a:custGeom>
              <a:avLst/>
              <a:gdLst>
                <a:gd name="T0" fmla="*/ 440 w 578"/>
                <a:gd name="T1" fmla="*/ 491 h 558"/>
                <a:gd name="T2" fmla="*/ 438 w 578"/>
                <a:gd name="T3" fmla="*/ 488 h 558"/>
                <a:gd name="T4" fmla="*/ 435 w 578"/>
                <a:gd name="T5" fmla="*/ 485 h 558"/>
                <a:gd name="T6" fmla="*/ 432 w 578"/>
                <a:gd name="T7" fmla="*/ 483 h 558"/>
                <a:gd name="T8" fmla="*/ 430 w 578"/>
                <a:gd name="T9" fmla="*/ 482 h 558"/>
                <a:gd name="T10" fmla="*/ 364 w 578"/>
                <a:gd name="T11" fmla="*/ 479 h 558"/>
                <a:gd name="T12" fmla="*/ 286 w 578"/>
                <a:gd name="T13" fmla="*/ 526 h 558"/>
                <a:gd name="T14" fmla="*/ 138 w 578"/>
                <a:gd name="T15" fmla="*/ 507 h 558"/>
                <a:gd name="T16" fmla="*/ 400 w 578"/>
                <a:gd name="T17" fmla="*/ 540 h 558"/>
                <a:gd name="T18" fmla="*/ 427 w 578"/>
                <a:gd name="T19" fmla="*/ 548 h 558"/>
                <a:gd name="T20" fmla="*/ 440 w 578"/>
                <a:gd name="T21" fmla="*/ 497 h 558"/>
                <a:gd name="T22" fmla="*/ 440 w 578"/>
                <a:gd name="T23" fmla="*/ 493 h 558"/>
                <a:gd name="T24" fmla="*/ 57 w 578"/>
                <a:gd name="T25" fmla="*/ 324 h 558"/>
                <a:gd name="T26" fmla="*/ 173 w 578"/>
                <a:gd name="T27" fmla="*/ 110 h 558"/>
                <a:gd name="T28" fmla="*/ 205 w 578"/>
                <a:gd name="T29" fmla="*/ 70 h 558"/>
                <a:gd name="T30" fmla="*/ 204 w 578"/>
                <a:gd name="T31" fmla="*/ 67 h 558"/>
                <a:gd name="T32" fmla="*/ 204 w 578"/>
                <a:gd name="T33" fmla="*/ 64 h 558"/>
                <a:gd name="T34" fmla="*/ 201 w 578"/>
                <a:gd name="T35" fmla="*/ 60 h 558"/>
                <a:gd name="T36" fmla="*/ 199 w 578"/>
                <a:gd name="T37" fmla="*/ 58 h 558"/>
                <a:gd name="T38" fmla="*/ 156 w 578"/>
                <a:gd name="T39" fmla="*/ 38 h 558"/>
                <a:gd name="T40" fmla="*/ 158 w 578"/>
                <a:gd name="T41" fmla="*/ 70 h 558"/>
                <a:gd name="T42" fmla="*/ 43 w 578"/>
                <a:gd name="T43" fmla="*/ 340 h 558"/>
                <a:gd name="T44" fmla="*/ 545 w 578"/>
                <a:gd name="T45" fmla="*/ 287 h 558"/>
                <a:gd name="T46" fmla="*/ 367 w 578"/>
                <a:gd name="T47" fmla="*/ 79 h 558"/>
                <a:gd name="T48" fmla="*/ 488 w 578"/>
                <a:gd name="T49" fmla="*/ 281 h 558"/>
                <a:gd name="T50" fmla="*/ 521 w 578"/>
                <a:gd name="T51" fmla="*/ 329 h 558"/>
                <a:gd name="T52" fmla="*/ 524 w 578"/>
                <a:gd name="T53" fmla="*/ 331 h 558"/>
                <a:gd name="T54" fmla="*/ 530 w 578"/>
                <a:gd name="T55" fmla="*/ 332 h 558"/>
                <a:gd name="T56" fmla="*/ 532 w 578"/>
                <a:gd name="T57" fmla="*/ 332 h 558"/>
                <a:gd name="T58" fmla="*/ 535 w 578"/>
                <a:gd name="T59" fmla="*/ 331 h 558"/>
                <a:gd name="T60" fmla="*/ 539 w 578"/>
                <a:gd name="T61" fmla="*/ 329 h 558"/>
                <a:gd name="T62" fmla="*/ 573 w 578"/>
                <a:gd name="T63" fmla="*/ 282 h 558"/>
                <a:gd name="T64" fmla="*/ 139 w 578"/>
                <a:gd name="T65" fmla="*/ 420 h 558"/>
                <a:gd name="T66" fmla="*/ 130 w 578"/>
                <a:gd name="T67" fmla="*/ 401 h 558"/>
                <a:gd name="T68" fmla="*/ 128 w 578"/>
                <a:gd name="T69" fmla="*/ 375 h 558"/>
                <a:gd name="T70" fmla="*/ 74 w 578"/>
                <a:gd name="T71" fmla="*/ 345 h 558"/>
                <a:gd name="T72" fmla="*/ 36 w 578"/>
                <a:gd name="T73" fmla="*/ 494 h 558"/>
                <a:gd name="T74" fmla="*/ 98 w 578"/>
                <a:gd name="T75" fmla="*/ 504 h 558"/>
                <a:gd name="T76" fmla="*/ 132 w 578"/>
                <a:gd name="T77" fmla="*/ 462 h 558"/>
                <a:gd name="T78" fmla="*/ 498 w 578"/>
                <a:gd name="T79" fmla="*/ 345 h 558"/>
                <a:gd name="T80" fmla="*/ 445 w 578"/>
                <a:gd name="T81" fmla="*/ 375 h 558"/>
                <a:gd name="T82" fmla="*/ 442 w 578"/>
                <a:gd name="T83" fmla="*/ 401 h 558"/>
                <a:gd name="T84" fmla="*/ 433 w 578"/>
                <a:gd name="T85" fmla="*/ 420 h 558"/>
                <a:gd name="T86" fmla="*/ 440 w 578"/>
                <a:gd name="T87" fmla="*/ 461 h 558"/>
                <a:gd name="T88" fmla="*/ 474 w 578"/>
                <a:gd name="T89" fmla="*/ 479 h 558"/>
                <a:gd name="T90" fmla="*/ 534 w 578"/>
                <a:gd name="T91" fmla="*/ 498 h 558"/>
                <a:gd name="T92" fmla="*/ 557 w 578"/>
                <a:gd name="T93" fmla="*/ 383 h 558"/>
                <a:gd name="T94" fmla="*/ 255 w 578"/>
                <a:gd name="T95" fmla="*/ 412 h 558"/>
                <a:gd name="T96" fmla="*/ 279 w 578"/>
                <a:gd name="T97" fmla="*/ 393 h 558"/>
                <a:gd name="T98" fmla="*/ 378 w 578"/>
                <a:gd name="T99" fmla="*/ 353 h 558"/>
                <a:gd name="T100" fmla="*/ 203 w 578"/>
                <a:gd name="T101" fmla="*/ 225 h 558"/>
                <a:gd name="T102" fmla="*/ 203 w 578"/>
                <a:gd name="T103" fmla="*/ 362 h 558"/>
                <a:gd name="T104" fmla="*/ 247 w 578"/>
                <a:gd name="T105" fmla="*/ 405 h 558"/>
                <a:gd name="T106" fmla="*/ 303 w 578"/>
                <a:gd name="T107" fmla="*/ 163 h 558"/>
                <a:gd name="T108" fmla="*/ 335 w 578"/>
                <a:gd name="T109" fmla="*/ 133 h 558"/>
                <a:gd name="T110" fmla="*/ 339 w 578"/>
                <a:gd name="T111" fmla="*/ 96 h 558"/>
                <a:gd name="T112" fmla="*/ 346 w 578"/>
                <a:gd name="T113" fmla="*/ 74 h 558"/>
                <a:gd name="T114" fmla="*/ 336 w 578"/>
                <a:gd name="T115" fmla="*/ 47 h 558"/>
                <a:gd name="T116" fmla="*/ 336 w 578"/>
                <a:gd name="T117" fmla="*/ 30 h 558"/>
                <a:gd name="T118" fmla="*/ 223 w 578"/>
                <a:gd name="T119" fmla="*/ 38 h 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78" h="558">
                  <a:moveTo>
                    <a:pt x="440" y="493"/>
                  </a:moveTo>
                  <a:cubicBezTo>
                    <a:pt x="440" y="493"/>
                    <a:pt x="440" y="493"/>
                    <a:pt x="440" y="493"/>
                  </a:cubicBezTo>
                  <a:cubicBezTo>
                    <a:pt x="440" y="493"/>
                    <a:pt x="440" y="492"/>
                    <a:pt x="440" y="491"/>
                  </a:cubicBezTo>
                  <a:cubicBezTo>
                    <a:pt x="440" y="491"/>
                    <a:pt x="440" y="491"/>
                    <a:pt x="440" y="491"/>
                  </a:cubicBezTo>
                  <a:cubicBezTo>
                    <a:pt x="439" y="490"/>
                    <a:pt x="439" y="490"/>
                    <a:pt x="439" y="489"/>
                  </a:cubicBezTo>
                  <a:cubicBezTo>
                    <a:pt x="439" y="489"/>
                    <a:pt x="438" y="489"/>
                    <a:pt x="438" y="488"/>
                  </a:cubicBezTo>
                  <a:cubicBezTo>
                    <a:pt x="438" y="488"/>
                    <a:pt x="438" y="487"/>
                    <a:pt x="437" y="487"/>
                  </a:cubicBezTo>
                  <a:cubicBezTo>
                    <a:pt x="437" y="487"/>
                    <a:pt x="437" y="486"/>
                    <a:pt x="437" y="486"/>
                  </a:cubicBezTo>
                  <a:cubicBezTo>
                    <a:pt x="436" y="486"/>
                    <a:pt x="436" y="485"/>
                    <a:pt x="435" y="485"/>
                  </a:cubicBezTo>
                  <a:cubicBezTo>
                    <a:pt x="435" y="485"/>
                    <a:pt x="435" y="484"/>
                    <a:pt x="435" y="484"/>
                  </a:cubicBezTo>
                  <a:cubicBezTo>
                    <a:pt x="434" y="484"/>
                    <a:pt x="434" y="484"/>
                    <a:pt x="433" y="483"/>
                  </a:cubicBezTo>
                  <a:cubicBezTo>
                    <a:pt x="433" y="483"/>
                    <a:pt x="433" y="483"/>
                    <a:pt x="432" y="483"/>
                  </a:cubicBezTo>
                  <a:cubicBezTo>
                    <a:pt x="432" y="483"/>
                    <a:pt x="431" y="482"/>
                    <a:pt x="430" y="482"/>
                  </a:cubicBezTo>
                  <a:cubicBezTo>
                    <a:pt x="430" y="482"/>
                    <a:pt x="430" y="482"/>
                    <a:pt x="430" y="482"/>
                  </a:cubicBezTo>
                  <a:cubicBezTo>
                    <a:pt x="430" y="482"/>
                    <a:pt x="430" y="482"/>
                    <a:pt x="430" y="482"/>
                  </a:cubicBezTo>
                  <a:cubicBezTo>
                    <a:pt x="430" y="482"/>
                    <a:pt x="430" y="482"/>
                    <a:pt x="430" y="482"/>
                  </a:cubicBezTo>
                  <a:cubicBezTo>
                    <a:pt x="381" y="469"/>
                    <a:pt x="381" y="469"/>
                    <a:pt x="381" y="469"/>
                  </a:cubicBezTo>
                  <a:cubicBezTo>
                    <a:pt x="374" y="467"/>
                    <a:pt x="366" y="471"/>
                    <a:pt x="364" y="479"/>
                  </a:cubicBezTo>
                  <a:cubicBezTo>
                    <a:pt x="362" y="486"/>
                    <a:pt x="366" y="494"/>
                    <a:pt x="374" y="496"/>
                  </a:cubicBezTo>
                  <a:cubicBezTo>
                    <a:pt x="391" y="500"/>
                    <a:pt x="391" y="500"/>
                    <a:pt x="391" y="500"/>
                  </a:cubicBezTo>
                  <a:cubicBezTo>
                    <a:pt x="359" y="517"/>
                    <a:pt x="323" y="526"/>
                    <a:pt x="286" y="526"/>
                  </a:cubicBezTo>
                  <a:cubicBezTo>
                    <a:pt x="238" y="526"/>
                    <a:pt x="193" y="512"/>
                    <a:pt x="154" y="484"/>
                  </a:cubicBezTo>
                  <a:cubicBezTo>
                    <a:pt x="148" y="480"/>
                    <a:pt x="139" y="482"/>
                    <a:pt x="134" y="488"/>
                  </a:cubicBezTo>
                  <a:cubicBezTo>
                    <a:pt x="130" y="494"/>
                    <a:pt x="132" y="503"/>
                    <a:pt x="138" y="507"/>
                  </a:cubicBezTo>
                  <a:cubicBezTo>
                    <a:pt x="181" y="538"/>
                    <a:pt x="233" y="554"/>
                    <a:pt x="286" y="554"/>
                  </a:cubicBezTo>
                  <a:cubicBezTo>
                    <a:pt x="327" y="554"/>
                    <a:pt x="368" y="544"/>
                    <a:pt x="404" y="526"/>
                  </a:cubicBezTo>
                  <a:cubicBezTo>
                    <a:pt x="400" y="540"/>
                    <a:pt x="400" y="540"/>
                    <a:pt x="400" y="540"/>
                  </a:cubicBezTo>
                  <a:cubicBezTo>
                    <a:pt x="398" y="548"/>
                    <a:pt x="402" y="555"/>
                    <a:pt x="410" y="557"/>
                  </a:cubicBezTo>
                  <a:cubicBezTo>
                    <a:pt x="411" y="558"/>
                    <a:pt x="412" y="558"/>
                    <a:pt x="413" y="558"/>
                  </a:cubicBezTo>
                  <a:cubicBezTo>
                    <a:pt x="419" y="558"/>
                    <a:pt x="425" y="554"/>
                    <a:pt x="427" y="548"/>
                  </a:cubicBezTo>
                  <a:cubicBezTo>
                    <a:pt x="440" y="499"/>
                    <a:pt x="440" y="499"/>
                    <a:pt x="440" y="499"/>
                  </a:cubicBezTo>
                  <a:cubicBezTo>
                    <a:pt x="440" y="499"/>
                    <a:pt x="440" y="499"/>
                    <a:pt x="440" y="499"/>
                  </a:cubicBezTo>
                  <a:cubicBezTo>
                    <a:pt x="440" y="498"/>
                    <a:pt x="440" y="498"/>
                    <a:pt x="440" y="497"/>
                  </a:cubicBezTo>
                  <a:cubicBezTo>
                    <a:pt x="440" y="497"/>
                    <a:pt x="440" y="496"/>
                    <a:pt x="440" y="496"/>
                  </a:cubicBezTo>
                  <a:cubicBezTo>
                    <a:pt x="440" y="495"/>
                    <a:pt x="440" y="495"/>
                    <a:pt x="440" y="494"/>
                  </a:cubicBezTo>
                  <a:cubicBezTo>
                    <a:pt x="440" y="494"/>
                    <a:pt x="440" y="494"/>
                    <a:pt x="440" y="493"/>
                  </a:cubicBezTo>
                  <a:close/>
                  <a:moveTo>
                    <a:pt x="43" y="340"/>
                  </a:moveTo>
                  <a:cubicBezTo>
                    <a:pt x="44" y="340"/>
                    <a:pt x="44" y="340"/>
                    <a:pt x="45" y="340"/>
                  </a:cubicBezTo>
                  <a:cubicBezTo>
                    <a:pt x="52" y="339"/>
                    <a:pt x="58" y="332"/>
                    <a:pt x="57" y="324"/>
                  </a:cubicBezTo>
                  <a:cubicBezTo>
                    <a:pt x="56" y="314"/>
                    <a:pt x="55" y="305"/>
                    <a:pt x="55" y="295"/>
                  </a:cubicBezTo>
                  <a:cubicBezTo>
                    <a:pt x="55" y="210"/>
                    <a:pt x="101" y="133"/>
                    <a:pt x="175" y="93"/>
                  </a:cubicBezTo>
                  <a:cubicBezTo>
                    <a:pt x="173" y="110"/>
                    <a:pt x="173" y="110"/>
                    <a:pt x="173" y="110"/>
                  </a:cubicBezTo>
                  <a:cubicBezTo>
                    <a:pt x="173" y="117"/>
                    <a:pt x="179" y="124"/>
                    <a:pt x="186" y="125"/>
                  </a:cubicBezTo>
                  <a:cubicBezTo>
                    <a:pt x="194" y="125"/>
                    <a:pt x="201" y="120"/>
                    <a:pt x="201" y="112"/>
                  </a:cubicBezTo>
                  <a:cubicBezTo>
                    <a:pt x="205" y="70"/>
                    <a:pt x="205" y="70"/>
                    <a:pt x="205" y="70"/>
                  </a:cubicBezTo>
                  <a:cubicBezTo>
                    <a:pt x="205" y="70"/>
                    <a:pt x="205" y="70"/>
                    <a:pt x="205" y="70"/>
                  </a:cubicBezTo>
                  <a:cubicBezTo>
                    <a:pt x="205" y="70"/>
                    <a:pt x="205" y="70"/>
                    <a:pt x="205" y="69"/>
                  </a:cubicBezTo>
                  <a:cubicBezTo>
                    <a:pt x="205" y="69"/>
                    <a:pt x="205" y="68"/>
                    <a:pt x="204" y="67"/>
                  </a:cubicBezTo>
                  <a:cubicBezTo>
                    <a:pt x="204" y="67"/>
                    <a:pt x="204" y="67"/>
                    <a:pt x="204" y="67"/>
                  </a:cubicBezTo>
                  <a:cubicBezTo>
                    <a:pt x="204" y="66"/>
                    <a:pt x="204" y="65"/>
                    <a:pt x="204" y="65"/>
                  </a:cubicBezTo>
                  <a:cubicBezTo>
                    <a:pt x="204" y="64"/>
                    <a:pt x="204" y="64"/>
                    <a:pt x="204" y="64"/>
                  </a:cubicBezTo>
                  <a:cubicBezTo>
                    <a:pt x="203" y="63"/>
                    <a:pt x="203" y="63"/>
                    <a:pt x="203" y="62"/>
                  </a:cubicBezTo>
                  <a:cubicBezTo>
                    <a:pt x="203" y="62"/>
                    <a:pt x="203" y="62"/>
                    <a:pt x="203" y="62"/>
                  </a:cubicBezTo>
                  <a:cubicBezTo>
                    <a:pt x="202" y="61"/>
                    <a:pt x="202" y="61"/>
                    <a:pt x="201" y="60"/>
                  </a:cubicBezTo>
                  <a:cubicBezTo>
                    <a:pt x="201" y="60"/>
                    <a:pt x="201" y="60"/>
                    <a:pt x="201" y="60"/>
                  </a:cubicBezTo>
                  <a:cubicBezTo>
                    <a:pt x="200" y="59"/>
                    <a:pt x="200" y="59"/>
                    <a:pt x="199" y="58"/>
                  </a:cubicBezTo>
                  <a:cubicBezTo>
                    <a:pt x="199" y="58"/>
                    <a:pt x="199" y="58"/>
                    <a:pt x="199" y="58"/>
                  </a:cubicBezTo>
                  <a:cubicBezTo>
                    <a:pt x="198" y="57"/>
                    <a:pt x="197" y="57"/>
                    <a:pt x="197" y="57"/>
                  </a:cubicBezTo>
                  <a:cubicBezTo>
                    <a:pt x="197" y="57"/>
                    <a:pt x="196" y="57"/>
                    <a:pt x="196" y="57"/>
                  </a:cubicBezTo>
                  <a:cubicBezTo>
                    <a:pt x="156" y="38"/>
                    <a:pt x="156" y="38"/>
                    <a:pt x="156" y="38"/>
                  </a:cubicBezTo>
                  <a:cubicBezTo>
                    <a:pt x="149" y="35"/>
                    <a:pt x="140" y="38"/>
                    <a:pt x="137" y="45"/>
                  </a:cubicBezTo>
                  <a:cubicBezTo>
                    <a:pt x="134" y="52"/>
                    <a:pt x="137" y="61"/>
                    <a:pt x="144" y="64"/>
                  </a:cubicBezTo>
                  <a:cubicBezTo>
                    <a:pt x="158" y="70"/>
                    <a:pt x="158" y="70"/>
                    <a:pt x="158" y="70"/>
                  </a:cubicBezTo>
                  <a:cubicBezTo>
                    <a:pt x="78" y="116"/>
                    <a:pt x="27" y="201"/>
                    <a:pt x="27" y="295"/>
                  </a:cubicBezTo>
                  <a:cubicBezTo>
                    <a:pt x="27" y="306"/>
                    <a:pt x="28" y="317"/>
                    <a:pt x="29" y="327"/>
                  </a:cubicBezTo>
                  <a:cubicBezTo>
                    <a:pt x="30" y="334"/>
                    <a:pt x="36" y="340"/>
                    <a:pt x="43" y="340"/>
                  </a:cubicBezTo>
                  <a:close/>
                  <a:moveTo>
                    <a:pt x="573" y="282"/>
                  </a:moveTo>
                  <a:cubicBezTo>
                    <a:pt x="568" y="276"/>
                    <a:pt x="559" y="275"/>
                    <a:pt x="553" y="280"/>
                  </a:cubicBezTo>
                  <a:cubicBezTo>
                    <a:pt x="545" y="287"/>
                    <a:pt x="545" y="287"/>
                    <a:pt x="545" y="287"/>
                  </a:cubicBezTo>
                  <a:cubicBezTo>
                    <a:pt x="542" y="183"/>
                    <a:pt x="475" y="89"/>
                    <a:pt x="377" y="52"/>
                  </a:cubicBezTo>
                  <a:cubicBezTo>
                    <a:pt x="369" y="50"/>
                    <a:pt x="361" y="53"/>
                    <a:pt x="359" y="61"/>
                  </a:cubicBezTo>
                  <a:cubicBezTo>
                    <a:pt x="356" y="68"/>
                    <a:pt x="359" y="76"/>
                    <a:pt x="367" y="79"/>
                  </a:cubicBezTo>
                  <a:cubicBezTo>
                    <a:pt x="454" y="111"/>
                    <a:pt x="514" y="195"/>
                    <a:pt x="517" y="288"/>
                  </a:cubicBezTo>
                  <a:cubicBezTo>
                    <a:pt x="508" y="280"/>
                    <a:pt x="508" y="280"/>
                    <a:pt x="508" y="280"/>
                  </a:cubicBezTo>
                  <a:cubicBezTo>
                    <a:pt x="502" y="275"/>
                    <a:pt x="494" y="275"/>
                    <a:pt x="488" y="281"/>
                  </a:cubicBezTo>
                  <a:cubicBezTo>
                    <a:pt x="483" y="287"/>
                    <a:pt x="484" y="295"/>
                    <a:pt x="489" y="301"/>
                  </a:cubicBezTo>
                  <a:cubicBezTo>
                    <a:pt x="520" y="329"/>
                    <a:pt x="520" y="329"/>
                    <a:pt x="520" y="329"/>
                  </a:cubicBezTo>
                  <a:cubicBezTo>
                    <a:pt x="520" y="329"/>
                    <a:pt x="521" y="329"/>
                    <a:pt x="521" y="329"/>
                  </a:cubicBezTo>
                  <a:cubicBezTo>
                    <a:pt x="521" y="329"/>
                    <a:pt x="521" y="330"/>
                    <a:pt x="522" y="330"/>
                  </a:cubicBezTo>
                  <a:cubicBezTo>
                    <a:pt x="522" y="330"/>
                    <a:pt x="523" y="331"/>
                    <a:pt x="523" y="331"/>
                  </a:cubicBezTo>
                  <a:cubicBezTo>
                    <a:pt x="524" y="331"/>
                    <a:pt x="524" y="331"/>
                    <a:pt x="524" y="331"/>
                  </a:cubicBezTo>
                  <a:cubicBezTo>
                    <a:pt x="525" y="332"/>
                    <a:pt x="525" y="332"/>
                    <a:pt x="526" y="332"/>
                  </a:cubicBezTo>
                  <a:cubicBezTo>
                    <a:pt x="526" y="332"/>
                    <a:pt x="527" y="332"/>
                    <a:pt x="527" y="332"/>
                  </a:cubicBezTo>
                  <a:cubicBezTo>
                    <a:pt x="528" y="332"/>
                    <a:pt x="529" y="332"/>
                    <a:pt x="530" y="332"/>
                  </a:cubicBezTo>
                  <a:cubicBezTo>
                    <a:pt x="530" y="332"/>
                    <a:pt x="530" y="332"/>
                    <a:pt x="530" y="332"/>
                  </a:cubicBezTo>
                  <a:cubicBezTo>
                    <a:pt x="530" y="332"/>
                    <a:pt x="530" y="332"/>
                    <a:pt x="530" y="332"/>
                  </a:cubicBezTo>
                  <a:cubicBezTo>
                    <a:pt x="531" y="332"/>
                    <a:pt x="531" y="332"/>
                    <a:pt x="532" y="332"/>
                  </a:cubicBezTo>
                  <a:cubicBezTo>
                    <a:pt x="532" y="332"/>
                    <a:pt x="533" y="332"/>
                    <a:pt x="533" y="332"/>
                  </a:cubicBezTo>
                  <a:cubicBezTo>
                    <a:pt x="533" y="332"/>
                    <a:pt x="534" y="332"/>
                    <a:pt x="535" y="332"/>
                  </a:cubicBezTo>
                  <a:cubicBezTo>
                    <a:pt x="535" y="331"/>
                    <a:pt x="535" y="331"/>
                    <a:pt x="535" y="331"/>
                  </a:cubicBezTo>
                  <a:cubicBezTo>
                    <a:pt x="535" y="331"/>
                    <a:pt x="536" y="331"/>
                    <a:pt x="537" y="331"/>
                  </a:cubicBezTo>
                  <a:cubicBezTo>
                    <a:pt x="537" y="331"/>
                    <a:pt x="537" y="330"/>
                    <a:pt x="537" y="330"/>
                  </a:cubicBezTo>
                  <a:cubicBezTo>
                    <a:pt x="538" y="330"/>
                    <a:pt x="538" y="330"/>
                    <a:pt x="539" y="329"/>
                  </a:cubicBezTo>
                  <a:cubicBezTo>
                    <a:pt x="539" y="329"/>
                    <a:pt x="539" y="329"/>
                    <a:pt x="539" y="329"/>
                  </a:cubicBezTo>
                  <a:cubicBezTo>
                    <a:pt x="571" y="302"/>
                    <a:pt x="571" y="302"/>
                    <a:pt x="571" y="302"/>
                  </a:cubicBezTo>
                  <a:cubicBezTo>
                    <a:pt x="577" y="297"/>
                    <a:pt x="578" y="288"/>
                    <a:pt x="573" y="282"/>
                  </a:cubicBezTo>
                  <a:close/>
                  <a:moveTo>
                    <a:pt x="131" y="441"/>
                  </a:moveTo>
                  <a:cubicBezTo>
                    <a:pt x="142" y="441"/>
                    <a:pt x="145" y="435"/>
                    <a:pt x="146" y="433"/>
                  </a:cubicBezTo>
                  <a:cubicBezTo>
                    <a:pt x="147" y="429"/>
                    <a:pt x="143" y="425"/>
                    <a:pt x="139" y="420"/>
                  </a:cubicBezTo>
                  <a:cubicBezTo>
                    <a:pt x="138" y="420"/>
                    <a:pt x="138" y="419"/>
                    <a:pt x="138" y="419"/>
                  </a:cubicBezTo>
                  <a:cubicBezTo>
                    <a:pt x="136" y="417"/>
                    <a:pt x="134" y="413"/>
                    <a:pt x="132" y="407"/>
                  </a:cubicBezTo>
                  <a:cubicBezTo>
                    <a:pt x="131" y="406"/>
                    <a:pt x="131" y="403"/>
                    <a:pt x="130" y="401"/>
                  </a:cubicBezTo>
                  <a:cubicBezTo>
                    <a:pt x="130" y="398"/>
                    <a:pt x="129" y="394"/>
                    <a:pt x="128" y="392"/>
                  </a:cubicBezTo>
                  <a:cubicBezTo>
                    <a:pt x="127" y="389"/>
                    <a:pt x="126" y="380"/>
                    <a:pt x="126" y="375"/>
                  </a:cubicBezTo>
                  <a:cubicBezTo>
                    <a:pt x="126" y="375"/>
                    <a:pt x="128" y="375"/>
                    <a:pt x="128" y="375"/>
                  </a:cubicBezTo>
                  <a:cubicBezTo>
                    <a:pt x="128" y="375"/>
                    <a:pt x="128" y="375"/>
                    <a:pt x="128" y="375"/>
                  </a:cubicBezTo>
                  <a:cubicBezTo>
                    <a:pt x="130" y="367"/>
                    <a:pt x="142" y="354"/>
                    <a:pt x="138" y="354"/>
                  </a:cubicBezTo>
                  <a:cubicBezTo>
                    <a:pt x="102" y="355"/>
                    <a:pt x="113" y="345"/>
                    <a:pt x="74" y="345"/>
                  </a:cubicBezTo>
                  <a:cubicBezTo>
                    <a:pt x="40" y="345"/>
                    <a:pt x="23" y="365"/>
                    <a:pt x="15" y="383"/>
                  </a:cubicBezTo>
                  <a:cubicBezTo>
                    <a:pt x="0" y="415"/>
                    <a:pt x="24" y="446"/>
                    <a:pt x="36" y="458"/>
                  </a:cubicBezTo>
                  <a:cubicBezTo>
                    <a:pt x="36" y="494"/>
                    <a:pt x="36" y="494"/>
                    <a:pt x="36" y="494"/>
                  </a:cubicBezTo>
                  <a:cubicBezTo>
                    <a:pt x="36" y="496"/>
                    <a:pt x="37" y="497"/>
                    <a:pt x="38" y="498"/>
                  </a:cubicBezTo>
                  <a:cubicBezTo>
                    <a:pt x="62" y="507"/>
                    <a:pt x="92" y="508"/>
                    <a:pt x="95" y="508"/>
                  </a:cubicBezTo>
                  <a:cubicBezTo>
                    <a:pt x="97" y="508"/>
                    <a:pt x="98" y="506"/>
                    <a:pt x="98" y="504"/>
                  </a:cubicBezTo>
                  <a:cubicBezTo>
                    <a:pt x="98" y="479"/>
                    <a:pt x="98" y="479"/>
                    <a:pt x="98" y="479"/>
                  </a:cubicBezTo>
                  <a:cubicBezTo>
                    <a:pt x="113" y="481"/>
                    <a:pt x="124" y="479"/>
                    <a:pt x="127" y="478"/>
                  </a:cubicBezTo>
                  <a:cubicBezTo>
                    <a:pt x="131" y="476"/>
                    <a:pt x="131" y="471"/>
                    <a:pt x="132" y="462"/>
                  </a:cubicBezTo>
                  <a:cubicBezTo>
                    <a:pt x="132" y="461"/>
                    <a:pt x="132" y="461"/>
                    <a:pt x="132" y="461"/>
                  </a:cubicBezTo>
                  <a:cubicBezTo>
                    <a:pt x="132" y="455"/>
                    <a:pt x="132" y="446"/>
                    <a:pt x="131" y="441"/>
                  </a:cubicBezTo>
                  <a:close/>
                  <a:moveTo>
                    <a:pt x="498" y="345"/>
                  </a:moveTo>
                  <a:cubicBezTo>
                    <a:pt x="459" y="345"/>
                    <a:pt x="470" y="355"/>
                    <a:pt x="434" y="354"/>
                  </a:cubicBezTo>
                  <a:cubicBezTo>
                    <a:pt x="430" y="354"/>
                    <a:pt x="442" y="367"/>
                    <a:pt x="444" y="375"/>
                  </a:cubicBezTo>
                  <a:cubicBezTo>
                    <a:pt x="444" y="375"/>
                    <a:pt x="444" y="375"/>
                    <a:pt x="445" y="375"/>
                  </a:cubicBezTo>
                  <a:cubicBezTo>
                    <a:pt x="445" y="375"/>
                    <a:pt x="446" y="375"/>
                    <a:pt x="446" y="375"/>
                  </a:cubicBezTo>
                  <a:cubicBezTo>
                    <a:pt x="446" y="380"/>
                    <a:pt x="445" y="389"/>
                    <a:pt x="444" y="392"/>
                  </a:cubicBezTo>
                  <a:cubicBezTo>
                    <a:pt x="443" y="394"/>
                    <a:pt x="443" y="398"/>
                    <a:pt x="442" y="401"/>
                  </a:cubicBezTo>
                  <a:cubicBezTo>
                    <a:pt x="442" y="403"/>
                    <a:pt x="441" y="406"/>
                    <a:pt x="441" y="407"/>
                  </a:cubicBezTo>
                  <a:cubicBezTo>
                    <a:pt x="439" y="413"/>
                    <a:pt x="436" y="417"/>
                    <a:pt x="435" y="419"/>
                  </a:cubicBezTo>
                  <a:cubicBezTo>
                    <a:pt x="434" y="419"/>
                    <a:pt x="434" y="420"/>
                    <a:pt x="433" y="420"/>
                  </a:cubicBezTo>
                  <a:cubicBezTo>
                    <a:pt x="429" y="425"/>
                    <a:pt x="425" y="429"/>
                    <a:pt x="427" y="433"/>
                  </a:cubicBezTo>
                  <a:cubicBezTo>
                    <a:pt x="427" y="435"/>
                    <a:pt x="430" y="441"/>
                    <a:pt x="441" y="441"/>
                  </a:cubicBezTo>
                  <a:cubicBezTo>
                    <a:pt x="441" y="446"/>
                    <a:pt x="440" y="455"/>
                    <a:pt x="440" y="461"/>
                  </a:cubicBezTo>
                  <a:cubicBezTo>
                    <a:pt x="440" y="461"/>
                    <a:pt x="440" y="461"/>
                    <a:pt x="440" y="462"/>
                  </a:cubicBezTo>
                  <a:cubicBezTo>
                    <a:pt x="441" y="471"/>
                    <a:pt x="441" y="476"/>
                    <a:pt x="445" y="478"/>
                  </a:cubicBezTo>
                  <a:cubicBezTo>
                    <a:pt x="448" y="479"/>
                    <a:pt x="459" y="481"/>
                    <a:pt x="474" y="479"/>
                  </a:cubicBezTo>
                  <a:cubicBezTo>
                    <a:pt x="474" y="479"/>
                    <a:pt x="474" y="479"/>
                    <a:pt x="474" y="504"/>
                  </a:cubicBezTo>
                  <a:cubicBezTo>
                    <a:pt x="474" y="506"/>
                    <a:pt x="476" y="508"/>
                    <a:pt x="478" y="508"/>
                  </a:cubicBezTo>
                  <a:cubicBezTo>
                    <a:pt x="480" y="508"/>
                    <a:pt x="510" y="507"/>
                    <a:pt x="534" y="498"/>
                  </a:cubicBezTo>
                  <a:cubicBezTo>
                    <a:pt x="536" y="497"/>
                    <a:pt x="536" y="496"/>
                    <a:pt x="536" y="494"/>
                  </a:cubicBezTo>
                  <a:cubicBezTo>
                    <a:pt x="536" y="494"/>
                    <a:pt x="536" y="494"/>
                    <a:pt x="536" y="458"/>
                  </a:cubicBezTo>
                  <a:cubicBezTo>
                    <a:pt x="548" y="446"/>
                    <a:pt x="572" y="415"/>
                    <a:pt x="557" y="383"/>
                  </a:cubicBezTo>
                  <a:cubicBezTo>
                    <a:pt x="549" y="365"/>
                    <a:pt x="532" y="345"/>
                    <a:pt x="498" y="345"/>
                  </a:cubicBezTo>
                  <a:close/>
                  <a:moveTo>
                    <a:pt x="247" y="405"/>
                  </a:moveTo>
                  <a:cubicBezTo>
                    <a:pt x="248" y="405"/>
                    <a:pt x="250" y="410"/>
                    <a:pt x="255" y="412"/>
                  </a:cubicBezTo>
                  <a:cubicBezTo>
                    <a:pt x="255" y="412"/>
                    <a:pt x="256" y="412"/>
                    <a:pt x="257" y="412"/>
                  </a:cubicBezTo>
                  <a:cubicBezTo>
                    <a:pt x="260" y="412"/>
                    <a:pt x="263" y="410"/>
                    <a:pt x="267" y="407"/>
                  </a:cubicBezTo>
                  <a:cubicBezTo>
                    <a:pt x="269" y="404"/>
                    <a:pt x="273" y="399"/>
                    <a:pt x="279" y="393"/>
                  </a:cubicBezTo>
                  <a:cubicBezTo>
                    <a:pt x="287" y="384"/>
                    <a:pt x="298" y="372"/>
                    <a:pt x="308" y="362"/>
                  </a:cubicBezTo>
                  <a:cubicBezTo>
                    <a:pt x="369" y="362"/>
                    <a:pt x="369" y="362"/>
                    <a:pt x="369" y="362"/>
                  </a:cubicBezTo>
                  <a:cubicBezTo>
                    <a:pt x="374" y="362"/>
                    <a:pt x="378" y="358"/>
                    <a:pt x="378" y="353"/>
                  </a:cubicBezTo>
                  <a:cubicBezTo>
                    <a:pt x="378" y="234"/>
                    <a:pt x="378" y="234"/>
                    <a:pt x="378" y="234"/>
                  </a:cubicBezTo>
                  <a:cubicBezTo>
                    <a:pt x="378" y="229"/>
                    <a:pt x="374" y="225"/>
                    <a:pt x="369" y="225"/>
                  </a:cubicBezTo>
                  <a:cubicBezTo>
                    <a:pt x="203" y="225"/>
                    <a:pt x="203" y="225"/>
                    <a:pt x="203" y="225"/>
                  </a:cubicBezTo>
                  <a:cubicBezTo>
                    <a:pt x="199" y="225"/>
                    <a:pt x="195" y="229"/>
                    <a:pt x="195" y="234"/>
                  </a:cubicBezTo>
                  <a:cubicBezTo>
                    <a:pt x="195" y="353"/>
                    <a:pt x="195" y="353"/>
                    <a:pt x="195" y="353"/>
                  </a:cubicBezTo>
                  <a:cubicBezTo>
                    <a:pt x="195" y="358"/>
                    <a:pt x="199" y="362"/>
                    <a:pt x="203" y="362"/>
                  </a:cubicBezTo>
                  <a:cubicBezTo>
                    <a:pt x="247" y="362"/>
                    <a:pt x="247" y="362"/>
                    <a:pt x="247" y="362"/>
                  </a:cubicBezTo>
                  <a:cubicBezTo>
                    <a:pt x="247" y="403"/>
                    <a:pt x="247" y="403"/>
                    <a:pt x="247" y="403"/>
                  </a:cubicBezTo>
                  <a:cubicBezTo>
                    <a:pt x="247" y="404"/>
                    <a:pt x="247" y="404"/>
                    <a:pt x="247" y="405"/>
                  </a:cubicBezTo>
                  <a:close/>
                  <a:moveTo>
                    <a:pt x="244" y="150"/>
                  </a:moveTo>
                  <a:cubicBezTo>
                    <a:pt x="244" y="151"/>
                    <a:pt x="245" y="153"/>
                    <a:pt x="246" y="153"/>
                  </a:cubicBezTo>
                  <a:cubicBezTo>
                    <a:pt x="270" y="163"/>
                    <a:pt x="300" y="163"/>
                    <a:pt x="303" y="163"/>
                  </a:cubicBezTo>
                  <a:cubicBezTo>
                    <a:pt x="305" y="163"/>
                    <a:pt x="306" y="161"/>
                    <a:pt x="306" y="159"/>
                  </a:cubicBezTo>
                  <a:cubicBezTo>
                    <a:pt x="306" y="135"/>
                    <a:pt x="306" y="135"/>
                    <a:pt x="306" y="135"/>
                  </a:cubicBezTo>
                  <a:cubicBezTo>
                    <a:pt x="321" y="136"/>
                    <a:pt x="332" y="135"/>
                    <a:pt x="335" y="133"/>
                  </a:cubicBezTo>
                  <a:cubicBezTo>
                    <a:pt x="339" y="131"/>
                    <a:pt x="339" y="126"/>
                    <a:pt x="340" y="117"/>
                  </a:cubicBezTo>
                  <a:cubicBezTo>
                    <a:pt x="340" y="116"/>
                    <a:pt x="340" y="116"/>
                    <a:pt x="340" y="116"/>
                  </a:cubicBezTo>
                  <a:cubicBezTo>
                    <a:pt x="341" y="110"/>
                    <a:pt x="340" y="101"/>
                    <a:pt x="339" y="96"/>
                  </a:cubicBezTo>
                  <a:cubicBezTo>
                    <a:pt x="350" y="96"/>
                    <a:pt x="353" y="90"/>
                    <a:pt x="354" y="88"/>
                  </a:cubicBezTo>
                  <a:cubicBezTo>
                    <a:pt x="355" y="84"/>
                    <a:pt x="351" y="80"/>
                    <a:pt x="347" y="75"/>
                  </a:cubicBezTo>
                  <a:cubicBezTo>
                    <a:pt x="347" y="75"/>
                    <a:pt x="346" y="75"/>
                    <a:pt x="346" y="74"/>
                  </a:cubicBezTo>
                  <a:cubicBezTo>
                    <a:pt x="344" y="72"/>
                    <a:pt x="342" y="68"/>
                    <a:pt x="340" y="62"/>
                  </a:cubicBezTo>
                  <a:cubicBezTo>
                    <a:pt x="339" y="61"/>
                    <a:pt x="339" y="59"/>
                    <a:pt x="338" y="56"/>
                  </a:cubicBezTo>
                  <a:cubicBezTo>
                    <a:pt x="338" y="53"/>
                    <a:pt x="337" y="50"/>
                    <a:pt x="336" y="47"/>
                  </a:cubicBezTo>
                  <a:cubicBezTo>
                    <a:pt x="335" y="44"/>
                    <a:pt x="334" y="35"/>
                    <a:pt x="334" y="30"/>
                  </a:cubicBezTo>
                  <a:cubicBezTo>
                    <a:pt x="335" y="30"/>
                    <a:pt x="336" y="31"/>
                    <a:pt x="336" y="31"/>
                  </a:cubicBezTo>
                  <a:cubicBezTo>
                    <a:pt x="336" y="30"/>
                    <a:pt x="336" y="30"/>
                    <a:pt x="336" y="30"/>
                  </a:cubicBezTo>
                  <a:cubicBezTo>
                    <a:pt x="338" y="22"/>
                    <a:pt x="350" y="9"/>
                    <a:pt x="346" y="9"/>
                  </a:cubicBezTo>
                  <a:cubicBezTo>
                    <a:pt x="310" y="10"/>
                    <a:pt x="321" y="0"/>
                    <a:pt x="282" y="0"/>
                  </a:cubicBezTo>
                  <a:cubicBezTo>
                    <a:pt x="248" y="0"/>
                    <a:pt x="231" y="21"/>
                    <a:pt x="223" y="38"/>
                  </a:cubicBezTo>
                  <a:cubicBezTo>
                    <a:pt x="208" y="70"/>
                    <a:pt x="232" y="101"/>
                    <a:pt x="244" y="114"/>
                  </a:cubicBezTo>
                  <a:cubicBezTo>
                    <a:pt x="244" y="150"/>
                    <a:pt x="244" y="150"/>
                    <a:pt x="244" y="150"/>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19" name="Freeform 5">
            <a:extLst>
              <a:ext uri="{FF2B5EF4-FFF2-40B4-BE49-F238E27FC236}">
                <a16:creationId xmlns:a16="http://schemas.microsoft.com/office/drawing/2014/main" id="{F283F5CA-D464-5F7A-58AA-DA593E9DF1F8}"/>
              </a:ext>
            </a:extLst>
          </p:cNvPr>
          <p:cNvSpPr>
            <a:spLocks noEditPoints="1"/>
          </p:cNvSpPr>
          <p:nvPr/>
        </p:nvSpPr>
        <p:spPr bwMode="auto">
          <a:xfrm>
            <a:off x="4825628" y="3118192"/>
            <a:ext cx="178689" cy="193730"/>
          </a:xfrm>
          <a:custGeom>
            <a:avLst/>
            <a:gdLst>
              <a:gd name="T0" fmla="*/ 368 w 794"/>
              <a:gd name="T1" fmla="*/ 489 h 876"/>
              <a:gd name="T2" fmla="*/ 387 w 794"/>
              <a:gd name="T3" fmla="*/ 635 h 876"/>
              <a:gd name="T4" fmla="*/ 407 w 794"/>
              <a:gd name="T5" fmla="*/ 635 h 876"/>
              <a:gd name="T6" fmla="*/ 381 w 794"/>
              <a:gd name="T7" fmla="*/ 835 h 876"/>
              <a:gd name="T8" fmla="*/ 344 w 794"/>
              <a:gd name="T9" fmla="*/ 790 h 876"/>
              <a:gd name="T10" fmla="*/ 337 w 794"/>
              <a:gd name="T11" fmla="*/ 749 h 876"/>
              <a:gd name="T12" fmla="*/ 348 w 794"/>
              <a:gd name="T13" fmla="*/ 721 h 876"/>
              <a:gd name="T14" fmla="*/ 338 w 794"/>
              <a:gd name="T15" fmla="*/ 684 h 876"/>
              <a:gd name="T16" fmla="*/ 397 w 794"/>
              <a:gd name="T17" fmla="*/ 406 h 876"/>
              <a:gd name="T18" fmla="*/ 397 w 794"/>
              <a:gd name="T19" fmla="*/ 406 h 876"/>
              <a:gd name="T20" fmla="*/ 456 w 794"/>
              <a:gd name="T21" fmla="*/ 437 h 876"/>
              <a:gd name="T22" fmla="*/ 576 w 794"/>
              <a:gd name="T23" fmla="*/ 345 h 876"/>
              <a:gd name="T24" fmla="*/ 555 w 794"/>
              <a:gd name="T25" fmla="*/ 276 h 876"/>
              <a:gd name="T26" fmla="*/ 619 w 794"/>
              <a:gd name="T27" fmla="*/ 260 h 876"/>
              <a:gd name="T28" fmla="*/ 673 w 794"/>
              <a:gd name="T29" fmla="*/ 197 h 876"/>
              <a:gd name="T30" fmla="*/ 699 w 794"/>
              <a:gd name="T31" fmla="*/ 346 h 876"/>
              <a:gd name="T32" fmla="*/ 654 w 794"/>
              <a:gd name="T33" fmla="*/ 325 h 876"/>
              <a:gd name="T34" fmla="*/ 620 w 794"/>
              <a:gd name="T35" fmla="*/ 291 h 876"/>
              <a:gd name="T36" fmla="*/ 218 w 794"/>
              <a:gd name="T37" fmla="*/ 345 h 876"/>
              <a:gd name="T38" fmla="*/ 346 w 794"/>
              <a:gd name="T39" fmla="*/ 407 h 876"/>
              <a:gd name="T40" fmla="*/ 334 w 794"/>
              <a:gd name="T41" fmla="*/ 389 h 876"/>
              <a:gd name="T42" fmla="*/ 0 w 794"/>
              <a:gd name="T43" fmla="*/ 276 h 876"/>
              <a:gd name="T44" fmla="*/ 178 w 794"/>
              <a:gd name="T45" fmla="*/ 205 h 876"/>
              <a:gd name="T46" fmla="*/ 168 w 794"/>
              <a:gd name="T47" fmla="*/ 242 h 876"/>
              <a:gd name="T48" fmla="*/ 179 w 794"/>
              <a:gd name="T49" fmla="*/ 270 h 876"/>
              <a:gd name="T50" fmla="*/ 173 w 794"/>
              <a:gd name="T51" fmla="*/ 311 h 876"/>
              <a:gd name="T52" fmla="*/ 136 w 794"/>
              <a:gd name="T53" fmla="*/ 356 h 876"/>
              <a:gd name="T54" fmla="*/ 58 w 794"/>
              <a:gd name="T55" fmla="*/ 233 h 876"/>
              <a:gd name="T56" fmla="*/ 423 w 794"/>
              <a:gd name="T57" fmla="*/ 382 h 876"/>
              <a:gd name="T58" fmla="*/ 407 w 794"/>
              <a:gd name="T59" fmla="*/ 356 h 876"/>
              <a:gd name="T60" fmla="*/ 277 w 794"/>
              <a:gd name="T61" fmla="*/ 120 h 876"/>
              <a:gd name="T62" fmla="*/ 456 w 794"/>
              <a:gd name="T63" fmla="*/ 49 h 876"/>
              <a:gd name="T64" fmla="*/ 446 w 794"/>
              <a:gd name="T65" fmla="*/ 86 h 876"/>
              <a:gd name="T66" fmla="*/ 457 w 794"/>
              <a:gd name="T67" fmla="*/ 114 h 876"/>
              <a:gd name="T68" fmla="*/ 450 w 794"/>
              <a:gd name="T69" fmla="*/ 154 h 876"/>
              <a:gd name="T70" fmla="*/ 413 w 794"/>
              <a:gd name="T71" fmla="*/ 199 h 876"/>
              <a:gd name="T72" fmla="*/ 335 w 794"/>
              <a:gd name="T73" fmla="*/ 77 h 876"/>
              <a:gd name="T74" fmla="*/ 338 w 794"/>
              <a:gd name="T75" fmla="*/ 435 h 876"/>
              <a:gd name="T76" fmla="*/ 218 w 794"/>
              <a:gd name="T77" fmla="*/ 526 h 876"/>
              <a:gd name="T78" fmla="*/ 239 w 794"/>
              <a:gd name="T79" fmla="*/ 594 h 876"/>
              <a:gd name="T80" fmla="*/ 174 w 794"/>
              <a:gd name="T81" fmla="*/ 609 h 876"/>
              <a:gd name="T82" fmla="*/ 140 w 794"/>
              <a:gd name="T83" fmla="*/ 643 h 876"/>
              <a:gd name="T84" fmla="*/ 95 w 794"/>
              <a:gd name="T85" fmla="*/ 663 h 876"/>
              <a:gd name="T86" fmla="*/ 121 w 794"/>
              <a:gd name="T87" fmla="*/ 517 h 876"/>
              <a:gd name="T88" fmla="*/ 175 w 794"/>
              <a:gd name="T89" fmla="*/ 578 h 876"/>
              <a:gd name="T90" fmla="*/ 576 w 794"/>
              <a:gd name="T91" fmla="*/ 526 h 876"/>
              <a:gd name="T92" fmla="*/ 429 w 794"/>
              <a:gd name="T93" fmla="*/ 485 h 876"/>
              <a:gd name="T94" fmla="*/ 566 w 794"/>
              <a:gd name="T95" fmla="*/ 544 h 876"/>
              <a:gd name="T96" fmla="*/ 675 w 794"/>
              <a:gd name="T97" fmla="*/ 475 h 876"/>
              <a:gd name="T98" fmla="*/ 658 w 794"/>
              <a:gd name="T99" fmla="*/ 674 h 876"/>
              <a:gd name="T100" fmla="*/ 621 w 794"/>
              <a:gd name="T101" fmla="*/ 629 h 876"/>
              <a:gd name="T102" fmla="*/ 615 w 794"/>
              <a:gd name="T103" fmla="*/ 589 h 876"/>
              <a:gd name="T104" fmla="*/ 626 w 794"/>
              <a:gd name="T105" fmla="*/ 561 h 876"/>
              <a:gd name="T106" fmla="*/ 616 w 794"/>
              <a:gd name="T107" fmla="*/ 524 h 8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94" h="876">
                <a:moveTo>
                  <a:pt x="407" y="635"/>
                </a:moveTo>
                <a:cubicBezTo>
                  <a:pt x="407" y="507"/>
                  <a:pt x="407" y="507"/>
                  <a:pt x="407" y="507"/>
                </a:cubicBezTo>
                <a:cubicBezTo>
                  <a:pt x="407" y="501"/>
                  <a:pt x="403" y="496"/>
                  <a:pt x="397" y="496"/>
                </a:cubicBezTo>
                <a:cubicBezTo>
                  <a:pt x="387" y="496"/>
                  <a:pt x="377" y="494"/>
                  <a:pt x="368" y="489"/>
                </a:cubicBezTo>
                <a:cubicBezTo>
                  <a:pt x="363" y="486"/>
                  <a:pt x="357" y="488"/>
                  <a:pt x="354" y="493"/>
                </a:cubicBezTo>
                <a:cubicBezTo>
                  <a:pt x="352" y="498"/>
                  <a:pt x="353" y="504"/>
                  <a:pt x="358" y="507"/>
                </a:cubicBezTo>
                <a:cubicBezTo>
                  <a:pt x="367" y="512"/>
                  <a:pt x="377" y="515"/>
                  <a:pt x="387" y="517"/>
                </a:cubicBezTo>
                <a:cubicBezTo>
                  <a:pt x="387" y="635"/>
                  <a:pt x="387" y="635"/>
                  <a:pt x="387" y="635"/>
                </a:cubicBezTo>
                <a:cubicBezTo>
                  <a:pt x="325" y="640"/>
                  <a:pt x="277" y="692"/>
                  <a:pt x="277" y="755"/>
                </a:cubicBezTo>
                <a:cubicBezTo>
                  <a:pt x="277" y="822"/>
                  <a:pt x="331" y="876"/>
                  <a:pt x="397" y="876"/>
                </a:cubicBezTo>
                <a:cubicBezTo>
                  <a:pt x="463" y="876"/>
                  <a:pt x="517" y="822"/>
                  <a:pt x="517" y="755"/>
                </a:cubicBezTo>
                <a:cubicBezTo>
                  <a:pt x="517" y="692"/>
                  <a:pt x="469" y="640"/>
                  <a:pt x="407" y="635"/>
                </a:cubicBezTo>
                <a:close/>
                <a:moveTo>
                  <a:pt x="438" y="787"/>
                </a:moveTo>
                <a:cubicBezTo>
                  <a:pt x="438" y="822"/>
                  <a:pt x="438" y="822"/>
                  <a:pt x="438" y="822"/>
                </a:cubicBezTo>
                <a:cubicBezTo>
                  <a:pt x="438" y="824"/>
                  <a:pt x="437" y="825"/>
                  <a:pt x="436" y="826"/>
                </a:cubicBezTo>
                <a:cubicBezTo>
                  <a:pt x="413" y="835"/>
                  <a:pt x="383" y="835"/>
                  <a:pt x="381" y="835"/>
                </a:cubicBezTo>
                <a:cubicBezTo>
                  <a:pt x="378" y="835"/>
                  <a:pt x="377" y="834"/>
                  <a:pt x="377" y="832"/>
                </a:cubicBezTo>
                <a:cubicBezTo>
                  <a:pt x="377" y="808"/>
                  <a:pt x="377" y="808"/>
                  <a:pt x="377" y="808"/>
                </a:cubicBezTo>
                <a:cubicBezTo>
                  <a:pt x="363" y="809"/>
                  <a:pt x="352" y="807"/>
                  <a:pt x="349" y="806"/>
                </a:cubicBezTo>
                <a:cubicBezTo>
                  <a:pt x="345" y="804"/>
                  <a:pt x="345" y="799"/>
                  <a:pt x="344" y="790"/>
                </a:cubicBezTo>
                <a:cubicBezTo>
                  <a:pt x="344" y="789"/>
                  <a:pt x="344" y="789"/>
                  <a:pt x="344" y="789"/>
                </a:cubicBezTo>
                <a:cubicBezTo>
                  <a:pt x="344" y="783"/>
                  <a:pt x="344" y="775"/>
                  <a:pt x="345" y="770"/>
                </a:cubicBezTo>
                <a:cubicBezTo>
                  <a:pt x="334" y="769"/>
                  <a:pt x="331" y="764"/>
                  <a:pt x="331" y="762"/>
                </a:cubicBezTo>
                <a:cubicBezTo>
                  <a:pt x="329" y="758"/>
                  <a:pt x="333" y="754"/>
                  <a:pt x="337" y="749"/>
                </a:cubicBezTo>
                <a:cubicBezTo>
                  <a:pt x="338" y="749"/>
                  <a:pt x="338" y="748"/>
                  <a:pt x="339" y="748"/>
                </a:cubicBezTo>
                <a:cubicBezTo>
                  <a:pt x="340" y="746"/>
                  <a:pt x="342" y="741"/>
                  <a:pt x="344" y="736"/>
                </a:cubicBezTo>
                <a:cubicBezTo>
                  <a:pt x="345" y="735"/>
                  <a:pt x="345" y="733"/>
                  <a:pt x="346" y="730"/>
                </a:cubicBezTo>
                <a:cubicBezTo>
                  <a:pt x="346" y="727"/>
                  <a:pt x="347" y="724"/>
                  <a:pt x="348" y="721"/>
                </a:cubicBezTo>
                <a:cubicBezTo>
                  <a:pt x="349" y="718"/>
                  <a:pt x="350" y="710"/>
                  <a:pt x="350" y="705"/>
                </a:cubicBezTo>
                <a:cubicBezTo>
                  <a:pt x="349" y="704"/>
                  <a:pt x="348" y="705"/>
                  <a:pt x="348" y="705"/>
                </a:cubicBezTo>
                <a:cubicBezTo>
                  <a:pt x="348" y="705"/>
                  <a:pt x="348" y="705"/>
                  <a:pt x="348" y="704"/>
                </a:cubicBezTo>
                <a:cubicBezTo>
                  <a:pt x="346" y="697"/>
                  <a:pt x="334" y="684"/>
                  <a:pt x="338" y="684"/>
                </a:cubicBezTo>
                <a:cubicBezTo>
                  <a:pt x="374" y="685"/>
                  <a:pt x="363" y="675"/>
                  <a:pt x="401" y="675"/>
                </a:cubicBezTo>
                <a:cubicBezTo>
                  <a:pt x="434" y="675"/>
                  <a:pt x="451" y="695"/>
                  <a:pt x="459" y="712"/>
                </a:cubicBezTo>
                <a:cubicBezTo>
                  <a:pt x="473" y="744"/>
                  <a:pt x="450" y="775"/>
                  <a:pt x="438" y="787"/>
                </a:cubicBezTo>
                <a:close/>
                <a:moveTo>
                  <a:pt x="397" y="406"/>
                </a:moveTo>
                <a:cubicBezTo>
                  <a:pt x="380" y="406"/>
                  <a:pt x="366" y="420"/>
                  <a:pt x="366" y="437"/>
                </a:cubicBezTo>
                <a:cubicBezTo>
                  <a:pt x="366" y="454"/>
                  <a:pt x="380" y="468"/>
                  <a:pt x="397" y="468"/>
                </a:cubicBezTo>
                <a:cubicBezTo>
                  <a:pt x="414" y="468"/>
                  <a:pt x="428" y="454"/>
                  <a:pt x="428" y="437"/>
                </a:cubicBezTo>
                <a:cubicBezTo>
                  <a:pt x="428" y="420"/>
                  <a:pt x="414" y="406"/>
                  <a:pt x="397" y="406"/>
                </a:cubicBezTo>
                <a:close/>
                <a:moveTo>
                  <a:pt x="452" y="393"/>
                </a:moveTo>
                <a:cubicBezTo>
                  <a:pt x="448" y="396"/>
                  <a:pt x="446" y="401"/>
                  <a:pt x="447" y="405"/>
                </a:cubicBezTo>
                <a:cubicBezTo>
                  <a:pt x="448" y="406"/>
                  <a:pt x="448" y="407"/>
                  <a:pt x="448" y="408"/>
                </a:cubicBezTo>
                <a:cubicBezTo>
                  <a:pt x="454" y="417"/>
                  <a:pt x="456" y="427"/>
                  <a:pt x="456" y="437"/>
                </a:cubicBezTo>
                <a:cubicBezTo>
                  <a:pt x="456" y="443"/>
                  <a:pt x="461" y="447"/>
                  <a:pt x="466" y="447"/>
                </a:cubicBezTo>
                <a:cubicBezTo>
                  <a:pt x="472" y="447"/>
                  <a:pt x="476" y="443"/>
                  <a:pt x="476" y="437"/>
                </a:cubicBezTo>
                <a:cubicBezTo>
                  <a:pt x="476" y="426"/>
                  <a:pt x="474" y="416"/>
                  <a:pt x="470" y="406"/>
                </a:cubicBezTo>
                <a:cubicBezTo>
                  <a:pt x="576" y="345"/>
                  <a:pt x="576" y="345"/>
                  <a:pt x="576" y="345"/>
                </a:cubicBezTo>
                <a:cubicBezTo>
                  <a:pt x="598" y="376"/>
                  <a:pt x="633" y="397"/>
                  <a:pt x="675" y="397"/>
                </a:cubicBezTo>
                <a:cubicBezTo>
                  <a:pt x="741" y="397"/>
                  <a:pt x="794" y="343"/>
                  <a:pt x="794" y="276"/>
                </a:cubicBezTo>
                <a:cubicBezTo>
                  <a:pt x="794" y="210"/>
                  <a:pt x="741" y="155"/>
                  <a:pt x="675" y="155"/>
                </a:cubicBezTo>
                <a:cubicBezTo>
                  <a:pt x="608" y="155"/>
                  <a:pt x="555" y="210"/>
                  <a:pt x="555" y="276"/>
                </a:cubicBezTo>
                <a:cubicBezTo>
                  <a:pt x="555" y="295"/>
                  <a:pt x="558" y="312"/>
                  <a:pt x="566" y="327"/>
                </a:cubicBezTo>
                <a:cubicBezTo>
                  <a:pt x="452" y="393"/>
                  <a:pt x="452" y="393"/>
                  <a:pt x="452" y="393"/>
                </a:cubicBezTo>
                <a:close/>
                <a:moveTo>
                  <a:pt x="612" y="270"/>
                </a:moveTo>
                <a:cubicBezTo>
                  <a:pt x="615" y="267"/>
                  <a:pt x="617" y="263"/>
                  <a:pt x="619" y="260"/>
                </a:cubicBezTo>
                <a:cubicBezTo>
                  <a:pt x="620" y="258"/>
                  <a:pt x="620" y="250"/>
                  <a:pt x="620" y="245"/>
                </a:cubicBezTo>
                <a:cubicBezTo>
                  <a:pt x="619" y="235"/>
                  <a:pt x="623" y="229"/>
                  <a:pt x="625" y="226"/>
                </a:cubicBezTo>
                <a:cubicBezTo>
                  <a:pt x="624" y="225"/>
                  <a:pt x="623" y="224"/>
                  <a:pt x="622" y="222"/>
                </a:cubicBezTo>
                <a:cubicBezTo>
                  <a:pt x="620" y="215"/>
                  <a:pt x="636" y="197"/>
                  <a:pt x="673" y="197"/>
                </a:cubicBezTo>
                <a:cubicBezTo>
                  <a:pt x="706" y="197"/>
                  <a:pt x="725" y="215"/>
                  <a:pt x="733" y="232"/>
                </a:cubicBezTo>
                <a:cubicBezTo>
                  <a:pt x="760" y="289"/>
                  <a:pt x="724" y="316"/>
                  <a:pt x="702" y="325"/>
                </a:cubicBezTo>
                <a:cubicBezTo>
                  <a:pt x="701" y="343"/>
                  <a:pt x="701" y="343"/>
                  <a:pt x="701" y="343"/>
                </a:cubicBezTo>
                <a:cubicBezTo>
                  <a:pt x="701" y="344"/>
                  <a:pt x="700" y="345"/>
                  <a:pt x="699" y="346"/>
                </a:cubicBezTo>
                <a:cubicBezTo>
                  <a:pt x="685" y="354"/>
                  <a:pt x="668" y="355"/>
                  <a:pt x="660" y="355"/>
                </a:cubicBezTo>
                <a:cubicBezTo>
                  <a:pt x="657" y="355"/>
                  <a:pt x="657" y="355"/>
                  <a:pt x="657" y="355"/>
                </a:cubicBezTo>
                <a:cubicBezTo>
                  <a:pt x="655" y="354"/>
                  <a:pt x="654" y="353"/>
                  <a:pt x="654" y="351"/>
                </a:cubicBezTo>
                <a:cubicBezTo>
                  <a:pt x="654" y="325"/>
                  <a:pt x="654" y="325"/>
                  <a:pt x="654" y="325"/>
                </a:cubicBezTo>
                <a:cubicBezTo>
                  <a:pt x="650" y="325"/>
                  <a:pt x="645" y="325"/>
                  <a:pt x="643" y="325"/>
                </a:cubicBezTo>
                <a:cubicBezTo>
                  <a:pt x="629" y="325"/>
                  <a:pt x="626" y="324"/>
                  <a:pt x="624" y="322"/>
                </a:cubicBezTo>
                <a:cubicBezTo>
                  <a:pt x="622" y="320"/>
                  <a:pt x="620" y="316"/>
                  <a:pt x="620" y="302"/>
                </a:cubicBezTo>
                <a:cubicBezTo>
                  <a:pt x="620" y="291"/>
                  <a:pt x="620" y="291"/>
                  <a:pt x="620" y="291"/>
                </a:cubicBezTo>
                <a:cubicBezTo>
                  <a:pt x="612" y="290"/>
                  <a:pt x="607" y="286"/>
                  <a:pt x="606" y="283"/>
                </a:cubicBezTo>
                <a:cubicBezTo>
                  <a:pt x="605" y="280"/>
                  <a:pt x="609" y="274"/>
                  <a:pt x="612" y="270"/>
                </a:cubicBezTo>
                <a:close/>
                <a:moveTo>
                  <a:pt x="119" y="397"/>
                </a:moveTo>
                <a:cubicBezTo>
                  <a:pt x="161" y="397"/>
                  <a:pt x="196" y="376"/>
                  <a:pt x="218" y="345"/>
                </a:cubicBezTo>
                <a:cubicBezTo>
                  <a:pt x="332" y="411"/>
                  <a:pt x="332" y="411"/>
                  <a:pt x="332" y="411"/>
                </a:cubicBezTo>
                <a:cubicBezTo>
                  <a:pt x="333" y="412"/>
                  <a:pt x="335" y="413"/>
                  <a:pt x="337" y="413"/>
                </a:cubicBezTo>
                <a:cubicBezTo>
                  <a:pt x="340" y="413"/>
                  <a:pt x="344" y="411"/>
                  <a:pt x="346" y="408"/>
                </a:cubicBezTo>
                <a:cubicBezTo>
                  <a:pt x="346" y="407"/>
                  <a:pt x="346" y="407"/>
                  <a:pt x="346" y="407"/>
                </a:cubicBezTo>
                <a:cubicBezTo>
                  <a:pt x="351" y="398"/>
                  <a:pt x="359" y="390"/>
                  <a:pt x="368" y="385"/>
                </a:cubicBezTo>
                <a:cubicBezTo>
                  <a:pt x="373" y="382"/>
                  <a:pt x="375" y="376"/>
                  <a:pt x="372" y="371"/>
                </a:cubicBezTo>
                <a:cubicBezTo>
                  <a:pt x="369" y="366"/>
                  <a:pt x="363" y="365"/>
                  <a:pt x="358" y="368"/>
                </a:cubicBezTo>
                <a:cubicBezTo>
                  <a:pt x="349" y="373"/>
                  <a:pt x="340" y="380"/>
                  <a:pt x="334" y="389"/>
                </a:cubicBezTo>
                <a:cubicBezTo>
                  <a:pt x="228" y="327"/>
                  <a:pt x="228" y="327"/>
                  <a:pt x="228" y="327"/>
                </a:cubicBezTo>
                <a:cubicBezTo>
                  <a:pt x="236" y="312"/>
                  <a:pt x="239" y="295"/>
                  <a:pt x="239" y="276"/>
                </a:cubicBezTo>
                <a:cubicBezTo>
                  <a:pt x="239" y="210"/>
                  <a:pt x="186" y="155"/>
                  <a:pt x="119" y="155"/>
                </a:cubicBezTo>
                <a:cubicBezTo>
                  <a:pt x="53" y="155"/>
                  <a:pt x="0" y="210"/>
                  <a:pt x="0" y="276"/>
                </a:cubicBezTo>
                <a:cubicBezTo>
                  <a:pt x="0" y="343"/>
                  <a:pt x="53" y="397"/>
                  <a:pt x="119" y="397"/>
                </a:cubicBezTo>
                <a:close/>
                <a:moveTo>
                  <a:pt x="58" y="233"/>
                </a:moveTo>
                <a:cubicBezTo>
                  <a:pt x="66" y="216"/>
                  <a:pt x="82" y="196"/>
                  <a:pt x="116" y="196"/>
                </a:cubicBezTo>
                <a:cubicBezTo>
                  <a:pt x="154" y="196"/>
                  <a:pt x="143" y="206"/>
                  <a:pt x="178" y="205"/>
                </a:cubicBezTo>
                <a:cubicBezTo>
                  <a:pt x="182" y="205"/>
                  <a:pt x="171" y="218"/>
                  <a:pt x="169" y="225"/>
                </a:cubicBezTo>
                <a:cubicBezTo>
                  <a:pt x="168" y="226"/>
                  <a:pt x="168" y="226"/>
                  <a:pt x="168" y="226"/>
                </a:cubicBezTo>
                <a:cubicBezTo>
                  <a:pt x="168" y="226"/>
                  <a:pt x="167" y="225"/>
                  <a:pt x="167" y="226"/>
                </a:cubicBezTo>
                <a:cubicBezTo>
                  <a:pt x="167" y="231"/>
                  <a:pt x="168" y="239"/>
                  <a:pt x="168" y="242"/>
                </a:cubicBezTo>
                <a:cubicBezTo>
                  <a:pt x="169" y="245"/>
                  <a:pt x="170" y="248"/>
                  <a:pt x="171" y="251"/>
                </a:cubicBezTo>
                <a:cubicBezTo>
                  <a:pt x="171" y="253"/>
                  <a:pt x="172" y="256"/>
                  <a:pt x="172" y="257"/>
                </a:cubicBezTo>
                <a:cubicBezTo>
                  <a:pt x="174" y="262"/>
                  <a:pt x="176" y="267"/>
                  <a:pt x="178" y="269"/>
                </a:cubicBezTo>
                <a:cubicBezTo>
                  <a:pt x="179" y="269"/>
                  <a:pt x="179" y="270"/>
                  <a:pt x="179" y="270"/>
                </a:cubicBezTo>
                <a:cubicBezTo>
                  <a:pt x="183" y="274"/>
                  <a:pt x="187" y="279"/>
                  <a:pt x="186" y="283"/>
                </a:cubicBezTo>
                <a:cubicBezTo>
                  <a:pt x="185" y="285"/>
                  <a:pt x="182" y="290"/>
                  <a:pt x="172" y="291"/>
                </a:cubicBezTo>
                <a:cubicBezTo>
                  <a:pt x="172" y="296"/>
                  <a:pt x="173" y="304"/>
                  <a:pt x="173" y="310"/>
                </a:cubicBezTo>
                <a:cubicBezTo>
                  <a:pt x="173" y="311"/>
                  <a:pt x="173" y="311"/>
                  <a:pt x="173" y="311"/>
                </a:cubicBezTo>
                <a:cubicBezTo>
                  <a:pt x="172" y="320"/>
                  <a:pt x="172" y="325"/>
                  <a:pt x="168" y="327"/>
                </a:cubicBezTo>
                <a:cubicBezTo>
                  <a:pt x="165" y="328"/>
                  <a:pt x="154" y="330"/>
                  <a:pt x="139" y="329"/>
                </a:cubicBezTo>
                <a:cubicBezTo>
                  <a:pt x="139" y="353"/>
                  <a:pt x="139" y="353"/>
                  <a:pt x="139" y="353"/>
                </a:cubicBezTo>
                <a:cubicBezTo>
                  <a:pt x="139" y="355"/>
                  <a:pt x="138" y="356"/>
                  <a:pt x="136" y="356"/>
                </a:cubicBezTo>
                <a:cubicBezTo>
                  <a:pt x="134" y="356"/>
                  <a:pt x="104" y="356"/>
                  <a:pt x="80" y="346"/>
                </a:cubicBezTo>
                <a:cubicBezTo>
                  <a:pt x="79" y="346"/>
                  <a:pt x="78" y="345"/>
                  <a:pt x="78" y="343"/>
                </a:cubicBezTo>
                <a:cubicBezTo>
                  <a:pt x="78" y="308"/>
                  <a:pt x="78" y="308"/>
                  <a:pt x="78" y="308"/>
                </a:cubicBezTo>
                <a:cubicBezTo>
                  <a:pt x="66" y="296"/>
                  <a:pt x="43" y="265"/>
                  <a:pt x="58" y="233"/>
                </a:cubicBezTo>
                <a:close/>
                <a:moveTo>
                  <a:pt x="387" y="239"/>
                </a:moveTo>
                <a:cubicBezTo>
                  <a:pt x="387" y="366"/>
                  <a:pt x="387" y="366"/>
                  <a:pt x="387" y="366"/>
                </a:cubicBezTo>
                <a:cubicBezTo>
                  <a:pt x="387" y="372"/>
                  <a:pt x="391" y="376"/>
                  <a:pt x="397" y="376"/>
                </a:cubicBezTo>
                <a:cubicBezTo>
                  <a:pt x="406" y="376"/>
                  <a:pt x="415" y="378"/>
                  <a:pt x="423" y="382"/>
                </a:cubicBezTo>
                <a:cubicBezTo>
                  <a:pt x="424" y="383"/>
                  <a:pt x="426" y="383"/>
                  <a:pt x="428" y="383"/>
                </a:cubicBezTo>
                <a:cubicBezTo>
                  <a:pt x="431" y="383"/>
                  <a:pt x="435" y="381"/>
                  <a:pt x="437" y="378"/>
                </a:cubicBezTo>
                <a:cubicBezTo>
                  <a:pt x="439" y="373"/>
                  <a:pt x="437" y="367"/>
                  <a:pt x="432" y="364"/>
                </a:cubicBezTo>
                <a:cubicBezTo>
                  <a:pt x="424" y="360"/>
                  <a:pt x="416" y="357"/>
                  <a:pt x="407" y="356"/>
                </a:cubicBezTo>
                <a:cubicBezTo>
                  <a:pt x="407" y="239"/>
                  <a:pt x="407" y="239"/>
                  <a:pt x="407" y="239"/>
                </a:cubicBezTo>
                <a:cubicBezTo>
                  <a:pt x="469" y="234"/>
                  <a:pt x="517" y="183"/>
                  <a:pt x="517" y="120"/>
                </a:cubicBezTo>
                <a:cubicBezTo>
                  <a:pt x="517" y="53"/>
                  <a:pt x="463" y="0"/>
                  <a:pt x="397" y="0"/>
                </a:cubicBezTo>
                <a:cubicBezTo>
                  <a:pt x="331" y="0"/>
                  <a:pt x="277" y="53"/>
                  <a:pt x="277" y="120"/>
                </a:cubicBezTo>
                <a:cubicBezTo>
                  <a:pt x="277" y="183"/>
                  <a:pt x="325" y="234"/>
                  <a:pt x="387" y="239"/>
                </a:cubicBezTo>
                <a:close/>
                <a:moveTo>
                  <a:pt x="335" y="77"/>
                </a:moveTo>
                <a:cubicBezTo>
                  <a:pt x="343" y="60"/>
                  <a:pt x="360" y="40"/>
                  <a:pt x="393" y="40"/>
                </a:cubicBezTo>
                <a:cubicBezTo>
                  <a:pt x="431" y="40"/>
                  <a:pt x="420" y="50"/>
                  <a:pt x="456" y="49"/>
                </a:cubicBezTo>
                <a:cubicBezTo>
                  <a:pt x="460" y="49"/>
                  <a:pt x="448" y="62"/>
                  <a:pt x="446" y="70"/>
                </a:cubicBezTo>
                <a:cubicBezTo>
                  <a:pt x="446" y="70"/>
                  <a:pt x="446" y="70"/>
                  <a:pt x="446" y="70"/>
                </a:cubicBezTo>
                <a:cubicBezTo>
                  <a:pt x="446" y="70"/>
                  <a:pt x="445" y="70"/>
                  <a:pt x="444" y="70"/>
                </a:cubicBezTo>
                <a:cubicBezTo>
                  <a:pt x="444" y="74"/>
                  <a:pt x="445" y="83"/>
                  <a:pt x="446" y="86"/>
                </a:cubicBezTo>
                <a:cubicBezTo>
                  <a:pt x="447" y="88"/>
                  <a:pt x="448" y="92"/>
                  <a:pt x="448" y="95"/>
                </a:cubicBezTo>
                <a:cubicBezTo>
                  <a:pt x="449" y="97"/>
                  <a:pt x="449" y="100"/>
                  <a:pt x="450" y="101"/>
                </a:cubicBezTo>
                <a:cubicBezTo>
                  <a:pt x="452" y="106"/>
                  <a:pt x="454" y="110"/>
                  <a:pt x="455" y="113"/>
                </a:cubicBezTo>
                <a:cubicBezTo>
                  <a:pt x="456" y="113"/>
                  <a:pt x="456" y="114"/>
                  <a:pt x="457" y="114"/>
                </a:cubicBezTo>
                <a:cubicBezTo>
                  <a:pt x="461" y="118"/>
                  <a:pt x="465" y="122"/>
                  <a:pt x="463" y="126"/>
                </a:cubicBezTo>
                <a:cubicBezTo>
                  <a:pt x="463" y="128"/>
                  <a:pt x="460" y="134"/>
                  <a:pt x="449" y="134"/>
                </a:cubicBezTo>
                <a:cubicBezTo>
                  <a:pt x="450" y="139"/>
                  <a:pt x="450" y="148"/>
                  <a:pt x="450" y="153"/>
                </a:cubicBezTo>
                <a:cubicBezTo>
                  <a:pt x="450" y="154"/>
                  <a:pt x="450" y="154"/>
                  <a:pt x="450" y="154"/>
                </a:cubicBezTo>
                <a:cubicBezTo>
                  <a:pt x="449" y="163"/>
                  <a:pt x="449" y="168"/>
                  <a:pt x="445" y="170"/>
                </a:cubicBezTo>
                <a:cubicBezTo>
                  <a:pt x="442" y="171"/>
                  <a:pt x="431" y="173"/>
                  <a:pt x="417" y="171"/>
                </a:cubicBezTo>
                <a:cubicBezTo>
                  <a:pt x="417" y="196"/>
                  <a:pt x="417" y="196"/>
                  <a:pt x="417" y="196"/>
                </a:cubicBezTo>
                <a:cubicBezTo>
                  <a:pt x="417" y="198"/>
                  <a:pt x="416" y="199"/>
                  <a:pt x="413" y="199"/>
                </a:cubicBezTo>
                <a:cubicBezTo>
                  <a:pt x="411" y="199"/>
                  <a:pt x="381" y="199"/>
                  <a:pt x="358" y="190"/>
                </a:cubicBezTo>
                <a:cubicBezTo>
                  <a:pt x="357" y="189"/>
                  <a:pt x="356" y="188"/>
                  <a:pt x="356" y="186"/>
                </a:cubicBezTo>
                <a:cubicBezTo>
                  <a:pt x="356" y="151"/>
                  <a:pt x="356" y="151"/>
                  <a:pt x="356" y="151"/>
                </a:cubicBezTo>
                <a:cubicBezTo>
                  <a:pt x="344" y="139"/>
                  <a:pt x="321" y="108"/>
                  <a:pt x="335" y="77"/>
                </a:cubicBezTo>
                <a:close/>
                <a:moveTo>
                  <a:pt x="342" y="479"/>
                </a:moveTo>
                <a:cubicBezTo>
                  <a:pt x="346" y="476"/>
                  <a:pt x="348" y="471"/>
                  <a:pt x="346" y="466"/>
                </a:cubicBezTo>
                <a:cubicBezTo>
                  <a:pt x="346" y="465"/>
                  <a:pt x="346" y="465"/>
                  <a:pt x="346" y="464"/>
                </a:cubicBezTo>
                <a:cubicBezTo>
                  <a:pt x="340" y="455"/>
                  <a:pt x="338" y="445"/>
                  <a:pt x="338" y="435"/>
                </a:cubicBezTo>
                <a:cubicBezTo>
                  <a:pt x="338" y="430"/>
                  <a:pt x="333" y="425"/>
                  <a:pt x="328" y="425"/>
                </a:cubicBezTo>
                <a:cubicBezTo>
                  <a:pt x="322" y="425"/>
                  <a:pt x="318" y="430"/>
                  <a:pt x="318" y="435"/>
                </a:cubicBezTo>
                <a:cubicBezTo>
                  <a:pt x="318" y="446"/>
                  <a:pt x="320" y="456"/>
                  <a:pt x="324" y="466"/>
                </a:cubicBezTo>
                <a:cubicBezTo>
                  <a:pt x="218" y="526"/>
                  <a:pt x="218" y="526"/>
                  <a:pt x="218" y="526"/>
                </a:cubicBezTo>
                <a:cubicBezTo>
                  <a:pt x="196" y="495"/>
                  <a:pt x="161" y="475"/>
                  <a:pt x="119" y="475"/>
                </a:cubicBezTo>
                <a:cubicBezTo>
                  <a:pt x="53" y="475"/>
                  <a:pt x="0" y="528"/>
                  <a:pt x="0" y="594"/>
                </a:cubicBezTo>
                <a:cubicBezTo>
                  <a:pt x="0" y="661"/>
                  <a:pt x="53" y="714"/>
                  <a:pt x="119" y="714"/>
                </a:cubicBezTo>
                <a:cubicBezTo>
                  <a:pt x="186" y="714"/>
                  <a:pt x="239" y="661"/>
                  <a:pt x="239" y="594"/>
                </a:cubicBezTo>
                <a:cubicBezTo>
                  <a:pt x="239" y="576"/>
                  <a:pt x="236" y="559"/>
                  <a:pt x="228" y="544"/>
                </a:cubicBezTo>
                <a:cubicBezTo>
                  <a:pt x="342" y="479"/>
                  <a:pt x="342" y="479"/>
                  <a:pt x="342" y="479"/>
                </a:cubicBezTo>
                <a:close/>
                <a:moveTo>
                  <a:pt x="188" y="602"/>
                </a:moveTo>
                <a:cubicBezTo>
                  <a:pt x="187" y="605"/>
                  <a:pt x="182" y="609"/>
                  <a:pt x="174" y="609"/>
                </a:cubicBezTo>
                <a:cubicBezTo>
                  <a:pt x="174" y="619"/>
                  <a:pt x="174" y="619"/>
                  <a:pt x="174" y="619"/>
                </a:cubicBezTo>
                <a:cubicBezTo>
                  <a:pt x="174" y="634"/>
                  <a:pt x="172" y="638"/>
                  <a:pt x="170" y="640"/>
                </a:cubicBezTo>
                <a:cubicBezTo>
                  <a:pt x="168" y="641"/>
                  <a:pt x="165" y="644"/>
                  <a:pt x="151" y="643"/>
                </a:cubicBezTo>
                <a:cubicBezTo>
                  <a:pt x="149" y="643"/>
                  <a:pt x="144" y="643"/>
                  <a:pt x="140" y="643"/>
                </a:cubicBezTo>
                <a:cubicBezTo>
                  <a:pt x="140" y="669"/>
                  <a:pt x="140" y="669"/>
                  <a:pt x="140" y="669"/>
                </a:cubicBezTo>
                <a:cubicBezTo>
                  <a:pt x="140" y="671"/>
                  <a:pt x="139" y="672"/>
                  <a:pt x="137" y="672"/>
                </a:cubicBezTo>
                <a:cubicBezTo>
                  <a:pt x="137" y="672"/>
                  <a:pt x="136" y="673"/>
                  <a:pt x="134" y="673"/>
                </a:cubicBezTo>
                <a:cubicBezTo>
                  <a:pt x="126" y="673"/>
                  <a:pt x="109" y="671"/>
                  <a:pt x="95" y="663"/>
                </a:cubicBezTo>
                <a:cubicBezTo>
                  <a:pt x="94" y="663"/>
                  <a:pt x="93" y="662"/>
                  <a:pt x="93" y="660"/>
                </a:cubicBezTo>
                <a:cubicBezTo>
                  <a:pt x="92" y="643"/>
                  <a:pt x="92" y="643"/>
                  <a:pt x="92" y="643"/>
                </a:cubicBezTo>
                <a:cubicBezTo>
                  <a:pt x="70" y="634"/>
                  <a:pt x="34" y="607"/>
                  <a:pt x="61" y="551"/>
                </a:cubicBezTo>
                <a:cubicBezTo>
                  <a:pt x="69" y="534"/>
                  <a:pt x="88" y="517"/>
                  <a:pt x="121" y="517"/>
                </a:cubicBezTo>
                <a:cubicBezTo>
                  <a:pt x="158" y="517"/>
                  <a:pt x="174" y="534"/>
                  <a:pt x="172" y="541"/>
                </a:cubicBezTo>
                <a:cubicBezTo>
                  <a:pt x="171" y="543"/>
                  <a:pt x="170" y="544"/>
                  <a:pt x="169" y="545"/>
                </a:cubicBezTo>
                <a:cubicBezTo>
                  <a:pt x="171" y="548"/>
                  <a:pt x="175" y="554"/>
                  <a:pt x="174" y="563"/>
                </a:cubicBezTo>
                <a:cubicBezTo>
                  <a:pt x="174" y="568"/>
                  <a:pt x="174" y="577"/>
                  <a:pt x="175" y="578"/>
                </a:cubicBezTo>
                <a:cubicBezTo>
                  <a:pt x="177" y="581"/>
                  <a:pt x="179" y="586"/>
                  <a:pt x="182" y="589"/>
                </a:cubicBezTo>
                <a:cubicBezTo>
                  <a:pt x="185" y="592"/>
                  <a:pt x="189" y="598"/>
                  <a:pt x="188" y="602"/>
                </a:cubicBezTo>
                <a:close/>
                <a:moveTo>
                  <a:pt x="675" y="475"/>
                </a:moveTo>
                <a:cubicBezTo>
                  <a:pt x="633" y="475"/>
                  <a:pt x="598" y="495"/>
                  <a:pt x="576" y="526"/>
                </a:cubicBezTo>
                <a:cubicBezTo>
                  <a:pt x="462" y="461"/>
                  <a:pt x="462" y="461"/>
                  <a:pt x="462" y="461"/>
                </a:cubicBezTo>
                <a:cubicBezTo>
                  <a:pt x="457" y="458"/>
                  <a:pt x="451" y="460"/>
                  <a:pt x="448" y="464"/>
                </a:cubicBezTo>
                <a:cubicBezTo>
                  <a:pt x="448" y="465"/>
                  <a:pt x="448" y="465"/>
                  <a:pt x="448" y="465"/>
                </a:cubicBezTo>
                <a:cubicBezTo>
                  <a:pt x="443" y="473"/>
                  <a:pt x="436" y="480"/>
                  <a:pt x="429" y="485"/>
                </a:cubicBezTo>
                <a:cubicBezTo>
                  <a:pt x="423" y="488"/>
                  <a:pt x="422" y="494"/>
                  <a:pt x="425" y="499"/>
                </a:cubicBezTo>
                <a:cubicBezTo>
                  <a:pt x="428" y="504"/>
                  <a:pt x="435" y="506"/>
                  <a:pt x="439" y="502"/>
                </a:cubicBezTo>
                <a:cubicBezTo>
                  <a:pt x="447" y="497"/>
                  <a:pt x="454" y="491"/>
                  <a:pt x="460" y="483"/>
                </a:cubicBezTo>
                <a:cubicBezTo>
                  <a:pt x="566" y="544"/>
                  <a:pt x="566" y="544"/>
                  <a:pt x="566" y="544"/>
                </a:cubicBezTo>
                <a:cubicBezTo>
                  <a:pt x="558" y="559"/>
                  <a:pt x="555" y="576"/>
                  <a:pt x="555" y="594"/>
                </a:cubicBezTo>
                <a:cubicBezTo>
                  <a:pt x="555" y="661"/>
                  <a:pt x="608" y="714"/>
                  <a:pt x="675" y="714"/>
                </a:cubicBezTo>
                <a:cubicBezTo>
                  <a:pt x="741" y="714"/>
                  <a:pt x="794" y="661"/>
                  <a:pt x="794" y="594"/>
                </a:cubicBezTo>
                <a:cubicBezTo>
                  <a:pt x="794" y="528"/>
                  <a:pt x="741" y="475"/>
                  <a:pt x="675" y="475"/>
                </a:cubicBezTo>
                <a:close/>
                <a:moveTo>
                  <a:pt x="716" y="626"/>
                </a:moveTo>
                <a:cubicBezTo>
                  <a:pt x="716" y="661"/>
                  <a:pt x="716" y="661"/>
                  <a:pt x="716" y="661"/>
                </a:cubicBezTo>
                <a:cubicBezTo>
                  <a:pt x="716" y="663"/>
                  <a:pt x="715" y="664"/>
                  <a:pt x="714" y="664"/>
                </a:cubicBezTo>
                <a:cubicBezTo>
                  <a:pt x="690" y="674"/>
                  <a:pt x="660" y="674"/>
                  <a:pt x="658" y="674"/>
                </a:cubicBezTo>
                <a:cubicBezTo>
                  <a:pt x="656" y="674"/>
                  <a:pt x="655" y="673"/>
                  <a:pt x="655" y="671"/>
                </a:cubicBezTo>
                <a:cubicBezTo>
                  <a:pt x="655" y="646"/>
                  <a:pt x="655" y="646"/>
                  <a:pt x="655" y="646"/>
                </a:cubicBezTo>
                <a:cubicBezTo>
                  <a:pt x="640" y="648"/>
                  <a:pt x="629" y="646"/>
                  <a:pt x="626" y="645"/>
                </a:cubicBezTo>
                <a:cubicBezTo>
                  <a:pt x="622" y="643"/>
                  <a:pt x="622" y="638"/>
                  <a:pt x="621" y="629"/>
                </a:cubicBezTo>
                <a:cubicBezTo>
                  <a:pt x="621" y="628"/>
                  <a:pt x="621" y="628"/>
                  <a:pt x="621" y="628"/>
                </a:cubicBezTo>
                <a:cubicBezTo>
                  <a:pt x="621" y="623"/>
                  <a:pt x="622" y="614"/>
                  <a:pt x="622" y="609"/>
                </a:cubicBezTo>
                <a:cubicBezTo>
                  <a:pt x="612" y="609"/>
                  <a:pt x="609" y="603"/>
                  <a:pt x="608" y="601"/>
                </a:cubicBezTo>
                <a:cubicBezTo>
                  <a:pt x="607" y="597"/>
                  <a:pt x="611" y="593"/>
                  <a:pt x="615" y="589"/>
                </a:cubicBezTo>
                <a:cubicBezTo>
                  <a:pt x="615" y="588"/>
                  <a:pt x="615" y="588"/>
                  <a:pt x="616" y="588"/>
                </a:cubicBezTo>
                <a:cubicBezTo>
                  <a:pt x="618" y="585"/>
                  <a:pt x="620" y="581"/>
                  <a:pt x="622" y="576"/>
                </a:cubicBezTo>
                <a:cubicBezTo>
                  <a:pt x="622" y="575"/>
                  <a:pt x="623" y="572"/>
                  <a:pt x="623" y="570"/>
                </a:cubicBezTo>
                <a:cubicBezTo>
                  <a:pt x="624" y="567"/>
                  <a:pt x="625" y="563"/>
                  <a:pt x="626" y="561"/>
                </a:cubicBezTo>
                <a:cubicBezTo>
                  <a:pt x="626" y="558"/>
                  <a:pt x="627" y="549"/>
                  <a:pt x="627" y="544"/>
                </a:cubicBezTo>
                <a:cubicBezTo>
                  <a:pt x="627" y="544"/>
                  <a:pt x="626" y="545"/>
                  <a:pt x="626" y="545"/>
                </a:cubicBezTo>
                <a:cubicBezTo>
                  <a:pt x="626" y="545"/>
                  <a:pt x="626" y="545"/>
                  <a:pt x="625" y="544"/>
                </a:cubicBezTo>
                <a:cubicBezTo>
                  <a:pt x="623" y="537"/>
                  <a:pt x="612" y="524"/>
                  <a:pt x="616" y="524"/>
                </a:cubicBezTo>
                <a:cubicBezTo>
                  <a:pt x="651" y="525"/>
                  <a:pt x="640" y="515"/>
                  <a:pt x="678" y="515"/>
                </a:cubicBezTo>
                <a:cubicBezTo>
                  <a:pt x="712" y="515"/>
                  <a:pt x="728" y="535"/>
                  <a:pt x="736" y="552"/>
                </a:cubicBezTo>
                <a:cubicBezTo>
                  <a:pt x="751" y="583"/>
                  <a:pt x="728" y="614"/>
                  <a:pt x="716" y="626"/>
                </a:cubicBezTo>
                <a:close/>
              </a:path>
            </a:pathLst>
          </a:custGeom>
          <a:solidFill>
            <a:schemeClr val="tx1"/>
          </a:solidFill>
          <a:ln>
            <a:noFill/>
          </a:ln>
        </p:spPr>
        <p:txBody>
          <a:bodyPr vert="horz" wrap="square" lIns="68580" tIns="34290" rIns="68580" bIns="34290" numCol="1" anchor="t" anchorCtr="0" compatLnSpc="1">
            <a:prstTxWarp prst="textNoShape">
              <a:avLst/>
            </a:prstTxWarp>
          </a:bodyPr>
          <a:lstStyle/>
          <a:p>
            <a:endParaRPr lang="en-US" sz="1005"/>
          </a:p>
        </p:txBody>
      </p:sp>
      <p:sp>
        <p:nvSpPr>
          <p:cNvPr id="20" name="TextBox 19">
            <a:extLst>
              <a:ext uri="{FF2B5EF4-FFF2-40B4-BE49-F238E27FC236}">
                <a16:creationId xmlns:a16="http://schemas.microsoft.com/office/drawing/2014/main" id="{1319F30A-B07B-0540-07CE-D4DC01D20CD6}"/>
              </a:ext>
            </a:extLst>
          </p:cNvPr>
          <p:cNvSpPr txBox="1"/>
          <p:nvPr/>
        </p:nvSpPr>
        <p:spPr>
          <a:xfrm>
            <a:off x="5015383" y="2649368"/>
            <a:ext cx="3708000" cy="338554"/>
          </a:xfrm>
          <a:prstGeom prst="rect">
            <a:avLst/>
          </a:prstGeom>
          <a:noFill/>
        </p:spPr>
        <p:txBody>
          <a:bodyPr wrap="square">
            <a:spAutoFit/>
          </a:bodyPr>
          <a:lstStyle/>
          <a:p>
            <a:r>
              <a:rPr lang="en-US" sz="800" b="1" spc="-40" dirty="0"/>
              <a:t>Interviews</a:t>
            </a:r>
            <a:r>
              <a:rPr lang="en-US" sz="800" spc="-40" dirty="0"/>
              <a:t> (20-30 interviews): Selected interviews to map out Finland's strengths and growth opportunities</a:t>
            </a:r>
            <a:endParaRPr lang="en-US" sz="800" b="1" spc="-40" dirty="0"/>
          </a:p>
        </p:txBody>
      </p:sp>
      <p:sp>
        <p:nvSpPr>
          <p:cNvPr id="21" name="TextBox 20">
            <a:extLst>
              <a:ext uri="{FF2B5EF4-FFF2-40B4-BE49-F238E27FC236}">
                <a16:creationId xmlns:a16="http://schemas.microsoft.com/office/drawing/2014/main" id="{1217BC1C-102B-D970-CC2E-1C3FCA27A8B2}"/>
              </a:ext>
            </a:extLst>
          </p:cNvPr>
          <p:cNvSpPr txBox="1"/>
          <p:nvPr/>
        </p:nvSpPr>
        <p:spPr>
          <a:xfrm>
            <a:off x="5015383" y="3057978"/>
            <a:ext cx="3708000" cy="461665"/>
          </a:xfrm>
          <a:prstGeom prst="rect">
            <a:avLst/>
          </a:prstGeom>
          <a:noFill/>
        </p:spPr>
        <p:txBody>
          <a:bodyPr wrap="square">
            <a:spAutoFit/>
          </a:bodyPr>
          <a:lstStyle/>
          <a:p>
            <a:r>
              <a:rPr lang="en-US" sz="800" b="1" spc="-40" dirty="0">
                <a:solidFill>
                  <a:schemeClr val="tx2"/>
                </a:solidFill>
              </a:rPr>
              <a:t>Focus group discussions</a:t>
            </a:r>
            <a:r>
              <a:rPr lang="en-US" sz="800" spc="-40" dirty="0">
                <a:solidFill>
                  <a:schemeClr val="tx2"/>
                </a:solidFill>
              </a:rPr>
              <a:t> (+25 participants in four discussions): Discussions on Finland's growth opportunities and actions related to the workforce and educations, geopolitics, and collaboration</a:t>
            </a:r>
            <a:endParaRPr lang="en-US" sz="800" spc="-40" dirty="0"/>
          </a:p>
        </p:txBody>
      </p:sp>
      <p:sp>
        <p:nvSpPr>
          <p:cNvPr id="22" name="TextBox 21">
            <a:extLst>
              <a:ext uri="{FF2B5EF4-FFF2-40B4-BE49-F238E27FC236}">
                <a16:creationId xmlns:a16="http://schemas.microsoft.com/office/drawing/2014/main" id="{E3F0F1B3-E6D5-DB39-7E53-24E646789402}"/>
              </a:ext>
            </a:extLst>
          </p:cNvPr>
          <p:cNvSpPr txBox="1"/>
          <p:nvPr/>
        </p:nvSpPr>
        <p:spPr>
          <a:xfrm>
            <a:off x="5015383" y="3589699"/>
            <a:ext cx="3708000" cy="338554"/>
          </a:xfrm>
          <a:prstGeom prst="rect">
            <a:avLst/>
          </a:prstGeom>
          <a:noFill/>
        </p:spPr>
        <p:txBody>
          <a:bodyPr wrap="square">
            <a:spAutoFit/>
          </a:bodyPr>
          <a:lstStyle/>
          <a:p>
            <a:r>
              <a:rPr lang="en-US" sz="800" b="1" spc="-40">
                <a:solidFill>
                  <a:schemeClr val="tx2"/>
                </a:solidFill>
              </a:rPr>
              <a:t>Strategy and industry group meetings</a:t>
            </a:r>
            <a:r>
              <a:rPr lang="en-US" sz="800" spc="-40">
                <a:solidFill>
                  <a:schemeClr val="tx2"/>
                </a:solidFill>
              </a:rPr>
              <a:t> (11-30 participants): Alignment of growth opportunities and actions</a:t>
            </a:r>
            <a:endParaRPr lang="en-US" sz="800" spc="-40"/>
          </a:p>
        </p:txBody>
      </p:sp>
      <p:sp>
        <p:nvSpPr>
          <p:cNvPr id="23" name="Text Placeholder 4">
            <a:extLst>
              <a:ext uri="{FF2B5EF4-FFF2-40B4-BE49-F238E27FC236}">
                <a16:creationId xmlns:a16="http://schemas.microsoft.com/office/drawing/2014/main" id="{578ED5AE-8F49-A9DD-3472-B4D9F168D43D}"/>
              </a:ext>
            </a:extLst>
          </p:cNvPr>
          <p:cNvSpPr txBox="1">
            <a:spLocks/>
          </p:cNvSpPr>
          <p:nvPr/>
        </p:nvSpPr>
        <p:spPr>
          <a:xfrm>
            <a:off x="251999" y="290513"/>
            <a:ext cx="8161751" cy="517525"/>
          </a:xfrm>
          <a:prstGeom prst="rect">
            <a:avLst/>
          </a:prstGeom>
        </p:spPr>
        <p:txBody>
          <a:bodyPr vert="horz" lIns="91440" tIns="45720" rIns="91440" bIns="45720" rtlCol="0" anchor="t">
            <a:noAutofit/>
          </a:bodyPr>
          <a:lstStyle>
            <a:lvl1pPr marL="25200" indent="0" algn="l" defTabSz="806052" rtl="0" eaLnBrk="1" latinLnBrk="0" hangingPunct="1">
              <a:lnSpc>
                <a:spcPct val="100000"/>
              </a:lnSpc>
              <a:spcBef>
                <a:spcPts val="0"/>
              </a:spcBef>
              <a:spcAft>
                <a:spcPts val="0"/>
              </a:spcAft>
              <a:buClrTx/>
              <a:buSzPct val="125000"/>
              <a:buFontTx/>
              <a:buNone/>
              <a:defRPr sz="1000" b="0" kern="1200" spc="0"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14865" indent="0" algn="l" defTabSz="806052" rtl="0" eaLnBrk="1" latinLnBrk="0" hangingPunct="1">
              <a:lnSpc>
                <a:spcPts val="1800"/>
              </a:lnSpc>
              <a:spcBef>
                <a:spcPts val="200"/>
              </a:spcBef>
              <a:spcAft>
                <a:spcPts val="200"/>
              </a:spcAft>
              <a:buClrTx/>
              <a:buSzPct val="125000"/>
              <a:buFontTx/>
              <a:buNone/>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629724"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944589" indent="0" algn="l" defTabSz="806052" rtl="0" eaLnBrk="1" latinLnBrk="0" hangingPunct="1">
              <a:lnSpc>
                <a:spcPts val="1800"/>
              </a:lnSpc>
              <a:spcBef>
                <a:spcPts val="200"/>
              </a:spcBef>
              <a:spcAft>
                <a:spcPts val="200"/>
              </a:spcAft>
              <a:buClrTx/>
              <a:buSzPct val="125000"/>
              <a:buFontTx/>
              <a:buNone/>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267851" indent="0" algn="l" defTabSz="806052" rtl="0" eaLnBrk="1" latinLnBrk="0" hangingPunct="1">
              <a:lnSpc>
                <a:spcPts val="2000"/>
              </a:lnSpc>
              <a:spcBef>
                <a:spcPts val="400"/>
              </a:spcBef>
              <a:spcAft>
                <a:spcPts val="300"/>
              </a:spcAft>
              <a:buClrTx/>
              <a:buSzPct val="125000"/>
              <a:buFontTx/>
              <a:buNone/>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defTabSz="679871">
              <a:lnSpc>
                <a:spcPts val="1600"/>
              </a:lnSpc>
              <a:buSzTx/>
              <a:defRPr/>
            </a:pPr>
            <a:r>
              <a:rPr lang="en-US" sz="1400" b="1" dirty="0">
                <a:solidFill>
                  <a:srgbClr val="29282E"/>
                </a:solidFill>
                <a:latin typeface="+mj-lt"/>
                <a:ea typeface="+mn-ea"/>
                <a:cs typeface="+mn-cs"/>
              </a:rPr>
              <a:t>Chips from the North – Semiconductor Strategy for Finland report is an industry-led effort to commit to identified growth opportunities and actions</a:t>
            </a:r>
          </a:p>
        </p:txBody>
      </p:sp>
    </p:spTree>
    <p:extLst>
      <p:ext uri="{BB962C8B-B14F-4D97-AF65-F5344CB8AC3E}">
        <p14:creationId xmlns:p14="http://schemas.microsoft.com/office/powerpoint/2010/main" val="158672189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D62F1385-FBE5-90F4-8BCA-AB46233EB297}"/>
              </a:ext>
            </a:extLst>
          </p:cNvPr>
          <p:cNvGraphicFramePr>
            <a:graphicFrameLocks noChangeAspect="1"/>
          </p:cNvGraphicFramePr>
          <p:nvPr>
            <p:custDataLst>
              <p:tags r:id="rId1"/>
            </p:custDataLst>
            <p:extLst>
              <p:ext uri="{D42A27DB-BD31-4B8C-83A1-F6EECF244321}">
                <p14:modId xmlns:p14="http://schemas.microsoft.com/office/powerpoint/2010/main" val="35576501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10" name="think-cell data - do not delete" hidden="1">
                        <a:extLst>
                          <a:ext uri="{FF2B5EF4-FFF2-40B4-BE49-F238E27FC236}">
                            <a16:creationId xmlns:a16="http://schemas.microsoft.com/office/drawing/2014/main" id="{D62F1385-FBE5-90F4-8BCA-AB46233EB29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6A1A04A5-28CC-6345-D822-13070F454792}"/>
              </a:ext>
            </a:extLst>
          </p:cNvPr>
          <p:cNvSpPr>
            <a:spLocks noGrp="1"/>
          </p:cNvSpPr>
          <p:nvPr>
            <p:ph type="sldNum" sz="quarter" idx="12"/>
          </p:nvPr>
        </p:nvSpPr>
        <p:spPr/>
        <p:txBody>
          <a:bodyPr/>
          <a:lstStyle/>
          <a:p>
            <a:fld id="{6FCB6B90-8271-4E8F-82C1-E646FBB48A2E}" type="slidenum">
              <a:rPr lang="en-US" smtClean="0"/>
              <a:pPr/>
              <a:t>4</a:t>
            </a:fld>
            <a:endParaRPr lang="en-US"/>
          </a:p>
        </p:txBody>
      </p:sp>
      <p:sp>
        <p:nvSpPr>
          <p:cNvPr id="3" name="Date Placeholder 2">
            <a:extLst>
              <a:ext uri="{FF2B5EF4-FFF2-40B4-BE49-F238E27FC236}">
                <a16:creationId xmlns:a16="http://schemas.microsoft.com/office/drawing/2014/main" id="{8028E2A8-50AF-D68E-EA0B-C07F42BB2700}"/>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0EA2068B-7A5B-3528-CDE4-F3EA57DB2D14}"/>
              </a:ext>
            </a:extLst>
          </p:cNvPr>
          <p:cNvSpPr>
            <a:spLocks noGrp="1"/>
          </p:cNvSpPr>
          <p:nvPr>
            <p:ph type="ftr" sz="quarter" idx="11"/>
          </p:nvPr>
        </p:nvSpPr>
        <p:spPr>
          <a:xfrm>
            <a:off x="6568112" y="4732838"/>
            <a:ext cx="2034868" cy="164690"/>
          </a:xfrm>
        </p:spPr>
        <p:txBody>
          <a:bodyPr/>
          <a:lstStyle/>
          <a:p>
            <a:r>
              <a:rPr lang="en-US"/>
              <a:t>Technology Industries of Finland</a:t>
            </a:r>
          </a:p>
        </p:txBody>
      </p:sp>
      <p:sp>
        <p:nvSpPr>
          <p:cNvPr id="8" name="Slide Number Placeholder 2">
            <a:extLst>
              <a:ext uri="{FF2B5EF4-FFF2-40B4-BE49-F238E27FC236}">
                <a16:creationId xmlns:a16="http://schemas.microsoft.com/office/drawing/2014/main" id="{C492EEE9-F935-A5B1-50F4-3A309582F685}"/>
              </a:ext>
            </a:extLst>
          </p:cNvPr>
          <p:cNvSpPr txBox="1">
            <a:spLocks/>
          </p:cNvSpPr>
          <p:nvPr/>
        </p:nvSpPr>
        <p:spPr>
          <a:xfrm>
            <a:off x="8005977" y="4729407"/>
            <a:ext cx="863990" cy="165406"/>
          </a:xfrm>
          <a:prstGeom prst="rect">
            <a:avLst/>
          </a:prstGeom>
        </p:spPr>
        <p:txBody>
          <a:bodyPr vert="horz" lIns="91440" tIns="45720" rIns="91440" bIns="45720" rtlCol="0" anchor="t"/>
          <a:lstStyle>
            <a:defPPr>
              <a:defRPr lang="fi-FI"/>
            </a:defPPr>
            <a:lvl1pPr marL="0" algn="r" defTabSz="679871" rtl="0" eaLnBrk="1" latinLnBrk="0" hangingPunct="1">
              <a:defRPr sz="700" kern="1200">
                <a:solidFill>
                  <a:schemeClr val="tx1"/>
                </a:solidFill>
                <a:latin typeface="+mn-lt"/>
                <a:ea typeface="+mn-ea"/>
                <a:cs typeface="+mn-cs"/>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fld id="{6FCB6B90-8271-4E8F-82C1-E646FBB48A2E}" type="slidenum">
              <a:rPr lang="en-US" smtClean="0"/>
              <a:pPr/>
              <a:t>4</a:t>
            </a:fld>
            <a:endParaRPr lang="en-US"/>
          </a:p>
        </p:txBody>
      </p:sp>
      <p:pic>
        <p:nvPicPr>
          <p:cNvPr id="11" name="Picture 10">
            <a:extLst>
              <a:ext uri="{FF2B5EF4-FFF2-40B4-BE49-F238E27FC236}">
                <a16:creationId xmlns:a16="http://schemas.microsoft.com/office/drawing/2014/main" id="{974337F8-536A-0CF9-CBB5-E3A346CB1B06}"/>
              </a:ext>
            </a:extLst>
          </p:cNvPr>
          <p:cNvPicPr>
            <a:picLocks noChangeAspect="1"/>
          </p:cNvPicPr>
          <p:nvPr/>
        </p:nvPicPr>
        <p:blipFill rotWithShape="1">
          <a:blip r:embed="rId6" cstate="print">
            <a:duotone>
              <a:prstClr val="black"/>
              <a:schemeClr val="tx2">
                <a:tint val="45000"/>
                <a:satMod val="400000"/>
              </a:schemeClr>
            </a:duotone>
            <a:extLst>
              <a:ext uri="{28A0092B-C50C-407E-A947-70E740481C1C}">
                <a14:useLocalDpi xmlns:a14="http://schemas.microsoft.com/office/drawing/2010/main"/>
              </a:ext>
            </a:extLst>
          </a:blip>
          <a:srcRect/>
          <a:stretch/>
        </p:blipFill>
        <p:spPr>
          <a:xfrm rot="5400000">
            <a:off x="-497270" y="1599133"/>
            <a:ext cx="5143500" cy="1945234"/>
          </a:xfrm>
          <a:prstGeom prst="rect">
            <a:avLst/>
          </a:prstGeom>
        </p:spPr>
      </p:pic>
      <p:sp>
        <p:nvSpPr>
          <p:cNvPr id="12" name="Title 3">
            <a:extLst>
              <a:ext uri="{FF2B5EF4-FFF2-40B4-BE49-F238E27FC236}">
                <a16:creationId xmlns:a16="http://schemas.microsoft.com/office/drawing/2014/main" id="{09396687-ED15-7D64-D26E-C3FEDCF49B18}"/>
              </a:ext>
            </a:extLst>
          </p:cNvPr>
          <p:cNvSpPr txBox="1">
            <a:spLocks/>
          </p:cNvSpPr>
          <p:nvPr/>
        </p:nvSpPr>
        <p:spPr>
          <a:xfrm>
            <a:off x="282028" y="2464028"/>
            <a:ext cx="1437236" cy="215444"/>
          </a:xfrm>
          <a:prstGeom prst="rect">
            <a:avLst/>
          </a:prstGeom>
        </p:spPr>
        <p:txBody>
          <a:bodyPr vert="horz" wrap="square" lIns="0" tIns="0" rIns="0" bIns="0" rtlCol="0" anchor="t">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a:lstStyle>
          <a:p>
            <a:pPr>
              <a:lnSpc>
                <a:spcPct val="100000"/>
              </a:lnSpc>
            </a:pPr>
            <a:r>
              <a:rPr lang="en-US" sz="1400" b="1">
                <a:solidFill>
                  <a:srgbClr val="29282E"/>
                </a:solidFill>
                <a:latin typeface="Verdana"/>
                <a:ea typeface="+mn-ea"/>
                <a:cs typeface="+mn-cs"/>
              </a:rPr>
              <a:t>Agenda</a:t>
            </a:r>
          </a:p>
        </p:txBody>
      </p:sp>
      <p:sp>
        <p:nvSpPr>
          <p:cNvPr id="13" name="Freeform 21">
            <a:extLst>
              <a:ext uri="{FF2B5EF4-FFF2-40B4-BE49-F238E27FC236}">
                <a16:creationId xmlns:a16="http://schemas.microsoft.com/office/drawing/2014/main" id="{58744A61-4D2E-AE35-2ADD-F4A4B677EA8A}"/>
              </a:ext>
            </a:extLst>
          </p:cNvPr>
          <p:cNvSpPr/>
          <p:nvPr/>
        </p:nvSpPr>
        <p:spPr>
          <a:xfrm>
            <a:off x="2069697" y="1648646"/>
            <a:ext cx="1408719" cy="468269"/>
          </a:xfrm>
          <a:custGeom>
            <a:avLst/>
            <a:gdLst>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450227 h 1470547"/>
              <a:gd name="connsiteX1" fmla="*/ 1391920 w 2987040"/>
              <a:gd name="connsiteY1" fmla="*/ 1470547 h 1470547"/>
              <a:gd name="connsiteX2" fmla="*/ 1666240 w 2987040"/>
              <a:gd name="connsiteY2" fmla="*/ 109107 h 1470547"/>
              <a:gd name="connsiteX3" fmla="*/ 2987040 w 2987040"/>
              <a:gd name="connsiteY3" fmla="*/ 78627 h 1470547"/>
              <a:gd name="connsiteX0" fmla="*/ 0 w 2987040"/>
              <a:gd name="connsiteY0" fmla="*/ 1373890 h 1394210"/>
              <a:gd name="connsiteX1" fmla="*/ 1391920 w 2987040"/>
              <a:gd name="connsiteY1" fmla="*/ 1394210 h 1394210"/>
              <a:gd name="connsiteX2" fmla="*/ 1666240 w 2987040"/>
              <a:gd name="connsiteY2" fmla="*/ 32770 h 1394210"/>
              <a:gd name="connsiteX3" fmla="*/ 2987040 w 2987040"/>
              <a:gd name="connsiteY3" fmla="*/ 2290 h 1394210"/>
              <a:gd name="connsiteX0" fmla="*/ 0 w 2987040"/>
              <a:gd name="connsiteY0" fmla="*/ 1373890 h 1489936"/>
              <a:gd name="connsiteX1" fmla="*/ 1391920 w 2987040"/>
              <a:gd name="connsiteY1" fmla="*/ 1394210 h 1489936"/>
              <a:gd name="connsiteX2" fmla="*/ 1666240 w 2987040"/>
              <a:gd name="connsiteY2" fmla="*/ 32770 h 1489936"/>
              <a:gd name="connsiteX3" fmla="*/ 2987040 w 2987040"/>
              <a:gd name="connsiteY3" fmla="*/ 2290 h 1489936"/>
              <a:gd name="connsiteX0" fmla="*/ 0 w 2987040"/>
              <a:gd name="connsiteY0" fmla="*/ 1373890 h 1394211"/>
              <a:gd name="connsiteX1" fmla="*/ 1391920 w 2987040"/>
              <a:gd name="connsiteY1" fmla="*/ 1394210 h 1394211"/>
              <a:gd name="connsiteX2" fmla="*/ 1666240 w 2987040"/>
              <a:gd name="connsiteY2" fmla="*/ 32770 h 1394211"/>
              <a:gd name="connsiteX3" fmla="*/ 2987040 w 2987040"/>
              <a:gd name="connsiteY3" fmla="*/ 2290 h 1394211"/>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371600 h 1488491"/>
              <a:gd name="connsiteX1" fmla="*/ 1391920 w 2987040"/>
              <a:gd name="connsiteY1" fmla="*/ 1391920 h 1488491"/>
              <a:gd name="connsiteX2" fmla="*/ 2134870 w 2987040"/>
              <a:gd name="connsiteY2" fmla="*/ 19050 h 1488491"/>
              <a:gd name="connsiteX3" fmla="*/ 2987040 w 2987040"/>
              <a:gd name="connsiteY3" fmla="*/ 0 h 1488491"/>
              <a:gd name="connsiteX0" fmla="*/ 0 w 2987040"/>
              <a:gd name="connsiteY0" fmla="*/ 1371600 h 1391920"/>
              <a:gd name="connsiteX1" fmla="*/ 1391920 w 2987040"/>
              <a:gd name="connsiteY1" fmla="*/ 1391920 h 1391920"/>
              <a:gd name="connsiteX2" fmla="*/ 2134870 w 2987040"/>
              <a:gd name="connsiteY2" fmla="*/ 19050 h 1391920"/>
              <a:gd name="connsiteX3" fmla="*/ 2987040 w 2987040"/>
              <a:gd name="connsiteY3" fmla="*/ 0 h 1391920"/>
              <a:gd name="connsiteX0" fmla="*/ 0 w 2987040"/>
              <a:gd name="connsiteY0" fmla="*/ 1450799 h 1471119"/>
              <a:gd name="connsiteX1" fmla="*/ 1391920 w 2987040"/>
              <a:gd name="connsiteY1" fmla="*/ 1471119 h 1471119"/>
              <a:gd name="connsiteX2" fmla="*/ 2134870 w 2987040"/>
              <a:gd name="connsiteY2" fmla="*/ 98249 h 1471119"/>
              <a:gd name="connsiteX3" fmla="*/ 2987040 w 2987040"/>
              <a:gd name="connsiteY3" fmla="*/ 102059 h 1471119"/>
              <a:gd name="connsiteX0" fmla="*/ 0 w 2987040"/>
              <a:gd name="connsiteY0" fmla="*/ 1401769 h 1422089"/>
              <a:gd name="connsiteX1" fmla="*/ 1391920 w 2987040"/>
              <a:gd name="connsiteY1" fmla="*/ 1422089 h 1422089"/>
              <a:gd name="connsiteX2" fmla="*/ 2134870 w 2987040"/>
              <a:gd name="connsiteY2" fmla="*/ 49219 h 1422089"/>
              <a:gd name="connsiteX3" fmla="*/ 2987040 w 2987040"/>
              <a:gd name="connsiteY3" fmla="*/ 53029 h 1422089"/>
              <a:gd name="connsiteX0" fmla="*/ 0 w 2987040"/>
              <a:gd name="connsiteY0" fmla="*/ 1458308 h 1580273"/>
              <a:gd name="connsiteX1" fmla="*/ 1391920 w 2987040"/>
              <a:gd name="connsiteY1" fmla="*/ 1478628 h 1580273"/>
              <a:gd name="connsiteX2" fmla="*/ 2184400 w 2987040"/>
              <a:gd name="connsiteY2" fmla="*/ 37178 h 1580273"/>
              <a:gd name="connsiteX3" fmla="*/ 2987040 w 2987040"/>
              <a:gd name="connsiteY3" fmla="*/ 109568 h 1580273"/>
              <a:gd name="connsiteX0" fmla="*/ 0 w 2998470"/>
              <a:gd name="connsiteY0" fmla="*/ 1522054 h 1644019"/>
              <a:gd name="connsiteX1" fmla="*/ 1391920 w 2998470"/>
              <a:gd name="connsiteY1" fmla="*/ 1542374 h 1644019"/>
              <a:gd name="connsiteX2" fmla="*/ 2184400 w 2998470"/>
              <a:gd name="connsiteY2" fmla="*/ 100924 h 1644019"/>
              <a:gd name="connsiteX3" fmla="*/ 2998470 w 2998470"/>
              <a:gd name="connsiteY3" fmla="*/ 112354 h 1644019"/>
              <a:gd name="connsiteX0" fmla="*/ 0 w 2998470"/>
              <a:gd name="connsiteY0" fmla="*/ 1507726 h 1628281"/>
              <a:gd name="connsiteX1" fmla="*/ 1391920 w 2998470"/>
              <a:gd name="connsiteY1" fmla="*/ 1528046 h 1628281"/>
              <a:gd name="connsiteX2" fmla="*/ 2184400 w 2998470"/>
              <a:gd name="connsiteY2" fmla="*/ 105646 h 1628281"/>
              <a:gd name="connsiteX3" fmla="*/ 2998470 w 2998470"/>
              <a:gd name="connsiteY3" fmla="*/ 98026 h 1628281"/>
              <a:gd name="connsiteX0" fmla="*/ 0 w 2998470"/>
              <a:gd name="connsiteY0" fmla="*/ 1411206 h 1531761"/>
              <a:gd name="connsiteX1" fmla="*/ 1391920 w 2998470"/>
              <a:gd name="connsiteY1" fmla="*/ 1431526 h 1531761"/>
              <a:gd name="connsiteX2" fmla="*/ 2184400 w 2998470"/>
              <a:gd name="connsiteY2" fmla="*/ 9126 h 1531761"/>
              <a:gd name="connsiteX3" fmla="*/ 2998470 w 2998470"/>
              <a:gd name="connsiteY3" fmla="*/ 1506 h 1531761"/>
              <a:gd name="connsiteX0" fmla="*/ 0 w 2998470"/>
              <a:gd name="connsiteY0" fmla="*/ 1409700 h 1530255"/>
              <a:gd name="connsiteX1" fmla="*/ 1391920 w 2998470"/>
              <a:gd name="connsiteY1" fmla="*/ 1430020 h 1530255"/>
              <a:gd name="connsiteX2" fmla="*/ 2184400 w 2998470"/>
              <a:gd name="connsiteY2" fmla="*/ 7620 h 1530255"/>
              <a:gd name="connsiteX3" fmla="*/ 2998470 w 2998470"/>
              <a:gd name="connsiteY3" fmla="*/ 0 h 1530255"/>
              <a:gd name="connsiteX0" fmla="*/ 0 w 2998470"/>
              <a:gd name="connsiteY0" fmla="*/ 1413510 h 1534911"/>
              <a:gd name="connsiteX1" fmla="*/ 1391920 w 2998470"/>
              <a:gd name="connsiteY1" fmla="*/ 1433830 h 1534911"/>
              <a:gd name="connsiteX2" fmla="*/ 2184400 w 2998470"/>
              <a:gd name="connsiteY2" fmla="*/ 0 h 1534911"/>
              <a:gd name="connsiteX3" fmla="*/ 2998470 w 2998470"/>
              <a:gd name="connsiteY3" fmla="*/ 3810 h 1534911"/>
              <a:gd name="connsiteX0" fmla="*/ 0 w 2998470"/>
              <a:gd name="connsiteY0" fmla="*/ 1512810 h 1577881"/>
              <a:gd name="connsiteX1" fmla="*/ 1475740 w 2998470"/>
              <a:gd name="connsiteY1" fmla="*/ 1453120 h 1577881"/>
              <a:gd name="connsiteX2" fmla="*/ 2184400 w 2998470"/>
              <a:gd name="connsiteY2" fmla="*/ 99300 h 1577881"/>
              <a:gd name="connsiteX3" fmla="*/ 2998470 w 2998470"/>
              <a:gd name="connsiteY3" fmla="*/ 103110 h 1577881"/>
              <a:gd name="connsiteX0" fmla="*/ 0 w 2998470"/>
              <a:gd name="connsiteY0" fmla="*/ 1512810 h 1513244"/>
              <a:gd name="connsiteX1" fmla="*/ 1475740 w 2998470"/>
              <a:gd name="connsiteY1" fmla="*/ 1453120 h 1513244"/>
              <a:gd name="connsiteX2" fmla="*/ 2184400 w 2998470"/>
              <a:gd name="connsiteY2" fmla="*/ 99300 h 1513244"/>
              <a:gd name="connsiteX3" fmla="*/ 2998470 w 2998470"/>
              <a:gd name="connsiteY3" fmla="*/ 103110 h 1513244"/>
              <a:gd name="connsiteX0" fmla="*/ 0 w 2998470"/>
              <a:gd name="connsiteY0" fmla="*/ 1512810 h 1517189"/>
              <a:gd name="connsiteX1" fmla="*/ 1475740 w 2998470"/>
              <a:gd name="connsiteY1" fmla="*/ 1453120 h 1517189"/>
              <a:gd name="connsiteX2" fmla="*/ 2184400 w 2998470"/>
              <a:gd name="connsiteY2" fmla="*/ 99300 h 1517189"/>
              <a:gd name="connsiteX3" fmla="*/ 2998470 w 2998470"/>
              <a:gd name="connsiteY3" fmla="*/ 103110 h 1517189"/>
              <a:gd name="connsiteX0" fmla="*/ 0 w 2998470"/>
              <a:gd name="connsiteY0" fmla="*/ 1089900 h 1485402"/>
              <a:gd name="connsiteX1" fmla="*/ 1475740 w 2998470"/>
              <a:gd name="connsiteY1" fmla="*/ 1453120 h 1485402"/>
              <a:gd name="connsiteX2" fmla="*/ 2184400 w 2998470"/>
              <a:gd name="connsiteY2" fmla="*/ 99300 h 1485402"/>
              <a:gd name="connsiteX3" fmla="*/ 2998470 w 2998470"/>
              <a:gd name="connsiteY3" fmla="*/ 103110 h 1485402"/>
              <a:gd name="connsiteX0" fmla="*/ 0 w 2998470"/>
              <a:gd name="connsiteY0" fmla="*/ 1061681 h 1123895"/>
              <a:gd name="connsiteX1" fmla="*/ 1517650 w 2998470"/>
              <a:gd name="connsiteY1" fmla="*/ 1043901 h 1123895"/>
              <a:gd name="connsiteX2" fmla="*/ 2184400 w 2998470"/>
              <a:gd name="connsiteY2" fmla="*/ 71081 h 1123895"/>
              <a:gd name="connsiteX3" fmla="*/ 2998470 w 2998470"/>
              <a:gd name="connsiteY3" fmla="*/ 74891 h 1123895"/>
              <a:gd name="connsiteX0" fmla="*/ 0 w 2998470"/>
              <a:gd name="connsiteY0" fmla="*/ 1061681 h 1061681"/>
              <a:gd name="connsiteX1" fmla="*/ 1517650 w 2998470"/>
              <a:gd name="connsiteY1" fmla="*/ 1043901 h 1061681"/>
              <a:gd name="connsiteX2" fmla="*/ 2184400 w 2998470"/>
              <a:gd name="connsiteY2" fmla="*/ 71081 h 1061681"/>
              <a:gd name="connsiteX3" fmla="*/ 2998470 w 2998470"/>
              <a:gd name="connsiteY3" fmla="*/ 74891 h 1061681"/>
              <a:gd name="connsiteX0" fmla="*/ 0 w 2998470"/>
              <a:gd name="connsiteY0" fmla="*/ 1054061 h 1118649"/>
              <a:gd name="connsiteX1" fmla="*/ 1517650 w 2998470"/>
              <a:gd name="connsiteY1" fmla="*/ 1043901 h 1118649"/>
              <a:gd name="connsiteX2" fmla="*/ 2184400 w 2998470"/>
              <a:gd name="connsiteY2" fmla="*/ 71081 h 1118649"/>
              <a:gd name="connsiteX3" fmla="*/ 2998470 w 2998470"/>
              <a:gd name="connsiteY3" fmla="*/ 74891 h 1118649"/>
              <a:gd name="connsiteX0" fmla="*/ 0 w 2998470"/>
              <a:gd name="connsiteY0" fmla="*/ 1054061 h 1054061"/>
              <a:gd name="connsiteX1" fmla="*/ 1517650 w 2998470"/>
              <a:gd name="connsiteY1" fmla="*/ 1043901 h 1054061"/>
              <a:gd name="connsiteX2" fmla="*/ 2184400 w 2998470"/>
              <a:gd name="connsiteY2" fmla="*/ 71081 h 1054061"/>
              <a:gd name="connsiteX3" fmla="*/ 2998470 w 2998470"/>
              <a:gd name="connsiteY3" fmla="*/ 74891 h 1054061"/>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8094 h 988094"/>
              <a:gd name="connsiteX1" fmla="*/ 1517650 w 2998470"/>
              <a:gd name="connsiteY1" fmla="*/ 977934 h 988094"/>
              <a:gd name="connsiteX2" fmla="*/ 2184400 w 2998470"/>
              <a:gd name="connsiteY2" fmla="*/ 5114 h 988094"/>
              <a:gd name="connsiteX3" fmla="*/ 2998470 w 2998470"/>
              <a:gd name="connsiteY3" fmla="*/ 8924 h 988094"/>
              <a:gd name="connsiteX0" fmla="*/ 0 w 2998470"/>
              <a:gd name="connsiteY0" fmla="*/ 1055868 h 1055868"/>
              <a:gd name="connsiteX1" fmla="*/ 1517650 w 2998470"/>
              <a:gd name="connsiteY1" fmla="*/ 1045708 h 1055868"/>
              <a:gd name="connsiteX2" fmla="*/ 2184400 w 2998470"/>
              <a:gd name="connsiteY2" fmla="*/ 72888 h 1055868"/>
              <a:gd name="connsiteX3" fmla="*/ 2998470 w 2998470"/>
              <a:gd name="connsiteY3" fmla="*/ 71270 h 1055868"/>
              <a:gd name="connsiteX0" fmla="*/ 0 w 2998470"/>
              <a:gd name="connsiteY0" fmla="*/ 988420 h 988420"/>
              <a:gd name="connsiteX1" fmla="*/ 1517650 w 2998470"/>
              <a:gd name="connsiteY1" fmla="*/ 978260 h 988420"/>
              <a:gd name="connsiteX2" fmla="*/ 2184400 w 2998470"/>
              <a:gd name="connsiteY2" fmla="*/ 5440 h 988420"/>
              <a:gd name="connsiteX3" fmla="*/ 2998470 w 2998470"/>
              <a:gd name="connsiteY3" fmla="*/ 3822 h 988420"/>
              <a:gd name="connsiteX0" fmla="*/ 0 w 2998470"/>
              <a:gd name="connsiteY0" fmla="*/ 985252 h 985252"/>
              <a:gd name="connsiteX1" fmla="*/ 1517650 w 2998470"/>
              <a:gd name="connsiteY1" fmla="*/ 975092 h 985252"/>
              <a:gd name="connsiteX2" fmla="*/ 2184400 w 2998470"/>
              <a:gd name="connsiteY2" fmla="*/ 2272 h 985252"/>
              <a:gd name="connsiteX3" fmla="*/ 2998470 w 2998470"/>
              <a:gd name="connsiteY3" fmla="*/ 654 h 985252"/>
            </a:gdLst>
            <a:ahLst/>
            <a:cxnLst>
              <a:cxn ang="0">
                <a:pos x="connsiteX0" y="connsiteY0"/>
              </a:cxn>
              <a:cxn ang="0">
                <a:pos x="connsiteX1" y="connsiteY1"/>
              </a:cxn>
              <a:cxn ang="0">
                <a:pos x="connsiteX2" y="connsiteY2"/>
              </a:cxn>
              <a:cxn ang="0">
                <a:pos x="connsiteX3" y="connsiteY3"/>
              </a:cxn>
            </a:cxnLst>
            <a:rect l="l" t="t" r="r" b="b"/>
            <a:pathLst>
              <a:path w="2998470" h="985252">
                <a:moveTo>
                  <a:pt x="0" y="985252"/>
                </a:moveTo>
                <a:lnTo>
                  <a:pt x="1517650" y="975092"/>
                </a:lnTo>
                <a:cubicBezTo>
                  <a:pt x="1550247" y="978902"/>
                  <a:pt x="2121628" y="4555"/>
                  <a:pt x="2184400" y="2272"/>
                </a:cubicBezTo>
                <a:cubicBezTo>
                  <a:pt x="2247172" y="-11"/>
                  <a:pt x="2727113" y="-616"/>
                  <a:pt x="2998470" y="654"/>
                </a:cubicBezTo>
              </a:path>
            </a:pathLst>
          </a:cu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15" name="TextBox 14">
            <a:extLst>
              <a:ext uri="{FF2B5EF4-FFF2-40B4-BE49-F238E27FC236}">
                <a16:creationId xmlns:a16="http://schemas.microsoft.com/office/drawing/2014/main" id="{91BFDBD1-E17B-1FC9-6384-8D6D2A7C493F}"/>
              </a:ext>
            </a:extLst>
          </p:cNvPr>
          <p:cNvSpPr txBox="1"/>
          <p:nvPr/>
        </p:nvSpPr>
        <p:spPr>
          <a:xfrm>
            <a:off x="3544621" y="2155812"/>
            <a:ext cx="5175518" cy="276999"/>
          </a:xfrm>
          <a:prstGeom prst="rect">
            <a:avLst/>
          </a:prstGeom>
          <a:noFill/>
        </p:spPr>
        <p:txBody>
          <a:bodyPr wrap="square">
            <a:spAutoFit/>
          </a:bodyPr>
          <a:lstStyle/>
          <a:p>
            <a:pPr marL="21600"/>
            <a:r>
              <a:rPr lang="en-US" sz="1200" b="1" dirty="0"/>
              <a:t>Finland as part of the global industry</a:t>
            </a:r>
          </a:p>
        </p:txBody>
      </p:sp>
      <p:sp>
        <p:nvSpPr>
          <p:cNvPr id="20" name="Freeform 28">
            <a:extLst>
              <a:ext uri="{FF2B5EF4-FFF2-40B4-BE49-F238E27FC236}">
                <a16:creationId xmlns:a16="http://schemas.microsoft.com/office/drawing/2014/main" id="{F10BFCE2-CDED-3BF5-B858-465D751DE71E}"/>
              </a:ext>
            </a:extLst>
          </p:cNvPr>
          <p:cNvSpPr/>
          <p:nvPr/>
        </p:nvSpPr>
        <p:spPr>
          <a:xfrm flipH="1">
            <a:off x="2069697" y="3221834"/>
            <a:ext cx="1408720" cy="354895"/>
          </a:xfrm>
          <a:custGeom>
            <a:avLst/>
            <a:gdLst>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450227 h 1470547"/>
              <a:gd name="connsiteX1" fmla="*/ 1391920 w 2987040"/>
              <a:gd name="connsiteY1" fmla="*/ 1470547 h 1470547"/>
              <a:gd name="connsiteX2" fmla="*/ 1666240 w 2987040"/>
              <a:gd name="connsiteY2" fmla="*/ 109107 h 1470547"/>
              <a:gd name="connsiteX3" fmla="*/ 2987040 w 2987040"/>
              <a:gd name="connsiteY3" fmla="*/ 78627 h 1470547"/>
              <a:gd name="connsiteX0" fmla="*/ 0 w 2987040"/>
              <a:gd name="connsiteY0" fmla="*/ 1373890 h 1394210"/>
              <a:gd name="connsiteX1" fmla="*/ 1391920 w 2987040"/>
              <a:gd name="connsiteY1" fmla="*/ 1394210 h 1394210"/>
              <a:gd name="connsiteX2" fmla="*/ 1666240 w 2987040"/>
              <a:gd name="connsiteY2" fmla="*/ 32770 h 1394210"/>
              <a:gd name="connsiteX3" fmla="*/ 2987040 w 2987040"/>
              <a:gd name="connsiteY3" fmla="*/ 2290 h 1394210"/>
              <a:gd name="connsiteX0" fmla="*/ 0 w 2987040"/>
              <a:gd name="connsiteY0" fmla="*/ 1373890 h 1489936"/>
              <a:gd name="connsiteX1" fmla="*/ 1391920 w 2987040"/>
              <a:gd name="connsiteY1" fmla="*/ 1394210 h 1489936"/>
              <a:gd name="connsiteX2" fmla="*/ 1666240 w 2987040"/>
              <a:gd name="connsiteY2" fmla="*/ 32770 h 1489936"/>
              <a:gd name="connsiteX3" fmla="*/ 2987040 w 2987040"/>
              <a:gd name="connsiteY3" fmla="*/ 2290 h 1489936"/>
              <a:gd name="connsiteX0" fmla="*/ 0 w 2987040"/>
              <a:gd name="connsiteY0" fmla="*/ 1373890 h 1394211"/>
              <a:gd name="connsiteX1" fmla="*/ 1391920 w 2987040"/>
              <a:gd name="connsiteY1" fmla="*/ 1394210 h 1394211"/>
              <a:gd name="connsiteX2" fmla="*/ 1666240 w 2987040"/>
              <a:gd name="connsiteY2" fmla="*/ 32770 h 1394211"/>
              <a:gd name="connsiteX3" fmla="*/ 2987040 w 2987040"/>
              <a:gd name="connsiteY3" fmla="*/ 2290 h 1394211"/>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371600 h 1488491"/>
              <a:gd name="connsiteX1" fmla="*/ 1391920 w 2987040"/>
              <a:gd name="connsiteY1" fmla="*/ 1391920 h 1488491"/>
              <a:gd name="connsiteX2" fmla="*/ 2134870 w 2987040"/>
              <a:gd name="connsiteY2" fmla="*/ 19050 h 1488491"/>
              <a:gd name="connsiteX3" fmla="*/ 2987040 w 2987040"/>
              <a:gd name="connsiteY3" fmla="*/ 0 h 1488491"/>
              <a:gd name="connsiteX0" fmla="*/ 0 w 2987040"/>
              <a:gd name="connsiteY0" fmla="*/ 1371600 h 1391920"/>
              <a:gd name="connsiteX1" fmla="*/ 1391920 w 2987040"/>
              <a:gd name="connsiteY1" fmla="*/ 1391920 h 1391920"/>
              <a:gd name="connsiteX2" fmla="*/ 2134870 w 2987040"/>
              <a:gd name="connsiteY2" fmla="*/ 19050 h 1391920"/>
              <a:gd name="connsiteX3" fmla="*/ 2987040 w 2987040"/>
              <a:gd name="connsiteY3" fmla="*/ 0 h 1391920"/>
              <a:gd name="connsiteX0" fmla="*/ 0 w 2987040"/>
              <a:gd name="connsiteY0" fmla="*/ 1450799 h 1471119"/>
              <a:gd name="connsiteX1" fmla="*/ 1391920 w 2987040"/>
              <a:gd name="connsiteY1" fmla="*/ 1471119 h 1471119"/>
              <a:gd name="connsiteX2" fmla="*/ 2134870 w 2987040"/>
              <a:gd name="connsiteY2" fmla="*/ 98249 h 1471119"/>
              <a:gd name="connsiteX3" fmla="*/ 2987040 w 2987040"/>
              <a:gd name="connsiteY3" fmla="*/ 102059 h 1471119"/>
              <a:gd name="connsiteX0" fmla="*/ 0 w 2987040"/>
              <a:gd name="connsiteY0" fmla="*/ 1401769 h 1422089"/>
              <a:gd name="connsiteX1" fmla="*/ 1391920 w 2987040"/>
              <a:gd name="connsiteY1" fmla="*/ 1422089 h 1422089"/>
              <a:gd name="connsiteX2" fmla="*/ 2134870 w 2987040"/>
              <a:gd name="connsiteY2" fmla="*/ 49219 h 1422089"/>
              <a:gd name="connsiteX3" fmla="*/ 2987040 w 2987040"/>
              <a:gd name="connsiteY3" fmla="*/ 53029 h 1422089"/>
              <a:gd name="connsiteX0" fmla="*/ 0 w 2987040"/>
              <a:gd name="connsiteY0" fmla="*/ 1458308 h 1580273"/>
              <a:gd name="connsiteX1" fmla="*/ 1391920 w 2987040"/>
              <a:gd name="connsiteY1" fmla="*/ 1478628 h 1580273"/>
              <a:gd name="connsiteX2" fmla="*/ 2184400 w 2987040"/>
              <a:gd name="connsiteY2" fmla="*/ 37178 h 1580273"/>
              <a:gd name="connsiteX3" fmla="*/ 2987040 w 2987040"/>
              <a:gd name="connsiteY3" fmla="*/ 109568 h 1580273"/>
              <a:gd name="connsiteX0" fmla="*/ 0 w 2998470"/>
              <a:gd name="connsiteY0" fmla="*/ 1522054 h 1644019"/>
              <a:gd name="connsiteX1" fmla="*/ 1391920 w 2998470"/>
              <a:gd name="connsiteY1" fmla="*/ 1542374 h 1644019"/>
              <a:gd name="connsiteX2" fmla="*/ 2184400 w 2998470"/>
              <a:gd name="connsiteY2" fmla="*/ 100924 h 1644019"/>
              <a:gd name="connsiteX3" fmla="*/ 2998470 w 2998470"/>
              <a:gd name="connsiteY3" fmla="*/ 112354 h 1644019"/>
              <a:gd name="connsiteX0" fmla="*/ 0 w 2998470"/>
              <a:gd name="connsiteY0" fmla="*/ 1507726 h 1628281"/>
              <a:gd name="connsiteX1" fmla="*/ 1391920 w 2998470"/>
              <a:gd name="connsiteY1" fmla="*/ 1528046 h 1628281"/>
              <a:gd name="connsiteX2" fmla="*/ 2184400 w 2998470"/>
              <a:gd name="connsiteY2" fmla="*/ 105646 h 1628281"/>
              <a:gd name="connsiteX3" fmla="*/ 2998470 w 2998470"/>
              <a:gd name="connsiteY3" fmla="*/ 98026 h 1628281"/>
              <a:gd name="connsiteX0" fmla="*/ 0 w 2998470"/>
              <a:gd name="connsiteY0" fmla="*/ 1411206 h 1531761"/>
              <a:gd name="connsiteX1" fmla="*/ 1391920 w 2998470"/>
              <a:gd name="connsiteY1" fmla="*/ 1431526 h 1531761"/>
              <a:gd name="connsiteX2" fmla="*/ 2184400 w 2998470"/>
              <a:gd name="connsiteY2" fmla="*/ 9126 h 1531761"/>
              <a:gd name="connsiteX3" fmla="*/ 2998470 w 2998470"/>
              <a:gd name="connsiteY3" fmla="*/ 1506 h 1531761"/>
              <a:gd name="connsiteX0" fmla="*/ 0 w 2998470"/>
              <a:gd name="connsiteY0" fmla="*/ 1409700 h 1530255"/>
              <a:gd name="connsiteX1" fmla="*/ 1391920 w 2998470"/>
              <a:gd name="connsiteY1" fmla="*/ 1430020 h 1530255"/>
              <a:gd name="connsiteX2" fmla="*/ 2184400 w 2998470"/>
              <a:gd name="connsiteY2" fmla="*/ 7620 h 1530255"/>
              <a:gd name="connsiteX3" fmla="*/ 2998470 w 2998470"/>
              <a:gd name="connsiteY3" fmla="*/ 0 h 1530255"/>
              <a:gd name="connsiteX0" fmla="*/ 0 w 2998470"/>
              <a:gd name="connsiteY0" fmla="*/ 1413510 h 1534911"/>
              <a:gd name="connsiteX1" fmla="*/ 1391920 w 2998470"/>
              <a:gd name="connsiteY1" fmla="*/ 1433830 h 1534911"/>
              <a:gd name="connsiteX2" fmla="*/ 2184400 w 2998470"/>
              <a:gd name="connsiteY2" fmla="*/ 0 h 1534911"/>
              <a:gd name="connsiteX3" fmla="*/ 2998470 w 2998470"/>
              <a:gd name="connsiteY3" fmla="*/ 3810 h 1534911"/>
              <a:gd name="connsiteX0" fmla="*/ 0 w 2998470"/>
              <a:gd name="connsiteY0" fmla="*/ 1512810 h 1577881"/>
              <a:gd name="connsiteX1" fmla="*/ 1475740 w 2998470"/>
              <a:gd name="connsiteY1" fmla="*/ 1453120 h 1577881"/>
              <a:gd name="connsiteX2" fmla="*/ 2184400 w 2998470"/>
              <a:gd name="connsiteY2" fmla="*/ 99300 h 1577881"/>
              <a:gd name="connsiteX3" fmla="*/ 2998470 w 2998470"/>
              <a:gd name="connsiteY3" fmla="*/ 103110 h 1577881"/>
              <a:gd name="connsiteX0" fmla="*/ 0 w 2998470"/>
              <a:gd name="connsiteY0" fmla="*/ 1512810 h 1513244"/>
              <a:gd name="connsiteX1" fmla="*/ 1475740 w 2998470"/>
              <a:gd name="connsiteY1" fmla="*/ 1453120 h 1513244"/>
              <a:gd name="connsiteX2" fmla="*/ 2184400 w 2998470"/>
              <a:gd name="connsiteY2" fmla="*/ 99300 h 1513244"/>
              <a:gd name="connsiteX3" fmla="*/ 2998470 w 2998470"/>
              <a:gd name="connsiteY3" fmla="*/ 103110 h 1513244"/>
              <a:gd name="connsiteX0" fmla="*/ 0 w 2998470"/>
              <a:gd name="connsiteY0" fmla="*/ 1512810 h 1517189"/>
              <a:gd name="connsiteX1" fmla="*/ 1475740 w 2998470"/>
              <a:gd name="connsiteY1" fmla="*/ 1453120 h 1517189"/>
              <a:gd name="connsiteX2" fmla="*/ 2184400 w 2998470"/>
              <a:gd name="connsiteY2" fmla="*/ 99300 h 1517189"/>
              <a:gd name="connsiteX3" fmla="*/ 2998470 w 2998470"/>
              <a:gd name="connsiteY3" fmla="*/ 103110 h 1517189"/>
              <a:gd name="connsiteX0" fmla="*/ 0 w 2998470"/>
              <a:gd name="connsiteY0" fmla="*/ 1089900 h 1485402"/>
              <a:gd name="connsiteX1" fmla="*/ 1475740 w 2998470"/>
              <a:gd name="connsiteY1" fmla="*/ 1453120 h 1485402"/>
              <a:gd name="connsiteX2" fmla="*/ 2184400 w 2998470"/>
              <a:gd name="connsiteY2" fmla="*/ 99300 h 1485402"/>
              <a:gd name="connsiteX3" fmla="*/ 2998470 w 2998470"/>
              <a:gd name="connsiteY3" fmla="*/ 103110 h 1485402"/>
              <a:gd name="connsiteX0" fmla="*/ 0 w 2998470"/>
              <a:gd name="connsiteY0" fmla="*/ 1061681 h 1123895"/>
              <a:gd name="connsiteX1" fmla="*/ 1517650 w 2998470"/>
              <a:gd name="connsiteY1" fmla="*/ 1043901 h 1123895"/>
              <a:gd name="connsiteX2" fmla="*/ 2184400 w 2998470"/>
              <a:gd name="connsiteY2" fmla="*/ 71081 h 1123895"/>
              <a:gd name="connsiteX3" fmla="*/ 2998470 w 2998470"/>
              <a:gd name="connsiteY3" fmla="*/ 74891 h 1123895"/>
              <a:gd name="connsiteX0" fmla="*/ 0 w 2998470"/>
              <a:gd name="connsiteY0" fmla="*/ 1061681 h 1061681"/>
              <a:gd name="connsiteX1" fmla="*/ 1517650 w 2998470"/>
              <a:gd name="connsiteY1" fmla="*/ 1043901 h 1061681"/>
              <a:gd name="connsiteX2" fmla="*/ 2184400 w 2998470"/>
              <a:gd name="connsiteY2" fmla="*/ 71081 h 1061681"/>
              <a:gd name="connsiteX3" fmla="*/ 2998470 w 2998470"/>
              <a:gd name="connsiteY3" fmla="*/ 74891 h 1061681"/>
              <a:gd name="connsiteX0" fmla="*/ 0 w 2998470"/>
              <a:gd name="connsiteY0" fmla="*/ 1054061 h 1118649"/>
              <a:gd name="connsiteX1" fmla="*/ 1517650 w 2998470"/>
              <a:gd name="connsiteY1" fmla="*/ 1043901 h 1118649"/>
              <a:gd name="connsiteX2" fmla="*/ 2184400 w 2998470"/>
              <a:gd name="connsiteY2" fmla="*/ 71081 h 1118649"/>
              <a:gd name="connsiteX3" fmla="*/ 2998470 w 2998470"/>
              <a:gd name="connsiteY3" fmla="*/ 74891 h 1118649"/>
              <a:gd name="connsiteX0" fmla="*/ 0 w 2998470"/>
              <a:gd name="connsiteY0" fmla="*/ 1054061 h 1054061"/>
              <a:gd name="connsiteX1" fmla="*/ 1517650 w 2998470"/>
              <a:gd name="connsiteY1" fmla="*/ 1043901 h 1054061"/>
              <a:gd name="connsiteX2" fmla="*/ 2184400 w 2998470"/>
              <a:gd name="connsiteY2" fmla="*/ 71081 h 1054061"/>
              <a:gd name="connsiteX3" fmla="*/ 2998470 w 2998470"/>
              <a:gd name="connsiteY3" fmla="*/ 74891 h 1054061"/>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8094 h 988094"/>
              <a:gd name="connsiteX1" fmla="*/ 1517650 w 2998470"/>
              <a:gd name="connsiteY1" fmla="*/ 977934 h 988094"/>
              <a:gd name="connsiteX2" fmla="*/ 2184400 w 2998470"/>
              <a:gd name="connsiteY2" fmla="*/ 5114 h 988094"/>
              <a:gd name="connsiteX3" fmla="*/ 2998470 w 2998470"/>
              <a:gd name="connsiteY3" fmla="*/ 8924 h 988094"/>
              <a:gd name="connsiteX0" fmla="*/ 0 w 2998470"/>
              <a:gd name="connsiteY0" fmla="*/ 1055868 h 1055868"/>
              <a:gd name="connsiteX1" fmla="*/ 1517650 w 2998470"/>
              <a:gd name="connsiteY1" fmla="*/ 1045708 h 1055868"/>
              <a:gd name="connsiteX2" fmla="*/ 2184400 w 2998470"/>
              <a:gd name="connsiteY2" fmla="*/ 72888 h 1055868"/>
              <a:gd name="connsiteX3" fmla="*/ 2998470 w 2998470"/>
              <a:gd name="connsiteY3" fmla="*/ 71270 h 1055868"/>
              <a:gd name="connsiteX0" fmla="*/ 0 w 2998470"/>
              <a:gd name="connsiteY0" fmla="*/ 988420 h 988420"/>
              <a:gd name="connsiteX1" fmla="*/ 1517650 w 2998470"/>
              <a:gd name="connsiteY1" fmla="*/ 978260 h 988420"/>
              <a:gd name="connsiteX2" fmla="*/ 2184400 w 2998470"/>
              <a:gd name="connsiteY2" fmla="*/ 5440 h 988420"/>
              <a:gd name="connsiteX3" fmla="*/ 2998470 w 2998470"/>
              <a:gd name="connsiteY3" fmla="*/ 3822 h 988420"/>
              <a:gd name="connsiteX0" fmla="*/ 0 w 2998470"/>
              <a:gd name="connsiteY0" fmla="*/ 985252 h 985252"/>
              <a:gd name="connsiteX1" fmla="*/ 1517650 w 2998470"/>
              <a:gd name="connsiteY1" fmla="*/ 975092 h 985252"/>
              <a:gd name="connsiteX2" fmla="*/ 2184400 w 2998470"/>
              <a:gd name="connsiteY2" fmla="*/ 2272 h 985252"/>
              <a:gd name="connsiteX3" fmla="*/ 2998470 w 2998470"/>
              <a:gd name="connsiteY3" fmla="*/ 654 h 985252"/>
              <a:gd name="connsiteX0" fmla="*/ 0 w 4697006"/>
              <a:gd name="connsiteY0" fmla="*/ 983159 h 983159"/>
              <a:gd name="connsiteX1" fmla="*/ 1517650 w 4697006"/>
              <a:gd name="connsiteY1" fmla="*/ 972999 h 983159"/>
              <a:gd name="connsiteX2" fmla="*/ 2184400 w 4697006"/>
              <a:gd name="connsiteY2" fmla="*/ 179 h 983159"/>
              <a:gd name="connsiteX3" fmla="*/ 4697006 w 4697006"/>
              <a:gd name="connsiteY3" fmla="*/ 19422 h 983159"/>
            </a:gdLst>
            <a:ahLst/>
            <a:cxnLst>
              <a:cxn ang="0">
                <a:pos x="connsiteX0" y="connsiteY0"/>
              </a:cxn>
              <a:cxn ang="0">
                <a:pos x="connsiteX1" y="connsiteY1"/>
              </a:cxn>
              <a:cxn ang="0">
                <a:pos x="connsiteX2" y="connsiteY2"/>
              </a:cxn>
              <a:cxn ang="0">
                <a:pos x="connsiteX3" y="connsiteY3"/>
              </a:cxn>
            </a:cxnLst>
            <a:rect l="l" t="t" r="r" b="b"/>
            <a:pathLst>
              <a:path w="4697006" h="983159">
                <a:moveTo>
                  <a:pt x="0" y="983159"/>
                </a:moveTo>
                <a:lnTo>
                  <a:pt x="1517650" y="972999"/>
                </a:lnTo>
                <a:cubicBezTo>
                  <a:pt x="1550247" y="976809"/>
                  <a:pt x="2121628" y="2462"/>
                  <a:pt x="2184400" y="179"/>
                </a:cubicBezTo>
                <a:cubicBezTo>
                  <a:pt x="2247172" y="-2104"/>
                  <a:pt x="4425649" y="18152"/>
                  <a:pt x="4697006" y="19422"/>
                </a:cubicBezTo>
              </a:path>
            </a:pathLst>
          </a:cu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5" name="TextBox 4">
            <a:extLst>
              <a:ext uri="{FF2B5EF4-FFF2-40B4-BE49-F238E27FC236}">
                <a16:creationId xmlns:a16="http://schemas.microsoft.com/office/drawing/2014/main" id="{B58EE5ED-7569-E30B-AB77-400D5AB394D8}"/>
              </a:ext>
            </a:extLst>
          </p:cNvPr>
          <p:cNvSpPr txBox="1"/>
          <p:nvPr/>
        </p:nvSpPr>
        <p:spPr>
          <a:xfrm>
            <a:off x="3544621" y="2799262"/>
            <a:ext cx="4613672" cy="276999"/>
          </a:xfrm>
          <a:prstGeom prst="rect">
            <a:avLst/>
          </a:prstGeom>
          <a:noFill/>
        </p:spPr>
        <p:txBody>
          <a:bodyPr wrap="square">
            <a:spAutoFit/>
          </a:bodyPr>
          <a:lstStyle/>
          <a:p>
            <a:pPr marL="21600"/>
            <a:r>
              <a:rPr lang="en-US" sz="1200" b="1" dirty="0"/>
              <a:t>Finland’s six growth opportunities</a:t>
            </a:r>
          </a:p>
        </p:txBody>
      </p:sp>
      <p:sp>
        <p:nvSpPr>
          <p:cNvPr id="16" name="Freeform 21">
            <a:extLst>
              <a:ext uri="{FF2B5EF4-FFF2-40B4-BE49-F238E27FC236}">
                <a16:creationId xmlns:a16="http://schemas.microsoft.com/office/drawing/2014/main" id="{7A1F41C2-AF77-9DAB-007C-5188641E86CC}"/>
              </a:ext>
            </a:extLst>
          </p:cNvPr>
          <p:cNvSpPr/>
          <p:nvPr/>
        </p:nvSpPr>
        <p:spPr>
          <a:xfrm>
            <a:off x="2069697" y="2302669"/>
            <a:ext cx="1408719" cy="179935"/>
          </a:xfrm>
          <a:custGeom>
            <a:avLst/>
            <a:gdLst>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450227 h 1470547"/>
              <a:gd name="connsiteX1" fmla="*/ 1391920 w 2987040"/>
              <a:gd name="connsiteY1" fmla="*/ 1470547 h 1470547"/>
              <a:gd name="connsiteX2" fmla="*/ 1666240 w 2987040"/>
              <a:gd name="connsiteY2" fmla="*/ 109107 h 1470547"/>
              <a:gd name="connsiteX3" fmla="*/ 2987040 w 2987040"/>
              <a:gd name="connsiteY3" fmla="*/ 78627 h 1470547"/>
              <a:gd name="connsiteX0" fmla="*/ 0 w 2987040"/>
              <a:gd name="connsiteY0" fmla="*/ 1373890 h 1394210"/>
              <a:gd name="connsiteX1" fmla="*/ 1391920 w 2987040"/>
              <a:gd name="connsiteY1" fmla="*/ 1394210 h 1394210"/>
              <a:gd name="connsiteX2" fmla="*/ 1666240 w 2987040"/>
              <a:gd name="connsiteY2" fmla="*/ 32770 h 1394210"/>
              <a:gd name="connsiteX3" fmla="*/ 2987040 w 2987040"/>
              <a:gd name="connsiteY3" fmla="*/ 2290 h 1394210"/>
              <a:gd name="connsiteX0" fmla="*/ 0 w 2987040"/>
              <a:gd name="connsiteY0" fmla="*/ 1373890 h 1489936"/>
              <a:gd name="connsiteX1" fmla="*/ 1391920 w 2987040"/>
              <a:gd name="connsiteY1" fmla="*/ 1394210 h 1489936"/>
              <a:gd name="connsiteX2" fmla="*/ 1666240 w 2987040"/>
              <a:gd name="connsiteY2" fmla="*/ 32770 h 1489936"/>
              <a:gd name="connsiteX3" fmla="*/ 2987040 w 2987040"/>
              <a:gd name="connsiteY3" fmla="*/ 2290 h 1489936"/>
              <a:gd name="connsiteX0" fmla="*/ 0 w 2987040"/>
              <a:gd name="connsiteY0" fmla="*/ 1373890 h 1394211"/>
              <a:gd name="connsiteX1" fmla="*/ 1391920 w 2987040"/>
              <a:gd name="connsiteY1" fmla="*/ 1394210 h 1394211"/>
              <a:gd name="connsiteX2" fmla="*/ 1666240 w 2987040"/>
              <a:gd name="connsiteY2" fmla="*/ 32770 h 1394211"/>
              <a:gd name="connsiteX3" fmla="*/ 2987040 w 2987040"/>
              <a:gd name="connsiteY3" fmla="*/ 2290 h 1394211"/>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371600 h 1488491"/>
              <a:gd name="connsiteX1" fmla="*/ 1391920 w 2987040"/>
              <a:gd name="connsiteY1" fmla="*/ 1391920 h 1488491"/>
              <a:gd name="connsiteX2" fmla="*/ 2134870 w 2987040"/>
              <a:gd name="connsiteY2" fmla="*/ 19050 h 1488491"/>
              <a:gd name="connsiteX3" fmla="*/ 2987040 w 2987040"/>
              <a:gd name="connsiteY3" fmla="*/ 0 h 1488491"/>
              <a:gd name="connsiteX0" fmla="*/ 0 w 2987040"/>
              <a:gd name="connsiteY0" fmla="*/ 1371600 h 1391920"/>
              <a:gd name="connsiteX1" fmla="*/ 1391920 w 2987040"/>
              <a:gd name="connsiteY1" fmla="*/ 1391920 h 1391920"/>
              <a:gd name="connsiteX2" fmla="*/ 2134870 w 2987040"/>
              <a:gd name="connsiteY2" fmla="*/ 19050 h 1391920"/>
              <a:gd name="connsiteX3" fmla="*/ 2987040 w 2987040"/>
              <a:gd name="connsiteY3" fmla="*/ 0 h 1391920"/>
              <a:gd name="connsiteX0" fmla="*/ 0 w 2987040"/>
              <a:gd name="connsiteY0" fmla="*/ 1450799 h 1471119"/>
              <a:gd name="connsiteX1" fmla="*/ 1391920 w 2987040"/>
              <a:gd name="connsiteY1" fmla="*/ 1471119 h 1471119"/>
              <a:gd name="connsiteX2" fmla="*/ 2134870 w 2987040"/>
              <a:gd name="connsiteY2" fmla="*/ 98249 h 1471119"/>
              <a:gd name="connsiteX3" fmla="*/ 2987040 w 2987040"/>
              <a:gd name="connsiteY3" fmla="*/ 102059 h 1471119"/>
              <a:gd name="connsiteX0" fmla="*/ 0 w 2987040"/>
              <a:gd name="connsiteY0" fmla="*/ 1401769 h 1422089"/>
              <a:gd name="connsiteX1" fmla="*/ 1391920 w 2987040"/>
              <a:gd name="connsiteY1" fmla="*/ 1422089 h 1422089"/>
              <a:gd name="connsiteX2" fmla="*/ 2134870 w 2987040"/>
              <a:gd name="connsiteY2" fmla="*/ 49219 h 1422089"/>
              <a:gd name="connsiteX3" fmla="*/ 2987040 w 2987040"/>
              <a:gd name="connsiteY3" fmla="*/ 53029 h 1422089"/>
              <a:gd name="connsiteX0" fmla="*/ 0 w 2987040"/>
              <a:gd name="connsiteY0" fmla="*/ 1458308 h 1580273"/>
              <a:gd name="connsiteX1" fmla="*/ 1391920 w 2987040"/>
              <a:gd name="connsiteY1" fmla="*/ 1478628 h 1580273"/>
              <a:gd name="connsiteX2" fmla="*/ 2184400 w 2987040"/>
              <a:gd name="connsiteY2" fmla="*/ 37178 h 1580273"/>
              <a:gd name="connsiteX3" fmla="*/ 2987040 w 2987040"/>
              <a:gd name="connsiteY3" fmla="*/ 109568 h 1580273"/>
              <a:gd name="connsiteX0" fmla="*/ 0 w 2998470"/>
              <a:gd name="connsiteY0" fmla="*/ 1522054 h 1644019"/>
              <a:gd name="connsiteX1" fmla="*/ 1391920 w 2998470"/>
              <a:gd name="connsiteY1" fmla="*/ 1542374 h 1644019"/>
              <a:gd name="connsiteX2" fmla="*/ 2184400 w 2998470"/>
              <a:gd name="connsiteY2" fmla="*/ 100924 h 1644019"/>
              <a:gd name="connsiteX3" fmla="*/ 2998470 w 2998470"/>
              <a:gd name="connsiteY3" fmla="*/ 112354 h 1644019"/>
              <a:gd name="connsiteX0" fmla="*/ 0 w 2998470"/>
              <a:gd name="connsiteY0" fmla="*/ 1507726 h 1628281"/>
              <a:gd name="connsiteX1" fmla="*/ 1391920 w 2998470"/>
              <a:gd name="connsiteY1" fmla="*/ 1528046 h 1628281"/>
              <a:gd name="connsiteX2" fmla="*/ 2184400 w 2998470"/>
              <a:gd name="connsiteY2" fmla="*/ 105646 h 1628281"/>
              <a:gd name="connsiteX3" fmla="*/ 2998470 w 2998470"/>
              <a:gd name="connsiteY3" fmla="*/ 98026 h 1628281"/>
              <a:gd name="connsiteX0" fmla="*/ 0 w 2998470"/>
              <a:gd name="connsiteY0" fmla="*/ 1411206 h 1531761"/>
              <a:gd name="connsiteX1" fmla="*/ 1391920 w 2998470"/>
              <a:gd name="connsiteY1" fmla="*/ 1431526 h 1531761"/>
              <a:gd name="connsiteX2" fmla="*/ 2184400 w 2998470"/>
              <a:gd name="connsiteY2" fmla="*/ 9126 h 1531761"/>
              <a:gd name="connsiteX3" fmla="*/ 2998470 w 2998470"/>
              <a:gd name="connsiteY3" fmla="*/ 1506 h 1531761"/>
              <a:gd name="connsiteX0" fmla="*/ 0 w 2998470"/>
              <a:gd name="connsiteY0" fmla="*/ 1409700 h 1530255"/>
              <a:gd name="connsiteX1" fmla="*/ 1391920 w 2998470"/>
              <a:gd name="connsiteY1" fmla="*/ 1430020 h 1530255"/>
              <a:gd name="connsiteX2" fmla="*/ 2184400 w 2998470"/>
              <a:gd name="connsiteY2" fmla="*/ 7620 h 1530255"/>
              <a:gd name="connsiteX3" fmla="*/ 2998470 w 2998470"/>
              <a:gd name="connsiteY3" fmla="*/ 0 h 1530255"/>
              <a:gd name="connsiteX0" fmla="*/ 0 w 2998470"/>
              <a:gd name="connsiteY0" fmla="*/ 1413510 h 1534911"/>
              <a:gd name="connsiteX1" fmla="*/ 1391920 w 2998470"/>
              <a:gd name="connsiteY1" fmla="*/ 1433830 h 1534911"/>
              <a:gd name="connsiteX2" fmla="*/ 2184400 w 2998470"/>
              <a:gd name="connsiteY2" fmla="*/ 0 h 1534911"/>
              <a:gd name="connsiteX3" fmla="*/ 2998470 w 2998470"/>
              <a:gd name="connsiteY3" fmla="*/ 3810 h 1534911"/>
              <a:gd name="connsiteX0" fmla="*/ 0 w 2998470"/>
              <a:gd name="connsiteY0" fmla="*/ 1512810 h 1577881"/>
              <a:gd name="connsiteX1" fmla="*/ 1475740 w 2998470"/>
              <a:gd name="connsiteY1" fmla="*/ 1453120 h 1577881"/>
              <a:gd name="connsiteX2" fmla="*/ 2184400 w 2998470"/>
              <a:gd name="connsiteY2" fmla="*/ 99300 h 1577881"/>
              <a:gd name="connsiteX3" fmla="*/ 2998470 w 2998470"/>
              <a:gd name="connsiteY3" fmla="*/ 103110 h 1577881"/>
              <a:gd name="connsiteX0" fmla="*/ 0 w 2998470"/>
              <a:gd name="connsiteY0" fmla="*/ 1512810 h 1513244"/>
              <a:gd name="connsiteX1" fmla="*/ 1475740 w 2998470"/>
              <a:gd name="connsiteY1" fmla="*/ 1453120 h 1513244"/>
              <a:gd name="connsiteX2" fmla="*/ 2184400 w 2998470"/>
              <a:gd name="connsiteY2" fmla="*/ 99300 h 1513244"/>
              <a:gd name="connsiteX3" fmla="*/ 2998470 w 2998470"/>
              <a:gd name="connsiteY3" fmla="*/ 103110 h 1513244"/>
              <a:gd name="connsiteX0" fmla="*/ 0 w 2998470"/>
              <a:gd name="connsiteY0" fmla="*/ 1512810 h 1517189"/>
              <a:gd name="connsiteX1" fmla="*/ 1475740 w 2998470"/>
              <a:gd name="connsiteY1" fmla="*/ 1453120 h 1517189"/>
              <a:gd name="connsiteX2" fmla="*/ 2184400 w 2998470"/>
              <a:gd name="connsiteY2" fmla="*/ 99300 h 1517189"/>
              <a:gd name="connsiteX3" fmla="*/ 2998470 w 2998470"/>
              <a:gd name="connsiteY3" fmla="*/ 103110 h 1517189"/>
              <a:gd name="connsiteX0" fmla="*/ 0 w 2998470"/>
              <a:gd name="connsiteY0" fmla="*/ 1089900 h 1485402"/>
              <a:gd name="connsiteX1" fmla="*/ 1475740 w 2998470"/>
              <a:gd name="connsiteY1" fmla="*/ 1453120 h 1485402"/>
              <a:gd name="connsiteX2" fmla="*/ 2184400 w 2998470"/>
              <a:gd name="connsiteY2" fmla="*/ 99300 h 1485402"/>
              <a:gd name="connsiteX3" fmla="*/ 2998470 w 2998470"/>
              <a:gd name="connsiteY3" fmla="*/ 103110 h 1485402"/>
              <a:gd name="connsiteX0" fmla="*/ 0 w 2998470"/>
              <a:gd name="connsiteY0" fmla="*/ 1061681 h 1123895"/>
              <a:gd name="connsiteX1" fmla="*/ 1517650 w 2998470"/>
              <a:gd name="connsiteY1" fmla="*/ 1043901 h 1123895"/>
              <a:gd name="connsiteX2" fmla="*/ 2184400 w 2998470"/>
              <a:gd name="connsiteY2" fmla="*/ 71081 h 1123895"/>
              <a:gd name="connsiteX3" fmla="*/ 2998470 w 2998470"/>
              <a:gd name="connsiteY3" fmla="*/ 74891 h 1123895"/>
              <a:gd name="connsiteX0" fmla="*/ 0 w 2998470"/>
              <a:gd name="connsiteY0" fmla="*/ 1061681 h 1061681"/>
              <a:gd name="connsiteX1" fmla="*/ 1517650 w 2998470"/>
              <a:gd name="connsiteY1" fmla="*/ 1043901 h 1061681"/>
              <a:gd name="connsiteX2" fmla="*/ 2184400 w 2998470"/>
              <a:gd name="connsiteY2" fmla="*/ 71081 h 1061681"/>
              <a:gd name="connsiteX3" fmla="*/ 2998470 w 2998470"/>
              <a:gd name="connsiteY3" fmla="*/ 74891 h 1061681"/>
              <a:gd name="connsiteX0" fmla="*/ 0 w 2998470"/>
              <a:gd name="connsiteY0" fmla="*/ 1054061 h 1118649"/>
              <a:gd name="connsiteX1" fmla="*/ 1517650 w 2998470"/>
              <a:gd name="connsiteY1" fmla="*/ 1043901 h 1118649"/>
              <a:gd name="connsiteX2" fmla="*/ 2184400 w 2998470"/>
              <a:gd name="connsiteY2" fmla="*/ 71081 h 1118649"/>
              <a:gd name="connsiteX3" fmla="*/ 2998470 w 2998470"/>
              <a:gd name="connsiteY3" fmla="*/ 74891 h 1118649"/>
              <a:gd name="connsiteX0" fmla="*/ 0 w 2998470"/>
              <a:gd name="connsiteY0" fmla="*/ 1054061 h 1054061"/>
              <a:gd name="connsiteX1" fmla="*/ 1517650 w 2998470"/>
              <a:gd name="connsiteY1" fmla="*/ 1043901 h 1054061"/>
              <a:gd name="connsiteX2" fmla="*/ 2184400 w 2998470"/>
              <a:gd name="connsiteY2" fmla="*/ 71081 h 1054061"/>
              <a:gd name="connsiteX3" fmla="*/ 2998470 w 2998470"/>
              <a:gd name="connsiteY3" fmla="*/ 74891 h 1054061"/>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8094 h 988094"/>
              <a:gd name="connsiteX1" fmla="*/ 1517650 w 2998470"/>
              <a:gd name="connsiteY1" fmla="*/ 977934 h 988094"/>
              <a:gd name="connsiteX2" fmla="*/ 2184400 w 2998470"/>
              <a:gd name="connsiteY2" fmla="*/ 5114 h 988094"/>
              <a:gd name="connsiteX3" fmla="*/ 2998470 w 2998470"/>
              <a:gd name="connsiteY3" fmla="*/ 8924 h 988094"/>
              <a:gd name="connsiteX0" fmla="*/ 0 w 2998470"/>
              <a:gd name="connsiteY0" fmla="*/ 1055868 h 1055868"/>
              <a:gd name="connsiteX1" fmla="*/ 1517650 w 2998470"/>
              <a:gd name="connsiteY1" fmla="*/ 1045708 h 1055868"/>
              <a:gd name="connsiteX2" fmla="*/ 2184400 w 2998470"/>
              <a:gd name="connsiteY2" fmla="*/ 72888 h 1055868"/>
              <a:gd name="connsiteX3" fmla="*/ 2998470 w 2998470"/>
              <a:gd name="connsiteY3" fmla="*/ 71270 h 1055868"/>
              <a:gd name="connsiteX0" fmla="*/ 0 w 2998470"/>
              <a:gd name="connsiteY0" fmla="*/ 988420 h 988420"/>
              <a:gd name="connsiteX1" fmla="*/ 1517650 w 2998470"/>
              <a:gd name="connsiteY1" fmla="*/ 978260 h 988420"/>
              <a:gd name="connsiteX2" fmla="*/ 2184400 w 2998470"/>
              <a:gd name="connsiteY2" fmla="*/ 5440 h 988420"/>
              <a:gd name="connsiteX3" fmla="*/ 2998470 w 2998470"/>
              <a:gd name="connsiteY3" fmla="*/ 3822 h 988420"/>
              <a:gd name="connsiteX0" fmla="*/ 0 w 2998470"/>
              <a:gd name="connsiteY0" fmla="*/ 985252 h 985252"/>
              <a:gd name="connsiteX1" fmla="*/ 1517650 w 2998470"/>
              <a:gd name="connsiteY1" fmla="*/ 975092 h 985252"/>
              <a:gd name="connsiteX2" fmla="*/ 2184400 w 2998470"/>
              <a:gd name="connsiteY2" fmla="*/ 2272 h 985252"/>
              <a:gd name="connsiteX3" fmla="*/ 2998470 w 2998470"/>
              <a:gd name="connsiteY3" fmla="*/ 654 h 985252"/>
            </a:gdLst>
            <a:ahLst/>
            <a:cxnLst>
              <a:cxn ang="0">
                <a:pos x="connsiteX0" y="connsiteY0"/>
              </a:cxn>
              <a:cxn ang="0">
                <a:pos x="connsiteX1" y="connsiteY1"/>
              </a:cxn>
              <a:cxn ang="0">
                <a:pos x="connsiteX2" y="connsiteY2"/>
              </a:cxn>
              <a:cxn ang="0">
                <a:pos x="connsiteX3" y="connsiteY3"/>
              </a:cxn>
            </a:cxnLst>
            <a:rect l="l" t="t" r="r" b="b"/>
            <a:pathLst>
              <a:path w="2998470" h="985252">
                <a:moveTo>
                  <a:pt x="0" y="985252"/>
                </a:moveTo>
                <a:lnTo>
                  <a:pt x="1517650" y="975092"/>
                </a:lnTo>
                <a:cubicBezTo>
                  <a:pt x="1550247" y="978902"/>
                  <a:pt x="2121628" y="4555"/>
                  <a:pt x="2184400" y="2272"/>
                </a:cubicBezTo>
                <a:cubicBezTo>
                  <a:pt x="2247172" y="-11"/>
                  <a:pt x="2727113" y="-616"/>
                  <a:pt x="2998470" y="654"/>
                </a:cubicBezTo>
              </a:path>
            </a:pathLst>
          </a:cu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6" name="TextBox 5">
            <a:extLst>
              <a:ext uri="{FF2B5EF4-FFF2-40B4-BE49-F238E27FC236}">
                <a16:creationId xmlns:a16="http://schemas.microsoft.com/office/drawing/2014/main" id="{02945BB6-CE38-6059-3335-9651C1C9987E}"/>
              </a:ext>
            </a:extLst>
          </p:cNvPr>
          <p:cNvSpPr txBox="1"/>
          <p:nvPr/>
        </p:nvSpPr>
        <p:spPr>
          <a:xfrm>
            <a:off x="3544621" y="3443599"/>
            <a:ext cx="4613672" cy="276999"/>
          </a:xfrm>
          <a:prstGeom prst="rect">
            <a:avLst/>
          </a:prstGeom>
          <a:noFill/>
        </p:spPr>
        <p:txBody>
          <a:bodyPr wrap="square">
            <a:spAutoFit/>
          </a:bodyPr>
          <a:lstStyle/>
          <a:p>
            <a:pPr marL="21600"/>
            <a:r>
              <a:rPr lang="en-US" sz="1200" b="1" dirty="0"/>
              <a:t>What can government and industry do</a:t>
            </a:r>
          </a:p>
        </p:txBody>
      </p:sp>
      <p:sp>
        <p:nvSpPr>
          <p:cNvPr id="9" name="TextBox 8">
            <a:extLst>
              <a:ext uri="{FF2B5EF4-FFF2-40B4-BE49-F238E27FC236}">
                <a16:creationId xmlns:a16="http://schemas.microsoft.com/office/drawing/2014/main" id="{3440410A-426A-CB7C-FD55-34A4DFA4671D}"/>
              </a:ext>
            </a:extLst>
          </p:cNvPr>
          <p:cNvSpPr txBox="1"/>
          <p:nvPr/>
        </p:nvSpPr>
        <p:spPr>
          <a:xfrm>
            <a:off x="3544621" y="1510590"/>
            <a:ext cx="5246954" cy="276999"/>
          </a:xfrm>
          <a:prstGeom prst="rect">
            <a:avLst/>
          </a:prstGeom>
          <a:noFill/>
        </p:spPr>
        <p:txBody>
          <a:bodyPr wrap="square">
            <a:spAutoFit/>
          </a:bodyPr>
          <a:lstStyle/>
          <a:p>
            <a:pPr marL="21600"/>
            <a:r>
              <a:rPr lang="en-US" sz="1200" b="1" dirty="0"/>
              <a:t>Global opportunities in semiconductors</a:t>
            </a:r>
          </a:p>
        </p:txBody>
      </p:sp>
      <p:sp>
        <p:nvSpPr>
          <p:cNvPr id="35" name="Freeform 21">
            <a:extLst>
              <a:ext uri="{FF2B5EF4-FFF2-40B4-BE49-F238E27FC236}">
                <a16:creationId xmlns:a16="http://schemas.microsoft.com/office/drawing/2014/main" id="{764753D2-D638-D6DF-F916-A070443981DD}"/>
              </a:ext>
            </a:extLst>
          </p:cNvPr>
          <p:cNvSpPr/>
          <p:nvPr/>
        </p:nvSpPr>
        <p:spPr>
          <a:xfrm flipV="1">
            <a:off x="2069697" y="2848300"/>
            <a:ext cx="1408719" cy="85448"/>
          </a:xfrm>
          <a:custGeom>
            <a:avLst/>
            <a:gdLst>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450227 h 1470547"/>
              <a:gd name="connsiteX1" fmla="*/ 1391920 w 2987040"/>
              <a:gd name="connsiteY1" fmla="*/ 1470547 h 1470547"/>
              <a:gd name="connsiteX2" fmla="*/ 1666240 w 2987040"/>
              <a:gd name="connsiteY2" fmla="*/ 109107 h 1470547"/>
              <a:gd name="connsiteX3" fmla="*/ 2987040 w 2987040"/>
              <a:gd name="connsiteY3" fmla="*/ 78627 h 1470547"/>
              <a:gd name="connsiteX0" fmla="*/ 0 w 2987040"/>
              <a:gd name="connsiteY0" fmla="*/ 1373890 h 1394210"/>
              <a:gd name="connsiteX1" fmla="*/ 1391920 w 2987040"/>
              <a:gd name="connsiteY1" fmla="*/ 1394210 h 1394210"/>
              <a:gd name="connsiteX2" fmla="*/ 1666240 w 2987040"/>
              <a:gd name="connsiteY2" fmla="*/ 32770 h 1394210"/>
              <a:gd name="connsiteX3" fmla="*/ 2987040 w 2987040"/>
              <a:gd name="connsiteY3" fmla="*/ 2290 h 1394210"/>
              <a:gd name="connsiteX0" fmla="*/ 0 w 2987040"/>
              <a:gd name="connsiteY0" fmla="*/ 1373890 h 1489936"/>
              <a:gd name="connsiteX1" fmla="*/ 1391920 w 2987040"/>
              <a:gd name="connsiteY1" fmla="*/ 1394210 h 1489936"/>
              <a:gd name="connsiteX2" fmla="*/ 1666240 w 2987040"/>
              <a:gd name="connsiteY2" fmla="*/ 32770 h 1489936"/>
              <a:gd name="connsiteX3" fmla="*/ 2987040 w 2987040"/>
              <a:gd name="connsiteY3" fmla="*/ 2290 h 1489936"/>
              <a:gd name="connsiteX0" fmla="*/ 0 w 2987040"/>
              <a:gd name="connsiteY0" fmla="*/ 1373890 h 1394211"/>
              <a:gd name="connsiteX1" fmla="*/ 1391920 w 2987040"/>
              <a:gd name="connsiteY1" fmla="*/ 1394210 h 1394211"/>
              <a:gd name="connsiteX2" fmla="*/ 1666240 w 2987040"/>
              <a:gd name="connsiteY2" fmla="*/ 32770 h 1394211"/>
              <a:gd name="connsiteX3" fmla="*/ 2987040 w 2987040"/>
              <a:gd name="connsiteY3" fmla="*/ 2290 h 1394211"/>
              <a:gd name="connsiteX0" fmla="*/ 0 w 2987040"/>
              <a:gd name="connsiteY0" fmla="*/ 1371600 h 1391920"/>
              <a:gd name="connsiteX1" fmla="*/ 1391920 w 2987040"/>
              <a:gd name="connsiteY1" fmla="*/ 1391920 h 1391920"/>
              <a:gd name="connsiteX2" fmla="*/ 1666240 w 2987040"/>
              <a:gd name="connsiteY2" fmla="*/ 30480 h 1391920"/>
              <a:gd name="connsiteX3" fmla="*/ 2987040 w 2987040"/>
              <a:gd name="connsiteY3" fmla="*/ 0 h 1391920"/>
              <a:gd name="connsiteX0" fmla="*/ 0 w 2987040"/>
              <a:gd name="connsiteY0" fmla="*/ 1371600 h 1488491"/>
              <a:gd name="connsiteX1" fmla="*/ 1391920 w 2987040"/>
              <a:gd name="connsiteY1" fmla="*/ 1391920 h 1488491"/>
              <a:gd name="connsiteX2" fmla="*/ 2134870 w 2987040"/>
              <a:gd name="connsiteY2" fmla="*/ 19050 h 1488491"/>
              <a:gd name="connsiteX3" fmla="*/ 2987040 w 2987040"/>
              <a:gd name="connsiteY3" fmla="*/ 0 h 1488491"/>
              <a:gd name="connsiteX0" fmla="*/ 0 w 2987040"/>
              <a:gd name="connsiteY0" fmla="*/ 1371600 h 1391920"/>
              <a:gd name="connsiteX1" fmla="*/ 1391920 w 2987040"/>
              <a:gd name="connsiteY1" fmla="*/ 1391920 h 1391920"/>
              <a:gd name="connsiteX2" fmla="*/ 2134870 w 2987040"/>
              <a:gd name="connsiteY2" fmla="*/ 19050 h 1391920"/>
              <a:gd name="connsiteX3" fmla="*/ 2987040 w 2987040"/>
              <a:gd name="connsiteY3" fmla="*/ 0 h 1391920"/>
              <a:gd name="connsiteX0" fmla="*/ 0 w 2987040"/>
              <a:gd name="connsiteY0" fmla="*/ 1450799 h 1471119"/>
              <a:gd name="connsiteX1" fmla="*/ 1391920 w 2987040"/>
              <a:gd name="connsiteY1" fmla="*/ 1471119 h 1471119"/>
              <a:gd name="connsiteX2" fmla="*/ 2134870 w 2987040"/>
              <a:gd name="connsiteY2" fmla="*/ 98249 h 1471119"/>
              <a:gd name="connsiteX3" fmla="*/ 2987040 w 2987040"/>
              <a:gd name="connsiteY3" fmla="*/ 102059 h 1471119"/>
              <a:gd name="connsiteX0" fmla="*/ 0 w 2987040"/>
              <a:gd name="connsiteY0" fmla="*/ 1401769 h 1422089"/>
              <a:gd name="connsiteX1" fmla="*/ 1391920 w 2987040"/>
              <a:gd name="connsiteY1" fmla="*/ 1422089 h 1422089"/>
              <a:gd name="connsiteX2" fmla="*/ 2134870 w 2987040"/>
              <a:gd name="connsiteY2" fmla="*/ 49219 h 1422089"/>
              <a:gd name="connsiteX3" fmla="*/ 2987040 w 2987040"/>
              <a:gd name="connsiteY3" fmla="*/ 53029 h 1422089"/>
              <a:gd name="connsiteX0" fmla="*/ 0 w 2987040"/>
              <a:gd name="connsiteY0" fmla="*/ 1458308 h 1580273"/>
              <a:gd name="connsiteX1" fmla="*/ 1391920 w 2987040"/>
              <a:gd name="connsiteY1" fmla="*/ 1478628 h 1580273"/>
              <a:gd name="connsiteX2" fmla="*/ 2184400 w 2987040"/>
              <a:gd name="connsiteY2" fmla="*/ 37178 h 1580273"/>
              <a:gd name="connsiteX3" fmla="*/ 2987040 w 2987040"/>
              <a:gd name="connsiteY3" fmla="*/ 109568 h 1580273"/>
              <a:gd name="connsiteX0" fmla="*/ 0 w 2998470"/>
              <a:gd name="connsiteY0" fmla="*/ 1522054 h 1644019"/>
              <a:gd name="connsiteX1" fmla="*/ 1391920 w 2998470"/>
              <a:gd name="connsiteY1" fmla="*/ 1542374 h 1644019"/>
              <a:gd name="connsiteX2" fmla="*/ 2184400 w 2998470"/>
              <a:gd name="connsiteY2" fmla="*/ 100924 h 1644019"/>
              <a:gd name="connsiteX3" fmla="*/ 2998470 w 2998470"/>
              <a:gd name="connsiteY3" fmla="*/ 112354 h 1644019"/>
              <a:gd name="connsiteX0" fmla="*/ 0 w 2998470"/>
              <a:gd name="connsiteY0" fmla="*/ 1507726 h 1628281"/>
              <a:gd name="connsiteX1" fmla="*/ 1391920 w 2998470"/>
              <a:gd name="connsiteY1" fmla="*/ 1528046 h 1628281"/>
              <a:gd name="connsiteX2" fmla="*/ 2184400 w 2998470"/>
              <a:gd name="connsiteY2" fmla="*/ 105646 h 1628281"/>
              <a:gd name="connsiteX3" fmla="*/ 2998470 w 2998470"/>
              <a:gd name="connsiteY3" fmla="*/ 98026 h 1628281"/>
              <a:gd name="connsiteX0" fmla="*/ 0 w 2998470"/>
              <a:gd name="connsiteY0" fmla="*/ 1411206 h 1531761"/>
              <a:gd name="connsiteX1" fmla="*/ 1391920 w 2998470"/>
              <a:gd name="connsiteY1" fmla="*/ 1431526 h 1531761"/>
              <a:gd name="connsiteX2" fmla="*/ 2184400 w 2998470"/>
              <a:gd name="connsiteY2" fmla="*/ 9126 h 1531761"/>
              <a:gd name="connsiteX3" fmla="*/ 2998470 w 2998470"/>
              <a:gd name="connsiteY3" fmla="*/ 1506 h 1531761"/>
              <a:gd name="connsiteX0" fmla="*/ 0 w 2998470"/>
              <a:gd name="connsiteY0" fmla="*/ 1409700 h 1530255"/>
              <a:gd name="connsiteX1" fmla="*/ 1391920 w 2998470"/>
              <a:gd name="connsiteY1" fmla="*/ 1430020 h 1530255"/>
              <a:gd name="connsiteX2" fmla="*/ 2184400 w 2998470"/>
              <a:gd name="connsiteY2" fmla="*/ 7620 h 1530255"/>
              <a:gd name="connsiteX3" fmla="*/ 2998470 w 2998470"/>
              <a:gd name="connsiteY3" fmla="*/ 0 h 1530255"/>
              <a:gd name="connsiteX0" fmla="*/ 0 w 2998470"/>
              <a:gd name="connsiteY0" fmla="*/ 1413510 h 1534911"/>
              <a:gd name="connsiteX1" fmla="*/ 1391920 w 2998470"/>
              <a:gd name="connsiteY1" fmla="*/ 1433830 h 1534911"/>
              <a:gd name="connsiteX2" fmla="*/ 2184400 w 2998470"/>
              <a:gd name="connsiteY2" fmla="*/ 0 h 1534911"/>
              <a:gd name="connsiteX3" fmla="*/ 2998470 w 2998470"/>
              <a:gd name="connsiteY3" fmla="*/ 3810 h 1534911"/>
              <a:gd name="connsiteX0" fmla="*/ 0 w 2998470"/>
              <a:gd name="connsiteY0" fmla="*/ 1512810 h 1577881"/>
              <a:gd name="connsiteX1" fmla="*/ 1475740 w 2998470"/>
              <a:gd name="connsiteY1" fmla="*/ 1453120 h 1577881"/>
              <a:gd name="connsiteX2" fmla="*/ 2184400 w 2998470"/>
              <a:gd name="connsiteY2" fmla="*/ 99300 h 1577881"/>
              <a:gd name="connsiteX3" fmla="*/ 2998470 w 2998470"/>
              <a:gd name="connsiteY3" fmla="*/ 103110 h 1577881"/>
              <a:gd name="connsiteX0" fmla="*/ 0 w 2998470"/>
              <a:gd name="connsiteY0" fmla="*/ 1512810 h 1513244"/>
              <a:gd name="connsiteX1" fmla="*/ 1475740 w 2998470"/>
              <a:gd name="connsiteY1" fmla="*/ 1453120 h 1513244"/>
              <a:gd name="connsiteX2" fmla="*/ 2184400 w 2998470"/>
              <a:gd name="connsiteY2" fmla="*/ 99300 h 1513244"/>
              <a:gd name="connsiteX3" fmla="*/ 2998470 w 2998470"/>
              <a:gd name="connsiteY3" fmla="*/ 103110 h 1513244"/>
              <a:gd name="connsiteX0" fmla="*/ 0 w 2998470"/>
              <a:gd name="connsiteY0" fmla="*/ 1512810 h 1517189"/>
              <a:gd name="connsiteX1" fmla="*/ 1475740 w 2998470"/>
              <a:gd name="connsiteY1" fmla="*/ 1453120 h 1517189"/>
              <a:gd name="connsiteX2" fmla="*/ 2184400 w 2998470"/>
              <a:gd name="connsiteY2" fmla="*/ 99300 h 1517189"/>
              <a:gd name="connsiteX3" fmla="*/ 2998470 w 2998470"/>
              <a:gd name="connsiteY3" fmla="*/ 103110 h 1517189"/>
              <a:gd name="connsiteX0" fmla="*/ 0 w 2998470"/>
              <a:gd name="connsiteY0" fmla="*/ 1089900 h 1485402"/>
              <a:gd name="connsiteX1" fmla="*/ 1475740 w 2998470"/>
              <a:gd name="connsiteY1" fmla="*/ 1453120 h 1485402"/>
              <a:gd name="connsiteX2" fmla="*/ 2184400 w 2998470"/>
              <a:gd name="connsiteY2" fmla="*/ 99300 h 1485402"/>
              <a:gd name="connsiteX3" fmla="*/ 2998470 w 2998470"/>
              <a:gd name="connsiteY3" fmla="*/ 103110 h 1485402"/>
              <a:gd name="connsiteX0" fmla="*/ 0 w 2998470"/>
              <a:gd name="connsiteY0" fmla="*/ 1061681 h 1123895"/>
              <a:gd name="connsiteX1" fmla="*/ 1517650 w 2998470"/>
              <a:gd name="connsiteY1" fmla="*/ 1043901 h 1123895"/>
              <a:gd name="connsiteX2" fmla="*/ 2184400 w 2998470"/>
              <a:gd name="connsiteY2" fmla="*/ 71081 h 1123895"/>
              <a:gd name="connsiteX3" fmla="*/ 2998470 w 2998470"/>
              <a:gd name="connsiteY3" fmla="*/ 74891 h 1123895"/>
              <a:gd name="connsiteX0" fmla="*/ 0 w 2998470"/>
              <a:gd name="connsiteY0" fmla="*/ 1061681 h 1061681"/>
              <a:gd name="connsiteX1" fmla="*/ 1517650 w 2998470"/>
              <a:gd name="connsiteY1" fmla="*/ 1043901 h 1061681"/>
              <a:gd name="connsiteX2" fmla="*/ 2184400 w 2998470"/>
              <a:gd name="connsiteY2" fmla="*/ 71081 h 1061681"/>
              <a:gd name="connsiteX3" fmla="*/ 2998470 w 2998470"/>
              <a:gd name="connsiteY3" fmla="*/ 74891 h 1061681"/>
              <a:gd name="connsiteX0" fmla="*/ 0 w 2998470"/>
              <a:gd name="connsiteY0" fmla="*/ 1054061 h 1118649"/>
              <a:gd name="connsiteX1" fmla="*/ 1517650 w 2998470"/>
              <a:gd name="connsiteY1" fmla="*/ 1043901 h 1118649"/>
              <a:gd name="connsiteX2" fmla="*/ 2184400 w 2998470"/>
              <a:gd name="connsiteY2" fmla="*/ 71081 h 1118649"/>
              <a:gd name="connsiteX3" fmla="*/ 2998470 w 2998470"/>
              <a:gd name="connsiteY3" fmla="*/ 74891 h 1118649"/>
              <a:gd name="connsiteX0" fmla="*/ 0 w 2998470"/>
              <a:gd name="connsiteY0" fmla="*/ 1054061 h 1054061"/>
              <a:gd name="connsiteX1" fmla="*/ 1517650 w 2998470"/>
              <a:gd name="connsiteY1" fmla="*/ 1043901 h 1054061"/>
              <a:gd name="connsiteX2" fmla="*/ 2184400 w 2998470"/>
              <a:gd name="connsiteY2" fmla="*/ 71081 h 1054061"/>
              <a:gd name="connsiteX3" fmla="*/ 2998470 w 2998470"/>
              <a:gd name="connsiteY3" fmla="*/ 74891 h 1054061"/>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4796 h 984796"/>
              <a:gd name="connsiteX1" fmla="*/ 1517650 w 2998470"/>
              <a:gd name="connsiteY1" fmla="*/ 974636 h 984796"/>
              <a:gd name="connsiteX2" fmla="*/ 2184400 w 2998470"/>
              <a:gd name="connsiteY2" fmla="*/ 1816 h 984796"/>
              <a:gd name="connsiteX3" fmla="*/ 2998470 w 2998470"/>
              <a:gd name="connsiteY3" fmla="*/ 5626 h 984796"/>
              <a:gd name="connsiteX0" fmla="*/ 0 w 2998470"/>
              <a:gd name="connsiteY0" fmla="*/ 988094 h 988094"/>
              <a:gd name="connsiteX1" fmla="*/ 1517650 w 2998470"/>
              <a:gd name="connsiteY1" fmla="*/ 977934 h 988094"/>
              <a:gd name="connsiteX2" fmla="*/ 2184400 w 2998470"/>
              <a:gd name="connsiteY2" fmla="*/ 5114 h 988094"/>
              <a:gd name="connsiteX3" fmla="*/ 2998470 w 2998470"/>
              <a:gd name="connsiteY3" fmla="*/ 8924 h 988094"/>
              <a:gd name="connsiteX0" fmla="*/ 0 w 2998470"/>
              <a:gd name="connsiteY0" fmla="*/ 1055868 h 1055868"/>
              <a:gd name="connsiteX1" fmla="*/ 1517650 w 2998470"/>
              <a:gd name="connsiteY1" fmla="*/ 1045708 h 1055868"/>
              <a:gd name="connsiteX2" fmla="*/ 2184400 w 2998470"/>
              <a:gd name="connsiteY2" fmla="*/ 72888 h 1055868"/>
              <a:gd name="connsiteX3" fmla="*/ 2998470 w 2998470"/>
              <a:gd name="connsiteY3" fmla="*/ 71270 h 1055868"/>
              <a:gd name="connsiteX0" fmla="*/ 0 w 2998470"/>
              <a:gd name="connsiteY0" fmla="*/ 988420 h 988420"/>
              <a:gd name="connsiteX1" fmla="*/ 1517650 w 2998470"/>
              <a:gd name="connsiteY1" fmla="*/ 978260 h 988420"/>
              <a:gd name="connsiteX2" fmla="*/ 2184400 w 2998470"/>
              <a:gd name="connsiteY2" fmla="*/ 5440 h 988420"/>
              <a:gd name="connsiteX3" fmla="*/ 2998470 w 2998470"/>
              <a:gd name="connsiteY3" fmla="*/ 3822 h 988420"/>
              <a:gd name="connsiteX0" fmla="*/ 0 w 2998470"/>
              <a:gd name="connsiteY0" fmla="*/ 985252 h 985252"/>
              <a:gd name="connsiteX1" fmla="*/ 1517650 w 2998470"/>
              <a:gd name="connsiteY1" fmla="*/ 975092 h 985252"/>
              <a:gd name="connsiteX2" fmla="*/ 2184400 w 2998470"/>
              <a:gd name="connsiteY2" fmla="*/ 2272 h 985252"/>
              <a:gd name="connsiteX3" fmla="*/ 2998470 w 2998470"/>
              <a:gd name="connsiteY3" fmla="*/ 654 h 985252"/>
            </a:gdLst>
            <a:ahLst/>
            <a:cxnLst>
              <a:cxn ang="0">
                <a:pos x="connsiteX0" y="connsiteY0"/>
              </a:cxn>
              <a:cxn ang="0">
                <a:pos x="connsiteX1" y="connsiteY1"/>
              </a:cxn>
              <a:cxn ang="0">
                <a:pos x="connsiteX2" y="connsiteY2"/>
              </a:cxn>
              <a:cxn ang="0">
                <a:pos x="connsiteX3" y="connsiteY3"/>
              </a:cxn>
            </a:cxnLst>
            <a:rect l="l" t="t" r="r" b="b"/>
            <a:pathLst>
              <a:path w="2998470" h="985252">
                <a:moveTo>
                  <a:pt x="0" y="985252"/>
                </a:moveTo>
                <a:lnTo>
                  <a:pt x="1517650" y="975092"/>
                </a:lnTo>
                <a:cubicBezTo>
                  <a:pt x="1550247" y="978902"/>
                  <a:pt x="2121628" y="4555"/>
                  <a:pt x="2184400" y="2272"/>
                </a:cubicBezTo>
                <a:cubicBezTo>
                  <a:pt x="2247172" y="-11"/>
                  <a:pt x="2727113" y="-616"/>
                  <a:pt x="2998470" y="654"/>
                </a:cubicBezTo>
              </a:path>
            </a:pathLst>
          </a:custGeom>
          <a:noFill/>
          <a:ln w="12700" cap="rnd" cmpd="sng" algn="ctr">
            <a:solidFill>
              <a:schemeClr val="tx2"/>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2"/>
              </a:solidFill>
            </a:endParaRPr>
          </a:p>
        </p:txBody>
      </p:sp>
      <p:sp>
        <p:nvSpPr>
          <p:cNvPr id="38" name="Oval 37">
            <a:extLst>
              <a:ext uri="{FF2B5EF4-FFF2-40B4-BE49-F238E27FC236}">
                <a16:creationId xmlns:a16="http://schemas.microsoft.com/office/drawing/2014/main" id="{BA3FBBD2-8B8B-FAD5-B770-FAE891226559}"/>
              </a:ext>
            </a:extLst>
          </p:cNvPr>
          <p:cNvSpPr/>
          <p:nvPr/>
        </p:nvSpPr>
        <p:spPr>
          <a:xfrm>
            <a:off x="3461857" y="3544261"/>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39" name="Oval 38">
            <a:extLst>
              <a:ext uri="{FF2B5EF4-FFF2-40B4-BE49-F238E27FC236}">
                <a16:creationId xmlns:a16="http://schemas.microsoft.com/office/drawing/2014/main" id="{64F8B8C9-E069-90DB-6C60-91424CF7D2E7}"/>
              </a:ext>
            </a:extLst>
          </p:cNvPr>
          <p:cNvSpPr/>
          <p:nvPr/>
        </p:nvSpPr>
        <p:spPr>
          <a:xfrm>
            <a:off x="3461857" y="2898596"/>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40" name="Oval 39">
            <a:extLst>
              <a:ext uri="{FF2B5EF4-FFF2-40B4-BE49-F238E27FC236}">
                <a16:creationId xmlns:a16="http://schemas.microsoft.com/office/drawing/2014/main" id="{BFB8A02B-4101-9592-8716-77CCEAE695EE}"/>
              </a:ext>
            </a:extLst>
          </p:cNvPr>
          <p:cNvSpPr/>
          <p:nvPr/>
        </p:nvSpPr>
        <p:spPr>
          <a:xfrm>
            <a:off x="3461857" y="2252930"/>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41" name="Oval 40">
            <a:extLst>
              <a:ext uri="{FF2B5EF4-FFF2-40B4-BE49-F238E27FC236}">
                <a16:creationId xmlns:a16="http://schemas.microsoft.com/office/drawing/2014/main" id="{C0DCEC1F-6D68-40E1-B6CD-646C94BB98FD}"/>
              </a:ext>
            </a:extLst>
          </p:cNvPr>
          <p:cNvSpPr/>
          <p:nvPr/>
        </p:nvSpPr>
        <p:spPr>
          <a:xfrm>
            <a:off x="3461857" y="1607264"/>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42" name="Oval 41">
            <a:extLst>
              <a:ext uri="{FF2B5EF4-FFF2-40B4-BE49-F238E27FC236}">
                <a16:creationId xmlns:a16="http://schemas.microsoft.com/office/drawing/2014/main" id="{CB2767BB-AAB8-8832-102A-4F7E7D3B8977}"/>
              </a:ext>
            </a:extLst>
          </p:cNvPr>
          <p:cNvSpPr/>
          <p:nvPr/>
        </p:nvSpPr>
        <p:spPr>
          <a:xfrm>
            <a:off x="1993754" y="2065608"/>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43" name="Oval 42">
            <a:extLst>
              <a:ext uri="{FF2B5EF4-FFF2-40B4-BE49-F238E27FC236}">
                <a16:creationId xmlns:a16="http://schemas.microsoft.com/office/drawing/2014/main" id="{5D749F37-E71A-29E6-4E0F-C958483C3613}"/>
              </a:ext>
            </a:extLst>
          </p:cNvPr>
          <p:cNvSpPr/>
          <p:nvPr/>
        </p:nvSpPr>
        <p:spPr>
          <a:xfrm>
            <a:off x="1993754" y="2436459"/>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44" name="Oval 43">
            <a:extLst>
              <a:ext uri="{FF2B5EF4-FFF2-40B4-BE49-F238E27FC236}">
                <a16:creationId xmlns:a16="http://schemas.microsoft.com/office/drawing/2014/main" id="{550BBFA6-0C99-6DF2-71FE-C1C564BF915B}"/>
              </a:ext>
            </a:extLst>
          </p:cNvPr>
          <p:cNvSpPr/>
          <p:nvPr/>
        </p:nvSpPr>
        <p:spPr>
          <a:xfrm>
            <a:off x="1993754" y="2807310"/>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
        <p:nvSpPr>
          <p:cNvPr id="45" name="Oval 44">
            <a:extLst>
              <a:ext uri="{FF2B5EF4-FFF2-40B4-BE49-F238E27FC236}">
                <a16:creationId xmlns:a16="http://schemas.microsoft.com/office/drawing/2014/main" id="{FC2A1050-4B9F-7D14-498C-B20BA2E8F291}"/>
              </a:ext>
            </a:extLst>
          </p:cNvPr>
          <p:cNvSpPr/>
          <p:nvPr/>
        </p:nvSpPr>
        <p:spPr>
          <a:xfrm>
            <a:off x="1993754" y="3178160"/>
            <a:ext cx="82764" cy="82764"/>
          </a:xfrm>
          <a:prstGeom prst="ellipse">
            <a:avLst/>
          </a:prstGeom>
          <a:solidFill>
            <a:sysClr val="window" lastClr="FFFFFF"/>
          </a:solidFill>
          <a:ln w="19050" cap="flat" cmpd="sng" algn="ctr">
            <a:gradFill flip="none" rotWithShape="1">
              <a:gsLst>
                <a:gs pos="0">
                  <a:srgbClr val="0A1E3C"/>
                </a:gs>
                <a:gs pos="100000">
                  <a:srgbClr val="113972"/>
                </a:gs>
              </a:gsLst>
              <a:lin ang="2700000" scaled="1"/>
              <a:tileRect/>
            </a:gradFill>
            <a:prstDash val="solid"/>
          </a:ln>
          <a:effectLst/>
        </p:spPr>
        <p:txBody>
          <a:bodyPr lIns="0" tIns="0" rIns="0" bIns="0" rtlCol="0" anchor="ctr"/>
          <a:lstStyle/>
          <a:p>
            <a:pPr algn="ctr" defTabSz="914400">
              <a:lnSpc>
                <a:spcPct val="95000"/>
              </a:lnSpc>
            </a:pPr>
            <a:endParaRPr lang="en-US" sz="1400" kern="0">
              <a:solidFill>
                <a:srgbClr val="000000"/>
              </a:solidFill>
            </a:endParaRPr>
          </a:p>
        </p:txBody>
      </p:sp>
    </p:spTree>
    <p:extLst>
      <p:ext uri="{BB962C8B-B14F-4D97-AF65-F5344CB8AC3E}">
        <p14:creationId xmlns:p14="http://schemas.microsoft.com/office/powerpoint/2010/main" val="329303470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F66F0B6-F184-365A-BF9E-228E8BA9B15C}"/>
              </a:ext>
            </a:extLst>
          </p:cNvPr>
          <p:cNvGraphicFramePr>
            <a:graphicFrameLocks noChangeAspect="1"/>
          </p:cNvGraphicFramePr>
          <p:nvPr>
            <p:custDataLst>
              <p:tags r:id="rId1"/>
            </p:custDataLst>
            <p:extLst>
              <p:ext uri="{D42A27DB-BD31-4B8C-83A1-F6EECF244321}">
                <p14:modId xmlns:p14="http://schemas.microsoft.com/office/powerpoint/2010/main" val="22022546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28" imgH="328" progId="TCLayout.ActiveDocument.1">
                  <p:embed/>
                </p:oleObj>
              </mc:Choice>
              <mc:Fallback>
                <p:oleObj name="think-cell Slide" r:id="rId4" imgW="328" imgH="328" progId="TCLayout.ActiveDocument.1">
                  <p:embed/>
                  <p:pic>
                    <p:nvPicPr>
                      <p:cNvPr id="5" name="think-cell data - do not delete" hidden="1">
                        <a:extLst>
                          <a:ext uri="{FF2B5EF4-FFF2-40B4-BE49-F238E27FC236}">
                            <a16:creationId xmlns:a16="http://schemas.microsoft.com/office/drawing/2014/main" id="{BF66F0B6-F184-365A-BF9E-228E8BA9B15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Text Placeholder 7">
            <a:extLst>
              <a:ext uri="{FF2B5EF4-FFF2-40B4-BE49-F238E27FC236}">
                <a16:creationId xmlns:a16="http://schemas.microsoft.com/office/drawing/2014/main" id="{E73C6532-3274-AA7E-65C7-D9FDA88CC3D4}"/>
              </a:ext>
            </a:extLst>
          </p:cNvPr>
          <p:cNvSpPr>
            <a:spLocks noGrp="1"/>
          </p:cNvSpPr>
          <p:nvPr>
            <p:ph type="body" sz="quarter" idx="15"/>
          </p:nvPr>
        </p:nvSpPr>
        <p:spPr/>
        <p:txBody>
          <a:bodyPr/>
          <a:lstStyle/>
          <a:p>
            <a:pPr marL="21600"/>
            <a:r>
              <a:rPr lang="en-US" sz="2400" b="1" dirty="0"/>
              <a:t>Growth opportunities in semiconductors</a:t>
            </a:r>
          </a:p>
        </p:txBody>
      </p:sp>
      <p:sp>
        <p:nvSpPr>
          <p:cNvPr id="2" name="Slide Number Placeholder 1">
            <a:extLst>
              <a:ext uri="{FF2B5EF4-FFF2-40B4-BE49-F238E27FC236}">
                <a16:creationId xmlns:a16="http://schemas.microsoft.com/office/drawing/2014/main" id="{10F2A187-2DBC-C4BA-DE08-E8496B07ABAC}"/>
              </a:ext>
            </a:extLst>
          </p:cNvPr>
          <p:cNvSpPr>
            <a:spLocks noGrp="1"/>
          </p:cNvSpPr>
          <p:nvPr>
            <p:ph type="sldNum" sz="quarter" idx="12"/>
          </p:nvPr>
        </p:nvSpPr>
        <p:spPr/>
        <p:txBody>
          <a:bodyPr/>
          <a:lstStyle/>
          <a:p>
            <a:fld id="{6FCB6B90-8271-4E8F-82C1-E646FBB48A2E}" type="slidenum">
              <a:rPr lang="en-US" smtClean="0"/>
              <a:pPr/>
              <a:t>5</a:t>
            </a:fld>
            <a:endParaRPr lang="en-US"/>
          </a:p>
        </p:txBody>
      </p:sp>
      <p:sp>
        <p:nvSpPr>
          <p:cNvPr id="3" name="Date Placeholder 2">
            <a:extLst>
              <a:ext uri="{FF2B5EF4-FFF2-40B4-BE49-F238E27FC236}">
                <a16:creationId xmlns:a16="http://schemas.microsoft.com/office/drawing/2014/main" id="{EC58DA46-99FF-FC40-8E43-3A880FA1DD89}"/>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E3413BDF-F5EA-1BDF-51BF-B690C995369D}"/>
              </a:ext>
            </a:extLst>
          </p:cNvPr>
          <p:cNvSpPr>
            <a:spLocks noGrp="1"/>
          </p:cNvSpPr>
          <p:nvPr>
            <p:ph type="ftr" sz="quarter" idx="11"/>
          </p:nvPr>
        </p:nvSpPr>
        <p:spPr/>
        <p:txBody>
          <a:bodyPr/>
          <a:lstStyle/>
          <a:p>
            <a:r>
              <a:rPr lang="en-US"/>
              <a:t>Technology Industries of Finland</a:t>
            </a:r>
          </a:p>
        </p:txBody>
      </p:sp>
    </p:spTree>
    <p:extLst>
      <p:ext uri="{BB962C8B-B14F-4D97-AF65-F5344CB8AC3E}">
        <p14:creationId xmlns:p14="http://schemas.microsoft.com/office/powerpoint/2010/main" val="38746680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think-cell data - do not delete" hidden="1">
            <a:extLst>
              <a:ext uri="{FF2B5EF4-FFF2-40B4-BE49-F238E27FC236}">
                <a16:creationId xmlns:a16="http://schemas.microsoft.com/office/drawing/2014/main" id="{F5F07971-76A7-DD18-A5BE-9C7ED42D9A89}"/>
              </a:ext>
            </a:extLst>
          </p:cNvPr>
          <p:cNvGraphicFramePr>
            <a:graphicFrameLocks noChangeAspect="1"/>
          </p:cNvGraphicFramePr>
          <p:nvPr>
            <p:custDataLst>
              <p:tags r:id="rId1"/>
            </p:custDataLst>
            <p:extLst>
              <p:ext uri="{D42A27DB-BD31-4B8C-83A1-F6EECF244321}">
                <p14:modId xmlns:p14="http://schemas.microsoft.com/office/powerpoint/2010/main" val="28752247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4" imgW="360" imgH="360" progId="TCLayout.ActiveDocument.1">
                  <p:embed/>
                </p:oleObj>
              </mc:Choice>
              <mc:Fallback>
                <p:oleObj name="think-cell Slide" r:id="rId24" imgW="360" imgH="360" progId="TCLayout.ActiveDocument.1">
                  <p:embed/>
                  <p:pic>
                    <p:nvPicPr>
                      <p:cNvPr id="37" name="think-cell data - do not delete" hidden="1">
                        <a:extLst>
                          <a:ext uri="{FF2B5EF4-FFF2-40B4-BE49-F238E27FC236}">
                            <a16:creationId xmlns:a16="http://schemas.microsoft.com/office/drawing/2014/main" id="{F5F07971-76A7-DD18-A5BE-9C7ED42D9A89}"/>
                          </a:ext>
                        </a:extLst>
                      </p:cNvPr>
                      <p:cNvPicPr/>
                      <p:nvPr/>
                    </p:nvPicPr>
                    <p:blipFill>
                      <a:blip r:embed="rId2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EB2E9218-CB60-9600-B3E9-6E5A1FD345D3}"/>
              </a:ext>
            </a:extLst>
          </p:cNvPr>
          <p:cNvSpPr>
            <a:spLocks noGrp="1"/>
          </p:cNvSpPr>
          <p:nvPr>
            <p:ph type="sldNum" sz="quarter" idx="12"/>
          </p:nvPr>
        </p:nvSpPr>
        <p:spPr/>
        <p:txBody>
          <a:bodyPr/>
          <a:lstStyle/>
          <a:p>
            <a:fld id="{6FCB6B90-8271-4E8F-82C1-E646FBB48A2E}" type="slidenum">
              <a:rPr lang="en-US" smtClean="0"/>
              <a:pPr/>
              <a:t>6</a:t>
            </a:fld>
            <a:endParaRPr lang="en-US"/>
          </a:p>
        </p:txBody>
      </p:sp>
      <p:sp>
        <p:nvSpPr>
          <p:cNvPr id="3" name="Date Placeholder 2">
            <a:extLst>
              <a:ext uri="{FF2B5EF4-FFF2-40B4-BE49-F238E27FC236}">
                <a16:creationId xmlns:a16="http://schemas.microsoft.com/office/drawing/2014/main" id="{82671AEF-4E73-A754-FBBE-DE6BBB308B6B}"/>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4" name="Footer Placeholder 3">
            <a:extLst>
              <a:ext uri="{FF2B5EF4-FFF2-40B4-BE49-F238E27FC236}">
                <a16:creationId xmlns:a16="http://schemas.microsoft.com/office/drawing/2014/main" id="{02A718DA-5930-258E-7B27-FBC80A8DC238}"/>
              </a:ext>
            </a:extLst>
          </p:cNvPr>
          <p:cNvSpPr>
            <a:spLocks noGrp="1"/>
          </p:cNvSpPr>
          <p:nvPr>
            <p:ph type="ftr" sz="quarter" idx="11"/>
          </p:nvPr>
        </p:nvSpPr>
        <p:spPr/>
        <p:txBody>
          <a:bodyPr/>
          <a:lstStyle/>
          <a:p>
            <a:r>
              <a:rPr lang="en-US"/>
              <a:t>Technology Industries of Finland</a:t>
            </a:r>
          </a:p>
        </p:txBody>
      </p:sp>
      <p:sp>
        <p:nvSpPr>
          <p:cNvPr id="13" name="Title 1">
            <a:extLst>
              <a:ext uri="{FF2B5EF4-FFF2-40B4-BE49-F238E27FC236}">
                <a16:creationId xmlns:a16="http://schemas.microsoft.com/office/drawing/2014/main" id="{AFFF1BD5-08F8-9EEC-22D7-CEBF26E0F90F}"/>
              </a:ext>
            </a:extLst>
          </p:cNvPr>
          <p:cNvSpPr txBox="1">
            <a:spLocks noGrp="1"/>
          </p:cNvSpPr>
          <p:nvPr>
            <p:ph type="body" sz="quarter" idx="18"/>
          </p:nvPr>
        </p:nvSpPr>
        <p:spPr>
          <a:xfrm>
            <a:off x="252413" y="290513"/>
            <a:ext cx="7981900" cy="511345"/>
          </a:xfrm>
          <a:prstGeom prst="rect">
            <a:avLst/>
          </a:prstGeom>
        </p:spPr>
        <p:txBody>
          <a:bodyPr vert="horz" lIns="91440" tIns="45720" rIns="91440" bIns="45720" rtlCol="0" anchor="t">
            <a:noAutofit/>
          </a:bodyPr>
          <a:lst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a:lstStyle>
          <a:p>
            <a:pPr marL="0" defTabSz="679871">
              <a:lnSpc>
                <a:spcPct val="100000"/>
              </a:lnSpc>
            </a:pPr>
            <a:r>
              <a:rPr lang="en-US" sz="1400" spc="0">
                <a:solidFill>
                  <a:srgbClr val="29282E"/>
                </a:solidFill>
                <a:latin typeface="Verdana"/>
                <a:ea typeface="+mn-ea"/>
                <a:cs typeface="+mn-cs"/>
              </a:rPr>
              <a:t>The semiconductor industry has outperformed the general economy over the past 10 years, with interest and importance set to increase</a:t>
            </a:r>
          </a:p>
        </p:txBody>
      </p:sp>
      <p:cxnSp>
        <p:nvCxnSpPr>
          <p:cNvPr id="117" name="Straight Connector 116">
            <a:extLst>
              <a:ext uri="{FF2B5EF4-FFF2-40B4-BE49-F238E27FC236}">
                <a16:creationId xmlns:a16="http://schemas.microsoft.com/office/drawing/2014/main" id="{EE7FBFFD-57FA-103C-4AA2-8CF4BBBDB3D8}"/>
              </a:ext>
            </a:extLst>
          </p:cNvPr>
          <p:cNvCxnSpPr/>
          <p:nvPr>
            <p:custDataLst>
              <p:tags r:id="rId2"/>
            </p:custDataLst>
          </p:nvPr>
        </p:nvCxnSpPr>
        <p:spPr bwMode="gray">
          <a:xfrm>
            <a:off x="1579563" y="3971925"/>
            <a:ext cx="0" cy="33338"/>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6" name="Straight Connector 115">
            <a:extLst>
              <a:ext uri="{FF2B5EF4-FFF2-40B4-BE49-F238E27FC236}">
                <a16:creationId xmlns:a16="http://schemas.microsoft.com/office/drawing/2014/main" id="{CABE946D-7716-DA15-3A3F-9453F27B40D5}"/>
              </a:ext>
            </a:extLst>
          </p:cNvPr>
          <p:cNvCxnSpPr/>
          <p:nvPr>
            <p:custDataLst>
              <p:tags r:id="rId3"/>
            </p:custDataLst>
          </p:nvPr>
        </p:nvCxnSpPr>
        <p:spPr bwMode="gray">
          <a:xfrm>
            <a:off x="1038225" y="3971925"/>
            <a:ext cx="0" cy="33338"/>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0" name="Straight Connector 119">
            <a:extLst>
              <a:ext uri="{FF2B5EF4-FFF2-40B4-BE49-F238E27FC236}">
                <a16:creationId xmlns:a16="http://schemas.microsoft.com/office/drawing/2014/main" id="{8264C9C8-1F16-D427-D063-7AE172AA9EE8}"/>
              </a:ext>
            </a:extLst>
          </p:cNvPr>
          <p:cNvCxnSpPr/>
          <p:nvPr>
            <p:custDataLst>
              <p:tags r:id="rId4"/>
            </p:custDataLst>
          </p:nvPr>
        </p:nvCxnSpPr>
        <p:spPr bwMode="gray">
          <a:xfrm>
            <a:off x="3741738" y="3971925"/>
            <a:ext cx="0" cy="33338"/>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BECD55D3-BF0D-15A9-7584-9D17CCF535F3}"/>
              </a:ext>
            </a:extLst>
          </p:cNvPr>
          <p:cNvCxnSpPr/>
          <p:nvPr>
            <p:custDataLst>
              <p:tags r:id="rId5"/>
            </p:custDataLst>
          </p:nvPr>
        </p:nvCxnSpPr>
        <p:spPr bwMode="gray">
          <a:xfrm>
            <a:off x="2660650" y="3971925"/>
            <a:ext cx="0" cy="33338"/>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Straight Connector 118">
            <a:extLst>
              <a:ext uri="{FF2B5EF4-FFF2-40B4-BE49-F238E27FC236}">
                <a16:creationId xmlns:a16="http://schemas.microsoft.com/office/drawing/2014/main" id="{CBFE325D-8382-BC92-11D1-EC49C84B6543}"/>
              </a:ext>
            </a:extLst>
          </p:cNvPr>
          <p:cNvCxnSpPr/>
          <p:nvPr>
            <p:custDataLst>
              <p:tags r:id="rId6"/>
            </p:custDataLst>
          </p:nvPr>
        </p:nvCxnSpPr>
        <p:spPr bwMode="gray">
          <a:xfrm>
            <a:off x="3201988" y="3971925"/>
            <a:ext cx="0" cy="33338"/>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8" name="Straight Connector 117">
            <a:extLst>
              <a:ext uri="{FF2B5EF4-FFF2-40B4-BE49-F238E27FC236}">
                <a16:creationId xmlns:a16="http://schemas.microsoft.com/office/drawing/2014/main" id="{247E4565-28A3-288C-F4B5-5FC70D430C02}"/>
              </a:ext>
            </a:extLst>
          </p:cNvPr>
          <p:cNvCxnSpPr/>
          <p:nvPr>
            <p:custDataLst>
              <p:tags r:id="rId7"/>
            </p:custDataLst>
          </p:nvPr>
        </p:nvCxnSpPr>
        <p:spPr bwMode="gray">
          <a:xfrm>
            <a:off x="2119313" y="3971925"/>
            <a:ext cx="0" cy="33338"/>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7" name="Chart 6">
            <a:extLst>
              <a:ext uri="{FF2B5EF4-FFF2-40B4-BE49-F238E27FC236}">
                <a16:creationId xmlns:a16="http://schemas.microsoft.com/office/drawing/2014/main" id="{8D26F8FA-B951-ED02-FA88-AA1CF441024D}"/>
              </a:ext>
            </a:extLst>
          </p:cNvPr>
          <p:cNvGraphicFramePr/>
          <p:nvPr>
            <p:custDataLst>
              <p:tags r:id="rId8"/>
            </p:custDataLst>
            <p:extLst>
              <p:ext uri="{D42A27DB-BD31-4B8C-83A1-F6EECF244321}">
                <p14:modId xmlns:p14="http://schemas.microsoft.com/office/powerpoint/2010/main" val="4117927656"/>
              </p:ext>
            </p:extLst>
          </p:nvPr>
        </p:nvGraphicFramePr>
        <p:xfrm>
          <a:off x="685800" y="2324100"/>
          <a:ext cx="3138488" cy="1741488"/>
        </p:xfrm>
        <a:graphic>
          <a:graphicData uri="http://schemas.openxmlformats.org/drawingml/2006/chart">
            <c:chart xmlns:c="http://schemas.openxmlformats.org/drawingml/2006/chart" xmlns:r="http://schemas.openxmlformats.org/officeDocument/2006/relationships" r:id="rId26"/>
          </a:graphicData>
        </a:graphic>
      </p:graphicFrame>
      <p:sp>
        <p:nvSpPr>
          <p:cNvPr id="18" name="Text Placeholder 3">
            <a:extLst>
              <a:ext uri="{FF2B5EF4-FFF2-40B4-BE49-F238E27FC236}">
                <a16:creationId xmlns:a16="http://schemas.microsoft.com/office/drawing/2014/main" id="{DA67438F-6D79-736F-49FB-308EA5BBA8EE}"/>
              </a:ext>
            </a:extLst>
          </p:cNvPr>
          <p:cNvSpPr>
            <a:spLocks noGrp="1"/>
          </p:cNvSpPr>
          <p:nvPr>
            <p:custDataLst>
              <p:tags r:id="rId9"/>
            </p:custDataLst>
          </p:nvPr>
        </p:nvSpPr>
        <p:spPr bwMode="gray">
          <a:xfrm>
            <a:off x="2530475" y="4030663"/>
            <a:ext cx="260350" cy="1333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spcBef>
                <a:spcPct val="0"/>
              </a:spcBef>
              <a:spcAft>
                <a:spcPct val="0"/>
              </a:spcAft>
            </a:pPr>
            <a:fld id="{3C01B069-B003-4DF1-9A7A-BA8E3818200E}" type="datetime'''2''''''''''''''''''''0''''''2''''''''''0'''">
              <a:rPr lang="en-US" altLang="en-US" sz="800" smtClean="0">
                <a:sym typeface="+mn-lt"/>
              </a:rPr>
              <a:pPr lvl="0" algn="ctr">
                <a:spcBef>
                  <a:spcPct val="0"/>
                </a:spcBef>
                <a:spcAft>
                  <a:spcPct val="0"/>
                </a:spcAft>
              </a:pPr>
              <a:t>2020</a:t>
            </a:fld>
            <a:endParaRPr lang="en-US" sz="800">
              <a:sym typeface="+mn-lt"/>
            </a:endParaRPr>
          </a:p>
        </p:txBody>
      </p:sp>
      <p:sp>
        <p:nvSpPr>
          <p:cNvPr id="113" name="Tekstin paikkamerkki 3">
            <a:extLst>
              <a:ext uri="{FF2B5EF4-FFF2-40B4-BE49-F238E27FC236}">
                <a16:creationId xmlns:a16="http://schemas.microsoft.com/office/drawing/2014/main" id="{FCD65EA2-3170-BB6E-B692-ADCABB1D69B0}"/>
              </a:ext>
            </a:extLst>
          </p:cNvPr>
          <p:cNvSpPr>
            <a:spLocks noGrp="1"/>
          </p:cNvSpPr>
          <p:nvPr>
            <p:custDataLst>
              <p:tags r:id="rId10"/>
            </p:custDataLst>
          </p:nvPr>
        </p:nvSpPr>
        <p:spPr bwMode="gray">
          <a:xfrm>
            <a:off x="3071813" y="4035425"/>
            <a:ext cx="260350"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10117E5F-B01F-416D-8166-9DB15C3B4D8F}" type="datetime'''''2''''''0''''''''''''''''2''''''''''''''2'">
              <a:rPr lang="en-US" altLang="en-US" sz="800" spc="0" smtClean="0">
                <a:effectLst/>
                <a:latin typeface="+mn-lt"/>
                <a:ea typeface="+mn-ea"/>
                <a:cs typeface="+mn-cs"/>
                <a:sym typeface="+mn-lt"/>
              </a:rPr>
              <a:pPr marL="0" lvl="0" indent="0" algn="ctr">
                <a:lnSpc>
                  <a:spcPct val="104250"/>
                </a:lnSpc>
                <a:spcBef>
                  <a:spcPct val="0"/>
                </a:spcBef>
                <a:spcAft>
                  <a:spcPct val="0"/>
                </a:spcAft>
                <a:buNone/>
              </a:pPr>
              <a:t>2022</a:t>
            </a:fld>
            <a:endParaRPr lang="en-US" sz="800" spc="0">
              <a:latin typeface="+mn-lt"/>
              <a:ea typeface="+mn-ea"/>
              <a:cs typeface="+mn-cs"/>
              <a:sym typeface="+mn-lt"/>
            </a:endParaRPr>
          </a:p>
        </p:txBody>
      </p:sp>
      <p:sp>
        <p:nvSpPr>
          <p:cNvPr id="112" name="Tekstin paikkamerkki 3">
            <a:extLst>
              <a:ext uri="{FF2B5EF4-FFF2-40B4-BE49-F238E27FC236}">
                <a16:creationId xmlns:a16="http://schemas.microsoft.com/office/drawing/2014/main" id="{7CD8E8D5-F06F-655B-5493-4110B566CDDB}"/>
              </a:ext>
            </a:extLst>
          </p:cNvPr>
          <p:cNvSpPr>
            <a:spLocks noGrp="1"/>
          </p:cNvSpPr>
          <p:nvPr>
            <p:custDataLst>
              <p:tags r:id="rId11"/>
            </p:custDataLst>
          </p:nvPr>
        </p:nvSpPr>
        <p:spPr bwMode="gray">
          <a:xfrm>
            <a:off x="1989138" y="4035425"/>
            <a:ext cx="260350"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D2FB0DEC-10A2-4DA0-BBE0-D603CBD99EF8}" type="datetime'''''2''''0''''''''''''''1''''''8'''''''''''''''''''''''''''''">
              <a:rPr lang="en-US" altLang="en-US" sz="800" spc="0" smtClean="0">
                <a:effectLst/>
                <a:latin typeface="+mn-lt"/>
                <a:ea typeface="+mn-ea"/>
                <a:cs typeface="+mn-cs"/>
                <a:sym typeface="+mn-lt"/>
              </a:rPr>
              <a:pPr marL="0" lvl="0" indent="0" algn="ctr">
                <a:lnSpc>
                  <a:spcPct val="104250"/>
                </a:lnSpc>
                <a:spcBef>
                  <a:spcPct val="0"/>
                </a:spcBef>
                <a:spcAft>
                  <a:spcPct val="0"/>
                </a:spcAft>
                <a:buNone/>
              </a:pPr>
              <a:t>2018</a:t>
            </a:fld>
            <a:endParaRPr lang="en-US" sz="800" spc="0">
              <a:latin typeface="+mn-lt"/>
              <a:ea typeface="+mn-ea"/>
              <a:cs typeface="+mn-cs"/>
              <a:sym typeface="+mn-lt"/>
            </a:endParaRPr>
          </a:p>
        </p:txBody>
      </p:sp>
      <p:sp>
        <p:nvSpPr>
          <p:cNvPr id="110" name="Tekstin paikkamerkki 3">
            <a:extLst>
              <a:ext uri="{FF2B5EF4-FFF2-40B4-BE49-F238E27FC236}">
                <a16:creationId xmlns:a16="http://schemas.microsoft.com/office/drawing/2014/main" id="{38943964-F61D-F32E-B560-07010A69F31B}"/>
              </a:ext>
            </a:extLst>
          </p:cNvPr>
          <p:cNvSpPr>
            <a:spLocks noGrp="1"/>
          </p:cNvSpPr>
          <p:nvPr>
            <p:custDataLst>
              <p:tags r:id="rId12"/>
            </p:custDataLst>
          </p:nvPr>
        </p:nvSpPr>
        <p:spPr bwMode="gray">
          <a:xfrm>
            <a:off x="908050" y="4035425"/>
            <a:ext cx="260350"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5F36CD44-69D2-4FA9-9AE2-0F55135C795C}" type="datetime'20''''''''''''''''''''''''1''''4'''''''">
              <a:rPr lang="en-US" altLang="en-US" sz="800" spc="0" smtClean="0">
                <a:effectLst/>
                <a:latin typeface="+mn-lt"/>
                <a:ea typeface="+mn-ea"/>
                <a:cs typeface="+mn-cs"/>
                <a:sym typeface="+mn-lt"/>
              </a:rPr>
              <a:pPr marL="0" lvl="0" indent="0" algn="ctr">
                <a:lnSpc>
                  <a:spcPct val="104250"/>
                </a:lnSpc>
                <a:spcBef>
                  <a:spcPct val="0"/>
                </a:spcBef>
                <a:spcAft>
                  <a:spcPct val="0"/>
                </a:spcAft>
                <a:buNone/>
              </a:pPr>
              <a:t>2014</a:t>
            </a:fld>
            <a:endParaRPr lang="en-US" sz="800" spc="0">
              <a:latin typeface="+mn-lt"/>
              <a:ea typeface="+mn-ea"/>
              <a:cs typeface="+mn-cs"/>
              <a:sym typeface="+mn-lt"/>
            </a:endParaRPr>
          </a:p>
        </p:txBody>
      </p:sp>
      <p:sp>
        <p:nvSpPr>
          <p:cNvPr id="111" name="Tekstin paikkamerkki 3">
            <a:extLst>
              <a:ext uri="{FF2B5EF4-FFF2-40B4-BE49-F238E27FC236}">
                <a16:creationId xmlns:a16="http://schemas.microsoft.com/office/drawing/2014/main" id="{4829619A-C091-1060-0081-09BA7F24A7A5}"/>
              </a:ext>
            </a:extLst>
          </p:cNvPr>
          <p:cNvSpPr>
            <a:spLocks noGrp="1"/>
          </p:cNvSpPr>
          <p:nvPr>
            <p:custDataLst>
              <p:tags r:id="rId13"/>
            </p:custDataLst>
          </p:nvPr>
        </p:nvSpPr>
        <p:spPr bwMode="gray">
          <a:xfrm>
            <a:off x="1449388" y="4035425"/>
            <a:ext cx="260350"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F4C55FFE-5900-43F3-A03B-0EC927874A7F}" type="datetime'''''''''''''''''''20''''''''''''''''1''''''''''''6'''''''''''">
              <a:rPr lang="en-US" altLang="en-US" sz="800" spc="0" smtClean="0">
                <a:effectLst/>
                <a:latin typeface="+mn-lt"/>
                <a:ea typeface="+mn-ea"/>
                <a:cs typeface="+mn-cs"/>
                <a:sym typeface="+mn-lt"/>
              </a:rPr>
              <a:pPr marL="0" lvl="0" indent="0" algn="ctr">
                <a:lnSpc>
                  <a:spcPct val="104250"/>
                </a:lnSpc>
                <a:spcBef>
                  <a:spcPct val="0"/>
                </a:spcBef>
                <a:spcAft>
                  <a:spcPct val="0"/>
                </a:spcAft>
                <a:buNone/>
              </a:pPr>
              <a:t>2016</a:t>
            </a:fld>
            <a:endParaRPr lang="en-US" sz="800" spc="0">
              <a:latin typeface="+mn-lt"/>
              <a:ea typeface="+mn-ea"/>
              <a:cs typeface="+mn-cs"/>
              <a:sym typeface="+mn-lt"/>
            </a:endParaRPr>
          </a:p>
        </p:txBody>
      </p:sp>
      <p:sp>
        <p:nvSpPr>
          <p:cNvPr id="21" name="Text Placeholder 3">
            <a:extLst>
              <a:ext uri="{FF2B5EF4-FFF2-40B4-BE49-F238E27FC236}">
                <a16:creationId xmlns:a16="http://schemas.microsoft.com/office/drawing/2014/main" id="{6062892B-8947-21A6-6D21-1D4B26D833FE}"/>
              </a:ext>
            </a:extLst>
          </p:cNvPr>
          <p:cNvSpPr>
            <a:spLocks noGrp="1"/>
          </p:cNvSpPr>
          <p:nvPr>
            <p:custDataLst>
              <p:tags r:id="rId14"/>
            </p:custDataLst>
          </p:nvPr>
        </p:nvSpPr>
        <p:spPr bwMode="gray">
          <a:xfrm>
            <a:off x="636588" y="3902075"/>
            <a:ext cx="650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66A1D075-88F5-456E-B049-31436932CF3B}" type="datetime'0'''''''''''''''''''''''''''''''''''''''''''''''''''''''''''">
              <a:rPr lang="en-US" altLang="en-US" sz="800" smtClean="0">
                <a:sym typeface="+mn-lt"/>
              </a:rPr>
              <a:pPr algn="r">
                <a:spcBef>
                  <a:spcPct val="0"/>
                </a:spcBef>
                <a:spcAft>
                  <a:spcPct val="0"/>
                </a:spcAft>
              </a:pPr>
              <a:t>0</a:t>
            </a:fld>
            <a:endParaRPr lang="en-US" sz="800">
              <a:sym typeface="+mn-lt"/>
            </a:endParaRPr>
          </a:p>
        </p:txBody>
      </p:sp>
      <p:sp>
        <p:nvSpPr>
          <p:cNvPr id="22" name="Text Placeholder 3">
            <a:extLst>
              <a:ext uri="{FF2B5EF4-FFF2-40B4-BE49-F238E27FC236}">
                <a16:creationId xmlns:a16="http://schemas.microsoft.com/office/drawing/2014/main" id="{9749088D-3808-94B6-332F-E8DA1ECDF3FB}"/>
              </a:ext>
            </a:extLst>
          </p:cNvPr>
          <p:cNvSpPr>
            <a:spLocks noGrp="1"/>
          </p:cNvSpPr>
          <p:nvPr>
            <p:custDataLst>
              <p:tags r:id="rId15"/>
            </p:custDataLst>
          </p:nvPr>
        </p:nvSpPr>
        <p:spPr bwMode="gray">
          <a:xfrm>
            <a:off x="506413" y="3511550"/>
            <a:ext cx="19526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F74BF6BE-AE93-4EBA-BDD4-5434973155E2}" type="datetime'''''''''''''''''''''''''''''2''''00'''''''''''''">
              <a:rPr lang="en-US" altLang="en-US" sz="800" smtClean="0">
                <a:sym typeface="+mn-lt"/>
              </a:rPr>
              <a:pPr algn="r">
                <a:spcBef>
                  <a:spcPct val="0"/>
                </a:spcBef>
                <a:spcAft>
                  <a:spcPct val="0"/>
                </a:spcAft>
              </a:pPr>
              <a:t>200</a:t>
            </a:fld>
            <a:endParaRPr lang="en-US" sz="800">
              <a:sym typeface="+mn-lt"/>
            </a:endParaRPr>
          </a:p>
        </p:txBody>
      </p:sp>
      <p:sp>
        <p:nvSpPr>
          <p:cNvPr id="23" name="Text Placeholder 3">
            <a:extLst>
              <a:ext uri="{FF2B5EF4-FFF2-40B4-BE49-F238E27FC236}">
                <a16:creationId xmlns:a16="http://schemas.microsoft.com/office/drawing/2014/main" id="{440C9793-8B38-C632-8A71-63811F7254A7}"/>
              </a:ext>
            </a:extLst>
          </p:cNvPr>
          <p:cNvSpPr>
            <a:spLocks noGrp="1"/>
          </p:cNvSpPr>
          <p:nvPr>
            <p:custDataLst>
              <p:tags r:id="rId16"/>
            </p:custDataLst>
          </p:nvPr>
        </p:nvSpPr>
        <p:spPr bwMode="gray">
          <a:xfrm>
            <a:off x="506413" y="3119438"/>
            <a:ext cx="19526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C3E83D2-740F-4E24-8B8D-8AD828E4475C}" type="datetime'''''''''''''''''''''''''''''''4''''''0''''''''''''0'">
              <a:rPr lang="en-US" altLang="en-US" sz="800" smtClean="0">
                <a:sym typeface="+mn-lt"/>
              </a:rPr>
              <a:pPr algn="r">
                <a:spcBef>
                  <a:spcPct val="0"/>
                </a:spcBef>
                <a:spcAft>
                  <a:spcPct val="0"/>
                </a:spcAft>
              </a:pPr>
              <a:t>400</a:t>
            </a:fld>
            <a:endParaRPr lang="en-US" sz="800">
              <a:sym typeface="+mn-lt"/>
            </a:endParaRPr>
          </a:p>
        </p:txBody>
      </p:sp>
      <p:sp>
        <p:nvSpPr>
          <p:cNvPr id="24" name="Text Placeholder 3">
            <a:extLst>
              <a:ext uri="{FF2B5EF4-FFF2-40B4-BE49-F238E27FC236}">
                <a16:creationId xmlns:a16="http://schemas.microsoft.com/office/drawing/2014/main" id="{4BCED682-F630-C427-44A2-605E2D21E78C}"/>
              </a:ext>
            </a:extLst>
          </p:cNvPr>
          <p:cNvSpPr>
            <a:spLocks noGrp="1"/>
          </p:cNvSpPr>
          <p:nvPr>
            <p:custDataLst>
              <p:tags r:id="rId17"/>
            </p:custDataLst>
          </p:nvPr>
        </p:nvSpPr>
        <p:spPr bwMode="gray">
          <a:xfrm>
            <a:off x="506413" y="2728913"/>
            <a:ext cx="19526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EFFCB39F-D354-4028-9A26-DD535B92C0C8}" type="datetime'''6''''''''''''''''''''''''''''''''''0''''''''''''0'''''''">
              <a:rPr lang="en-US" altLang="en-US" sz="800" smtClean="0">
                <a:sym typeface="+mn-lt"/>
              </a:rPr>
              <a:pPr algn="r">
                <a:spcBef>
                  <a:spcPct val="0"/>
                </a:spcBef>
                <a:spcAft>
                  <a:spcPct val="0"/>
                </a:spcAft>
              </a:pPr>
              <a:t>600</a:t>
            </a:fld>
            <a:endParaRPr lang="en-US" sz="800">
              <a:sym typeface="+mn-lt"/>
            </a:endParaRPr>
          </a:p>
        </p:txBody>
      </p:sp>
      <p:sp>
        <p:nvSpPr>
          <p:cNvPr id="25" name="Text Placeholder 3">
            <a:extLst>
              <a:ext uri="{FF2B5EF4-FFF2-40B4-BE49-F238E27FC236}">
                <a16:creationId xmlns:a16="http://schemas.microsoft.com/office/drawing/2014/main" id="{DC2441AD-9C16-1DCE-AD00-E826014D3311}"/>
              </a:ext>
            </a:extLst>
          </p:cNvPr>
          <p:cNvSpPr>
            <a:spLocks noGrp="1"/>
          </p:cNvSpPr>
          <p:nvPr>
            <p:custDataLst>
              <p:tags r:id="rId18"/>
            </p:custDataLst>
          </p:nvPr>
        </p:nvSpPr>
        <p:spPr bwMode="gray">
          <a:xfrm>
            <a:off x="506413" y="2336800"/>
            <a:ext cx="19526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fld id="{05DCEBED-9277-403F-A95C-5CA3E8F4C783}" type="datetime'''''''''''''''''''''80''''''''''''''''''''''''''''''''0'">
              <a:rPr lang="en-US" altLang="en-US" sz="800" smtClean="0">
                <a:sym typeface="+mn-lt"/>
              </a:rPr>
              <a:pPr algn="r">
                <a:spcBef>
                  <a:spcPct val="0"/>
                </a:spcBef>
                <a:spcAft>
                  <a:spcPct val="0"/>
                </a:spcAft>
              </a:pPr>
              <a:t>800</a:t>
            </a:fld>
            <a:endParaRPr lang="en-US" sz="800">
              <a:sym typeface="+mn-lt"/>
            </a:endParaRPr>
          </a:p>
        </p:txBody>
      </p:sp>
      <p:sp>
        <p:nvSpPr>
          <p:cNvPr id="114" name="Tekstin paikkamerkki 3">
            <a:extLst>
              <a:ext uri="{FF2B5EF4-FFF2-40B4-BE49-F238E27FC236}">
                <a16:creationId xmlns:a16="http://schemas.microsoft.com/office/drawing/2014/main" id="{649107F8-7132-1F71-1CED-83957C024B8C}"/>
              </a:ext>
            </a:extLst>
          </p:cNvPr>
          <p:cNvSpPr>
            <a:spLocks noGrp="1"/>
          </p:cNvSpPr>
          <p:nvPr>
            <p:custDataLst>
              <p:tags r:id="rId19"/>
            </p:custDataLst>
          </p:nvPr>
        </p:nvSpPr>
        <p:spPr bwMode="gray">
          <a:xfrm>
            <a:off x="3611563" y="4035425"/>
            <a:ext cx="260350" cy="1270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t">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975D4DBA-4994-4C82-9002-18BFC269845A}" type="datetime'''''''''''''''''2''''''''''''0''''''''''''''''24'''''''">
              <a:rPr lang="en-US" altLang="en-US" sz="800" spc="0" smtClean="0">
                <a:effectLst/>
                <a:latin typeface="+mn-lt"/>
                <a:ea typeface="+mn-ea"/>
                <a:cs typeface="+mn-cs"/>
                <a:sym typeface="+mn-lt"/>
              </a:rPr>
              <a:pPr marL="0" lvl="0" indent="0" algn="ctr">
                <a:lnSpc>
                  <a:spcPct val="104250"/>
                </a:lnSpc>
                <a:spcBef>
                  <a:spcPct val="0"/>
                </a:spcBef>
                <a:spcAft>
                  <a:spcPct val="0"/>
                </a:spcAft>
                <a:buNone/>
              </a:pPr>
              <a:t>2024</a:t>
            </a:fld>
            <a:endParaRPr lang="en-US" sz="800" spc="0">
              <a:latin typeface="+mn-lt"/>
              <a:ea typeface="+mn-ea"/>
              <a:cs typeface="+mn-cs"/>
              <a:sym typeface="+mn-lt"/>
            </a:endParaRPr>
          </a:p>
        </p:txBody>
      </p:sp>
      <p:sp>
        <p:nvSpPr>
          <p:cNvPr id="27" name="Text Placeholder 3">
            <a:extLst>
              <a:ext uri="{FF2B5EF4-FFF2-40B4-BE49-F238E27FC236}">
                <a16:creationId xmlns:a16="http://schemas.microsoft.com/office/drawing/2014/main" id="{10558318-9A5B-129E-6F44-B6EAB5BBAED5}"/>
              </a:ext>
            </a:extLst>
          </p:cNvPr>
          <p:cNvSpPr>
            <a:spLocks noGrp="1"/>
          </p:cNvSpPr>
          <p:nvPr>
            <p:custDataLst>
              <p:tags r:id="rId20"/>
            </p:custDataLst>
          </p:nvPr>
        </p:nvSpPr>
        <p:spPr bwMode="gray">
          <a:xfrm>
            <a:off x="3659188" y="2611438"/>
            <a:ext cx="265113"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2A55B356-7FC7-4D95-982E-F834E9247CC6}" type="datetime'''P''''''''H''''''L''''''''''''''''''X'''''">
              <a:rPr lang="en-US" altLang="en-US" sz="800" smtClean="0"/>
              <a:pPr>
                <a:spcBef>
                  <a:spcPct val="0"/>
                </a:spcBef>
                <a:spcAft>
                  <a:spcPct val="0"/>
                </a:spcAft>
              </a:pPr>
              <a:t>PHLX</a:t>
            </a:fld>
            <a:endParaRPr lang="en-US" sz="800">
              <a:sym typeface="+mn-lt"/>
            </a:endParaRPr>
          </a:p>
        </p:txBody>
      </p:sp>
      <p:sp>
        <p:nvSpPr>
          <p:cNvPr id="28" name="Text Placeholder 3">
            <a:extLst>
              <a:ext uri="{FF2B5EF4-FFF2-40B4-BE49-F238E27FC236}">
                <a16:creationId xmlns:a16="http://schemas.microsoft.com/office/drawing/2014/main" id="{CCC872DC-4193-117D-1D2B-782704246CFA}"/>
              </a:ext>
            </a:extLst>
          </p:cNvPr>
          <p:cNvSpPr>
            <a:spLocks noGrp="1"/>
          </p:cNvSpPr>
          <p:nvPr>
            <p:custDataLst>
              <p:tags r:id="rId21"/>
            </p:custDataLst>
          </p:nvPr>
        </p:nvSpPr>
        <p:spPr bwMode="gray">
          <a:xfrm>
            <a:off x="3659188" y="3605213"/>
            <a:ext cx="438150"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1087AED-A288-4499-B985-62939A88E913}" type="datetime'S''''&amp;''''''''''P'''' ''''''5''''''''''''''''''''''''''00'">
              <a:rPr lang="en-US" altLang="en-US" sz="800" smtClean="0"/>
              <a:pPr>
                <a:spcBef>
                  <a:spcPct val="0"/>
                </a:spcBef>
                <a:spcAft>
                  <a:spcPct val="0"/>
                </a:spcAft>
              </a:pPr>
              <a:t>S&amp;P 500</a:t>
            </a:fld>
            <a:endParaRPr lang="en-US" sz="800">
              <a:sym typeface="+mn-lt"/>
            </a:endParaRPr>
          </a:p>
        </p:txBody>
      </p:sp>
      <p:sp>
        <p:nvSpPr>
          <p:cNvPr id="26" name="Text Placeholder 3">
            <a:extLst>
              <a:ext uri="{FF2B5EF4-FFF2-40B4-BE49-F238E27FC236}">
                <a16:creationId xmlns:a16="http://schemas.microsoft.com/office/drawing/2014/main" id="{A51F07DB-9A38-9C6C-7DF5-BF961A3D3A22}"/>
              </a:ext>
            </a:extLst>
          </p:cNvPr>
          <p:cNvSpPr>
            <a:spLocks noGrp="1"/>
          </p:cNvSpPr>
          <p:nvPr>
            <p:custDataLst>
              <p:tags r:id="rId22"/>
            </p:custDataLst>
          </p:nvPr>
        </p:nvSpPr>
        <p:spPr bwMode="gray">
          <a:xfrm>
            <a:off x="506413" y="2122488"/>
            <a:ext cx="700088" cy="1333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r>
              <a:rPr lang="en-US" altLang="en-US" sz="800">
                <a:sym typeface="+mn-lt"/>
              </a:rPr>
              <a:t>Indexed price</a:t>
            </a:r>
            <a:endParaRPr lang="en-US" sz="800">
              <a:sym typeface="+mn-lt"/>
            </a:endParaRPr>
          </a:p>
        </p:txBody>
      </p:sp>
      <p:sp>
        <p:nvSpPr>
          <p:cNvPr id="71" name="TextBox 70">
            <a:extLst>
              <a:ext uri="{FF2B5EF4-FFF2-40B4-BE49-F238E27FC236}">
                <a16:creationId xmlns:a16="http://schemas.microsoft.com/office/drawing/2014/main" id="{EE992E18-1609-A45F-C55E-2F8EB9B43B4F}"/>
              </a:ext>
            </a:extLst>
          </p:cNvPr>
          <p:cNvSpPr txBox="1"/>
          <p:nvPr/>
        </p:nvSpPr>
        <p:spPr>
          <a:xfrm>
            <a:off x="406910" y="1718436"/>
            <a:ext cx="3878090" cy="195814"/>
          </a:xfrm>
          <a:prstGeom prst="rect">
            <a:avLst/>
          </a:prstGeom>
          <a:noFill/>
        </p:spPr>
        <p:txBody>
          <a:bodyPr wrap="square" lIns="36000" tIns="36000" rIns="36000" bIns="36000" rtlCol="0">
            <a:spAutoFit/>
          </a:bodyPr>
          <a:lstStyle/>
          <a:p>
            <a:r>
              <a:rPr lang="en-US" sz="800" b="1" spc="-40">
                <a:solidFill>
                  <a:srgbClr val="000C20"/>
                </a:solidFill>
                <a:latin typeface="+mj-lt"/>
              </a:rPr>
              <a:t>Daily prices indexed, </a:t>
            </a:r>
            <a:r>
              <a:rPr lang="en-US" sz="800" spc="-40">
                <a:solidFill>
                  <a:srgbClr val="000C20"/>
                </a:solidFill>
                <a:latin typeface="+mj-lt"/>
              </a:rPr>
              <a:t>between 2013 and 2023 (2013 = 100)</a:t>
            </a:r>
            <a:r>
              <a:rPr lang="en-US" sz="800" b="1" spc="-40">
                <a:solidFill>
                  <a:srgbClr val="000C20"/>
                </a:solidFill>
                <a:latin typeface="+mj-lt"/>
              </a:rPr>
              <a:t> </a:t>
            </a:r>
            <a:endParaRPr lang="en-US" sz="800" spc="-40">
              <a:solidFill>
                <a:srgbClr val="000C20"/>
              </a:solidFill>
              <a:latin typeface="+mj-lt"/>
            </a:endParaRPr>
          </a:p>
        </p:txBody>
      </p:sp>
      <p:sp>
        <p:nvSpPr>
          <p:cNvPr id="163" name="Footer Placeholder 3">
            <a:extLst>
              <a:ext uri="{FF2B5EF4-FFF2-40B4-BE49-F238E27FC236}">
                <a16:creationId xmlns:a16="http://schemas.microsoft.com/office/drawing/2014/main" id="{56AFCB97-D87A-64F7-138A-00AD64EFEA83}"/>
              </a:ext>
            </a:extLst>
          </p:cNvPr>
          <p:cNvSpPr txBox="1">
            <a:spLocks/>
          </p:cNvSpPr>
          <p:nvPr/>
        </p:nvSpPr>
        <p:spPr>
          <a:xfrm>
            <a:off x="2897872" y="4728046"/>
            <a:ext cx="5403353" cy="183423"/>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1. Tracks largest 30 companies involved in semiconductor production and equipment  </a:t>
            </a:r>
          </a:p>
          <a:p>
            <a:r>
              <a:rPr lang="en-US"/>
              <a:t>Source: NYSE and NASDAQ price data, Capital IQ, BCG</a:t>
            </a:r>
          </a:p>
        </p:txBody>
      </p:sp>
      <p:grpSp>
        <p:nvGrpSpPr>
          <p:cNvPr id="11" name="Group 10">
            <a:extLst>
              <a:ext uri="{FF2B5EF4-FFF2-40B4-BE49-F238E27FC236}">
                <a16:creationId xmlns:a16="http://schemas.microsoft.com/office/drawing/2014/main" id="{7B2C3B70-A9DD-70AA-6AED-58910B5724CA}"/>
              </a:ext>
            </a:extLst>
          </p:cNvPr>
          <p:cNvGrpSpPr/>
          <p:nvPr/>
        </p:nvGrpSpPr>
        <p:grpSpPr>
          <a:xfrm>
            <a:off x="4328912" y="1602892"/>
            <a:ext cx="181499" cy="3032289"/>
            <a:chOff x="4481251" y="1377907"/>
            <a:chExt cx="181499" cy="3032289"/>
          </a:xfrm>
        </p:grpSpPr>
        <p:cxnSp>
          <p:nvCxnSpPr>
            <p:cNvPr id="12" name="Straight Connector 11">
              <a:extLst>
                <a:ext uri="{FF2B5EF4-FFF2-40B4-BE49-F238E27FC236}">
                  <a16:creationId xmlns:a16="http://schemas.microsoft.com/office/drawing/2014/main" id="{83D76C3B-31C8-030F-2376-4C7CC7E173CA}"/>
                </a:ext>
              </a:extLst>
            </p:cNvPr>
            <p:cNvCxnSpPr/>
            <p:nvPr/>
          </p:nvCxnSpPr>
          <p:spPr>
            <a:xfrm>
              <a:off x="4572000" y="1377907"/>
              <a:ext cx="0" cy="3032289"/>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84606152-2132-12A6-27D7-9D2D6A1F65E5}"/>
                </a:ext>
              </a:extLst>
            </p:cNvPr>
            <p:cNvGrpSpPr/>
            <p:nvPr/>
          </p:nvGrpSpPr>
          <p:grpSpPr>
            <a:xfrm>
              <a:off x="4481251" y="2803083"/>
              <a:ext cx="181499" cy="181938"/>
              <a:chOff x="5937564" y="3833741"/>
              <a:chExt cx="306172" cy="306910"/>
            </a:xfrm>
          </p:grpSpPr>
          <p:sp>
            <p:nvSpPr>
              <p:cNvPr id="16" name="Freeform 94">
                <a:extLst>
                  <a:ext uri="{FF2B5EF4-FFF2-40B4-BE49-F238E27FC236}">
                    <a16:creationId xmlns:a16="http://schemas.microsoft.com/office/drawing/2014/main" id="{9CB95ACF-BCE1-2EAB-BDCC-AB42AF4591A6}"/>
                  </a:ext>
                </a:extLst>
              </p:cNvPr>
              <p:cNvSpPr>
                <a:spLocks/>
              </p:cNvSpPr>
              <p:nvPr/>
            </p:nvSpPr>
            <p:spPr bwMode="gray">
              <a:xfrm>
                <a:off x="5937564" y="3833741"/>
                <a:ext cx="306172"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66481" tIns="33241" rIns="66481" bIns="33241" numCol="1" anchor="t" anchorCtr="0" compatLnSpc="1">
                <a:prstTxWarp prst="textNoShape">
                  <a:avLst/>
                </a:prstTxWarp>
              </a:bodyPr>
              <a:lstStyle/>
              <a:p>
                <a:endParaRPr lang="en-US" sz="1000">
                  <a:solidFill>
                    <a:srgbClr val="6E6F73"/>
                  </a:solidFill>
                </a:endParaRPr>
              </a:p>
            </p:txBody>
          </p:sp>
          <p:sp>
            <p:nvSpPr>
              <p:cNvPr id="19" name="Freeform 95">
                <a:extLst>
                  <a:ext uri="{FF2B5EF4-FFF2-40B4-BE49-F238E27FC236}">
                    <a16:creationId xmlns:a16="http://schemas.microsoft.com/office/drawing/2014/main" id="{98FF3822-F61D-F6AE-D287-A69EAFA20442}"/>
                  </a:ext>
                </a:extLst>
              </p:cNvPr>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6481" tIns="33241" rIns="66481" bIns="33241" numCol="1" anchor="t" anchorCtr="0" compatLnSpc="1">
                <a:prstTxWarp prst="textNoShape">
                  <a:avLst/>
                </a:prstTxWarp>
              </a:bodyPr>
              <a:lstStyle/>
              <a:p>
                <a:endParaRPr lang="en-US" sz="1000">
                  <a:solidFill>
                    <a:srgbClr val="6E6F73"/>
                  </a:solidFill>
                </a:endParaRPr>
              </a:p>
            </p:txBody>
          </p:sp>
        </p:grpSp>
      </p:grpSp>
      <p:sp>
        <p:nvSpPr>
          <p:cNvPr id="180" name="TextBox 179">
            <a:extLst>
              <a:ext uri="{FF2B5EF4-FFF2-40B4-BE49-F238E27FC236}">
                <a16:creationId xmlns:a16="http://schemas.microsoft.com/office/drawing/2014/main" id="{9248F7DF-EA88-DC15-52A0-3A9B216E4EFB}"/>
              </a:ext>
            </a:extLst>
          </p:cNvPr>
          <p:cNvSpPr txBox="1"/>
          <p:nvPr/>
        </p:nvSpPr>
        <p:spPr>
          <a:xfrm>
            <a:off x="369369" y="1110098"/>
            <a:ext cx="3829050" cy="226591"/>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defPPr>
              <a:defRPr lang="fi-FI"/>
            </a:defPPr>
            <a:lvl1pPr>
              <a:defRPr sz="1000" b="1" spc="-4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The PHLX Semiconductor Index</a:t>
            </a:r>
            <a:r>
              <a:rPr lang="en-US" baseline="30000" dirty="0">
                <a:solidFill>
                  <a:schemeClr val="tx1"/>
                </a:solidFill>
              </a:rPr>
              <a:t>1</a:t>
            </a:r>
            <a:r>
              <a:rPr lang="en-US" dirty="0">
                <a:solidFill>
                  <a:schemeClr val="tx1"/>
                </a:solidFill>
              </a:rPr>
              <a:t> has grown ~6x, compared to the S&amp;P 500's 2x, since 2013</a:t>
            </a:r>
          </a:p>
        </p:txBody>
      </p:sp>
      <p:sp>
        <p:nvSpPr>
          <p:cNvPr id="181" name="TextBox 180">
            <a:extLst>
              <a:ext uri="{FF2B5EF4-FFF2-40B4-BE49-F238E27FC236}">
                <a16:creationId xmlns:a16="http://schemas.microsoft.com/office/drawing/2014/main" id="{B90C14F6-DF1B-367D-C3FC-557A2E26378E}"/>
              </a:ext>
            </a:extLst>
          </p:cNvPr>
          <p:cNvSpPr txBox="1"/>
          <p:nvPr/>
        </p:nvSpPr>
        <p:spPr>
          <a:xfrm>
            <a:off x="4686814" y="1110098"/>
            <a:ext cx="4002222" cy="25736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defPPr>
              <a:defRPr lang="fi-FI"/>
            </a:defPPr>
            <a:lvl1pPr>
              <a:defRPr sz="1000" b="1" spc="-4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Interest in semiconductors continues to increase, with significant attention from governments and businesses</a:t>
            </a:r>
          </a:p>
        </p:txBody>
      </p:sp>
      <p:pic>
        <p:nvPicPr>
          <p:cNvPr id="171" name="Picture 170">
            <a:extLst>
              <a:ext uri="{FF2B5EF4-FFF2-40B4-BE49-F238E27FC236}">
                <a16:creationId xmlns:a16="http://schemas.microsoft.com/office/drawing/2014/main" id="{C07D1D16-E76B-0685-C3EF-5FEF48FDFC47}"/>
              </a:ext>
            </a:extLst>
          </p:cNvPr>
          <p:cNvPicPr>
            <a:picLocks noChangeAspect="1"/>
          </p:cNvPicPr>
          <p:nvPr/>
        </p:nvPicPr>
        <p:blipFill>
          <a:blip r:embed="rId27"/>
          <a:stretch>
            <a:fillRect/>
          </a:stretch>
        </p:blipFill>
        <p:spPr>
          <a:xfrm>
            <a:off x="4759156" y="1816343"/>
            <a:ext cx="2174300" cy="553329"/>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161" name="Picture 160">
            <a:extLst>
              <a:ext uri="{FF2B5EF4-FFF2-40B4-BE49-F238E27FC236}">
                <a16:creationId xmlns:a16="http://schemas.microsoft.com/office/drawing/2014/main" id="{A28D1A19-22B7-EFA3-EECE-29B7E50A72EB}"/>
              </a:ext>
            </a:extLst>
          </p:cNvPr>
          <p:cNvPicPr>
            <a:picLocks noChangeAspect="1"/>
          </p:cNvPicPr>
          <p:nvPr/>
        </p:nvPicPr>
        <p:blipFill>
          <a:blip r:embed="rId28">
            <a:extLst>
              <a:ext uri="{28A0092B-C50C-407E-A947-70E740481C1C}">
                <a14:useLocalDpi xmlns:a14="http://schemas.microsoft.com/office/drawing/2010/main" val="0"/>
              </a:ext>
            </a:extLst>
          </a:blip>
          <a:srcRect/>
          <a:stretch/>
        </p:blipFill>
        <p:spPr>
          <a:xfrm>
            <a:off x="4897550" y="2548834"/>
            <a:ext cx="2143927" cy="404057"/>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36" name="Picture 35">
            <a:extLst>
              <a:ext uri="{FF2B5EF4-FFF2-40B4-BE49-F238E27FC236}">
                <a16:creationId xmlns:a16="http://schemas.microsoft.com/office/drawing/2014/main" id="{0E628D8B-9407-9955-1ED8-41E9AACED384}"/>
              </a:ext>
            </a:extLst>
          </p:cNvPr>
          <p:cNvPicPr>
            <a:picLocks noChangeAspect="1"/>
          </p:cNvPicPr>
          <p:nvPr/>
        </p:nvPicPr>
        <p:blipFill>
          <a:blip r:embed="rId29"/>
          <a:stretch>
            <a:fillRect/>
          </a:stretch>
        </p:blipFill>
        <p:spPr>
          <a:xfrm>
            <a:off x="7107416" y="2099453"/>
            <a:ext cx="1479796" cy="511921"/>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208" name="Picture 207">
            <a:extLst>
              <a:ext uri="{FF2B5EF4-FFF2-40B4-BE49-F238E27FC236}">
                <a16:creationId xmlns:a16="http://schemas.microsoft.com/office/drawing/2014/main" id="{DBE0DB47-862F-3E1E-C625-7A05D8AE23EF}"/>
              </a:ext>
            </a:extLst>
          </p:cNvPr>
          <p:cNvPicPr>
            <a:picLocks noChangeAspect="1"/>
          </p:cNvPicPr>
          <p:nvPr/>
        </p:nvPicPr>
        <p:blipFill>
          <a:blip r:embed="rId30">
            <a:extLst>
              <a:ext uri="{28A0092B-C50C-407E-A947-70E740481C1C}">
                <a14:useLocalDpi xmlns:a14="http://schemas.microsoft.com/office/drawing/2010/main" val="0"/>
              </a:ext>
            </a:extLst>
          </a:blip>
          <a:srcRect/>
          <a:stretch/>
        </p:blipFill>
        <p:spPr>
          <a:xfrm>
            <a:off x="6687986" y="3634774"/>
            <a:ext cx="2133470" cy="436853"/>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217" name="Picture 216">
            <a:extLst>
              <a:ext uri="{FF2B5EF4-FFF2-40B4-BE49-F238E27FC236}">
                <a16:creationId xmlns:a16="http://schemas.microsoft.com/office/drawing/2014/main" id="{35FE682E-4D09-15A2-A337-3A3DDB651BBF}"/>
              </a:ext>
            </a:extLst>
          </p:cNvPr>
          <p:cNvPicPr>
            <a:picLocks noChangeAspect="1"/>
          </p:cNvPicPr>
          <p:nvPr/>
        </p:nvPicPr>
        <p:blipFill>
          <a:blip r:embed="rId31">
            <a:extLst>
              <a:ext uri="{28A0092B-C50C-407E-A947-70E740481C1C}">
                <a14:useLocalDpi xmlns:a14="http://schemas.microsoft.com/office/drawing/2010/main" val="0"/>
              </a:ext>
            </a:extLst>
          </a:blip>
          <a:srcRect/>
          <a:stretch/>
        </p:blipFill>
        <p:spPr>
          <a:xfrm>
            <a:off x="5423366" y="4220257"/>
            <a:ext cx="1842959" cy="288852"/>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218" name="Picture 217">
            <a:extLst>
              <a:ext uri="{FF2B5EF4-FFF2-40B4-BE49-F238E27FC236}">
                <a16:creationId xmlns:a16="http://schemas.microsoft.com/office/drawing/2014/main" id="{999C99B5-CA09-304D-085F-700465424DC0}"/>
              </a:ext>
            </a:extLst>
          </p:cNvPr>
          <p:cNvPicPr>
            <a:picLocks noChangeAspect="1"/>
          </p:cNvPicPr>
          <p:nvPr/>
        </p:nvPicPr>
        <p:blipFill>
          <a:blip r:embed="rId32">
            <a:extLst>
              <a:ext uri="{28A0092B-C50C-407E-A947-70E740481C1C}">
                <a14:useLocalDpi xmlns:a14="http://schemas.microsoft.com/office/drawing/2010/main" val="0"/>
              </a:ext>
            </a:extLst>
          </a:blip>
          <a:srcRect/>
          <a:stretch/>
        </p:blipFill>
        <p:spPr>
          <a:xfrm>
            <a:off x="7266325" y="2703369"/>
            <a:ext cx="1635753" cy="242509"/>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17" name="Picture 16">
            <a:extLst>
              <a:ext uri="{FF2B5EF4-FFF2-40B4-BE49-F238E27FC236}">
                <a16:creationId xmlns:a16="http://schemas.microsoft.com/office/drawing/2014/main" id="{FBFFC2F6-8B2C-95E6-A6E5-73A135480EE1}"/>
              </a:ext>
            </a:extLst>
          </p:cNvPr>
          <p:cNvPicPr>
            <a:picLocks noChangeAspect="1"/>
          </p:cNvPicPr>
          <p:nvPr/>
        </p:nvPicPr>
        <p:blipFill>
          <a:blip r:embed="rId33"/>
          <a:stretch>
            <a:fillRect/>
          </a:stretch>
        </p:blipFill>
        <p:spPr>
          <a:xfrm>
            <a:off x="4697501" y="3132053"/>
            <a:ext cx="2192490" cy="348047"/>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20" name="Picture 19">
            <a:extLst>
              <a:ext uri="{FF2B5EF4-FFF2-40B4-BE49-F238E27FC236}">
                <a16:creationId xmlns:a16="http://schemas.microsoft.com/office/drawing/2014/main" id="{AE8465C6-C16E-06B0-C1C0-884CCA13A707}"/>
              </a:ext>
            </a:extLst>
          </p:cNvPr>
          <p:cNvPicPr>
            <a:picLocks noChangeAspect="1"/>
          </p:cNvPicPr>
          <p:nvPr/>
        </p:nvPicPr>
        <p:blipFill>
          <a:blip r:embed="rId34"/>
          <a:stretch>
            <a:fillRect/>
          </a:stretch>
        </p:blipFill>
        <p:spPr>
          <a:xfrm>
            <a:off x="4709093" y="3659262"/>
            <a:ext cx="1635753" cy="381833"/>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pic>
        <p:nvPicPr>
          <p:cNvPr id="206" name="Picture 205">
            <a:extLst>
              <a:ext uri="{FF2B5EF4-FFF2-40B4-BE49-F238E27FC236}">
                <a16:creationId xmlns:a16="http://schemas.microsoft.com/office/drawing/2014/main" id="{D647D978-AD6A-425D-40D2-A88D899E5A37}"/>
              </a:ext>
            </a:extLst>
          </p:cNvPr>
          <p:cNvPicPr>
            <a:picLocks noChangeAspect="1"/>
          </p:cNvPicPr>
          <p:nvPr/>
        </p:nvPicPr>
        <p:blipFill>
          <a:blip r:embed="rId35">
            <a:extLst>
              <a:ext uri="{28A0092B-C50C-407E-A947-70E740481C1C}">
                <a14:useLocalDpi xmlns:a14="http://schemas.microsoft.com/office/drawing/2010/main" val="0"/>
              </a:ext>
            </a:extLst>
          </a:blip>
          <a:srcRect/>
          <a:stretch/>
        </p:blipFill>
        <p:spPr>
          <a:xfrm>
            <a:off x="7144874" y="3068691"/>
            <a:ext cx="1513539" cy="417528"/>
          </a:xfrm>
          <a:prstGeom prst="rect">
            <a:avLst/>
          </a:prstGeom>
          <a:ln>
            <a:solidFill>
              <a:schemeClr val="tx1">
                <a:lumMod val="10000"/>
                <a:lumOff val="90000"/>
              </a:schemeClr>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54040665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4" name="think-cell data - do not delete" hidden="1">
            <a:extLst>
              <a:ext uri="{FF2B5EF4-FFF2-40B4-BE49-F238E27FC236}">
                <a16:creationId xmlns:a16="http://schemas.microsoft.com/office/drawing/2014/main" id="{E2D98394-C65C-A290-5DA9-6A9FB98B123B}"/>
              </a:ext>
            </a:extLst>
          </p:cNvPr>
          <p:cNvGraphicFramePr>
            <a:graphicFrameLocks noChangeAspect="1"/>
          </p:cNvGraphicFramePr>
          <p:nvPr>
            <p:custDataLst>
              <p:tags r:id="rId1"/>
            </p:custDataLst>
            <p:extLst>
              <p:ext uri="{D42A27DB-BD31-4B8C-83A1-F6EECF244321}">
                <p14:modId xmlns:p14="http://schemas.microsoft.com/office/powerpoint/2010/main" val="2499502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95" imgW="404" imgH="405" progId="TCLayout.ActiveDocument.1">
                  <p:embed/>
                </p:oleObj>
              </mc:Choice>
              <mc:Fallback>
                <p:oleObj name="think-cell Slide" r:id="rId95" imgW="404" imgH="405" progId="TCLayout.ActiveDocument.1">
                  <p:embed/>
                  <p:pic>
                    <p:nvPicPr>
                      <p:cNvPr id="114" name="think-cell data - do not delete" hidden="1">
                        <a:extLst>
                          <a:ext uri="{FF2B5EF4-FFF2-40B4-BE49-F238E27FC236}">
                            <a16:creationId xmlns:a16="http://schemas.microsoft.com/office/drawing/2014/main" id="{E2D98394-C65C-A290-5DA9-6A9FB98B123B}"/>
                          </a:ext>
                        </a:extLst>
                      </p:cNvPr>
                      <p:cNvPicPr/>
                      <p:nvPr/>
                    </p:nvPicPr>
                    <p:blipFill>
                      <a:blip r:embed="rId96"/>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551A0760-76B6-B0DA-473F-4F9BCE390A30}"/>
              </a:ext>
            </a:extLst>
          </p:cNvPr>
          <p:cNvSpPr>
            <a:spLocks noGrp="1"/>
          </p:cNvSpPr>
          <p:nvPr>
            <p:ph type="sldNum" sz="quarter" idx="12"/>
          </p:nvPr>
        </p:nvSpPr>
        <p:spPr/>
        <p:txBody>
          <a:bodyPr/>
          <a:lstStyle/>
          <a:p>
            <a:fld id="{6FCB6B90-8271-4E8F-82C1-E646FBB48A2E}" type="slidenum">
              <a:rPr lang="en-US" smtClean="0"/>
              <a:pPr/>
              <a:t>7</a:t>
            </a:fld>
            <a:endParaRPr lang="en-US"/>
          </a:p>
        </p:txBody>
      </p:sp>
      <p:sp>
        <p:nvSpPr>
          <p:cNvPr id="3" name="Date Placeholder 2">
            <a:extLst>
              <a:ext uri="{FF2B5EF4-FFF2-40B4-BE49-F238E27FC236}">
                <a16:creationId xmlns:a16="http://schemas.microsoft.com/office/drawing/2014/main" id="{18FF0807-DAF8-B85E-04CD-C4F80F1262E3}"/>
              </a:ext>
            </a:extLst>
          </p:cNvPr>
          <p:cNvSpPr>
            <a:spLocks noGrp="1"/>
          </p:cNvSpPr>
          <p:nvPr>
            <p:ph type="dt" sz="half" idx="10"/>
          </p:nvPr>
        </p:nvSpPr>
        <p:spPr/>
        <p:txBody>
          <a:bodyPr/>
          <a:lstStyle/>
          <a:p>
            <a:fld id="{F553C366-6A2C-43B9-A437-B827E0484441}" type="datetime1">
              <a:rPr lang="fi-FI" smtClean="0"/>
              <a:pPr/>
              <a:t>9.4.2024</a:t>
            </a:fld>
            <a:endParaRPr lang="en-US"/>
          </a:p>
        </p:txBody>
      </p:sp>
      <p:sp>
        <p:nvSpPr>
          <p:cNvPr id="5" name="TextBox 4">
            <a:extLst>
              <a:ext uri="{FF2B5EF4-FFF2-40B4-BE49-F238E27FC236}">
                <a16:creationId xmlns:a16="http://schemas.microsoft.com/office/drawing/2014/main" id="{904AF0DD-C736-641B-E724-FB2A35E7801D}"/>
              </a:ext>
            </a:extLst>
          </p:cNvPr>
          <p:cNvSpPr txBox="1"/>
          <p:nvPr/>
        </p:nvSpPr>
        <p:spPr>
          <a:xfrm>
            <a:off x="369369" y="1110098"/>
            <a:ext cx="3829050" cy="226591"/>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defPPr>
              <a:defRPr lang="fi-FI"/>
            </a:defPPr>
            <a:lvl1pPr>
              <a:defRPr sz="1000" b="1" spc="-4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dirty="0">
                <a:solidFill>
                  <a:schemeClr val="tx1"/>
                </a:solidFill>
              </a:rPr>
              <a:t>Continuous demand for improved performance drives need for continuous semiconductor innovations</a:t>
            </a:r>
          </a:p>
        </p:txBody>
      </p:sp>
      <p:sp>
        <p:nvSpPr>
          <p:cNvPr id="6" name="Tekstin paikkamerkki 3">
            <a:extLst>
              <a:ext uri="{FF2B5EF4-FFF2-40B4-BE49-F238E27FC236}">
                <a16:creationId xmlns:a16="http://schemas.microsoft.com/office/drawing/2014/main" id="{7E624B2B-6B3A-A95A-9FB1-955A0F155E43}"/>
              </a:ext>
            </a:extLst>
          </p:cNvPr>
          <p:cNvSpPr>
            <a:spLocks noGrp="1"/>
          </p:cNvSpPr>
          <p:nvPr>
            <p:custDataLst>
              <p:tags r:id="rId2"/>
            </p:custDataLst>
          </p:nvPr>
        </p:nvSpPr>
        <p:spPr bwMode="gray">
          <a:xfrm>
            <a:off x="7644478" y="2246313"/>
            <a:ext cx="488950"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r>
              <a:rPr lang="en-US" altLang="en-US" sz="600" spc="0">
                <a:latin typeface="+mn-lt"/>
                <a:ea typeface="+mn-ea"/>
                <a:cs typeface="+mn-cs"/>
              </a:rPr>
              <a:t>Consumer </a:t>
            </a:r>
            <a:br>
              <a:rPr lang="en-US" altLang="en-US" sz="600" spc="0">
                <a:latin typeface="+mn-lt"/>
                <a:ea typeface="+mn-ea"/>
                <a:cs typeface="+mn-cs"/>
              </a:rPr>
            </a:br>
            <a:r>
              <a:rPr lang="en-US" altLang="en-US" sz="600" spc="0">
                <a:latin typeface="+mn-lt"/>
                <a:ea typeface="+mn-ea"/>
                <a:cs typeface="+mn-cs"/>
              </a:rPr>
              <a:t>electronics</a:t>
            </a:r>
            <a:endParaRPr lang="en-US" sz="600" spc="0">
              <a:latin typeface="+mn-lt"/>
              <a:ea typeface="+mn-ea"/>
              <a:cs typeface="+mn-cs"/>
              <a:sym typeface="Arial" panose="020B0604020202020204" pitchFamily="34" charset="0"/>
            </a:endParaRPr>
          </a:p>
        </p:txBody>
      </p:sp>
      <p:sp>
        <p:nvSpPr>
          <p:cNvPr id="7" name="Tekstin paikkamerkki 3">
            <a:extLst>
              <a:ext uri="{FF2B5EF4-FFF2-40B4-BE49-F238E27FC236}">
                <a16:creationId xmlns:a16="http://schemas.microsoft.com/office/drawing/2014/main" id="{C7EBDFB9-CDDA-A163-084A-A2FDD8481202}"/>
              </a:ext>
            </a:extLst>
          </p:cNvPr>
          <p:cNvSpPr>
            <a:spLocks noGrp="1"/>
          </p:cNvSpPr>
          <p:nvPr>
            <p:custDataLst>
              <p:tags r:id="rId3"/>
            </p:custDataLst>
          </p:nvPr>
        </p:nvSpPr>
        <p:spPr bwMode="gray">
          <a:xfrm>
            <a:off x="7644478" y="2891236"/>
            <a:ext cx="5349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r>
              <a:rPr lang="en-US" altLang="en-US" sz="600" spc="0">
                <a:latin typeface="+mn-lt"/>
                <a:ea typeface="+mn-ea"/>
                <a:cs typeface="+mn-cs"/>
              </a:rPr>
              <a:t>Automotive</a:t>
            </a:r>
            <a:endParaRPr lang="en-US" sz="600" spc="0">
              <a:latin typeface="+mn-lt"/>
              <a:ea typeface="+mn-ea"/>
              <a:cs typeface="+mn-cs"/>
              <a:sym typeface="Arial" panose="020B0604020202020204" pitchFamily="34" charset="0"/>
            </a:endParaRPr>
          </a:p>
        </p:txBody>
      </p:sp>
      <p:sp>
        <p:nvSpPr>
          <p:cNvPr id="8" name="Tekstin paikkamerkki 3">
            <a:extLst>
              <a:ext uri="{FF2B5EF4-FFF2-40B4-BE49-F238E27FC236}">
                <a16:creationId xmlns:a16="http://schemas.microsoft.com/office/drawing/2014/main" id="{509CA467-F98E-715A-FF85-069C4B346E94}"/>
              </a:ext>
            </a:extLst>
          </p:cNvPr>
          <p:cNvSpPr>
            <a:spLocks noGrp="1"/>
          </p:cNvSpPr>
          <p:nvPr>
            <p:custDataLst>
              <p:tags r:id="rId4"/>
            </p:custDataLst>
          </p:nvPr>
        </p:nvSpPr>
        <p:spPr bwMode="gray">
          <a:xfrm>
            <a:off x="7652435" y="2572861"/>
            <a:ext cx="3762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r>
              <a:rPr lang="en-US" altLang="en-US" sz="600" spc="0">
                <a:latin typeface="+mn-lt"/>
                <a:ea typeface="+mn-ea"/>
                <a:cs typeface="+mn-cs"/>
              </a:rPr>
              <a:t>Industrial</a:t>
            </a:r>
            <a:endParaRPr lang="en-US" sz="600" spc="0">
              <a:latin typeface="+mn-lt"/>
              <a:ea typeface="+mn-ea"/>
              <a:cs typeface="+mn-cs"/>
              <a:sym typeface="Arial" panose="020B0604020202020204" pitchFamily="34" charset="0"/>
            </a:endParaRPr>
          </a:p>
        </p:txBody>
      </p:sp>
      <p:sp>
        <p:nvSpPr>
          <p:cNvPr id="9" name="Tekstin paikkamerkki 3">
            <a:extLst>
              <a:ext uri="{FF2B5EF4-FFF2-40B4-BE49-F238E27FC236}">
                <a16:creationId xmlns:a16="http://schemas.microsoft.com/office/drawing/2014/main" id="{AC40E903-33AA-3C51-F348-AF542B46194F}"/>
              </a:ext>
            </a:extLst>
          </p:cNvPr>
          <p:cNvSpPr>
            <a:spLocks noGrp="1"/>
          </p:cNvSpPr>
          <p:nvPr>
            <p:custDataLst>
              <p:tags r:id="rId5"/>
            </p:custDataLst>
          </p:nvPr>
        </p:nvSpPr>
        <p:spPr bwMode="gray">
          <a:xfrm>
            <a:off x="7635875" y="3403600"/>
            <a:ext cx="596900"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r>
              <a:rPr lang="en-US" sz="600" spc="0">
                <a:latin typeface="+mn-lt"/>
                <a:ea typeface="+mn-ea"/>
                <a:cs typeface="+mn-cs"/>
                <a:sym typeface="Arial" panose="020B0604020202020204" pitchFamily="34" charset="0"/>
              </a:rPr>
              <a:t>Communication</a:t>
            </a:r>
          </a:p>
        </p:txBody>
      </p:sp>
      <p:sp>
        <p:nvSpPr>
          <p:cNvPr id="10" name="Tekstin paikkamerkki 3">
            <a:extLst>
              <a:ext uri="{FF2B5EF4-FFF2-40B4-BE49-F238E27FC236}">
                <a16:creationId xmlns:a16="http://schemas.microsoft.com/office/drawing/2014/main" id="{AED3C9AB-BB1A-A2BF-2DCF-C7B8E59ED87A}"/>
              </a:ext>
            </a:extLst>
          </p:cNvPr>
          <p:cNvSpPr>
            <a:spLocks noGrp="1"/>
          </p:cNvSpPr>
          <p:nvPr>
            <p:custDataLst>
              <p:tags r:id="rId6"/>
            </p:custDataLst>
          </p:nvPr>
        </p:nvSpPr>
        <p:spPr bwMode="gray">
          <a:xfrm>
            <a:off x="7644478" y="4022239"/>
            <a:ext cx="455613" cy="19050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nSpc>
                <a:spcPct val="104250"/>
              </a:lnSpc>
              <a:spcBef>
                <a:spcPct val="0"/>
              </a:spcBef>
              <a:spcAft>
                <a:spcPct val="0"/>
              </a:spcAft>
              <a:buNone/>
            </a:pPr>
            <a:r>
              <a:rPr lang="en-US" altLang="en-US" sz="600" spc="0">
                <a:latin typeface="+mn-lt"/>
                <a:ea typeface="+mn-ea"/>
                <a:cs typeface="+mn-cs"/>
              </a:rPr>
              <a:t>Data</a:t>
            </a:r>
            <a:br>
              <a:rPr lang="en-US" altLang="en-US" sz="600" spc="0">
                <a:latin typeface="+mn-lt"/>
                <a:ea typeface="+mn-ea"/>
                <a:cs typeface="+mn-cs"/>
              </a:rPr>
            </a:br>
            <a:r>
              <a:rPr lang="en-US" altLang="en-US" sz="600" spc="0">
                <a:latin typeface="+mn-lt"/>
                <a:ea typeface="+mn-ea"/>
                <a:cs typeface="+mn-cs"/>
              </a:rPr>
              <a:t>processing</a:t>
            </a:r>
            <a:endParaRPr lang="en-US" sz="600" spc="0">
              <a:latin typeface="+mn-lt"/>
              <a:ea typeface="+mn-ea"/>
              <a:cs typeface="+mn-cs"/>
              <a:sym typeface="Arial" panose="020B0604020202020204" pitchFamily="34" charset="0"/>
            </a:endParaRPr>
          </a:p>
        </p:txBody>
      </p:sp>
      <p:sp>
        <p:nvSpPr>
          <p:cNvPr id="12" name="TextBox 11">
            <a:extLst>
              <a:ext uri="{FF2B5EF4-FFF2-40B4-BE49-F238E27FC236}">
                <a16:creationId xmlns:a16="http://schemas.microsoft.com/office/drawing/2014/main" id="{0F6EC2C8-148E-08D4-83D4-9AA37827B597}"/>
              </a:ext>
            </a:extLst>
          </p:cNvPr>
          <p:cNvSpPr txBox="1"/>
          <p:nvPr/>
        </p:nvSpPr>
        <p:spPr>
          <a:xfrm>
            <a:off x="431092" y="1513680"/>
            <a:ext cx="3829050" cy="1550031"/>
          </a:xfrm>
          <a:prstGeom prst="rect">
            <a:avLst/>
          </a:prstGeom>
          <a:noFill/>
        </p:spPr>
        <p:txBody>
          <a:bodyPr wrap="square" lIns="36000" tIns="36000" rIns="36000" bIns="36000" rtlCol="0">
            <a:spAutoFit/>
          </a:bodyPr>
          <a:lstStyle/>
          <a:p>
            <a:r>
              <a:rPr lang="en-US" sz="800" spc="-40" dirty="0">
                <a:solidFill>
                  <a:srgbClr val="000C20"/>
                </a:solidFill>
                <a:latin typeface="+mj-lt"/>
              </a:rPr>
              <a:t>Maintaining </a:t>
            </a:r>
            <a:r>
              <a:rPr lang="en-US" sz="800" b="1" spc="-40" dirty="0">
                <a:solidFill>
                  <a:srgbClr val="000C20"/>
                </a:solidFill>
                <a:latin typeface="+mj-lt"/>
              </a:rPr>
              <a:t>Moore's Law</a:t>
            </a:r>
            <a:r>
              <a:rPr lang="en-US" sz="800" b="1" spc="-40" baseline="30000" dirty="0">
                <a:solidFill>
                  <a:srgbClr val="000C20"/>
                </a:solidFill>
                <a:latin typeface="+mj-lt"/>
              </a:rPr>
              <a:t>1</a:t>
            </a:r>
            <a:r>
              <a:rPr lang="en-US" sz="800" b="1" spc="-40" dirty="0">
                <a:solidFill>
                  <a:srgbClr val="000C20"/>
                </a:solidFill>
                <a:latin typeface="+mj-lt"/>
              </a:rPr>
              <a:t> </a:t>
            </a:r>
            <a:r>
              <a:rPr lang="en-US" sz="800" spc="-40" dirty="0">
                <a:solidFill>
                  <a:srgbClr val="000C20"/>
                </a:solidFill>
                <a:latin typeface="+mj-lt"/>
              </a:rPr>
              <a:t>is becoming increasingly difficult and costly due to physical and size limitations. The importance of alternative performance improvements is being highlighted by the limitations of Moore's Law:</a:t>
            </a:r>
          </a:p>
          <a:p>
            <a:endParaRPr lang="en-US" sz="800" spc="-40" dirty="0">
              <a:solidFill>
                <a:srgbClr val="000C20"/>
              </a:solidFill>
              <a:latin typeface="+mj-lt"/>
            </a:endParaRPr>
          </a:p>
          <a:p>
            <a:pPr marL="171450" indent="-171450">
              <a:buFont typeface="Arial" panose="020B0604020202020204" pitchFamily="34" charset="0"/>
              <a:buChar char="•"/>
            </a:pPr>
            <a:r>
              <a:rPr lang="en-US" sz="800" b="1" spc="-40" dirty="0">
                <a:solidFill>
                  <a:srgbClr val="000C20"/>
                </a:solidFill>
                <a:latin typeface="+mj-lt"/>
              </a:rPr>
              <a:t>"Beyond Moore" </a:t>
            </a:r>
            <a:r>
              <a:rPr lang="en-US" sz="800" spc="-40" dirty="0">
                <a:solidFill>
                  <a:srgbClr val="000C20"/>
                </a:solidFill>
                <a:latin typeface="+mj-lt"/>
              </a:rPr>
              <a:t>refers to technologies that are not related to the scaling of transistors but rather develop computing power through innovations such as quantum technology or neuromorphic computing</a:t>
            </a:r>
          </a:p>
          <a:p>
            <a:pPr marL="171450" indent="-171450">
              <a:buFont typeface="Arial" panose="020B0604020202020204" pitchFamily="34" charset="0"/>
              <a:buChar char="•"/>
            </a:pPr>
            <a:endParaRPr lang="en-US" sz="800" spc="-40" dirty="0">
              <a:solidFill>
                <a:srgbClr val="000C20"/>
              </a:solidFill>
              <a:latin typeface="+mj-lt"/>
            </a:endParaRPr>
          </a:p>
          <a:p>
            <a:pPr marL="171450" indent="-171450">
              <a:buFont typeface="Arial" panose="020B0604020202020204" pitchFamily="34" charset="0"/>
              <a:buChar char="•"/>
            </a:pPr>
            <a:r>
              <a:rPr lang="en-US" sz="800" b="1" spc="-40" dirty="0">
                <a:solidFill>
                  <a:srgbClr val="000C20"/>
                </a:solidFill>
                <a:latin typeface="+mj-lt"/>
              </a:rPr>
              <a:t>"More Than Moore"</a:t>
            </a:r>
            <a:r>
              <a:rPr lang="en-US" sz="800" spc="-40" dirty="0">
                <a:solidFill>
                  <a:srgbClr val="000C20"/>
                </a:solidFill>
                <a:latin typeface="+mj-lt"/>
              </a:rPr>
              <a:t> (</a:t>
            </a:r>
            <a:r>
              <a:rPr lang="en-US" sz="800" spc="-40" dirty="0" err="1">
                <a:solidFill>
                  <a:srgbClr val="000C20"/>
                </a:solidFill>
                <a:latin typeface="+mj-lt"/>
              </a:rPr>
              <a:t>MtM</a:t>
            </a:r>
            <a:r>
              <a:rPr lang="en-US" sz="800" spc="-40" dirty="0">
                <a:solidFill>
                  <a:srgbClr val="000C20"/>
                </a:solidFill>
                <a:latin typeface="+mj-lt"/>
              </a:rPr>
              <a:t>) refers to the diversification of the functionality of integrated circuits, for example, through new materials and components (such as MEMS, photonics). </a:t>
            </a:r>
            <a:r>
              <a:rPr lang="en-US" sz="800" spc="-40" dirty="0" err="1">
                <a:solidFill>
                  <a:srgbClr val="000C20"/>
                </a:solidFill>
                <a:latin typeface="+mj-lt"/>
              </a:rPr>
              <a:t>MtM</a:t>
            </a:r>
            <a:r>
              <a:rPr lang="en-US" sz="800" spc="-40" dirty="0">
                <a:solidFill>
                  <a:srgbClr val="000C20"/>
                </a:solidFill>
                <a:latin typeface="+mj-lt"/>
              </a:rPr>
              <a:t> devices are designed for various industries, including automotive, telecommunications, entertainment, and energy</a:t>
            </a:r>
          </a:p>
        </p:txBody>
      </p:sp>
      <p:graphicFrame>
        <p:nvGraphicFramePr>
          <p:cNvPr id="13" name="Chart 12">
            <a:extLst>
              <a:ext uri="{FF2B5EF4-FFF2-40B4-BE49-F238E27FC236}">
                <a16:creationId xmlns:a16="http://schemas.microsoft.com/office/drawing/2014/main" id="{EDF715E0-FED9-2C5A-E580-0FA66292886A}"/>
              </a:ext>
            </a:extLst>
          </p:cNvPr>
          <p:cNvGraphicFramePr/>
          <p:nvPr>
            <p:custDataLst>
              <p:tags r:id="rId7"/>
            </p:custDataLst>
            <p:extLst>
              <p:ext uri="{D42A27DB-BD31-4B8C-83A1-F6EECF244321}">
                <p14:modId xmlns:p14="http://schemas.microsoft.com/office/powerpoint/2010/main" val="435838195"/>
              </p:ext>
            </p:extLst>
          </p:nvPr>
        </p:nvGraphicFramePr>
        <p:xfrm>
          <a:off x="1203325" y="3429000"/>
          <a:ext cx="2781300" cy="1109663"/>
        </p:xfrm>
        <a:graphic>
          <a:graphicData uri="http://schemas.openxmlformats.org/drawingml/2006/chart">
            <c:chart xmlns:c="http://schemas.openxmlformats.org/drawingml/2006/chart" xmlns:r="http://schemas.openxmlformats.org/officeDocument/2006/relationships" r:id="rId97"/>
          </a:graphicData>
        </a:graphic>
      </p:graphicFrame>
      <p:sp>
        <p:nvSpPr>
          <p:cNvPr id="15" name="Text Placeholder 3">
            <a:extLst>
              <a:ext uri="{FF2B5EF4-FFF2-40B4-BE49-F238E27FC236}">
                <a16:creationId xmlns:a16="http://schemas.microsoft.com/office/drawing/2014/main" id="{7D9C0861-AE06-53FA-92EC-0BEFE2F70AFE}"/>
              </a:ext>
            </a:extLst>
          </p:cNvPr>
          <p:cNvSpPr>
            <a:spLocks noGrp="1"/>
          </p:cNvSpPr>
          <p:nvPr>
            <p:custDataLst>
              <p:tags r:id="rId8"/>
            </p:custDataLst>
          </p:nvPr>
        </p:nvSpPr>
        <p:spPr bwMode="gray">
          <a:xfrm>
            <a:off x="2179638" y="4475163"/>
            <a:ext cx="196850"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D1F509C-B4E4-4430-80AE-C2D439979074}" type="datetime'''1''''''''''''9''''''''''''''''''''''''9''''0'''''''''">
              <a:rPr kumimoji="0" lang="en-US" altLang="en-US" sz="600" smtClean="0">
                <a:ea typeface="+mj-ea"/>
                <a:cs typeface="+mj-cs"/>
              </a:rPr>
              <a:pPr algn="ctr">
                <a:spcBef>
                  <a:spcPct val="0"/>
                </a:spcBef>
                <a:spcAft>
                  <a:spcPct val="0"/>
                </a:spcAft>
              </a:pPr>
              <a:t>1990</a:t>
            </a:fld>
            <a:endParaRPr kumimoji="0" lang="en-US" sz="600">
              <a:ea typeface="+mj-ea"/>
              <a:cs typeface="+mj-cs"/>
            </a:endParaRPr>
          </a:p>
        </p:txBody>
      </p:sp>
      <p:sp>
        <p:nvSpPr>
          <p:cNvPr id="16" name="Text Placeholder 3">
            <a:extLst>
              <a:ext uri="{FF2B5EF4-FFF2-40B4-BE49-F238E27FC236}">
                <a16:creationId xmlns:a16="http://schemas.microsoft.com/office/drawing/2014/main" id="{7EE98975-ACF9-60EA-7A8D-4F86FAC6CC37}"/>
              </a:ext>
            </a:extLst>
          </p:cNvPr>
          <p:cNvSpPr>
            <a:spLocks noGrp="1"/>
          </p:cNvSpPr>
          <p:nvPr>
            <p:custDataLst>
              <p:tags r:id="rId9"/>
            </p:custDataLst>
          </p:nvPr>
        </p:nvSpPr>
        <p:spPr bwMode="gray">
          <a:xfrm>
            <a:off x="2687638" y="4475163"/>
            <a:ext cx="196850"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CD85530-971B-44B3-B60F-1672593FD5F0}" type="datetime'''''20''''''0''''''''0'''''''''''''''''''''''">
              <a:rPr kumimoji="0" lang="en-US" altLang="en-US" sz="600" smtClean="0">
                <a:ea typeface="+mj-ea"/>
                <a:cs typeface="+mj-cs"/>
              </a:rPr>
              <a:pPr algn="ctr">
                <a:spcBef>
                  <a:spcPct val="0"/>
                </a:spcBef>
                <a:spcAft>
                  <a:spcPct val="0"/>
                </a:spcAft>
              </a:pPr>
              <a:t>2000</a:t>
            </a:fld>
            <a:endParaRPr kumimoji="0" lang="en-US" sz="600">
              <a:ea typeface="+mj-ea"/>
              <a:cs typeface="+mj-cs"/>
            </a:endParaRPr>
          </a:p>
        </p:txBody>
      </p:sp>
      <p:sp>
        <p:nvSpPr>
          <p:cNvPr id="17" name="Text Placeholder 3">
            <a:extLst>
              <a:ext uri="{FF2B5EF4-FFF2-40B4-BE49-F238E27FC236}">
                <a16:creationId xmlns:a16="http://schemas.microsoft.com/office/drawing/2014/main" id="{20CBCBEC-C02C-210C-82F7-12C0821CC5C4}"/>
              </a:ext>
            </a:extLst>
          </p:cNvPr>
          <p:cNvSpPr>
            <a:spLocks noGrp="1"/>
          </p:cNvSpPr>
          <p:nvPr>
            <p:custDataLst>
              <p:tags r:id="rId10"/>
            </p:custDataLst>
          </p:nvPr>
        </p:nvSpPr>
        <p:spPr bwMode="gray">
          <a:xfrm>
            <a:off x="3195638" y="4475163"/>
            <a:ext cx="196850"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1D2C211-9C30-4219-A08F-ECF470B8152A}" type="datetime'''''''''''''''2''''''''''''''''''''0''''''1''''''''0'">
              <a:rPr kumimoji="0" lang="en-US" altLang="en-US" sz="600" smtClean="0">
                <a:ea typeface="+mj-ea"/>
                <a:cs typeface="+mj-cs"/>
              </a:rPr>
              <a:pPr algn="ctr">
                <a:spcBef>
                  <a:spcPct val="0"/>
                </a:spcBef>
                <a:spcAft>
                  <a:spcPct val="0"/>
                </a:spcAft>
              </a:pPr>
              <a:t>2010</a:t>
            </a:fld>
            <a:endParaRPr kumimoji="0" lang="en-US" sz="600">
              <a:ea typeface="+mj-ea"/>
              <a:cs typeface="+mj-cs"/>
            </a:endParaRPr>
          </a:p>
        </p:txBody>
      </p:sp>
      <p:sp>
        <p:nvSpPr>
          <p:cNvPr id="18" name="Text Placeholder 3">
            <a:extLst>
              <a:ext uri="{FF2B5EF4-FFF2-40B4-BE49-F238E27FC236}">
                <a16:creationId xmlns:a16="http://schemas.microsoft.com/office/drawing/2014/main" id="{21296A22-1473-7F56-FACA-1CB8E5B11E4C}"/>
              </a:ext>
            </a:extLst>
          </p:cNvPr>
          <p:cNvSpPr>
            <a:spLocks noGrp="1"/>
          </p:cNvSpPr>
          <p:nvPr>
            <p:custDataLst>
              <p:tags r:id="rId11"/>
            </p:custDataLst>
          </p:nvPr>
        </p:nvSpPr>
        <p:spPr bwMode="gray">
          <a:xfrm>
            <a:off x="3702050" y="4475163"/>
            <a:ext cx="196850"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C25E67E-DBC4-4781-8C65-9561DC9383F5}" type="datetime'''''''''''''2''''''''''''''''''''''''0''''''''''20'">
              <a:rPr kumimoji="0" lang="en-US" altLang="en-US" sz="600" smtClean="0">
                <a:ea typeface="+mj-ea"/>
                <a:cs typeface="+mj-cs"/>
              </a:rPr>
              <a:pPr algn="ctr">
                <a:spcBef>
                  <a:spcPct val="0"/>
                </a:spcBef>
                <a:spcAft>
                  <a:spcPct val="0"/>
                </a:spcAft>
              </a:pPr>
              <a:t>2020</a:t>
            </a:fld>
            <a:endParaRPr kumimoji="0" lang="en-US" sz="600">
              <a:ea typeface="+mj-ea"/>
              <a:cs typeface="+mj-cs"/>
            </a:endParaRPr>
          </a:p>
        </p:txBody>
      </p:sp>
      <p:sp>
        <p:nvSpPr>
          <p:cNvPr id="14" name="Text Placeholder 3">
            <a:extLst>
              <a:ext uri="{FF2B5EF4-FFF2-40B4-BE49-F238E27FC236}">
                <a16:creationId xmlns:a16="http://schemas.microsoft.com/office/drawing/2014/main" id="{042DD343-6B62-B921-B582-087610584A52}"/>
              </a:ext>
            </a:extLst>
          </p:cNvPr>
          <p:cNvSpPr>
            <a:spLocks noGrp="1"/>
          </p:cNvSpPr>
          <p:nvPr>
            <p:custDataLst>
              <p:tags r:id="rId12"/>
            </p:custDataLst>
          </p:nvPr>
        </p:nvSpPr>
        <p:spPr bwMode="gray">
          <a:xfrm>
            <a:off x="1673225" y="4475163"/>
            <a:ext cx="196850"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9C2AB60-C9BE-4860-BAC3-21A5CCEBB16E}" type="datetime'1''''''''''''''''''''''''''''9''''''80'''''''''''''''''''''''">
              <a:rPr kumimoji="0" lang="en-US" altLang="en-US" sz="600" smtClean="0">
                <a:ea typeface="+mj-ea"/>
                <a:cs typeface="+mj-cs"/>
              </a:rPr>
              <a:pPr algn="ctr">
                <a:spcBef>
                  <a:spcPct val="0"/>
                </a:spcBef>
                <a:spcAft>
                  <a:spcPct val="0"/>
                </a:spcAft>
              </a:pPr>
              <a:t>1980</a:t>
            </a:fld>
            <a:endParaRPr kumimoji="0" lang="en-US" sz="600">
              <a:ea typeface="+mj-ea"/>
              <a:cs typeface="+mj-cs"/>
            </a:endParaRPr>
          </a:p>
        </p:txBody>
      </p:sp>
      <p:sp>
        <p:nvSpPr>
          <p:cNvPr id="20" name="Text Placeholder 3">
            <a:extLst>
              <a:ext uri="{FF2B5EF4-FFF2-40B4-BE49-F238E27FC236}">
                <a16:creationId xmlns:a16="http://schemas.microsoft.com/office/drawing/2014/main" id="{53EB66FB-5A6E-BD62-2F8B-104E969CA30A}"/>
              </a:ext>
            </a:extLst>
          </p:cNvPr>
          <p:cNvSpPr>
            <a:spLocks noGrp="1"/>
          </p:cNvSpPr>
          <p:nvPr>
            <p:custDataLst>
              <p:tags r:id="rId13"/>
            </p:custDataLst>
          </p:nvPr>
        </p:nvSpPr>
        <p:spPr bwMode="gray">
          <a:xfrm>
            <a:off x="919163" y="4090988"/>
            <a:ext cx="315913"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kumimoji="0" lang="en-US" sz="600">
                <a:solidFill>
                  <a:srgbClr val="575757"/>
                </a:solidFill>
                <a:ea typeface="+mj-ea"/>
                <a:cs typeface="+mj-cs"/>
              </a:rPr>
              <a:t>1 Million</a:t>
            </a:r>
          </a:p>
        </p:txBody>
      </p:sp>
      <p:sp>
        <p:nvSpPr>
          <p:cNvPr id="21" name="Text Placeholder 3">
            <a:extLst>
              <a:ext uri="{FF2B5EF4-FFF2-40B4-BE49-F238E27FC236}">
                <a16:creationId xmlns:a16="http://schemas.microsoft.com/office/drawing/2014/main" id="{0075642A-7690-EDE1-68F7-01C3C22FA03C}"/>
              </a:ext>
            </a:extLst>
          </p:cNvPr>
          <p:cNvSpPr>
            <a:spLocks noGrp="1"/>
          </p:cNvSpPr>
          <p:nvPr>
            <p:custDataLst>
              <p:tags r:id="rId14"/>
            </p:custDataLst>
          </p:nvPr>
        </p:nvSpPr>
        <p:spPr bwMode="gray">
          <a:xfrm>
            <a:off x="930275" y="3775075"/>
            <a:ext cx="304800"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kumimoji="0" lang="en-US" sz="600">
                <a:solidFill>
                  <a:srgbClr val="575757"/>
                </a:solidFill>
                <a:ea typeface="+mj-ea"/>
                <a:cs typeface="+mj-cs"/>
              </a:rPr>
              <a:t>1 Billion</a:t>
            </a:r>
          </a:p>
        </p:txBody>
      </p:sp>
      <p:sp>
        <p:nvSpPr>
          <p:cNvPr id="22" name="Text Placeholder 3">
            <a:extLst>
              <a:ext uri="{FF2B5EF4-FFF2-40B4-BE49-F238E27FC236}">
                <a16:creationId xmlns:a16="http://schemas.microsoft.com/office/drawing/2014/main" id="{7DF98394-00F8-44C9-554D-90022B99CCD5}"/>
              </a:ext>
            </a:extLst>
          </p:cNvPr>
          <p:cNvSpPr>
            <a:spLocks noGrp="1"/>
          </p:cNvSpPr>
          <p:nvPr>
            <p:custDataLst>
              <p:tags r:id="rId15"/>
            </p:custDataLst>
          </p:nvPr>
        </p:nvSpPr>
        <p:spPr bwMode="gray">
          <a:xfrm>
            <a:off x="831850" y="3460750"/>
            <a:ext cx="403225"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kumimoji="0" lang="en-US" sz="600">
                <a:solidFill>
                  <a:srgbClr val="575757"/>
                </a:solidFill>
                <a:ea typeface="+mj-ea"/>
                <a:cs typeface="+mj-cs"/>
              </a:rPr>
              <a:t>100 Billion</a:t>
            </a:r>
          </a:p>
        </p:txBody>
      </p:sp>
      <p:sp>
        <p:nvSpPr>
          <p:cNvPr id="19" name="Text Placeholder 3">
            <a:extLst>
              <a:ext uri="{FF2B5EF4-FFF2-40B4-BE49-F238E27FC236}">
                <a16:creationId xmlns:a16="http://schemas.microsoft.com/office/drawing/2014/main" id="{6FA4D75D-36C1-157A-E638-34FA99E7A321}"/>
              </a:ext>
            </a:extLst>
          </p:cNvPr>
          <p:cNvSpPr>
            <a:spLocks noGrp="1"/>
          </p:cNvSpPr>
          <p:nvPr>
            <p:custDataLst>
              <p:tags r:id="rId16"/>
            </p:custDataLst>
          </p:nvPr>
        </p:nvSpPr>
        <p:spPr bwMode="gray">
          <a:xfrm>
            <a:off x="788987" y="4405313"/>
            <a:ext cx="446088" cy="1000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kumimoji="1"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kumimoji="1"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kumimoji="1"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kumimoji="1" lang="en-US" sz="2400" kern="1200" baseline="0" dirty="0">
                <a:solidFill>
                  <a:schemeClr val="tx2"/>
                </a:solidFill>
                <a:latin typeface="+mn-lt"/>
                <a:ea typeface="+mn-ea"/>
                <a:cs typeface="+mn-cs"/>
                <a:sym typeface="Trebuchet MS" panose="020B0603020202020204" pitchFamily="34" charset="0"/>
              </a:defRPr>
            </a:lvl9pPr>
          </a:lstStyle>
          <a:p>
            <a:pPr algn="r">
              <a:spcBef>
                <a:spcPct val="0"/>
              </a:spcBef>
              <a:spcAft>
                <a:spcPct val="0"/>
              </a:spcAft>
            </a:pPr>
            <a:r>
              <a:rPr kumimoji="0" lang="en-US" sz="600">
                <a:solidFill>
                  <a:srgbClr val="575757"/>
                </a:solidFill>
                <a:ea typeface="+mj-ea"/>
                <a:cs typeface="+mj-cs"/>
              </a:rPr>
              <a:t>1 Thousand</a:t>
            </a:r>
          </a:p>
        </p:txBody>
      </p:sp>
      <p:cxnSp>
        <p:nvCxnSpPr>
          <p:cNvPr id="23" name="Straight Connector 22">
            <a:extLst>
              <a:ext uri="{FF2B5EF4-FFF2-40B4-BE49-F238E27FC236}">
                <a16:creationId xmlns:a16="http://schemas.microsoft.com/office/drawing/2014/main" id="{002FE36B-C6D1-798C-E926-2E8B3CFB926D}"/>
              </a:ext>
            </a:extLst>
          </p:cNvPr>
          <p:cNvCxnSpPr/>
          <p:nvPr>
            <p:custDataLst>
              <p:tags r:id="rId17"/>
            </p:custDataLst>
          </p:nvPr>
        </p:nvCxnSpPr>
        <p:spPr bwMode="gray">
          <a:xfrm flipV="1">
            <a:off x="1285875" y="3633787"/>
            <a:ext cx="2614613" cy="820738"/>
          </a:xfrm>
          <a:prstGeom prst="line">
            <a:avLst/>
          </a:prstGeom>
          <a:ln w="19050" cap="flat" cmpd="sng" algn="ctr">
            <a:solidFill>
              <a:srgbClr val="60DB65"/>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A45F945A-6A24-C366-4F58-34061E6914B7}"/>
              </a:ext>
            </a:extLst>
          </p:cNvPr>
          <p:cNvSpPr txBox="1"/>
          <p:nvPr/>
        </p:nvSpPr>
        <p:spPr>
          <a:xfrm>
            <a:off x="530226" y="3179997"/>
            <a:ext cx="3999833" cy="195814"/>
          </a:xfrm>
          <a:prstGeom prst="rect">
            <a:avLst/>
          </a:prstGeom>
          <a:noFill/>
        </p:spPr>
        <p:txBody>
          <a:bodyPr wrap="square" lIns="36000" tIns="36000" rIns="36000" bIns="36000" rtlCol="0">
            <a:spAutoFit/>
          </a:bodyPr>
          <a:lstStyle>
            <a:defPPr>
              <a:defRPr lang="fi-FI"/>
            </a:defPPr>
            <a:lvl1pPr>
              <a:defRPr sz="800" b="1" spc="-40">
                <a:solidFill>
                  <a:srgbClr val="000C20"/>
                </a:solidFill>
                <a:latin typeface="+mj-lt"/>
              </a:defRPr>
            </a:lvl1pPr>
          </a:lstStyle>
          <a:p>
            <a:r>
              <a:rPr lang="en-US"/>
              <a:t>Moore's Law:  Number of transistors in chips has doubled every two years</a:t>
            </a:r>
          </a:p>
        </p:txBody>
      </p:sp>
      <p:graphicFrame>
        <p:nvGraphicFramePr>
          <p:cNvPr id="112" name="Chart 111">
            <a:extLst>
              <a:ext uri="{FF2B5EF4-FFF2-40B4-BE49-F238E27FC236}">
                <a16:creationId xmlns:a16="http://schemas.microsoft.com/office/drawing/2014/main" id="{7C562420-FB18-6FF1-DE68-900219FDB7F3}"/>
              </a:ext>
            </a:extLst>
          </p:cNvPr>
          <p:cNvGraphicFramePr/>
          <p:nvPr>
            <p:custDataLst>
              <p:tags r:id="rId18"/>
            </p:custDataLst>
            <p:extLst>
              <p:ext uri="{D42A27DB-BD31-4B8C-83A1-F6EECF244321}">
                <p14:modId xmlns:p14="http://schemas.microsoft.com/office/powerpoint/2010/main" val="2683687739"/>
              </p:ext>
            </p:extLst>
          </p:nvPr>
        </p:nvGraphicFramePr>
        <p:xfrm>
          <a:off x="5148263" y="1943100"/>
          <a:ext cx="2554287" cy="2595563"/>
        </p:xfrm>
        <a:graphic>
          <a:graphicData uri="http://schemas.openxmlformats.org/drawingml/2006/chart">
            <c:chart xmlns:c="http://schemas.openxmlformats.org/drawingml/2006/chart" xmlns:r="http://schemas.openxmlformats.org/officeDocument/2006/relationships" r:id="rId98"/>
          </a:graphicData>
        </a:graphic>
      </p:graphicFrame>
      <p:sp>
        <p:nvSpPr>
          <p:cNvPr id="27" name="Tekstin paikkamerkki 3">
            <a:extLst>
              <a:ext uri="{FF2B5EF4-FFF2-40B4-BE49-F238E27FC236}">
                <a16:creationId xmlns:a16="http://schemas.microsoft.com/office/drawing/2014/main" id="{1AD693D0-35F9-41A2-BC6D-7EC121F69963}"/>
              </a:ext>
            </a:extLst>
          </p:cNvPr>
          <p:cNvSpPr>
            <a:spLocks noGrp="1"/>
          </p:cNvSpPr>
          <p:nvPr>
            <p:custDataLst>
              <p:tags r:id="rId19"/>
            </p:custDataLst>
          </p:nvPr>
        </p:nvSpPr>
        <p:spPr bwMode="gray">
          <a:xfrm>
            <a:off x="5006975" y="4165600"/>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E29CE7D8-BFF0-4AB5-801D-B893D172F95D}" type="datetime'''''''''1''''''''''''''''''''''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100</a:t>
            </a:fld>
            <a:endParaRPr lang="en-US" sz="600" spc="0">
              <a:latin typeface="+mn-lt"/>
              <a:ea typeface="+mj-ea"/>
              <a:cs typeface="+mj-cs"/>
              <a:sym typeface="Arial" panose="020B0604020202020204" pitchFamily="34" charset="0"/>
            </a:endParaRPr>
          </a:p>
        </p:txBody>
      </p:sp>
      <p:sp>
        <p:nvSpPr>
          <p:cNvPr id="28" name="Tekstin paikkamerkki 3">
            <a:extLst>
              <a:ext uri="{FF2B5EF4-FFF2-40B4-BE49-F238E27FC236}">
                <a16:creationId xmlns:a16="http://schemas.microsoft.com/office/drawing/2014/main" id="{BBADFD8D-4D40-7D6D-5429-A631B375E464}"/>
              </a:ext>
            </a:extLst>
          </p:cNvPr>
          <p:cNvSpPr>
            <a:spLocks noGrp="1"/>
          </p:cNvSpPr>
          <p:nvPr>
            <p:custDataLst>
              <p:tags r:id="rId20"/>
            </p:custDataLst>
          </p:nvPr>
        </p:nvSpPr>
        <p:spPr bwMode="gray">
          <a:xfrm>
            <a:off x="5006975" y="3922713"/>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222223BE-A117-4301-858F-6D7283FDBE2E}" type="datetime'''''''''''''''''''''''''2''''''''''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200</a:t>
            </a:fld>
            <a:endParaRPr lang="en-US" sz="600" spc="0">
              <a:latin typeface="+mn-lt"/>
              <a:ea typeface="+mj-ea"/>
              <a:cs typeface="+mj-cs"/>
              <a:sym typeface="Arial" panose="020B0604020202020204" pitchFamily="34" charset="0"/>
            </a:endParaRPr>
          </a:p>
        </p:txBody>
      </p:sp>
      <p:sp>
        <p:nvSpPr>
          <p:cNvPr id="29" name="Tekstin paikkamerkki 3">
            <a:extLst>
              <a:ext uri="{FF2B5EF4-FFF2-40B4-BE49-F238E27FC236}">
                <a16:creationId xmlns:a16="http://schemas.microsoft.com/office/drawing/2014/main" id="{C8BCCA10-D4A7-8D35-8411-7BFA4512619D}"/>
              </a:ext>
            </a:extLst>
          </p:cNvPr>
          <p:cNvSpPr>
            <a:spLocks noGrp="1"/>
          </p:cNvSpPr>
          <p:nvPr>
            <p:custDataLst>
              <p:tags r:id="rId21"/>
            </p:custDataLst>
          </p:nvPr>
        </p:nvSpPr>
        <p:spPr bwMode="gray">
          <a:xfrm>
            <a:off x="5006975" y="3679825"/>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482A8315-B497-451E-90C6-4C9B64E78769}" type="datetime'3''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300</a:t>
            </a:fld>
            <a:endParaRPr lang="en-US" sz="600" spc="0">
              <a:latin typeface="+mn-lt"/>
              <a:ea typeface="+mj-ea"/>
              <a:cs typeface="+mj-cs"/>
              <a:sym typeface="Arial" panose="020B0604020202020204" pitchFamily="34" charset="0"/>
            </a:endParaRPr>
          </a:p>
        </p:txBody>
      </p:sp>
      <p:sp>
        <p:nvSpPr>
          <p:cNvPr id="30" name="Tekstin paikkamerkki 3">
            <a:extLst>
              <a:ext uri="{FF2B5EF4-FFF2-40B4-BE49-F238E27FC236}">
                <a16:creationId xmlns:a16="http://schemas.microsoft.com/office/drawing/2014/main" id="{981184D8-D7DD-E55C-E318-91D5BA7615E9}"/>
              </a:ext>
            </a:extLst>
          </p:cNvPr>
          <p:cNvSpPr>
            <a:spLocks noGrp="1"/>
          </p:cNvSpPr>
          <p:nvPr>
            <p:custDataLst>
              <p:tags r:id="rId22"/>
            </p:custDataLst>
          </p:nvPr>
        </p:nvSpPr>
        <p:spPr bwMode="gray">
          <a:xfrm>
            <a:off x="5006975" y="3436938"/>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45848EBD-2B3B-44B1-857F-73BF152B40E0}" type="datetime'''''''''''4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400</a:t>
            </a:fld>
            <a:endParaRPr lang="en-US" sz="600" spc="0">
              <a:latin typeface="+mn-lt"/>
              <a:ea typeface="+mj-ea"/>
              <a:cs typeface="+mj-cs"/>
              <a:sym typeface="Arial" panose="020B0604020202020204" pitchFamily="34" charset="0"/>
            </a:endParaRPr>
          </a:p>
        </p:txBody>
      </p:sp>
      <p:sp>
        <p:nvSpPr>
          <p:cNvPr id="31" name="Tekstin paikkamerkki 3">
            <a:extLst>
              <a:ext uri="{FF2B5EF4-FFF2-40B4-BE49-F238E27FC236}">
                <a16:creationId xmlns:a16="http://schemas.microsoft.com/office/drawing/2014/main" id="{6B27CC7B-ED07-71A5-912F-1A8560921E65}"/>
              </a:ext>
            </a:extLst>
          </p:cNvPr>
          <p:cNvSpPr>
            <a:spLocks noGrp="1"/>
          </p:cNvSpPr>
          <p:nvPr>
            <p:custDataLst>
              <p:tags r:id="rId23"/>
            </p:custDataLst>
          </p:nvPr>
        </p:nvSpPr>
        <p:spPr bwMode="gray">
          <a:xfrm>
            <a:off x="5006975" y="3194050"/>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89B28EF3-7434-49BD-912B-B9C7015FE292}" type="datetime'''''''''''''''''''''5''''''''''''''''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500</a:t>
            </a:fld>
            <a:endParaRPr lang="en-US" sz="600" spc="0">
              <a:latin typeface="+mn-lt"/>
              <a:ea typeface="+mj-ea"/>
              <a:cs typeface="+mj-cs"/>
              <a:sym typeface="Arial" panose="020B0604020202020204" pitchFamily="34" charset="0"/>
            </a:endParaRPr>
          </a:p>
        </p:txBody>
      </p:sp>
      <p:sp>
        <p:nvSpPr>
          <p:cNvPr id="32" name="Tekstin paikkamerkki 3">
            <a:extLst>
              <a:ext uri="{FF2B5EF4-FFF2-40B4-BE49-F238E27FC236}">
                <a16:creationId xmlns:a16="http://schemas.microsoft.com/office/drawing/2014/main" id="{30BFB511-3FE8-5200-979E-3C4AD1BB2FB4}"/>
              </a:ext>
            </a:extLst>
          </p:cNvPr>
          <p:cNvSpPr>
            <a:spLocks noGrp="1"/>
          </p:cNvSpPr>
          <p:nvPr>
            <p:custDataLst>
              <p:tags r:id="rId24"/>
            </p:custDataLst>
          </p:nvPr>
        </p:nvSpPr>
        <p:spPr bwMode="gray">
          <a:xfrm>
            <a:off x="5006975" y="2949575"/>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CD84CFF2-4BE5-4A2A-91A1-496963E7AAFA}" type="datetime'''''''''6''''''''''''''''''''''''''''''''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600</a:t>
            </a:fld>
            <a:endParaRPr lang="en-US" sz="600" spc="0">
              <a:latin typeface="+mn-lt"/>
              <a:ea typeface="+mj-ea"/>
              <a:cs typeface="+mj-cs"/>
              <a:sym typeface="Arial" panose="020B0604020202020204" pitchFamily="34" charset="0"/>
            </a:endParaRPr>
          </a:p>
        </p:txBody>
      </p:sp>
      <p:sp>
        <p:nvSpPr>
          <p:cNvPr id="33" name="Tekstin paikkamerkki 3">
            <a:extLst>
              <a:ext uri="{FF2B5EF4-FFF2-40B4-BE49-F238E27FC236}">
                <a16:creationId xmlns:a16="http://schemas.microsoft.com/office/drawing/2014/main" id="{2E9EF003-9908-D7E6-D0D3-91EAB0667C3E}"/>
              </a:ext>
            </a:extLst>
          </p:cNvPr>
          <p:cNvSpPr>
            <a:spLocks noGrp="1"/>
          </p:cNvSpPr>
          <p:nvPr>
            <p:custDataLst>
              <p:tags r:id="rId25"/>
            </p:custDataLst>
          </p:nvPr>
        </p:nvSpPr>
        <p:spPr bwMode="gray">
          <a:xfrm>
            <a:off x="5006975" y="2706688"/>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68A0807C-1CB7-4040-9EE8-318009A489F4}" type="datetime'''''''''7''''''''''''''''''''''''''''''''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700</a:t>
            </a:fld>
            <a:endParaRPr lang="en-US" sz="600" spc="0">
              <a:latin typeface="+mn-lt"/>
              <a:ea typeface="+mj-ea"/>
              <a:cs typeface="+mj-cs"/>
              <a:sym typeface="Arial" panose="020B0604020202020204" pitchFamily="34" charset="0"/>
            </a:endParaRPr>
          </a:p>
        </p:txBody>
      </p:sp>
      <p:sp>
        <p:nvSpPr>
          <p:cNvPr id="34" name="Tekstin paikkamerkki 3">
            <a:extLst>
              <a:ext uri="{FF2B5EF4-FFF2-40B4-BE49-F238E27FC236}">
                <a16:creationId xmlns:a16="http://schemas.microsoft.com/office/drawing/2014/main" id="{6A1C4E45-74E8-6558-3070-8A1BB63E7B63}"/>
              </a:ext>
            </a:extLst>
          </p:cNvPr>
          <p:cNvSpPr>
            <a:spLocks noGrp="1"/>
          </p:cNvSpPr>
          <p:nvPr>
            <p:custDataLst>
              <p:tags r:id="rId26"/>
            </p:custDataLst>
          </p:nvPr>
        </p:nvSpPr>
        <p:spPr bwMode="gray">
          <a:xfrm>
            <a:off x="5006975" y="2463800"/>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58CBEA05-4A8F-4B1F-9867-8FC5A4C42080}" type="datetime'''''''''''''''''''8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800</a:t>
            </a:fld>
            <a:endParaRPr lang="en-US" sz="600" spc="0">
              <a:latin typeface="+mn-lt"/>
              <a:ea typeface="+mj-ea"/>
              <a:cs typeface="+mj-cs"/>
              <a:sym typeface="Arial" panose="020B0604020202020204" pitchFamily="34" charset="0"/>
            </a:endParaRPr>
          </a:p>
        </p:txBody>
      </p:sp>
      <p:sp>
        <p:nvSpPr>
          <p:cNvPr id="35" name="Tekstin paikkamerkki 3">
            <a:extLst>
              <a:ext uri="{FF2B5EF4-FFF2-40B4-BE49-F238E27FC236}">
                <a16:creationId xmlns:a16="http://schemas.microsoft.com/office/drawing/2014/main" id="{2DB89FBB-1679-B05B-3118-780FABA99724}"/>
              </a:ext>
            </a:extLst>
          </p:cNvPr>
          <p:cNvSpPr>
            <a:spLocks noGrp="1"/>
          </p:cNvSpPr>
          <p:nvPr>
            <p:custDataLst>
              <p:tags r:id="rId27"/>
            </p:custDataLst>
          </p:nvPr>
        </p:nvSpPr>
        <p:spPr bwMode="gray">
          <a:xfrm>
            <a:off x="5006975" y="2220913"/>
            <a:ext cx="1476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76C72FDD-E101-4F28-A5D1-CD06765EBCD3}" type="datetime'''''''''''''''''''''''''''''''''''''''''9''''''''''''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900</a:t>
            </a:fld>
            <a:endParaRPr lang="en-US" sz="600" spc="0">
              <a:latin typeface="+mn-lt"/>
              <a:ea typeface="+mj-ea"/>
              <a:cs typeface="+mj-cs"/>
              <a:sym typeface="Arial" panose="020B0604020202020204" pitchFamily="34" charset="0"/>
            </a:endParaRPr>
          </a:p>
        </p:txBody>
      </p:sp>
      <p:sp>
        <p:nvSpPr>
          <p:cNvPr id="36" name="Tekstin paikkamerkki 3">
            <a:extLst>
              <a:ext uri="{FF2B5EF4-FFF2-40B4-BE49-F238E27FC236}">
                <a16:creationId xmlns:a16="http://schemas.microsoft.com/office/drawing/2014/main" id="{4AC12EE4-AAE0-600C-5B34-A2D1A5622BAE}"/>
              </a:ext>
            </a:extLst>
          </p:cNvPr>
          <p:cNvSpPr>
            <a:spLocks noGrp="1"/>
          </p:cNvSpPr>
          <p:nvPr>
            <p:custDataLst>
              <p:tags r:id="rId28"/>
            </p:custDataLst>
          </p:nvPr>
        </p:nvSpPr>
        <p:spPr bwMode="gray">
          <a:xfrm>
            <a:off x="4930775" y="1978025"/>
            <a:ext cx="22383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r">
              <a:lnSpc>
                <a:spcPct val="104250"/>
              </a:lnSpc>
              <a:spcBef>
                <a:spcPct val="0"/>
              </a:spcBef>
              <a:spcAft>
                <a:spcPct val="0"/>
              </a:spcAft>
              <a:buNone/>
            </a:pPr>
            <a:fld id="{A1F98629-3D38-4AA3-B197-920D96EB30D9}" type="datetime'1'''',0''''''''''''0''''''''''''''''''0'''">
              <a:rPr lang="en-US" altLang="en-US" sz="600" spc="0" smtClean="0">
                <a:latin typeface="+mn-lt"/>
                <a:ea typeface="+mj-ea"/>
                <a:cs typeface="+mj-cs"/>
                <a:sym typeface="Arial" panose="020B0604020202020204" pitchFamily="34" charset="0"/>
              </a:rPr>
              <a:pPr marL="0" lvl="0" indent="0" algn="r">
                <a:lnSpc>
                  <a:spcPct val="104250"/>
                </a:lnSpc>
                <a:spcBef>
                  <a:spcPct val="0"/>
                </a:spcBef>
                <a:spcAft>
                  <a:spcPct val="0"/>
                </a:spcAft>
                <a:buNone/>
              </a:pPr>
              <a:t>1,000</a:t>
            </a:fld>
            <a:endParaRPr lang="en-US" sz="600" spc="0">
              <a:latin typeface="+mn-lt"/>
              <a:ea typeface="+mj-ea"/>
              <a:cs typeface="+mj-cs"/>
              <a:sym typeface="Arial" panose="020B0604020202020204" pitchFamily="34" charset="0"/>
            </a:endParaRPr>
          </a:p>
        </p:txBody>
      </p:sp>
      <p:sp>
        <p:nvSpPr>
          <p:cNvPr id="26" name="Text Placeholder 3">
            <a:extLst>
              <a:ext uri="{FF2B5EF4-FFF2-40B4-BE49-F238E27FC236}">
                <a16:creationId xmlns:a16="http://schemas.microsoft.com/office/drawing/2014/main" id="{DE7E6193-0153-E1A0-489A-602DAA1F76BA}"/>
              </a:ext>
            </a:extLst>
          </p:cNvPr>
          <p:cNvSpPr>
            <a:spLocks noGrp="1"/>
          </p:cNvSpPr>
          <p:nvPr>
            <p:custDataLst>
              <p:tags r:id="rId29"/>
            </p:custDataLst>
          </p:nvPr>
        </p:nvSpPr>
        <p:spPr bwMode="gray">
          <a:xfrm>
            <a:off x="5105400" y="4410075"/>
            <a:ext cx="49213" cy="920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fld id="{D2270CDA-E52B-4326-BD93-874CED5BD32D}" type="datetime'''''''''''''''''''''''''''''''''''''''''''''''0'''''''''''">
              <a:rPr lang="en-US" altLang="en-US" sz="600" smtClean="0">
                <a:ea typeface="+mj-ea"/>
                <a:cs typeface="+mj-cs"/>
                <a:sym typeface="Arial" panose="020B0604020202020204" pitchFamily="34" charset="0"/>
              </a:rPr>
              <a:pPr algn="r">
                <a:lnSpc>
                  <a:spcPct val="100000"/>
                </a:lnSpc>
                <a:spcBef>
                  <a:spcPct val="0"/>
                </a:spcBef>
                <a:spcAft>
                  <a:spcPct val="0"/>
                </a:spcAft>
              </a:pPr>
              <a:t>0</a:t>
            </a:fld>
            <a:endParaRPr lang="en-US" sz="600">
              <a:ea typeface="+mj-ea"/>
              <a:cs typeface="+mj-cs"/>
              <a:sym typeface="Arial" panose="020B0604020202020204" pitchFamily="34" charset="0"/>
            </a:endParaRPr>
          </a:p>
        </p:txBody>
      </p:sp>
      <p:sp useBgFill="1">
        <p:nvSpPr>
          <p:cNvPr id="39" name="Freeform 38">
            <a:extLst>
              <a:ext uri="{FF2B5EF4-FFF2-40B4-BE49-F238E27FC236}">
                <a16:creationId xmlns:a16="http://schemas.microsoft.com/office/drawing/2014/main" id="{B6E2D4B8-ACD8-D66E-C01A-15484A87A448}"/>
              </a:ext>
            </a:extLst>
          </p:cNvPr>
          <p:cNvSpPr/>
          <p:nvPr>
            <p:custDataLst>
              <p:tags r:id="rId30"/>
            </p:custDataLst>
          </p:nvPr>
        </p:nvSpPr>
        <p:spPr bwMode="gray">
          <a:xfrm>
            <a:off x="7173913" y="4383088"/>
            <a:ext cx="96838" cy="146051"/>
          </a:xfrm>
          <a:custGeom>
            <a:avLst/>
            <a:gdLst/>
            <a:ahLst/>
            <a:cxnLst/>
            <a:rect l="0" t="0" r="0" b="0"/>
            <a:pathLst>
              <a:path w="96838" h="146051">
                <a:moveTo>
                  <a:pt x="96837" y="0"/>
                </a:moveTo>
                <a:lnTo>
                  <a:pt x="57150" y="146050"/>
                </a:lnTo>
                <a:lnTo>
                  <a:pt x="0" y="146050"/>
                </a:lnTo>
                <a:lnTo>
                  <a:pt x="39687" y="0"/>
                </a:lnTo>
                <a:close/>
              </a:path>
            </a:pathLst>
          </a:custGeom>
          <a:ln>
            <a:noFill/>
          </a:ln>
          <a:effectLst/>
        </p:spPr>
        <p:txBody>
          <a:bodyPr vert="horz" wrap="square" lIns="91440" tIns="45720" rIns="91440" bIns="45720" numCol="1" rtlCol="0" anchor="t" anchorCtr="0" compatLnSpc="1">
            <a:prstTxWarp prst="textNoShape">
              <a:avLst/>
            </a:prstTxWarp>
          </a:bodyPr>
          <a:lstStyle/>
          <a:p>
            <a:pPr algn="ctr"/>
            <a:endParaRPr lang="en-US"/>
          </a:p>
        </p:txBody>
      </p:sp>
      <p:sp>
        <p:nvSpPr>
          <p:cNvPr id="37" name="Freeform 36">
            <a:extLst>
              <a:ext uri="{FF2B5EF4-FFF2-40B4-BE49-F238E27FC236}">
                <a16:creationId xmlns:a16="http://schemas.microsoft.com/office/drawing/2014/main" id="{6BB1ABD0-4042-A5C4-F01A-D11F70D74201}"/>
              </a:ext>
            </a:extLst>
          </p:cNvPr>
          <p:cNvSpPr/>
          <p:nvPr>
            <p:custDataLst>
              <p:tags r:id="rId31"/>
            </p:custDataLst>
          </p:nvPr>
        </p:nvSpPr>
        <p:spPr bwMode="gray">
          <a:xfrm>
            <a:off x="7231063" y="4383088"/>
            <a:ext cx="39688" cy="146051"/>
          </a:xfrm>
          <a:custGeom>
            <a:avLst/>
            <a:gdLst/>
            <a:ahLst/>
            <a:cxnLst/>
            <a:rect l="0" t="0" r="0" b="0"/>
            <a:pathLst>
              <a:path w="39688" h="146051">
                <a:moveTo>
                  <a:pt x="39687" y="0"/>
                </a:moveTo>
                <a:lnTo>
                  <a:pt x="0" y="146050"/>
                </a:lnTo>
              </a:path>
            </a:pathLst>
          </a:custGeom>
          <a:ln w="9525" cap="flat"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5" name="Freeform 24">
            <a:extLst>
              <a:ext uri="{FF2B5EF4-FFF2-40B4-BE49-F238E27FC236}">
                <a16:creationId xmlns:a16="http://schemas.microsoft.com/office/drawing/2014/main" id="{A7A0A106-DF70-9870-3EF3-3D233ED67A84}"/>
              </a:ext>
            </a:extLst>
          </p:cNvPr>
          <p:cNvSpPr/>
          <p:nvPr>
            <p:custDataLst>
              <p:tags r:id="rId32"/>
            </p:custDataLst>
          </p:nvPr>
        </p:nvSpPr>
        <p:spPr bwMode="gray">
          <a:xfrm>
            <a:off x="7173913" y="4383088"/>
            <a:ext cx="39688" cy="146051"/>
          </a:xfrm>
          <a:custGeom>
            <a:avLst/>
            <a:gdLst/>
            <a:ahLst/>
            <a:cxnLst/>
            <a:rect l="0" t="0" r="0" b="0"/>
            <a:pathLst>
              <a:path w="39688" h="146051">
                <a:moveTo>
                  <a:pt x="39687" y="0"/>
                </a:moveTo>
                <a:lnTo>
                  <a:pt x="0" y="146050"/>
                </a:lnTo>
              </a:path>
            </a:pathLst>
          </a:custGeom>
          <a:ln w="9525" cap="flat"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42" name="Straight Connector 41">
            <a:extLst>
              <a:ext uri="{FF2B5EF4-FFF2-40B4-BE49-F238E27FC236}">
                <a16:creationId xmlns:a16="http://schemas.microsoft.com/office/drawing/2014/main" id="{A195E535-01DA-1C6E-2AAF-F66406850CEF}"/>
              </a:ext>
            </a:extLst>
          </p:cNvPr>
          <p:cNvCxnSpPr/>
          <p:nvPr>
            <p:custDataLst>
              <p:tags r:id="rId33"/>
            </p:custDataLst>
          </p:nvPr>
        </p:nvCxnSpPr>
        <p:spPr bwMode="gray">
          <a:xfrm flipV="1">
            <a:off x="6648449" y="1924050"/>
            <a:ext cx="838200" cy="411163"/>
          </a:xfrm>
          <a:prstGeom prst="line">
            <a:avLst/>
          </a:prstGeom>
          <a:ln w="9525" cap="flat" cmpd="sng" algn="ctr">
            <a:solidFill>
              <a:srgbClr val="7F7F7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cxnSp>
        <p:nvCxnSpPr>
          <p:cNvPr id="41" name="Straight Connector 40">
            <a:extLst>
              <a:ext uri="{FF2B5EF4-FFF2-40B4-BE49-F238E27FC236}">
                <a16:creationId xmlns:a16="http://schemas.microsoft.com/office/drawing/2014/main" id="{FEDE17CA-9AEE-5D92-9727-EE284FD05B14}"/>
              </a:ext>
            </a:extLst>
          </p:cNvPr>
          <p:cNvCxnSpPr/>
          <p:nvPr>
            <p:custDataLst>
              <p:tags r:id="rId34"/>
            </p:custDataLst>
          </p:nvPr>
        </p:nvCxnSpPr>
        <p:spPr bwMode="gray">
          <a:xfrm flipV="1">
            <a:off x="5627688" y="2425700"/>
            <a:ext cx="838200" cy="411163"/>
          </a:xfrm>
          <a:prstGeom prst="line">
            <a:avLst/>
          </a:prstGeom>
          <a:ln w="9525" cap="flat" cmpd="sng" algn="ctr">
            <a:solidFill>
              <a:srgbClr val="7F7F7F"/>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44" name="Text Placeholder 18">
            <a:extLst>
              <a:ext uri="{FF2B5EF4-FFF2-40B4-BE49-F238E27FC236}">
                <a16:creationId xmlns:a16="http://schemas.microsoft.com/office/drawing/2014/main" id="{2F53C558-95A0-4A38-769F-47657E73CFAB}"/>
              </a:ext>
            </a:extLst>
          </p:cNvPr>
          <p:cNvSpPr>
            <a:spLocks noGrp="1"/>
          </p:cNvSpPr>
          <p:nvPr>
            <p:custDataLst>
              <p:tags r:id="rId35"/>
            </p:custDataLst>
          </p:nvPr>
        </p:nvSpPr>
        <p:spPr bwMode="gray">
          <a:xfrm>
            <a:off x="5257800" y="4506913"/>
            <a:ext cx="209550"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AB891168-884A-4188-8144-94F8634F417E}" type="datetime'''''''''''''2''''''''''02''''''1'''''''''">
              <a:rPr lang="en-US" altLang="en-US" sz="600" b="0" smtClean="0">
                <a:solidFill>
                  <a:srgbClr val="000000"/>
                </a:solidFill>
                <a:effectLst/>
                <a:ea typeface="+mj-ea"/>
                <a:cs typeface="+mj-cs"/>
              </a:rPr>
              <a:pPr algn="ctr">
                <a:spcBef>
                  <a:spcPct val="0"/>
                </a:spcBef>
                <a:spcAft>
                  <a:spcPct val="0"/>
                </a:spcAft>
              </a:pPr>
              <a:t>2021</a:t>
            </a:fld>
            <a:endParaRPr lang="en-US" sz="600" b="0">
              <a:solidFill>
                <a:srgbClr val="000000"/>
              </a:solidFill>
              <a:ea typeface="+mj-ea"/>
              <a:cs typeface="+mj-cs"/>
              <a:sym typeface="+mn-lt"/>
            </a:endParaRPr>
          </a:p>
        </p:txBody>
      </p:sp>
      <p:sp>
        <p:nvSpPr>
          <p:cNvPr id="45" name="Tekstin paikkamerkki 3">
            <a:extLst>
              <a:ext uri="{FF2B5EF4-FFF2-40B4-BE49-F238E27FC236}">
                <a16:creationId xmlns:a16="http://schemas.microsoft.com/office/drawing/2014/main" id="{805A1461-642D-563D-1518-A73DC58BC6A5}"/>
              </a:ext>
            </a:extLst>
          </p:cNvPr>
          <p:cNvSpPr>
            <a:spLocks noGrp="1"/>
          </p:cNvSpPr>
          <p:nvPr>
            <p:custDataLst>
              <p:tags r:id="rId36"/>
            </p:custDataLst>
          </p:nvPr>
        </p:nvSpPr>
        <p:spPr bwMode="gray">
          <a:xfrm>
            <a:off x="5568950" y="3127375"/>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443E3696-5B00-4D05-AD0E-4C1F8433E3DA}" type="datetime'''''''''''''''''''''''''''''''''''''''6''2'''''''''''''''''">
              <a:rPr lang="en-US" altLang="en-US" sz="600" spc="0" smtClean="0">
                <a:latin typeface="+mn-lt"/>
                <a:ea typeface="+mj-ea"/>
                <a:cs typeface="+mj-cs"/>
              </a:rPr>
              <a:pPr marL="0" lvl="0" indent="0" algn="ctr">
                <a:lnSpc>
                  <a:spcPct val="104250"/>
                </a:lnSpc>
                <a:spcBef>
                  <a:spcPct val="0"/>
                </a:spcBef>
                <a:spcAft>
                  <a:spcPct val="0"/>
                </a:spcAft>
                <a:buNone/>
              </a:pPr>
              <a:t>62</a:t>
            </a:fld>
            <a:endParaRPr lang="en-US" sz="600" spc="0">
              <a:latin typeface="+mn-lt"/>
              <a:ea typeface="+mj-ea"/>
              <a:cs typeface="+mj-cs"/>
              <a:sym typeface="Arial" panose="020B0604020202020204" pitchFamily="34" charset="0"/>
            </a:endParaRPr>
          </a:p>
        </p:txBody>
      </p:sp>
      <p:sp>
        <p:nvSpPr>
          <p:cNvPr id="46" name="Tekstin paikkamerkki 3">
            <a:extLst>
              <a:ext uri="{FF2B5EF4-FFF2-40B4-BE49-F238E27FC236}">
                <a16:creationId xmlns:a16="http://schemas.microsoft.com/office/drawing/2014/main" id="{5EED3477-B67B-0FA6-E0C6-CA3B4D5561A4}"/>
              </a:ext>
            </a:extLst>
          </p:cNvPr>
          <p:cNvSpPr>
            <a:spLocks noGrp="1"/>
          </p:cNvSpPr>
          <p:nvPr>
            <p:custDataLst>
              <p:tags r:id="rId37"/>
            </p:custDataLst>
          </p:nvPr>
        </p:nvSpPr>
        <p:spPr bwMode="gray">
          <a:xfrm>
            <a:off x="5568950" y="3286125"/>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E9EE0511-FC84-4757-ABA7-B53591EE6A74}" type="datetime'6''''''''''''''''''''''''''''''''''''9'''''''''''''''''''''''">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69</a:t>
            </a:fld>
            <a:endParaRPr lang="en-US" sz="600" spc="0">
              <a:solidFill>
                <a:schemeClr val="bg1"/>
              </a:solidFill>
              <a:latin typeface="+mn-lt"/>
              <a:ea typeface="+mj-ea"/>
              <a:cs typeface="+mj-cs"/>
              <a:sym typeface="Arial" panose="020B0604020202020204" pitchFamily="34" charset="0"/>
            </a:endParaRPr>
          </a:p>
        </p:txBody>
      </p:sp>
      <p:sp>
        <p:nvSpPr>
          <p:cNvPr id="47" name="Tekstin paikkamerkki 3">
            <a:extLst>
              <a:ext uri="{FF2B5EF4-FFF2-40B4-BE49-F238E27FC236}">
                <a16:creationId xmlns:a16="http://schemas.microsoft.com/office/drawing/2014/main" id="{A3D86680-6949-E7B7-69B6-D46C6E9BFA1F}"/>
              </a:ext>
            </a:extLst>
          </p:cNvPr>
          <p:cNvSpPr>
            <a:spLocks noGrp="1"/>
          </p:cNvSpPr>
          <p:nvPr>
            <p:custDataLst>
              <p:tags r:id="rId38"/>
            </p:custDataLst>
          </p:nvPr>
        </p:nvSpPr>
        <p:spPr bwMode="gray">
          <a:xfrm>
            <a:off x="5568950" y="3446463"/>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0F2500F2-1A77-4E23-A3FB-BE3E6A2AEE5F}" type="datetime'6''''''''''''''''''''''''''''3'''''''">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63</a:t>
            </a:fld>
            <a:endParaRPr lang="en-US" sz="600" spc="0">
              <a:solidFill>
                <a:schemeClr val="bg1"/>
              </a:solidFill>
              <a:latin typeface="+mn-lt"/>
              <a:ea typeface="+mj-ea"/>
              <a:cs typeface="+mj-cs"/>
              <a:sym typeface="Arial" panose="020B0604020202020204" pitchFamily="34" charset="0"/>
            </a:endParaRPr>
          </a:p>
        </p:txBody>
      </p:sp>
      <p:sp>
        <p:nvSpPr>
          <p:cNvPr id="48" name="Tekstin paikkamerkki 3">
            <a:extLst>
              <a:ext uri="{FF2B5EF4-FFF2-40B4-BE49-F238E27FC236}">
                <a16:creationId xmlns:a16="http://schemas.microsoft.com/office/drawing/2014/main" id="{9D1EB512-173B-BEA9-1C49-3647099823AD}"/>
              </a:ext>
            </a:extLst>
          </p:cNvPr>
          <p:cNvSpPr>
            <a:spLocks noGrp="1"/>
          </p:cNvSpPr>
          <p:nvPr>
            <p:custDataLst>
              <p:tags r:id="rId39"/>
            </p:custDataLst>
          </p:nvPr>
        </p:nvSpPr>
        <p:spPr bwMode="gray">
          <a:xfrm>
            <a:off x="5545138" y="374015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AE9B781C-33B7-4D24-AFB7-41AE09E06BC6}" type="datetime'''''''''1''''''''''''''''''''''''''''79'''''''''">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79</a:t>
            </a:fld>
            <a:endParaRPr lang="en-US" sz="600" spc="0">
              <a:solidFill>
                <a:schemeClr val="bg1"/>
              </a:solidFill>
              <a:latin typeface="+mn-lt"/>
              <a:ea typeface="+mj-ea"/>
              <a:cs typeface="+mj-cs"/>
              <a:sym typeface="Arial" panose="020B0604020202020204" pitchFamily="34" charset="0"/>
            </a:endParaRPr>
          </a:p>
        </p:txBody>
      </p:sp>
      <p:sp>
        <p:nvSpPr>
          <p:cNvPr id="49" name="Tekstin paikkamerkki 3">
            <a:extLst>
              <a:ext uri="{FF2B5EF4-FFF2-40B4-BE49-F238E27FC236}">
                <a16:creationId xmlns:a16="http://schemas.microsoft.com/office/drawing/2014/main" id="{98BDB999-CE36-81D6-39F9-75631658FF89}"/>
              </a:ext>
            </a:extLst>
          </p:cNvPr>
          <p:cNvSpPr>
            <a:spLocks noGrp="1"/>
          </p:cNvSpPr>
          <p:nvPr>
            <p:custDataLst>
              <p:tags r:id="rId40"/>
            </p:custDataLst>
          </p:nvPr>
        </p:nvSpPr>
        <p:spPr bwMode="gray">
          <a:xfrm>
            <a:off x="5545138" y="4183063"/>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A444ED1B-428D-4C96-9583-32151FD5A8DC}" type="datetime'''''''''''''''''''''''''''''''''''''''''''''1''''''8''''5'''''">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85</a:t>
            </a:fld>
            <a:endParaRPr lang="en-US" sz="600" spc="0">
              <a:solidFill>
                <a:schemeClr val="bg1"/>
              </a:solidFill>
              <a:latin typeface="+mn-lt"/>
              <a:ea typeface="+mj-ea"/>
              <a:cs typeface="+mj-cs"/>
              <a:sym typeface="Arial" panose="020B0604020202020204" pitchFamily="34" charset="0"/>
            </a:endParaRPr>
          </a:p>
        </p:txBody>
      </p:sp>
      <p:sp>
        <p:nvSpPr>
          <p:cNvPr id="50" name="Text Placeholder 18">
            <a:extLst>
              <a:ext uri="{FF2B5EF4-FFF2-40B4-BE49-F238E27FC236}">
                <a16:creationId xmlns:a16="http://schemas.microsoft.com/office/drawing/2014/main" id="{BA4CA0EB-846C-78CD-0FC5-4BC4385A1732}"/>
              </a:ext>
            </a:extLst>
          </p:cNvPr>
          <p:cNvSpPr>
            <a:spLocks noGrp="1"/>
          </p:cNvSpPr>
          <p:nvPr>
            <p:custDataLst>
              <p:tags r:id="rId41"/>
            </p:custDataLst>
          </p:nvPr>
        </p:nvSpPr>
        <p:spPr bwMode="gray">
          <a:xfrm>
            <a:off x="5522913" y="4506913"/>
            <a:ext cx="209550"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0C189ED0-DD26-4ABC-AE3C-F2E5852134CB}" type="datetime'''''''''''''''2''''''''''''02''2'''''''''''''''''''''">
              <a:rPr lang="en-US" altLang="en-US" sz="600" b="0" smtClean="0">
                <a:solidFill>
                  <a:srgbClr val="000000"/>
                </a:solidFill>
                <a:effectLst/>
                <a:ea typeface="+mj-ea"/>
                <a:cs typeface="+mj-cs"/>
              </a:rPr>
              <a:pPr algn="ctr">
                <a:spcBef>
                  <a:spcPct val="0"/>
                </a:spcBef>
                <a:spcAft>
                  <a:spcPct val="0"/>
                </a:spcAft>
              </a:pPr>
              <a:t>2022</a:t>
            </a:fld>
            <a:endParaRPr lang="en-US" sz="600" b="0">
              <a:solidFill>
                <a:srgbClr val="000000"/>
              </a:solidFill>
              <a:ea typeface="+mj-ea"/>
              <a:cs typeface="+mj-cs"/>
              <a:sym typeface="+mn-lt"/>
            </a:endParaRPr>
          </a:p>
        </p:txBody>
      </p:sp>
      <p:sp>
        <p:nvSpPr>
          <p:cNvPr id="51" name="Tekstin paikkamerkki 3">
            <a:extLst>
              <a:ext uri="{FF2B5EF4-FFF2-40B4-BE49-F238E27FC236}">
                <a16:creationId xmlns:a16="http://schemas.microsoft.com/office/drawing/2014/main" id="{6A4480EA-0783-867A-F314-2FB3F2334C1C}"/>
              </a:ext>
            </a:extLst>
          </p:cNvPr>
          <p:cNvSpPr>
            <a:spLocks noGrp="1"/>
          </p:cNvSpPr>
          <p:nvPr>
            <p:custDataLst>
              <p:tags r:id="rId42"/>
            </p:custDataLst>
          </p:nvPr>
        </p:nvSpPr>
        <p:spPr bwMode="gray">
          <a:xfrm>
            <a:off x="5834063" y="3270250"/>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F36D8660-AD75-4F71-88D5-EC8126B3959B}" type="datetime'''''''5''5'''''''''''''''''''''''''''''''''''">
              <a:rPr lang="en-US" altLang="en-US" sz="600" spc="0" smtClean="0">
                <a:latin typeface="+mn-lt"/>
                <a:ea typeface="+mj-ea"/>
                <a:cs typeface="+mj-cs"/>
              </a:rPr>
              <a:pPr marL="0" lvl="0" indent="0" algn="ctr">
                <a:lnSpc>
                  <a:spcPct val="104250"/>
                </a:lnSpc>
                <a:spcBef>
                  <a:spcPct val="0"/>
                </a:spcBef>
                <a:spcAft>
                  <a:spcPct val="0"/>
                </a:spcAft>
                <a:buNone/>
              </a:pPr>
              <a:t>55</a:t>
            </a:fld>
            <a:endParaRPr lang="en-US" sz="600" spc="0">
              <a:latin typeface="+mn-lt"/>
              <a:ea typeface="+mj-ea"/>
              <a:cs typeface="+mj-cs"/>
              <a:sym typeface="Arial" panose="020B0604020202020204" pitchFamily="34" charset="0"/>
            </a:endParaRPr>
          </a:p>
        </p:txBody>
      </p:sp>
      <p:sp>
        <p:nvSpPr>
          <p:cNvPr id="52" name="Tekstin paikkamerkki 3">
            <a:extLst>
              <a:ext uri="{FF2B5EF4-FFF2-40B4-BE49-F238E27FC236}">
                <a16:creationId xmlns:a16="http://schemas.microsoft.com/office/drawing/2014/main" id="{7B80E7D0-3786-ECDC-3BDE-52E7D73BC0FB}"/>
              </a:ext>
            </a:extLst>
          </p:cNvPr>
          <p:cNvSpPr>
            <a:spLocks noGrp="1"/>
          </p:cNvSpPr>
          <p:nvPr>
            <p:custDataLst>
              <p:tags r:id="rId43"/>
            </p:custDataLst>
          </p:nvPr>
        </p:nvSpPr>
        <p:spPr bwMode="gray">
          <a:xfrm>
            <a:off x="5834063" y="3421063"/>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3F24559E-7CBC-4C4D-B8F5-25BAE662430C}" type="datetime'''''''''''6''''''''''''''''''''''''''''''''9'''''''''''''">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69</a:t>
            </a:fld>
            <a:endParaRPr lang="en-US" sz="600" spc="0">
              <a:solidFill>
                <a:schemeClr val="bg1"/>
              </a:solidFill>
              <a:latin typeface="+mn-lt"/>
              <a:ea typeface="+mj-ea"/>
              <a:cs typeface="+mj-cs"/>
              <a:sym typeface="Arial" panose="020B0604020202020204" pitchFamily="34" charset="0"/>
            </a:endParaRPr>
          </a:p>
        </p:txBody>
      </p:sp>
      <p:sp>
        <p:nvSpPr>
          <p:cNvPr id="53" name="Tekstin paikkamerkki 3">
            <a:extLst>
              <a:ext uri="{FF2B5EF4-FFF2-40B4-BE49-F238E27FC236}">
                <a16:creationId xmlns:a16="http://schemas.microsoft.com/office/drawing/2014/main" id="{549FE3A0-1B08-7B40-A513-38052FF461ED}"/>
              </a:ext>
            </a:extLst>
          </p:cNvPr>
          <p:cNvSpPr>
            <a:spLocks noGrp="1"/>
          </p:cNvSpPr>
          <p:nvPr>
            <p:custDataLst>
              <p:tags r:id="rId44"/>
            </p:custDataLst>
          </p:nvPr>
        </p:nvSpPr>
        <p:spPr bwMode="gray">
          <a:xfrm>
            <a:off x="5834063" y="3594100"/>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1E1BBCE9-350D-403E-BFBE-BF31DC39FECE}" type="datetime'7''''''''''''''''''''4'''''''''''''''''''">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74</a:t>
            </a:fld>
            <a:endParaRPr lang="en-US" sz="600" spc="0">
              <a:solidFill>
                <a:schemeClr val="bg1"/>
              </a:solidFill>
              <a:latin typeface="+mn-lt"/>
              <a:ea typeface="+mj-ea"/>
              <a:cs typeface="+mj-cs"/>
              <a:sym typeface="Arial" panose="020B0604020202020204" pitchFamily="34" charset="0"/>
            </a:endParaRPr>
          </a:p>
        </p:txBody>
      </p:sp>
      <p:sp>
        <p:nvSpPr>
          <p:cNvPr id="54" name="Tekstin paikkamerkki 3">
            <a:extLst>
              <a:ext uri="{FF2B5EF4-FFF2-40B4-BE49-F238E27FC236}">
                <a16:creationId xmlns:a16="http://schemas.microsoft.com/office/drawing/2014/main" id="{FEFCCCDD-77E0-5253-0C42-7BD199E9B215}"/>
              </a:ext>
            </a:extLst>
          </p:cNvPr>
          <p:cNvSpPr>
            <a:spLocks noGrp="1"/>
          </p:cNvSpPr>
          <p:nvPr>
            <p:custDataLst>
              <p:tags r:id="rId45"/>
            </p:custDataLst>
          </p:nvPr>
        </p:nvSpPr>
        <p:spPr bwMode="gray">
          <a:xfrm>
            <a:off x="5810250" y="386080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8266D9EB-B317-4E6A-BAC2-E7D852B2D006}" type="datetime'''''''''''''''1''''4''''''''''''''5'''''''''''''''">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45</a:t>
            </a:fld>
            <a:endParaRPr lang="en-US" sz="600" spc="0">
              <a:solidFill>
                <a:schemeClr val="bg1"/>
              </a:solidFill>
              <a:latin typeface="+mn-lt"/>
              <a:ea typeface="+mj-ea"/>
              <a:cs typeface="+mj-cs"/>
              <a:sym typeface="Arial" panose="020B0604020202020204" pitchFamily="34" charset="0"/>
            </a:endParaRPr>
          </a:p>
        </p:txBody>
      </p:sp>
      <p:sp>
        <p:nvSpPr>
          <p:cNvPr id="55" name="Tekstin paikkamerkki 3">
            <a:extLst>
              <a:ext uri="{FF2B5EF4-FFF2-40B4-BE49-F238E27FC236}">
                <a16:creationId xmlns:a16="http://schemas.microsoft.com/office/drawing/2014/main" id="{443C3E15-0B2D-3F9E-0829-060167045147}"/>
              </a:ext>
            </a:extLst>
          </p:cNvPr>
          <p:cNvSpPr>
            <a:spLocks noGrp="1"/>
          </p:cNvSpPr>
          <p:nvPr>
            <p:custDataLst>
              <p:tags r:id="rId46"/>
            </p:custDataLst>
          </p:nvPr>
        </p:nvSpPr>
        <p:spPr bwMode="gray">
          <a:xfrm>
            <a:off x="5810250" y="422275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8A9043FE-6BFB-4610-9B80-DBDB20DAB9B9}" type="datetime'1''''''''''''''''''5''''''''''''''''''''''''''3'">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53</a:t>
            </a:fld>
            <a:endParaRPr lang="en-US" sz="600" spc="0">
              <a:solidFill>
                <a:schemeClr val="bg1"/>
              </a:solidFill>
              <a:latin typeface="+mn-lt"/>
              <a:ea typeface="+mj-ea"/>
              <a:cs typeface="+mj-cs"/>
              <a:sym typeface="Arial" panose="020B0604020202020204" pitchFamily="34" charset="0"/>
            </a:endParaRPr>
          </a:p>
        </p:txBody>
      </p:sp>
      <p:sp>
        <p:nvSpPr>
          <p:cNvPr id="56" name="Text Placeholder 18">
            <a:extLst>
              <a:ext uri="{FF2B5EF4-FFF2-40B4-BE49-F238E27FC236}">
                <a16:creationId xmlns:a16="http://schemas.microsoft.com/office/drawing/2014/main" id="{DEB97388-511B-BB6F-8086-930880E5F1BE}"/>
              </a:ext>
            </a:extLst>
          </p:cNvPr>
          <p:cNvSpPr>
            <a:spLocks noGrp="1"/>
          </p:cNvSpPr>
          <p:nvPr>
            <p:custDataLst>
              <p:tags r:id="rId47"/>
            </p:custDataLst>
          </p:nvPr>
        </p:nvSpPr>
        <p:spPr bwMode="gray">
          <a:xfrm>
            <a:off x="5764213" y="4506913"/>
            <a:ext cx="257175"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44A24F9-3B40-40E0-88AC-38D6BF9F6A9A}" type="datetime'''''''''''''''''20''2''''''''''''3''''''''''''''''''''E'">
              <a:rPr lang="en-US" altLang="en-US" sz="600" b="0" smtClean="0">
                <a:solidFill>
                  <a:srgbClr val="000000"/>
                </a:solidFill>
                <a:effectLst/>
                <a:ea typeface="+mj-ea"/>
                <a:cs typeface="+mj-cs"/>
              </a:rPr>
              <a:pPr algn="ctr">
                <a:spcBef>
                  <a:spcPct val="0"/>
                </a:spcBef>
                <a:spcAft>
                  <a:spcPct val="0"/>
                </a:spcAft>
              </a:pPr>
              <a:t>2023E</a:t>
            </a:fld>
            <a:endParaRPr lang="en-US" sz="600" b="0">
              <a:solidFill>
                <a:srgbClr val="000000"/>
              </a:solidFill>
              <a:ea typeface="+mj-ea"/>
              <a:cs typeface="+mj-cs"/>
              <a:sym typeface="+mn-lt"/>
            </a:endParaRPr>
          </a:p>
        </p:txBody>
      </p:sp>
      <p:sp>
        <p:nvSpPr>
          <p:cNvPr id="57" name="Tekstin paikkamerkki 3">
            <a:extLst>
              <a:ext uri="{FF2B5EF4-FFF2-40B4-BE49-F238E27FC236}">
                <a16:creationId xmlns:a16="http://schemas.microsoft.com/office/drawing/2014/main" id="{A40C8CF1-2AA1-25BD-B394-4905BDD9FD53}"/>
              </a:ext>
            </a:extLst>
          </p:cNvPr>
          <p:cNvSpPr>
            <a:spLocks noGrp="1"/>
          </p:cNvSpPr>
          <p:nvPr>
            <p:custDataLst>
              <p:tags r:id="rId48"/>
            </p:custDataLst>
          </p:nvPr>
        </p:nvSpPr>
        <p:spPr bwMode="gray">
          <a:xfrm>
            <a:off x="6100763" y="3060700"/>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52673F07-2373-4253-9BC6-17446DFBEF4A}" type="datetime'''''6''4'''">
              <a:rPr lang="en-US" altLang="en-US" sz="600" spc="0" smtClean="0">
                <a:latin typeface="+mn-lt"/>
                <a:ea typeface="+mj-ea"/>
                <a:cs typeface="+mj-cs"/>
              </a:rPr>
              <a:pPr marL="0" lvl="0" indent="0" algn="ctr">
                <a:lnSpc>
                  <a:spcPct val="104250"/>
                </a:lnSpc>
                <a:spcBef>
                  <a:spcPct val="0"/>
                </a:spcBef>
                <a:spcAft>
                  <a:spcPct val="0"/>
                </a:spcAft>
                <a:buNone/>
              </a:pPr>
              <a:t>64</a:t>
            </a:fld>
            <a:endParaRPr lang="en-US" sz="600" spc="0">
              <a:latin typeface="+mn-lt"/>
              <a:ea typeface="+mj-ea"/>
              <a:cs typeface="+mj-cs"/>
              <a:sym typeface="Arial" panose="020B0604020202020204" pitchFamily="34" charset="0"/>
            </a:endParaRPr>
          </a:p>
        </p:txBody>
      </p:sp>
      <p:sp>
        <p:nvSpPr>
          <p:cNvPr id="58" name="Tekstin paikkamerkki 3">
            <a:extLst>
              <a:ext uri="{FF2B5EF4-FFF2-40B4-BE49-F238E27FC236}">
                <a16:creationId xmlns:a16="http://schemas.microsoft.com/office/drawing/2014/main" id="{7ADEA06C-B3C7-CB0F-9763-70EFF2C73B76}"/>
              </a:ext>
            </a:extLst>
          </p:cNvPr>
          <p:cNvSpPr>
            <a:spLocks noGrp="1"/>
          </p:cNvSpPr>
          <p:nvPr>
            <p:custDataLst>
              <p:tags r:id="rId49"/>
            </p:custDataLst>
          </p:nvPr>
        </p:nvSpPr>
        <p:spPr bwMode="gray">
          <a:xfrm>
            <a:off x="6100763" y="3233738"/>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A832609F-BC36-44B7-A150-8A5529D87BDF}" type="datetime'''''''7''''''''''''''''''''''''''''''''''''''''8'">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78</a:t>
            </a:fld>
            <a:endParaRPr lang="en-US" sz="600" spc="0">
              <a:solidFill>
                <a:schemeClr val="bg1"/>
              </a:solidFill>
              <a:latin typeface="+mn-lt"/>
              <a:ea typeface="+mj-ea"/>
              <a:cs typeface="+mj-cs"/>
              <a:sym typeface="Arial" panose="020B0604020202020204" pitchFamily="34" charset="0"/>
            </a:endParaRPr>
          </a:p>
        </p:txBody>
      </p:sp>
      <p:sp>
        <p:nvSpPr>
          <p:cNvPr id="59" name="Tekstin paikkamerkki 3">
            <a:extLst>
              <a:ext uri="{FF2B5EF4-FFF2-40B4-BE49-F238E27FC236}">
                <a16:creationId xmlns:a16="http://schemas.microsoft.com/office/drawing/2014/main" id="{E2F34B3D-B50C-7A29-A411-FBABA2897AF0}"/>
              </a:ext>
            </a:extLst>
          </p:cNvPr>
          <p:cNvSpPr>
            <a:spLocks noGrp="1"/>
          </p:cNvSpPr>
          <p:nvPr>
            <p:custDataLst>
              <p:tags r:id="rId50"/>
            </p:custDataLst>
          </p:nvPr>
        </p:nvSpPr>
        <p:spPr bwMode="gray">
          <a:xfrm>
            <a:off x="6100763" y="3429000"/>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B6B3CB4B-2044-4520-A01C-97991D65D168}" type="datetime'''''''''''''''''8''''''''''''''''''''''3'''''''">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83</a:t>
            </a:fld>
            <a:endParaRPr lang="en-US" sz="600" spc="0">
              <a:solidFill>
                <a:schemeClr val="bg1"/>
              </a:solidFill>
              <a:latin typeface="+mn-lt"/>
              <a:ea typeface="+mj-ea"/>
              <a:cs typeface="+mj-cs"/>
              <a:sym typeface="Arial" panose="020B0604020202020204" pitchFamily="34" charset="0"/>
            </a:endParaRPr>
          </a:p>
        </p:txBody>
      </p:sp>
      <p:sp>
        <p:nvSpPr>
          <p:cNvPr id="60" name="Tekstin paikkamerkki 3">
            <a:extLst>
              <a:ext uri="{FF2B5EF4-FFF2-40B4-BE49-F238E27FC236}">
                <a16:creationId xmlns:a16="http://schemas.microsoft.com/office/drawing/2014/main" id="{09118D09-58EB-9742-A59F-1204757A54FB}"/>
              </a:ext>
            </a:extLst>
          </p:cNvPr>
          <p:cNvSpPr>
            <a:spLocks noGrp="1"/>
          </p:cNvSpPr>
          <p:nvPr>
            <p:custDataLst>
              <p:tags r:id="rId51"/>
            </p:custDataLst>
          </p:nvPr>
        </p:nvSpPr>
        <p:spPr bwMode="gray">
          <a:xfrm>
            <a:off x="6076950" y="3744913"/>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D31BEADD-D481-42F4-90B1-01ACB3876129}" type="datetime'''1''''''''''''''''''''''''''''''''''7''''6'''''''''''">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76</a:t>
            </a:fld>
            <a:endParaRPr lang="en-US" sz="600" spc="0">
              <a:solidFill>
                <a:schemeClr val="bg1"/>
              </a:solidFill>
              <a:latin typeface="+mn-lt"/>
              <a:ea typeface="+mj-ea"/>
              <a:cs typeface="+mj-cs"/>
              <a:sym typeface="Arial" panose="020B0604020202020204" pitchFamily="34" charset="0"/>
            </a:endParaRPr>
          </a:p>
        </p:txBody>
      </p:sp>
      <p:sp>
        <p:nvSpPr>
          <p:cNvPr id="61" name="Tekstin paikkamerkki 3">
            <a:extLst>
              <a:ext uri="{FF2B5EF4-FFF2-40B4-BE49-F238E27FC236}">
                <a16:creationId xmlns:a16="http://schemas.microsoft.com/office/drawing/2014/main" id="{7883F257-DF5A-B4EE-54BF-53387BE32A8D}"/>
              </a:ext>
            </a:extLst>
          </p:cNvPr>
          <p:cNvSpPr>
            <a:spLocks noGrp="1"/>
          </p:cNvSpPr>
          <p:nvPr>
            <p:custDataLst>
              <p:tags r:id="rId52"/>
            </p:custDataLst>
          </p:nvPr>
        </p:nvSpPr>
        <p:spPr bwMode="gray">
          <a:xfrm>
            <a:off x="6076950" y="4183063"/>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3005A03A-ED36-4E69-8C49-0F06937D002F}" type="datetime'''''''''''18''''''''5'''''''''''''''''''''''''''''''''''''''">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85</a:t>
            </a:fld>
            <a:endParaRPr lang="en-US" sz="600" spc="0">
              <a:solidFill>
                <a:schemeClr val="bg1"/>
              </a:solidFill>
              <a:latin typeface="+mn-lt"/>
              <a:ea typeface="+mj-ea"/>
              <a:cs typeface="+mj-cs"/>
              <a:sym typeface="Arial" panose="020B0604020202020204" pitchFamily="34" charset="0"/>
            </a:endParaRPr>
          </a:p>
        </p:txBody>
      </p:sp>
      <p:sp>
        <p:nvSpPr>
          <p:cNvPr id="62" name="Text Placeholder 18">
            <a:extLst>
              <a:ext uri="{FF2B5EF4-FFF2-40B4-BE49-F238E27FC236}">
                <a16:creationId xmlns:a16="http://schemas.microsoft.com/office/drawing/2014/main" id="{8C941C6D-E56B-D8FD-F36F-F3E2EECCF26C}"/>
              </a:ext>
            </a:extLst>
          </p:cNvPr>
          <p:cNvSpPr>
            <a:spLocks noGrp="1"/>
          </p:cNvSpPr>
          <p:nvPr>
            <p:custDataLst>
              <p:tags r:id="rId53"/>
            </p:custDataLst>
          </p:nvPr>
        </p:nvSpPr>
        <p:spPr bwMode="gray">
          <a:xfrm>
            <a:off x="6030913" y="4506913"/>
            <a:ext cx="257175"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D747484D-6298-4852-807B-F543C777788E}" type="datetime'''''''''2''''''0''2''''''''''''''''4''''''''''''''E'''''''''">
              <a:rPr lang="en-US" altLang="en-US" sz="600" b="0" smtClean="0">
                <a:solidFill>
                  <a:srgbClr val="000000"/>
                </a:solidFill>
                <a:effectLst/>
                <a:ea typeface="+mj-ea"/>
                <a:cs typeface="+mj-cs"/>
              </a:rPr>
              <a:pPr algn="ctr">
                <a:spcBef>
                  <a:spcPct val="0"/>
                </a:spcBef>
                <a:spcAft>
                  <a:spcPct val="0"/>
                </a:spcAft>
              </a:pPr>
              <a:t>2024E</a:t>
            </a:fld>
            <a:endParaRPr lang="en-US" sz="600" b="0">
              <a:solidFill>
                <a:srgbClr val="000000"/>
              </a:solidFill>
              <a:ea typeface="+mj-ea"/>
              <a:cs typeface="+mj-cs"/>
              <a:sym typeface="+mn-lt"/>
            </a:endParaRPr>
          </a:p>
        </p:txBody>
      </p:sp>
      <p:sp>
        <p:nvSpPr>
          <p:cNvPr id="63" name="Tekstin paikkamerkki 3">
            <a:extLst>
              <a:ext uri="{FF2B5EF4-FFF2-40B4-BE49-F238E27FC236}">
                <a16:creationId xmlns:a16="http://schemas.microsoft.com/office/drawing/2014/main" id="{F6DD9591-4703-CCB7-8215-052A8F1E50C8}"/>
              </a:ext>
            </a:extLst>
          </p:cNvPr>
          <p:cNvSpPr>
            <a:spLocks noGrp="1"/>
          </p:cNvSpPr>
          <p:nvPr>
            <p:custDataLst>
              <p:tags r:id="rId54"/>
            </p:custDataLst>
          </p:nvPr>
        </p:nvSpPr>
        <p:spPr bwMode="gray">
          <a:xfrm>
            <a:off x="6365875" y="2868613"/>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1CBCA36C-8C9D-4BBE-81C4-928E57170940}" type="datetime'''''''''6''''''''''''''''''''''''''''''''8'''''''''''''">
              <a:rPr lang="en-US" altLang="en-US" sz="600" spc="0" smtClean="0">
                <a:latin typeface="+mn-lt"/>
                <a:ea typeface="+mj-ea"/>
                <a:cs typeface="+mj-cs"/>
              </a:rPr>
              <a:pPr marL="0" lvl="0" indent="0" algn="ctr">
                <a:lnSpc>
                  <a:spcPct val="104250"/>
                </a:lnSpc>
                <a:spcBef>
                  <a:spcPct val="0"/>
                </a:spcBef>
                <a:spcAft>
                  <a:spcPct val="0"/>
                </a:spcAft>
                <a:buNone/>
              </a:pPr>
              <a:t>68</a:t>
            </a:fld>
            <a:endParaRPr lang="en-US" sz="600" spc="0">
              <a:latin typeface="+mn-lt"/>
              <a:ea typeface="+mj-ea"/>
              <a:cs typeface="+mj-cs"/>
              <a:sym typeface="Arial" panose="020B0604020202020204" pitchFamily="34" charset="0"/>
            </a:endParaRPr>
          </a:p>
        </p:txBody>
      </p:sp>
      <p:sp>
        <p:nvSpPr>
          <p:cNvPr id="43" name="Tekstin paikkamerkki 3">
            <a:extLst>
              <a:ext uri="{FF2B5EF4-FFF2-40B4-BE49-F238E27FC236}">
                <a16:creationId xmlns:a16="http://schemas.microsoft.com/office/drawing/2014/main" id="{0554625D-7C6E-62D2-65F3-422532503E2B}"/>
              </a:ext>
            </a:extLst>
          </p:cNvPr>
          <p:cNvSpPr>
            <a:spLocks noGrp="1"/>
          </p:cNvSpPr>
          <p:nvPr>
            <p:custDataLst>
              <p:tags r:id="rId55"/>
            </p:custDataLst>
          </p:nvPr>
        </p:nvSpPr>
        <p:spPr bwMode="gray">
          <a:xfrm>
            <a:off x="5280025" y="416083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C88CEB8F-924A-4AE2-8DC5-197C7B95AF4F}" type="datetime'''''2''''''''''''''''''''''''''04'''''''''''">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04</a:t>
            </a:fld>
            <a:endParaRPr lang="en-US" sz="600" spc="0">
              <a:solidFill>
                <a:schemeClr val="bg1"/>
              </a:solidFill>
              <a:latin typeface="+mn-lt"/>
              <a:ea typeface="+mj-ea"/>
              <a:cs typeface="+mj-cs"/>
              <a:sym typeface="Arial" panose="020B0604020202020204" pitchFamily="34" charset="0"/>
            </a:endParaRPr>
          </a:p>
        </p:txBody>
      </p:sp>
      <p:sp>
        <p:nvSpPr>
          <p:cNvPr id="65" name="Tekstin paikkamerkki 3">
            <a:extLst>
              <a:ext uri="{FF2B5EF4-FFF2-40B4-BE49-F238E27FC236}">
                <a16:creationId xmlns:a16="http://schemas.microsoft.com/office/drawing/2014/main" id="{A6BECFA4-9E16-920C-6956-A69A4FC03220}"/>
              </a:ext>
            </a:extLst>
          </p:cNvPr>
          <p:cNvSpPr>
            <a:spLocks noGrp="1"/>
          </p:cNvSpPr>
          <p:nvPr>
            <p:custDataLst>
              <p:tags r:id="rId56"/>
            </p:custDataLst>
          </p:nvPr>
        </p:nvSpPr>
        <p:spPr bwMode="gray">
          <a:xfrm>
            <a:off x="6365876" y="3278188"/>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DEAC24EE-5283-467A-9EE3-A874F3E67605}" type="datetime'''''''''''''''''''''''''''''''''9''7'''''''">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97</a:t>
            </a:fld>
            <a:endParaRPr lang="en-US" sz="600" spc="0">
              <a:solidFill>
                <a:schemeClr val="bg1"/>
              </a:solidFill>
              <a:latin typeface="+mn-lt"/>
              <a:ea typeface="+mj-ea"/>
              <a:cs typeface="+mj-cs"/>
              <a:sym typeface="Arial" panose="020B0604020202020204" pitchFamily="34" charset="0"/>
            </a:endParaRPr>
          </a:p>
        </p:txBody>
      </p:sp>
      <p:sp>
        <p:nvSpPr>
          <p:cNvPr id="66" name="Tekstin paikkamerkki 3">
            <a:extLst>
              <a:ext uri="{FF2B5EF4-FFF2-40B4-BE49-F238E27FC236}">
                <a16:creationId xmlns:a16="http://schemas.microsoft.com/office/drawing/2014/main" id="{5B624E33-F6A0-C26B-F725-3E2B37742EE0}"/>
              </a:ext>
            </a:extLst>
          </p:cNvPr>
          <p:cNvSpPr>
            <a:spLocks noGrp="1"/>
          </p:cNvSpPr>
          <p:nvPr>
            <p:custDataLst>
              <p:tags r:id="rId57"/>
            </p:custDataLst>
          </p:nvPr>
        </p:nvSpPr>
        <p:spPr bwMode="gray">
          <a:xfrm>
            <a:off x="6342063" y="363855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ADE4A70-D073-435C-854D-A5C5106B9C7A}" type="datetime'''''''''''''''''''1''''''''''9''''''''''''''''''''''''''8'''">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98</a:t>
            </a:fld>
            <a:endParaRPr lang="en-US" sz="600" spc="0">
              <a:solidFill>
                <a:schemeClr val="bg1"/>
              </a:solidFill>
              <a:latin typeface="+mn-lt"/>
              <a:ea typeface="+mj-ea"/>
              <a:cs typeface="+mj-cs"/>
              <a:sym typeface="Arial" panose="020B0604020202020204" pitchFamily="34" charset="0"/>
            </a:endParaRPr>
          </a:p>
        </p:txBody>
      </p:sp>
      <p:sp>
        <p:nvSpPr>
          <p:cNvPr id="67" name="Tekstin paikkamerkki 3">
            <a:extLst>
              <a:ext uri="{FF2B5EF4-FFF2-40B4-BE49-F238E27FC236}">
                <a16:creationId xmlns:a16="http://schemas.microsoft.com/office/drawing/2014/main" id="{C263D87A-6899-553D-DE5E-7E7FF095FACB}"/>
              </a:ext>
            </a:extLst>
          </p:cNvPr>
          <p:cNvSpPr>
            <a:spLocks noGrp="1"/>
          </p:cNvSpPr>
          <p:nvPr>
            <p:custDataLst>
              <p:tags r:id="rId58"/>
            </p:custDataLst>
          </p:nvPr>
        </p:nvSpPr>
        <p:spPr bwMode="gray">
          <a:xfrm>
            <a:off x="6342063" y="414337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9263AFF-CF09-4A54-8268-4712066779F6}" type="datetime'''''''2''1''''''''''''''''''''''''''''''''8'''''">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18</a:t>
            </a:fld>
            <a:endParaRPr lang="en-US" sz="600" spc="0">
              <a:solidFill>
                <a:schemeClr val="bg1"/>
              </a:solidFill>
              <a:latin typeface="+mn-lt"/>
              <a:ea typeface="+mj-ea"/>
              <a:cs typeface="+mj-cs"/>
              <a:sym typeface="Arial" panose="020B0604020202020204" pitchFamily="34" charset="0"/>
            </a:endParaRPr>
          </a:p>
        </p:txBody>
      </p:sp>
      <p:sp>
        <p:nvSpPr>
          <p:cNvPr id="68" name="Text Placeholder 18">
            <a:extLst>
              <a:ext uri="{FF2B5EF4-FFF2-40B4-BE49-F238E27FC236}">
                <a16:creationId xmlns:a16="http://schemas.microsoft.com/office/drawing/2014/main" id="{60A6EDEB-79C2-8D39-2A76-E3D80831AA9D}"/>
              </a:ext>
            </a:extLst>
          </p:cNvPr>
          <p:cNvSpPr>
            <a:spLocks noGrp="1"/>
          </p:cNvSpPr>
          <p:nvPr>
            <p:custDataLst>
              <p:tags r:id="rId59"/>
            </p:custDataLst>
          </p:nvPr>
        </p:nvSpPr>
        <p:spPr bwMode="gray">
          <a:xfrm>
            <a:off x="6296025" y="4506913"/>
            <a:ext cx="257175"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3CD58C66-1E72-41EE-9220-C7ACD9CF2BD0}" type="datetime'''2''''''''''0''''''''''''''''''''''''2''''''''''''''5E'''''''">
              <a:rPr lang="en-US" altLang="en-US" sz="600" b="0" smtClean="0">
                <a:solidFill>
                  <a:srgbClr val="000000"/>
                </a:solidFill>
                <a:effectLst/>
                <a:ea typeface="+mj-ea"/>
                <a:cs typeface="+mj-cs"/>
              </a:rPr>
              <a:pPr algn="ctr">
                <a:spcBef>
                  <a:spcPct val="0"/>
                </a:spcBef>
                <a:spcAft>
                  <a:spcPct val="0"/>
                </a:spcAft>
              </a:pPr>
              <a:t>2025E</a:t>
            </a:fld>
            <a:endParaRPr lang="en-US" sz="600" b="0">
              <a:solidFill>
                <a:srgbClr val="000000"/>
              </a:solidFill>
              <a:ea typeface="+mj-ea"/>
              <a:cs typeface="+mj-cs"/>
              <a:sym typeface="+mn-lt"/>
            </a:endParaRPr>
          </a:p>
        </p:txBody>
      </p:sp>
      <p:sp>
        <p:nvSpPr>
          <p:cNvPr id="69" name="Tekstin paikkamerkki 3">
            <a:extLst>
              <a:ext uri="{FF2B5EF4-FFF2-40B4-BE49-F238E27FC236}">
                <a16:creationId xmlns:a16="http://schemas.microsoft.com/office/drawing/2014/main" id="{520F6DB1-F836-692D-CECD-F4B7B29CB482}"/>
              </a:ext>
            </a:extLst>
          </p:cNvPr>
          <p:cNvSpPr>
            <a:spLocks noGrp="1"/>
          </p:cNvSpPr>
          <p:nvPr>
            <p:custDataLst>
              <p:tags r:id="rId60"/>
            </p:custDataLst>
          </p:nvPr>
        </p:nvSpPr>
        <p:spPr bwMode="gray">
          <a:xfrm>
            <a:off x="6630988" y="2757488"/>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1EFB94C-FA38-492A-84C6-25109AA1F1F4}" type="datetime'''''''''''7''''''''''''0'''''''''">
              <a:rPr lang="en-US" altLang="en-US" sz="600" spc="0" smtClean="0">
                <a:latin typeface="+mn-lt"/>
                <a:ea typeface="+mj-ea"/>
                <a:cs typeface="+mj-cs"/>
              </a:rPr>
              <a:pPr marL="0" lvl="0" indent="0" algn="ctr">
                <a:lnSpc>
                  <a:spcPct val="104250"/>
                </a:lnSpc>
                <a:spcBef>
                  <a:spcPct val="0"/>
                </a:spcBef>
                <a:spcAft>
                  <a:spcPct val="0"/>
                </a:spcAft>
                <a:buNone/>
              </a:pPr>
              <a:t>70</a:t>
            </a:fld>
            <a:endParaRPr lang="en-US" sz="600" spc="0">
              <a:latin typeface="+mn-lt"/>
              <a:ea typeface="+mj-ea"/>
              <a:cs typeface="+mj-cs"/>
              <a:sym typeface="Arial" panose="020B0604020202020204" pitchFamily="34" charset="0"/>
            </a:endParaRPr>
          </a:p>
        </p:txBody>
      </p:sp>
      <p:sp>
        <p:nvSpPr>
          <p:cNvPr id="70" name="Tekstin paikkamerkki 3">
            <a:extLst>
              <a:ext uri="{FF2B5EF4-FFF2-40B4-BE49-F238E27FC236}">
                <a16:creationId xmlns:a16="http://schemas.microsoft.com/office/drawing/2014/main" id="{C2C8256C-C46C-3C97-88D1-942A72D1CBF9}"/>
              </a:ext>
            </a:extLst>
          </p:cNvPr>
          <p:cNvSpPr>
            <a:spLocks noGrp="1"/>
          </p:cNvSpPr>
          <p:nvPr>
            <p:custDataLst>
              <p:tags r:id="rId61"/>
            </p:custDataLst>
          </p:nvPr>
        </p:nvSpPr>
        <p:spPr bwMode="gray">
          <a:xfrm>
            <a:off x="6630989" y="2957513"/>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E99945EC-3E84-48D2-867F-87BF4FB93CC8}" type="datetime'''''''''''''''''''''''95'''''''''''''''''''''''''''''''">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95</a:t>
            </a:fld>
            <a:endParaRPr lang="en-US" sz="600" spc="0">
              <a:solidFill>
                <a:schemeClr val="bg1"/>
              </a:solidFill>
              <a:latin typeface="+mn-lt"/>
              <a:ea typeface="+mj-ea"/>
              <a:cs typeface="+mj-cs"/>
              <a:sym typeface="Arial" panose="020B0604020202020204" pitchFamily="34" charset="0"/>
            </a:endParaRPr>
          </a:p>
        </p:txBody>
      </p:sp>
      <p:sp>
        <p:nvSpPr>
          <p:cNvPr id="71" name="Tekstin paikkamerkki 3">
            <a:extLst>
              <a:ext uri="{FF2B5EF4-FFF2-40B4-BE49-F238E27FC236}">
                <a16:creationId xmlns:a16="http://schemas.microsoft.com/office/drawing/2014/main" id="{9534C55F-0096-111B-010E-6DAD16F3FED8}"/>
              </a:ext>
            </a:extLst>
          </p:cNvPr>
          <p:cNvSpPr>
            <a:spLocks noGrp="1"/>
          </p:cNvSpPr>
          <p:nvPr>
            <p:custDataLst>
              <p:tags r:id="rId62"/>
            </p:custDataLst>
          </p:nvPr>
        </p:nvSpPr>
        <p:spPr bwMode="gray">
          <a:xfrm>
            <a:off x="6607175" y="320357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A9BFD72F-49CE-4474-B8CF-26DEADFB8DF9}" type="datetime'''''''''''''''''''''''''''''''''''''1''''''''0''7'''''''''">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07</a:t>
            </a:fld>
            <a:endParaRPr lang="en-US" sz="600" spc="0">
              <a:solidFill>
                <a:schemeClr val="bg1"/>
              </a:solidFill>
              <a:latin typeface="+mn-lt"/>
              <a:ea typeface="+mj-ea"/>
              <a:cs typeface="+mj-cs"/>
              <a:sym typeface="Arial" panose="020B0604020202020204" pitchFamily="34" charset="0"/>
            </a:endParaRPr>
          </a:p>
        </p:txBody>
      </p:sp>
      <p:sp>
        <p:nvSpPr>
          <p:cNvPr id="72" name="Tekstin paikkamerkki 3">
            <a:extLst>
              <a:ext uri="{FF2B5EF4-FFF2-40B4-BE49-F238E27FC236}">
                <a16:creationId xmlns:a16="http://schemas.microsoft.com/office/drawing/2014/main" id="{94FCB038-9062-C84A-8F51-59989B819371}"/>
              </a:ext>
            </a:extLst>
          </p:cNvPr>
          <p:cNvSpPr>
            <a:spLocks noGrp="1"/>
          </p:cNvSpPr>
          <p:nvPr>
            <p:custDataLst>
              <p:tags r:id="rId63"/>
            </p:custDataLst>
          </p:nvPr>
        </p:nvSpPr>
        <p:spPr bwMode="gray">
          <a:xfrm>
            <a:off x="6607175" y="358775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F81955BE-B10D-4343-B5DA-CE02CC620293}" type="datetime'''''''''''''''2''''1''0'''''''''''''''''''''''''''''''''''''">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10</a:t>
            </a:fld>
            <a:endParaRPr lang="en-US" sz="600" spc="0">
              <a:solidFill>
                <a:schemeClr val="bg1"/>
              </a:solidFill>
              <a:latin typeface="+mn-lt"/>
              <a:ea typeface="+mj-ea"/>
              <a:cs typeface="+mj-cs"/>
              <a:sym typeface="Arial" panose="020B0604020202020204" pitchFamily="34" charset="0"/>
            </a:endParaRPr>
          </a:p>
        </p:txBody>
      </p:sp>
      <p:sp>
        <p:nvSpPr>
          <p:cNvPr id="73" name="Tekstin paikkamerkki 3">
            <a:extLst>
              <a:ext uri="{FF2B5EF4-FFF2-40B4-BE49-F238E27FC236}">
                <a16:creationId xmlns:a16="http://schemas.microsoft.com/office/drawing/2014/main" id="{4FBC1306-2951-E284-FB2C-0534E16488E5}"/>
              </a:ext>
            </a:extLst>
          </p:cNvPr>
          <p:cNvSpPr>
            <a:spLocks noGrp="1"/>
          </p:cNvSpPr>
          <p:nvPr>
            <p:custDataLst>
              <p:tags r:id="rId64"/>
            </p:custDataLst>
          </p:nvPr>
        </p:nvSpPr>
        <p:spPr bwMode="gray">
          <a:xfrm>
            <a:off x="6607175" y="4125913"/>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EDE2AB60-77F8-4691-88D9-928BDF483AD8}" type="datetime'''''2''''''''''''''''''''''''''''''''''''''3''''''''2'''''''''">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32</a:t>
            </a:fld>
            <a:endParaRPr lang="en-US" sz="600" spc="0">
              <a:solidFill>
                <a:schemeClr val="bg1"/>
              </a:solidFill>
              <a:latin typeface="+mn-lt"/>
              <a:ea typeface="+mj-ea"/>
              <a:cs typeface="+mj-cs"/>
              <a:sym typeface="Arial" panose="020B0604020202020204" pitchFamily="34" charset="0"/>
            </a:endParaRPr>
          </a:p>
        </p:txBody>
      </p:sp>
      <p:sp>
        <p:nvSpPr>
          <p:cNvPr id="74" name="Text Placeholder 18">
            <a:extLst>
              <a:ext uri="{FF2B5EF4-FFF2-40B4-BE49-F238E27FC236}">
                <a16:creationId xmlns:a16="http://schemas.microsoft.com/office/drawing/2014/main" id="{95C366A9-6862-81B5-088F-6F57D48E9E3D}"/>
              </a:ext>
            </a:extLst>
          </p:cNvPr>
          <p:cNvSpPr>
            <a:spLocks noGrp="1"/>
          </p:cNvSpPr>
          <p:nvPr>
            <p:custDataLst>
              <p:tags r:id="rId65"/>
            </p:custDataLst>
          </p:nvPr>
        </p:nvSpPr>
        <p:spPr bwMode="gray">
          <a:xfrm>
            <a:off x="6561138" y="4506913"/>
            <a:ext cx="257175"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720DEBAF-BD91-4385-90B2-2707850D4909}" type="datetime'20''''''2''6''''''''''''E'">
              <a:rPr lang="en-US" altLang="en-US" sz="600" b="0" smtClean="0">
                <a:solidFill>
                  <a:srgbClr val="000000"/>
                </a:solidFill>
                <a:effectLst/>
                <a:ea typeface="+mj-ea"/>
                <a:cs typeface="+mj-cs"/>
              </a:rPr>
              <a:pPr algn="ctr">
                <a:spcBef>
                  <a:spcPct val="0"/>
                </a:spcBef>
                <a:spcAft>
                  <a:spcPct val="0"/>
                </a:spcAft>
              </a:pPr>
              <a:t>2026E</a:t>
            </a:fld>
            <a:endParaRPr lang="en-US" sz="600" b="0">
              <a:solidFill>
                <a:srgbClr val="000000"/>
              </a:solidFill>
              <a:ea typeface="+mj-ea"/>
              <a:cs typeface="+mj-cs"/>
              <a:sym typeface="+mn-lt"/>
            </a:endParaRPr>
          </a:p>
        </p:txBody>
      </p:sp>
      <p:sp>
        <p:nvSpPr>
          <p:cNvPr id="75" name="Tekstin paikkamerkki 3">
            <a:extLst>
              <a:ext uri="{FF2B5EF4-FFF2-40B4-BE49-F238E27FC236}">
                <a16:creationId xmlns:a16="http://schemas.microsoft.com/office/drawing/2014/main" id="{DB9B4F68-D404-BE3D-5C0A-7D527B76FD5F}"/>
              </a:ext>
            </a:extLst>
          </p:cNvPr>
          <p:cNvSpPr>
            <a:spLocks noGrp="1"/>
          </p:cNvSpPr>
          <p:nvPr>
            <p:custDataLst>
              <p:tags r:id="rId66"/>
            </p:custDataLst>
          </p:nvPr>
        </p:nvSpPr>
        <p:spPr bwMode="gray">
          <a:xfrm>
            <a:off x="6896100" y="2765425"/>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8DCFFC71-4B3D-4454-9150-8E6F3D54048D}" type="datetime'''''''''''''''''7''''''''0'''''''''''''''''''''''''">
              <a:rPr lang="en-US" altLang="en-US" sz="600" spc="0" smtClean="0">
                <a:latin typeface="+mn-lt"/>
                <a:ea typeface="+mj-ea"/>
                <a:cs typeface="+mj-cs"/>
              </a:rPr>
              <a:pPr marL="0" lvl="0" indent="0" algn="ctr">
                <a:lnSpc>
                  <a:spcPct val="104250"/>
                </a:lnSpc>
                <a:spcBef>
                  <a:spcPct val="0"/>
                </a:spcBef>
                <a:spcAft>
                  <a:spcPct val="0"/>
                </a:spcAft>
                <a:buNone/>
              </a:pPr>
              <a:t>70</a:t>
            </a:fld>
            <a:endParaRPr lang="en-US" sz="600" spc="0">
              <a:latin typeface="+mn-lt"/>
              <a:ea typeface="+mj-ea"/>
              <a:cs typeface="+mj-cs"/>
              <a:sym typeface="Arial" panose="020B0604020202020204" pitchFamily="34" charset="0"/>
            </a:endParaRPr>
          </a:p>
        </p:txBody>
      </p:sp>
      <p:sp>
        <p:nvSpPr>
          <p:cNvPr id="76" name="Tekstin paikkamerkki 3">
            <a:extLst>
              <a:ext uri="{FF2B5EF4-FFF2-40B4-BE49-F238E27FC236}">
                <a16:creationId xmlns:a16="http://schemas.microsoft.com/office/drawing/2014/main" id="{0391D58F-BB98-6FE8-9975-4F9960B975FB}"/>
              </a:ext>
            </a:extLst>
          </p:cNvPr>
          <p:cNvSpPr>
            <a:spLocks noGrp="1"/>
          </p:cNvSpPr>
          <p:nvPr>
            <p:custDataLst>
              <p:tags r:id="rId67"/>
            </p:custDataLst>
          </p:nvPr>
        </p:nvSpPr>
        <p:spPr bwMode="gray">
          <a:xfrm>
            <a:off x="6872288" y="297497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DA61FCD9-7DC8-4DF4-9524-30F54D67DD96}" type="datetime'''''''''''''''''''''''''''''''''''''''''''1''''0''''2'''''">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02</a:t>
            </a:fld>
            <a:endParaRPr lang="en-US" sz="600" spc="0">
              <a:solidFill>
                <a:schemeClr val="bg1"/>
              </a:solidFill>
              <a:latin typeface="+mn-lt"/>
              <a:ea typeface="+mj-ea"/>
              <a:cs typeface="+mj-cs"/>
              <a:sym typeface="Arial" panose="020B0604020202020204" pitchFamily="34" charset="0"/>
            </a:endParaRPr>
          </a:p>
        </p:txBody>
      </p:sp>
      <p:sp>
        <p:nvSpPr>
          <p:cNvPr id="77" name="Tekstin paikkamerkki 3">
            <a:extLst>
              <a:ext uri="{FF2B5EF4-FFF2-40B4-BE49-F238E27FC236}">
                <a16:creationId xmlns:a16="http://schemas.microsoft.com/office/drawing/2014/main" id="{59F25E7F-1FFB-7230-7A20-6524FC236038}"/>
              </a:ext>
            </a:extLst>
          </p:cNvPr>
          <p:cNvSpPr>
            <a:spLocks noGrp="1"/>
          </p:cNvSpPr>
          <p:nvPr>
            <p:custDataLst>
              <p:tags r:id="rId68"/>
            </p:custDataLst>
          </p:nvPr>
        </p:nvSpPr>
        <p:spPr bwMode="gray">
          <a:xfrm>
            <a:off x="6872288" y="3236913"/>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2346A818-77FF-4D33-BA39-DEC13C81B68A}" type="datetime'''''''''1''''''''''''''''''''1''4'''''''''''''''''''''''">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14</a:t>
            </a:fld>
            <a:endParaRPr lang="en-US" sz="600" spc="0">
              <a:solidFill>
                <a:schemeClr val="bg1"/>
              </a:solidFill>
              <a:latin typeface="+mn-lt"/>
              <a:ea typeface="+mj-ea"/>
              <a:cs typeface="+mj-cs"/>
              <a:sym typeface="Arial" panose="020B0604020202020204" pitchFamily="34" charset="0"/>
            </a:endParaRPr>
          </a:p>
        </p:txBody>
      </p:sp>
      <p:sp>
        <p:nvSpPr>
          <p:cNvPr id="78" name="Tekstin paikkamerkki 3">
            <a:extLst>
              <a:ext uri="{FF2B5EF4-FFF2-40B4-BE49-F238E27FC236}">
                <a16:creationId xmlns:a16="http://schemas.microsoft.com/office/drawing/2014/main" id="{02A37BCD-B733-06C0-AB78-B5B1CC7C4A0E}"/>
              </a:ext>
            </a:extLst>
          </p:cNvPr>
          <p:cNvSpPr>
            <a:spLocks noGrp="1"/>
          </p:cNvSpPr>
          <p:nvPr>
            <p:custDataLst>
              <p:tags r:id="rId69"/>
            </p:custDataLst>
          </p:nvPr>
        </p:nvSpPr>
        <p:spPr bwMode="gray">
          <a:xfrm>
            <a:off x="6872288" y="362585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9CA478C9-F432-4017-A457-518A66C25B20}" type="datetime'''''''2''0''''''6'''''''''''''''''''''''''''''''''''''''''''''">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06</a:t>
            </a:fld>
            <a:endParaRPr lang="en-US" sz="600" spc="0">
              <a:solidFill>
                <a:schemeClr val="bg1"/>
              </a:solidFill>
              <a:latin typeface="+mn-lt"/>
              <a:ea typeface="+mj-ea"/>
              <a:cs typeface="+mj-cs"/>
              <a:sym typeface="Arial" panose="020B0604020202020204" pitchFamily="34" charset="0"/>
            </a:endParaRPr>
          </a:p>
        </p:txBody>
      </p:sp>
      <p:sp>
        <p:nvSpPr>
          <p:cNvPr id="79" name="Tekstin paikkamerkki 3">
            <a:extLst>
              <a:ext uri="{FF2B5EF4-FFF2-40B4-BE49-F238E27FC236}">
                <a16:creationId xmlns:a16="http://schemas.microsoft.com/office/drawing/2014/main" id="{529E8FB9-6374-32E5-1A95-F0A0F5760D0C}"/>
              </a:ext>
            </a:extLst>
          </p:cNvPr>
          <p:cNvSpPr>
            <a:spLocks noGrp="1"/>
          </p:cNvSpPr>
          <p:nvPr>
            <p:custDataLst>
              <p:tags r:id="rId70"/>
            </p:custDataLst>
          </p:nvPr>
        </p:nvSpPr>
        <p:spPr bwMode="gray">
          <a:xfrm>
            <a:off x="6872288" y="414178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83F4232F-7BD9-4CCE-BEFA-B61B7AE460DF}" type="datetime'''''2''''''''''1''''''''''''''9'''''''''''">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19</a:t>
            </a:fld>
            <a:endParaRPr lang="en-US" sz="600" spc="0">
              <a:solidFill>
                <a:schemeClr val="bg1"/>
              </a:solidFill>
              <a:latin typeface="+mn-lt"/>
              <a:ea typeface="+mj-ea"/>
              <a:cs typeface="+mj-cs"/>
              <a:sym typeface="Arial" panose="020B0604020202020204" pitchFamily="34" charset="0"/>
            </a:endParaRPr>
          </a:p>
        </p:txBody>
      </p:sp>
      <p:sp>
        <p:nvSpPr>
          <p:cNvPr id="80" name="Text Placeholder 18">
            <a:extLst>
              <a:ext uri="{FF2B5EF4-FFF2-40B4-BE49-F238E27FC236}">
                <a16:creationId xmlns:a16="http://schemas.microsoft.com/office/drawing/2014/main" id="{BC68EAE7-8F55-2729-8CCB-2E42DFC2335F}"/>
              </a:ext>
            </a:extLst>
          </p:cNvPr>
          <p:cNvSpPr>
            <a:spLocks noGrp="1"/>
          </p:cNvSpPr>
          <p:nvPr>
            <p:custDataLst>
              <p:tags r:id="rId71"/>
            </p:custDataLst>
          </p:nvPr>
        </p:nvSpPr>
        <p:spPr bwMode="gray">
          <a:xfrm>
            <a:off x="6826250" y="4506913"/>
            <a:ext cx="257175"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5C016CAB-A51D-46BB-B447-B7065E4C4EE0}" type="datetime'''''''''2''''''''0''''''''''''''27''''''E'''''''''''''">
              <a:rPr lang="en-US" altLang="en-US" sz="600" b="0" smtClean="0">
                <a:solidFill>
                  <a:srgbClr val="000000"/>
                </a:solidFill>
                <a:effectLst/>
                <a:ea typeface="+mj-ea"/>
                <a:cs typeface="+mj-cs"/>
              </a:rPr>
              <a:pPr algn="ctr">
                <a:spcBef>
                  <a:spcPct val="0"/>
                </a:spcBef>
                <a:spcAft>
                  <a:spcPct val="0"/>
                </a:spcAft>
              </a:pPr>
              <a:t>2027E</a:t>
            </a:fld>
            <a:endParaRPr lang="en-US" sz="600" b="0">
              <a:solidFill>
                <a:srgbClr val="000000"/>
              </a:solidFill>
              <a:ea typeface="+mj-ea"/>
              <a:cs typeface="+mj-cs"/>
              <a:sym typeface="+mn-lt"/>
            </a:endParaRPr>
          </a:p>
        </p:txBody>
      </p:sp>
      <p:sp>
        <p:nvSpPr>
          <p:cNvPr id="81" name="Tekstin paikkamerkki 3">
            <a:extLst>
              <a:ext uri="{FF2B5EF4-FFF2-40B4-BE49-F238E27FC236}">
                <a16:creationId xmlns:a16="http://schemas.microsoft.com/office/drawing/2014/main" id="{95E316D7-F5CE-B329-E73F-8BCABCE2AB46}"/>
              </a:ext>
            </a:extLst>
          </p:cNvPr>
          <p:cNvSpPr>
            <a:spLocks noGrp="1"/>
          </p:cNvSpPr>
          <p:nvPr>
            <p:custDataLst>
              <p:tags r:id="rId72"/>
            </p:custDataLst>
          </p:nvPr>
        </p:nvSpPr>
        <p:spPr bwMode="gray">
          <a:xfrm>
            <a:off x="7427913" y="2241550"/>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CD69D653-D874-4560-862B-90E921752F55}" type="datetime'''84'''''''''''''''''''''''''''''''''''''''''''''''''''''">
              <a:rPr lang="en-US" altLang="en-US" sz="600" spc="0" smtClean="0">
                <a:latin typeface="+mn-lt"/>
                <a:ea typeface="+mj-ea"/>
                <a:cs typeface="+mj-cs"/>
              </a:rPr>
              <a:pPr marL="0" lvl="0" indent="0" algn="ctr">
                <a:lnSpc>
                  <a:spcPct val="104250"/>
                </a:lnSpc>
                <a:spcBef>
                  <a:spcPct val="0"/>
                </a:spcBef>
                <a:spcAft>
                  <a:spcPct val="0"/>
                </a:spcAft>
                <a:buNone/>
              </a:pPr>
              <a:t>84</a:t>
            </a:fld>
            <a:endParaRPr lang="en-US" sz="600" spc="0">
              <a:latin typeface="+mn-lt"/>
              <a:ea typeface="+mj-ea"/>
              <a:cs typeface="+mj-cs"/>
              <a:sym typeface="Arial" panose="020B0604020202020204" pitchFamily="34" charset="0"/>
            </a:endParaRPr>
          </a:p>
        </p:txBody>
      </p:sp>
      <p:sp>
        <p:nvSpPr>
          <p:cNvPr id="82" name="Tekstin paikkamerkki 3">
            <a:extLst>
              <a:ext uri="{FF2B5EF4-FFF2-40B4-BE49-F238E27FC236}">
                <a16:creationId xmlns:a16="http://schemas.microsoft.com/office/drawing/2014/main" id="{1762F242-28CC-C769-6395-5B36FEE9D5FD}"/>
              </a:ext>
            </a:extLst>
          </p:cNvPr>
          <p:cNvSpPr>
            <a:spLocks noGrp="1"/>
          </p:cNvSpPr>
          <p:nvPr>
            <p:custDataLst>
              <p:tags r:id="rId73"/>
            </p:custDataLst>
          </p:nvPr>
        </p:nvSpPr>
        <p:spPr bwMode="gray">
          <a:xfrm>
            <a:off x="7404100" y="250983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E5078C17-1888-4C54-B2D8-B009C9C45326}" type="datetime'''''''''''''''''''''''''''''1''''''''''''''3''7'''''''">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37</a:t>
            </a:fld>
            <a:endParaRPr lang="en-US" sz="600" spc="0">
              <a:solidFill>
                <a:schemeClr val="bg1"/>
              </a:solidFill>
              <a:latin typeface="+mn-lt"/>
              <a:ea typeface="+mj-ea"/>
              <a:cs typeface="+mj-cs"/>
              <a:sym typeface="Arial" panose="020B0604020202020204" pitchFamily="34" charset="0"/>
            </a:endParaRPr>
          </a:p>
        </p:txBody>
      </p:sp>
      <p:sp>
        <p:nvSpPr>
          <p:cNvPr id="83" name="Tekstin paikkamerkki 3">
            <a:extLst>
              <a:ext uri="{FF2B5EF4-FFF2-40B4-BE49-F238E27FC236}">
                <a16:creationId xmlns:a16="http://schemas.microsoft.com/office/drawing/2014/main" id="{6A517DB3-A259-ACF8-5ACD-A483AEBDD5B5}"/>
              </a:ext>
            </a:extLst>
          </p:cNvPr>
          <p:cNvSpPr>
            <a:spLocks noGrp="1"/>
          </p:cNvSpPr>
          <p:nvPr>
            <p:custDataLst>
              <p:tags r:id="rId74"/>
            </p:custDataLst>
          </p:nvPr>
        </p:nvSpPr>
        <p:spPr bwMode="gray">
          <a:xfrm>
            <a:off x="7404100" y="286702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D2C6C305-9FB2-4320-855E-546A9AFEC0B6}" type="datetime'''''''''''''''''''''''''''''''''1''5''''7'''''''">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57</a:t>
            </a:fld>
            <a:endParaRPr lang="en-US" sz="600" spc="0">
              <a:solidFill>
                <a:schemeClr val="bg1"/>
              </a:solidFill>
              <a:latin typeface="+mn-lt"/>
              <a:ea typeface="+mj-ea"/>
              <a:cs typeface="+mj-cs"/>
              <a:sym typeface="Arial" panose="020B0604020202020204" pitchFamily="34" charset="0"/>
            </a:endParaRPr>
          </a:p>
        </p:txBody>
      </p:sp>
      <p:sp>
        <p:nvSpPr>
          <p:cNvPr id="84" name="Tekstin paikkamerkki 3">
            <a:extLst>
              <a:ext uri="{FF2B5EF4-FFF2-40B4-BE49-F238E27FC236}">
                <a16:creationId xmlns:a16="http://schemas.microsoft.com/office/drawing/2014/main" id="{CA243931-827C-0B6C-D517-00B7512CB0F0}"/>
              </a:ext>
            </a:extLst>
          </p:cNvPr>
          <p:cNvSpPr>
            <a:spLocks noGrp="1"/>
          </p:cNvSpPr>
          <p:nvPr>
            <p:custDataLst>
              <p:tags r:id="rId75"/>
            </p:custDataLst>
          </p:nvPr>
        </p:nvSpPr>
        <p:spPr bwMode="gray">
          <a:xfrm>
            <a:off x="7404100" y="338613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F7C5FD03-79DE-469B-BA44-36D888390E04}" type="datetime'''''''''''2''''''''6''''9'''''''''">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69</a:t>
            </a:fld>
            <a:endParaRPr lang="en-US" sz="600" spc="0">
              <a:solidFill>
                <a:schemeClr val="bg1"/>
              </a:solidFill>
              <a:latin typeface="+mn-lt"/>
              <a:ea typeface="+mj-ea"/>
              <a:cs typeface="+mj-cs"/>
              <a:sym typeface="Arial" panose="020B0604020202020204" pitchFamily="34" charset="0"/>
            </a:endParaRPr>
          </a:p>
        </p:txBody>
      </p:sp>
      <p:sp>
        <p:nvSpPr>
          <p:cNvPr id="85" name="Tekstin paikkamerkki 3">
            <a:extLst>
              <a:ext uri="{FF2B5EF4-FFF2-40B4-BE49-F238E27FC236}">
                <a16:creationId xmlns:a16="http://schemas.microsoft.com/office/drawing/2014/main" id="{77475196-C8D5-E87F-1DA6-17578D3009FB}"/>
              </a:ext>
            </a:extLst>
          </p:cNvPr>
          <p:cNvSpPr>
            <a:spLocks noGrp="1"/>
          </p:cNvSpPr>
          <p:nvPr>
            <p:custDataLst>
              <p:tags r:id="rId76"/>
            </p:custDataLst>
          </p:nvPr>
        </p:nvSpPr>
        <p:spPr bwMode="gray">
          <a:xfrm>
            <a:off x="7404100" y="406082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C1AFB47-06C1-4275-AB2C-D5CCB9E285A8}" type="datetime'''''''''''2''''''''8''''''''''''''6'''''''''''''''''''''''''''">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286</a:t>
            </a:fld>
            <a:endParaRPr lang="en-US" sz="600" spc="0">
              <a:solidFill>
                <a:schemeClr val="bg1"/>
              </a:solidFill>
              <a:latin typeface="+mn-lt"/>
              <a:ea typeface="+mj-ea"/>
              <a:cs typeface="+mj-cs"/>
              <a:sym typeface="Arial" panose="020B0604020202020204" pitchFamily="34" charset="0"/>
            </a:endParaRPr>
          </a:p>
        </p:txBody>
      </p:sp>
      <p:sp>
        <p:nvSpPr>
          <p:cNvPr id="86" name="Text Placeholder 18">
            <a:extLst>
              <a:ext uri="{FF2B5EF4-FFF2-40B4-BE49-F238E27FC236}">
                <a16:creationId xmlns:a16="http://schemas.microsoft.com/office/drawing/2014/main" id="{8B5E83E2-378A-6D21-2DFF-90909FEA66E4}"/>
              </a:ext>
            </a:extLst>
          </p:cNvPr>
          <p:cNvSpPr>
            <a:spLocks noGrp="1"/>
          </p:cNvSpPr>
          <p:nvPr>
            <p:custDataLst>
              <p:tags r:id="rId77"/>
            </p:custDataLst>
          </p:nvPr>
        </p:nvSpPr>
        <p:spPr bwMode="gray">
          <a:xfrm>
            <a:off x="7358063" y="4506913"/>
            <a:ext cx="257175" cy="92075"/>
          </a:xfrm>
          <a:prstGeom prst="rect">
            <a:avLst/>
          </a:prstGeom>
          <a:noFill/>
          <a:effectLst/>
        </p:spPr>
        <p:txBody>
          <a:bodyPr vert="horz" wrap="none" lIns="0" tIns="0" rIns="0" bIns="0" numCol="1" spcCol="0" anchor="t"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spcBef>
                <a:spcPct val="0"/>
              </a:spcBef>
              <a:spcAft>
                <a:spcPct val="0"/>
              </a:spcAft>
            </a:pPr>
            <a:fld id="{67F9A066-A10D-4805-AB29-0465EF3AD0C7}" type="datetime'''''''2''''''''''0''3''''''''0''''''''''''E'''''''''">
              <a:rPr lang="en-US" altLang="en-US" sz="600" b="0" smtClean="0">
                <a:solidFill>
                  <a:srgbClr val="000000"/>
                </a:solidFill>
                <a:effectLst/>
                <a:ea typeface="+mj-ea"/>
                <a:cs typeface="+mj-cs"/>
              </a:rPr>
              <a:pPr algn="ctr">
                <a:spcBef>
                  <a:spcPct val="0"/>
                </a:spcBef>
                <a:spcAft>
                  <a:spcPct val="0"/>
                </a:spcAft>
              </a:pPr>
              <a:t>2030E</a:t>
            </a:fld>
            <a:endParaRPr lang="en-US" sz="600" b="0">
              <a:solidFill>
                <a:srgbClr val="000000"/>
              </a:solidFill>
              <a:ea typeface="+mj-ea"/>
              <a:cs typeface="+mj-cs"/>
              <a:sym typeface="+mn-lt"/>
            </a:endParaRPr>
          </a:p>
        </p:txBody>
      </p:sp>
      <p:sp>
        <p:nvSpPr>
          <p:cNvPr id="64" name="Tekstin paikkamerkki 3">
            <a:extLst>
              <a:ext uri="{FF2B5EF4-FFF2-40B4-BE49-F238E27FC236}">
                <a16:creationId xmlns:a16="http://schemas.microsoft.com/office/drawing/2014/main" id="{34306094-62E5-4A20-4861-F13203EFFF6B}"/>
              </a:ext>
            </a:extLst>
          </p:cNvPr>
          <p:cNvSpPr>
            <a:spLocks noGrp="1"/>
          </p:cNvSpPr>
          <p:nvPr>
            <p:custDataLst>
              <p:tags r:id="rId78"/>
            </p:custDataLst>
          </p:nvPr>
        </p:nvSpPr>
        <p:spPr bwMode="gray">
          <a:xfrm>
            <a:off x="6365875" y="3055938"/>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494F71C-D021-4E95-9A58-C35F4BD69387}" type="datetime'''''''''''''8''''''''''''''7'''">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87</a:t>
            </a:fld>
            <a:endParaRPr lang="en-US" sz="600" spc="0">
              <a:solidFill>
                <a:schemeClr val="bg1"/>
              </a:solidFill>
              <a:latin typeface="+mn-lt"/>
              <a:ea typeface="+mj-ea"/>
              <a:cs typeface="+mj-cs"/>
              <a:sym typeface="Arial" panose="020B0604020202020204" pitchFamily="34" charset="0"/>
            </a:endParaRPr>
          </a:p>
        </p:txBody>
      </p:sp>
      <p:sp>
        <p:nvSpPr>
          <p:cNvPr id="97" name="Tekstin paikkamerkki 3">
            <a:extLst>
              <a:ext uri="{FF2B5EF4-FFF2-40B4-BE49-F238E27FC236}">
                <a16:creationId xmlns:a16="http://schemas.microsoft.com/office/drawing/2014/main" id="{0A6CF955-9201-909D-9DA8-B29C814A9082}"/>
              </a:ext>
            </a:extLst>
          </p:cNvPr>
          <p:cNvSpPr>
            <a:spLocks noGrp="1"/>
          </p:cNvSpPr>
          <p:nvPr>
            <p:custDataLst>
              <p:tags r:id="rId79"/>
            </p:custDataLst>
          </p:nvPr>
        </p:nvSpPr>
        <p:spPr bwMode="gray">
          <a:xfrm>
            <a:off x="5280025" y="369728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2C8BB9B8-720E-487A-A9FA-E427D67219D1}" type="datetime'''''''''''''''''1''7''''''''''''''8'">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178</a:t>
            </a:fld>
            <a:endParaRPr lang="en-US" sz="600" spc="0">
              <a:solidFill>
                <a:schemeClr val="bg1"/>
              </a:solidFill>
              <a:latin typeface="+mn-lt"/>
              <a:ea typeface="+mj-ea"/>
              <a:cs typeface="+mj-cs"/>
              <a:sym typeface="Arial" panose="020B0604020202020204" pitchFamily="34" charset="0"/>
            </a:endParaRPr>
          </a:p>
        </p:txBody>
      </p:sp>
      <p:sp>
        <p:nvSpPr>
          <p:cNvPr id="96" name="Tekstin paikkamerkki 3">
            <a:extLst>
              <a:ext uri="{FF2B5EF4-FFF2-40B4-BE49-F238E27FC236}">
                <a16:creationId xmlns:a16="http://schemas.microsoft.com/office/drawing/2014/main" id="{65A5F7AD-DDD2-7CAA-532A-2E2A3507F048}"/>
              </a:ext>
            </a:extLst>
          </p:cNvPr>
          <p:cNvSpPr>
            <a:spLocks noGrp="1"/>
          </p:cNvSpPr>
          <p:nvPr>
            <p:custDataLst>
              <p:tags r:id="rId80"/>
            </p:custDataLst>
          </p:nvPr>
        </p:nvSpPr>
        <p:spPr bwMode="gray">
          <a:xfrm>
            <a:off x="5303838" y="3419475"/>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FCC18E10-6857-49C9-A21B-640103D130F2}" type="datetime'''''''''''''''''''''''''5''''''1'''''''''''''''''''">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51</a:t>
            </a:fld>
            <a:endParaRPr lang="en-US" sz="600" spc="0">
              <a:solidFill>
                <a:schemeClr val="bg1"/>
              </a:solidFill>
              <a:latin typeface="+mn-lt"/>
              <a:ea typeface="+mj-ea"/>
              <a:cs typeface="+mj-cs"/>
              <a:sym typeface="Arial" panose="020B0604020202020204" pitchFamily="34" charset="0"/>
            </a:endParaRPr>
          </a:p>
        </p:txBody>
      </p:sp>
      <p:sp>
        <p:nvSpPr>
          <p:cNvPr id="89" name="Tekstin paikkamerkki 3">
            <a:extLst>
              <a:ext uri="{FF2B5EF4-FFF2-40B4-BE49-F238E27FC236}">
                <a16:creationId xmlns:a16="http://schemas.microsoft.com/office/drawing/2014/main" id="{D38B9884-44EC-93E5-2C0F-2A565EC41283}"/>
              </a:ext>
            </a:extLst>
          </p:cNvPr>
          <p:cNvSpPr>
            <a:spLocks noGrp="1"/>
          </p:cNvSpPr>
          <p:nvPr>
            <p:custDataLst>
              <p:tags r:id="rId81"/>
            </p:custDataLst>
          </p:nvPr>
        </p:nvSpPr>
        <p:spPr bwMode="gray">
          <a:xfrm>
            <a:off x="5280025" y="2982913"/>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F90D6F23-2857-4E62-91BA-EF73C4B72C5B}" type="datetime'''''''''''''556'''''''''''''''''">
              <a:rPr lang="en-US" altLang="en-US" sz="600" spc="0" smtClean="0">
                <a:latin typeface="+mn-lt"/>
                <a:ea typeface="+mj-ea"/>
                <a:cs typeface="+mj-cs"/>
              </a:rPr>
              <a:pPr marL="0" lvl="0" indent="0" algn="ctr">
                <a:lnSpc>
                  <a:spcPct val="104250"/>
                </a:lnSpc>
                <a:spcBef>
                  <a:spcPct val="0"/>
                </a:spcBef>
                <a:spcAft>
                  <a:spcPct val="0"/>
                </a:spcAft>
                <a:buNone/>
              </a:pPr>
              <a:t>556</a:t>
            </a:fld>
            <a:endParaRPr lang="en-US" sz="600" spc="0">
              <a:latin typeface="+mn-lt"/>
              <a:ea typeface="+mj-ea"/>
              <a:cs typeface="+mj-cs"/>
              <a:sym typeface="Arial" panose="020B0604020202020204" pitchFamily="34" charset="0"/>
            </a:endParaRPr>
          </a:p>
        </p:txBody>
      </p:sp>
      <p:sp>
        <p:nvSpPr>
          <p:cNvPr id="90" name="Tekstin paikkamerkki 3">
            <a:extLst>
              <a:ext uri="{FF2B5EF4-FFF2-40B4-BE49-F238E27FC236}">
                <a16:creationId xmlns:a16="http://schemas.microsoft.com/office/drawing/2014/main" id="{78863797-8572-5656-F97C-61776E4FAAAD}"/>
              </a:ext>
            </a:extLst>
          </p:cNvPr>
          <p:cNvSpPr>
            <a:spLocks noGrp="1"/>
          </p:cNvSpPr>
          <p:nvPr>
            <p:custDataLst>
              <p:tags r:id="rId82"/>
            </p:custDataLst>
          </p:nvPr>
        </p:nvSpPr>
        <p:spPr bwMode="gray">
          <a:xfrm>
            <a:off x="5545138" y="297973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34681627-1B26-4492-A460-BED770AA79D5}" type="datetime'''''''''''''''''''5''''''''''5''''''''8'''''''''''''''''''">
              <a:rPr lang="en-US" altLang="en-US" sz="600" spc="0" smtClean="0">
                <a:latin typeface="+mn-lt"/>
                <a:ea typeface="+mj-ea"/>
                <a:cs typeface="+mj-cs"/>
              </a:rPr>
              <a:pPr marL="0" lvl="0" indent="0" algn="ctr">
                <a:lnSpc>
                  <a:spcPct val="104250"/>
                </a:lnSpc>
                <a:spcBef>
                  <a:spcPct val="0"/>
                </a:spcBef>
                <a:spcAft>
                  <a:spcPct val="0"/>
                </a:spcAft>
                <a:buNone/>
              </a:pPr>
              <a:t>558</a:t>
            </a:fld>
            <a:endParaRPr lang="en-US" sz="600" spc="0">
              <a:latin typeface="+mn-lt"/>
              <a:ea typeface="+mj-ea"/>
              <a:cs typeface="+mj-cs"/>
              <a:sym typeface="Arial" panose="020B0604020202020204" pitchFamily="34" charset="0"/>
            </a:endParaRPr>
          </a:p>
        </p:txBody>
      </p:sp>
      <p:sp>
        <p:nvSpPr>
          <p:cNvPr id="91" name="Tekstin paikkamerkki 3">
            <a:extLst>
              <a:ext uri="{FF2B5EF4-FFF2-40B4-BE49-F238E27FC236}">
                <a16:creationId xmlns:a16="http://schemas.microsoft.com/office/drawing/2014/main" id="{E39B64DF-EE1E-07A4-2BCF-2B36A0D0B117}"/>
              </a:ext>
            </a:extLst>
          </p:cNvPr>
          <p:cNvSpPr>
            <a:spLocks noGrp="1"/>
          </p:cNvSpPr>
          <p:nvPr>
            <p:custDataLst>
              <p:tags r:id="rId83"/>
            </p:custDataLst>
          </p:nvPr>
        </p:nvSpPr>
        <p:spPr bwMode="gray">
          <a:xfrm>
            <a:off x="5810250" y="3130550"/>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E0025A86-849B-41F3-AC83-9489E20233BE}" type="datetime'''''4''''''''9''''''''''''''''''''''''''''6'''''''">
              <a:rPr lang="en-US" altLang="en-US" sz="600" spc="0" smtClean="0">
                <a:latin typeface="+mn-lt"/>
                <a:ea typeface="+mj-ea"/>
                <a:cs typeface="+mj-cs"/>
              </a:rPr>
              <a:pPr marL="0" lvl="0" indent="0" algn="ctr">
                <a:lnSpc>
                  <a:spcPct val="104250"/>
                </a:lnSpc>
                <a:spcBef>
                  <a:spcPct val="0"/>
                </a:spcBef>
                <a:spcAft>
                  <a:spcPct val="0"/>
                </a:spcAft>
                <a:buNone/>
              </a:pPr>
              <a:t>496</a:t>
            </a:fld>
            <a:endParaRPr lang="en-US" sz="600" spc="0">
              <a:latin typeface="+mn-lt"/>
              <a:ea typeface="+mj-ea"/>
              <a:cs typeface="+mj-cs"/>
              <a:sym typeface="Arial" panose="020B0604020202020204" pitchFamily="34" charset="0"/>
            </a:endParaRPr>
          </a:p>
        </p:txBody>
      </p:sp>
      <p:sp>
        <p:nvSpPr>
          <p:cNvPr id="92" name="Tekstin paikkamerkki 3">
            <a:extLst>
              <a:ext uri="{FF2B5EF4-FFF2-40B4-BE49-F238E27FC236}">
                <a16:creationId xmlns:a16="http://schemas.microsoft.com/office/drawing/2014/main" id="{4D2B1ED1-0296-2E94-9463-D7AB4904761C}"/>
              </a:ext>
            </a:extLst>
          </p:cNvPr>
          <p:cNvSpPr>
            <a:spLocks noGrp="1"/>
          </p:cNvSpPr>
          <p:nvPr>
            <p:custDataLst>
              <p:tags r:id="rId84"/>
            </p:custDataLst>
          </p:nvPr>
        </p:nvSpPr>
        <p:spPr bwMode="gray">
          <a:xfrm>
            <a:off x="6076950" y="291147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6CAF064F-762B-42D5-ACF3-B3BE5E3F6FB9}" type="datetime'''''''''''''''''5''''''8''''''''6'">
              <a:rPr lang="en-US" altLang="en-US" sz="600" spc="0" smtClean="0">
                <a:latin typeface="+mn-lt"/>
                <a:ea typeface="+mj-ea"/>
                <a:cs typeface="+mj-cs"/>
              </a:rPr>
              <a:pPr marL="0" lvl="0" indent="0" algn="ctr">
                <a:lnSpc>
                  <a:spcPct val="104250"/>
                </a:lnSpc>
                <a:spcBef>
                  <a:spcPct val="0"/>
                </a:spcBef>
                <a:spcAft>
                  <a:spcPct val="0"/>
                </a:spcAft>
                <a:buNone/>
              </a:pPr>
              <a:t>586</a:t>
            </a:fld>
            <a:endParaRPr lang="en-US" sz="600" spc="0">
              <a:latin typeface="+mn-lt"/>
              <a:ea typeface="+mj-ea"/>
              <a:cs typeface="+mj-cs"/>
              <a:sym typeface="Arial" panose="020B0604020202020204" pitchFamily="34" charset="0"/>
            </a:endParaRPr>
          </a:p>
        </p:txBody>
      </p:sp>
      <p:sp>
        <p:nvSpPr>
          <p:cNvPr id="93" name="Tekstin paikkamerkki 3">
            <a:extLst>
              <a:ext uri="{FF2B5EF4-FFF2-40B4-BE49-F238E27FC236}">
                <a16:creationId xmlns:a16="http://schemas.microsoft.com/office/drawing/2014/main" id="{4FB86E16-4977-20EA-6FF5-1CC61313937F}"/>
              </a:ext>
            </a:extLst>
          </p:cNvPr>
          <p:cNvSpPr>
            <a:spLocks noGrp="1"/>
          </p:cNvSpPr>
          <p:nvPr>
            <p:custDataLst>
              <p:tags r:id="rId85"/>
            </p:custDataLst>
          </p:nvPr>
        </p:nvSpPr>
        <p:spPr bwMode="gray">
          <a:xfrm>
            <a:off x="6342063" y="2713038"/>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3DB757BA-0763-436D-B093-41386FE39127}" type="datetime'''''''''''''''''''''''''6''''''''6''8'''">
              <a:rPr lang="en-US" altLang="en-US" sz="600" spc="0" smtClean="0">
                <a:latin typeface="+mn-lt"/>
                <a:ea typeface="+mj-ea"/>
                <a:cs typeface="+mj-cs"/>
              </a:rPr>
              <a:pPr marL="0" lvl="0" indent="0" algn="ctr">
                <a:lnSpc>
                  <a:spcPct val="104250"/>
                </a:lnSpc>
                <a:spcBef>
                  <a:spcPct val="0"/>
                </a:spcBef>
                <a:spcAft>
                  <a:spcPct val="0"/>
                </a:spcAft>
                <a:buNone/>
              </a:pPr>
              <a:t>668</a:t>
            </a:fld>
            <a:endParaRPr lang="en-US" sz="600" spc="0">
              <a:latin typeface="+mn-lt"/>
              <a:ea typeface="+mj-ea"/>
              <a:cs typeface="+mj-cs"/>
              <a:sym typeface="Arial" panose="020B0604020202020204" pitchFamily="34" charset="0"/>
            </a:endParaRPr>
          </a:p>
        </p:txBody>
      </p:sp>
      <p:sp>
        <p:nvSpPr>
          <p:cNvPr id="94" name="Tekstin paikkamerkki 3">
            <a:extLst>
              <a:ext uri="{FF2B5EF4-FFF2-40B4-BE49-F238E27FC236}">
                <a16:creationId xmlns:a16="http://schemas.microsoft.com/office/drawing/2014/main" id="{68AB1EB9-144C-DEDB-E0C8-FF7A25DF6427}"/>
              </a:ext>
            </a:extLst>
          </p:cNvPr>
          <p:cNvSpPr>
            <a:spLocks noGrp="1"/>
          </p:cNvSpPr>
          <p:nvPr>
            <p:custDataLst>
              <p:tags r:id="rId86"/>
            </p:custDataLst>
          </p:nvPr>
        </p:nvSpPr>
        <p:spPr bwMode="gray">
          <a:xfrm>
            <a:off x="6607175" y="260032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50C1A8B9-DD4A-428F-B520-9CD5C56D76FA}" type="datetime'''''''''''7''''''''''1''''4'''">
              <a:rPr lang="en-US" altLang="en-US" sz="600" spc="0" smtClean="0">
                <a:latin typeface="+mn-lt"/>
                <a:ea typeface="+mj-ea"/>
                <a:cs typeface="+mj-cs"/>
              </a:rPr>
              <a:pPr marL="0" lvl="0" indent="0" algn="ctr">
                <a:lnSpc>
                  <a:spcPct val="104250"/>
                </a:lnSpc>
                <a:spcBef>
                  <a:spcPct val="0"/>
                </a:spcBef>
                <a:spcAft>
                  <a:spcPct val="0"/>
                </a:spcAft>
                <a:buNone/>
              </a:pPr>
              <a:t>714</a:t>
            </a:fld>
            <a:endParaRPr lang="en-US" sz="600" spc="0">
              <a:latin typeface="+mn-lt"/>
              <a:ea typeface="+mj-ea"/>
              <a:cs typeface="+mj-cs"/>
              <a:sym typeface="Arial" panose="020B0604020202020204" pitchFamily="34" charset="0"/>
            </a:endParaRPr>
          </a:p>
        </p:txBody>
      </p:sp>
      <p:sp>
        <p:nvSpPr>
          <p:cNvPr id="98" name="Tekstin paikkamerkki 3">
            <a:extLst>
              <a:ext uri="{FF2B5EF4-FFF2-40B4-BE49-F238E27FC236}">
                <a16:creationId xmlns:a16="http://schemas.microsoft.com/office/drawing/2014/main" id="{24173BF2-CAF8-4D1D-BE61-65C3A91DFAEA}"/>
              </a:ext>
            </a:extLst>
          </p:cNvPr>
          <p:cNvSpPr>
            <a:spLocks noGrp="1"/>
          </p:cNvSpPr>
          <p:nvPr>
            <p:custDataLst>
              <p:tags r:id="rId87"/>
            </p:custDataLst>
          </p:nvPr>
        </p:nvSpPr>
        <p:spPr bwMode="gray">
          <a:xfrm>
            <a:off x="6872288" y="260667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A77A63B7-3B52-4BDB-9E33-941B43190989}" type="datetime'''''''''''''''''''''''''71''''''''''''''''1'''''''''''''">
              <a:rPr lang="en-US" altLang="en-US" sz="600" spc="0" smtClean="0">
                <a:latin typeface="+mn-lt"/>
                <a:ea typeface="+mj-ea"/>
                <a:cs typeface="+mj-cs"/>
              </a:rPr>
              <a:pPr marL="0" lvl="0" indent="0" algn="ctr">
                <a:lnSpc>
                  <a:spcPct val="104250"/>
                </a:lnSpc>
                <a:spcBef>
                  <a:spcPct val="0"/>
                </a:spcBef>
                <a:spcAft>
                  <a:spcPct val="0"/>
                </a:spcAft>
                <a:buNone/>
              </a:pPr>
              <a:t>711</a:t>
            </a:fld>
            <a:endParaRPr lang="en-US" sz="600" spc="0">
              <a:latin typeface="+mn-lt"/>
              <a:ea typeface="+mj-ea"/>
              <a:cs typeface="+mj-cs"/>
              <a:sym typeface="Arial" panose="020B0604020202020204" pitchFamily="34" charset="0"/>
            </a:endParaRPr>
          </a:p>
        </p:txBody>
      </p:sp>
      <p:sp>
        <p:nvSpPr>
          <p:cNvPr id="99" name="Tekstin paikkamerkki 3">
            <a:extLst>
              <a:ext uri="{FF2B5EF4-FFF2-40B4-BE49-F238E27FC236}">
                <a16:creationId xmlns:a16="http://schemas.microsoft.com/office/drawing/2014/main" id="{15B2BE1D-7D8D-F3FB-893C-8643964E3964}"/>
              </a:ext>
            </a:extLst>
          </p:cNvPr>
          <p:cNvSpPr>
            <a:spLocks noGrp="1"/>
          </p:cNvSpPr>
          <p:nvPr>
            <p:custDataLst>
              <p:tags r:id="rId88"/>
            </p:custDataLst>
          </p:nvPr>
        </p:nvSpPr>
        <p:spPr bwMode="gray">
          <a:xfrm>
            <a:off x="7404100" y="2066925"/>
            <a:ext cx="166688"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b">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E60BA826-02A9-4BAD-95DD-B167F9DE57BF}" type="datetime'''''9''''''''''''''''''''''''''''''''''3''''3'">
              <a:rPr lang="en-US" altLang="en-US" sz="600" spc="0" smtClean="0">
                <a:latin typeface="+mn-lt"/>
                <a:ea typeface="+mj-ea"/>
                <a:cs typeface="+mj-cs"/>
              </a:rPr>
              <a:pPr marL="0" lvl="0" indent="0" algn="ctr">
                <a:lnSpc>
                  <a:spcPct val="104250"/>
                </a:lnSpc>
                <a:spcBef>
                  <a:spcPct val="0"/>
                </a:spcBef>
                <a:spcAft>
                  <a:spcPct val="0"/>
                </a:spcAft>
                <a:buNone/>
              </a:pPr>
              <a:t>933</a:t>
            </a:fld>
            <a:endParaRPr lang="en-US" sz="600" spc="0">
              <a:latin typeface="+mn-lt"/>
              <a:ea typeface="+mj-ea"/>
              <a:cs typeface="+mj-cs"/>
              <a:sym typeface="Arial" panose="020B0604020202020204" pitchFamily="34" charset="0"/>
            </a:endParaRPr>
          </a:p>
        </p:txBody>
      </p:sp>
      <p:sp>
        <p:nvSpPr>
          <p:cNvPr id="95" name="Tekstin paikkamerkki 3">
            <a:extLst>
              <a:ext uri="{FF2B5EF4-FFF2-40B4-BE49-F238E27FC236}">
                <a16:creationId xmlns:a16="http://schemas.microsoft.com/office/drawing/2014/main" id="{D092AD21-9F4F-3DFD-20D2-2437D082C016}"/>
              </a:ext>
            </a:extLst>
          </p:cNvPr>
          <p:cNvSpPr>
            <a:spLocks noGrp="1"/>
          </p:cNvSpPr>
          <p:nvPr>
            <p:custDataLst>
              <p:tags r:id="rId89"/>
            </p:custDataLst>
          </p:nvPr>
        </p:nvSpPr>
        <p:spPr bwMode="gray">
          <a:xfrm>
            <a:off x="5303838" y="3282950"/>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1D711AF-15BB-4A4D-A8B4-8EB18308FE85}" type="datetime'''''''''''''6''''''1'''''''">
              <a:rPr lang="en-US" altLang="en-US" sz="600" spc="0" smtClean="0">
                <a:solidFill>
                  <a:schemeClr val="bg1"/>
                </a:solidFill>
                <a:latin typeface="+mn-lt"/>
                <a:ea typeface="+mj-ea"/>
                <a:cs typeface="+mj-cs"/>
              </a:rPr>
              <a:pPr marL="0" lvl="0" indent="0" algn="ctr">
                <a:lnSpc>
                  <a:spcPct val="104250"/>
                </a:lnSpc>
                <a:spcBef>
                  <a:spcPct val="0"/>
                </a:spcBef>
                <a:spcAft>
                  <a:spcPct val="0"/>
                </a:spcAft>
                <a:buNone/>
              </a:pPr>
              <a:t>61</a:t>
            </a:fld>
            <a:endParaRPr lang="en-US" sz="600" spc="0">
              <a:solidFill>
                <a:schemeClr val="bg1"/>
              </a:solidFill>
              <a:latin typeface="+mn-lt"/>
              <a:ea typeface="+mj-ea"/>
              <a:cs typeface="+mj-cs"/>
              <a:sym typeface="Arial" panose="020B0604020202020204" pitchFamily="34" charset="0"/>
            </a:endParaRPr>
          </a:p>
        </p:txBody>
      </p:sp>
      <p:sp>
        <p:nvSpPr>
          <p:cNvPr id="88" name="Tekstin paikkamerkki 3">
            <a:extLst>
              <a:ext uri="{FF2B5EF4-FFF2-40B4-BE49-F238E27FC236}">
                <a16:creationId xmlns:a16="http://schemas.microsoft.com/office/drawing/2014/main" id="{BDF5670E-C596-ECFC-D41B-130E719A3AE2}"/>
              </a:ext>
            </a:extLst>
          </p:cNvPr>
          <p:cNvSpPr>
            <a:spLocks noGrp="1"/>
          </p:cNvSpPr>
          <p:nvPr>
            <p:custDataLst>
              <p:tags r:id="rId90"/>
            </p:custDataLst>
          </p:nvPr>
        </p:nvSpPr>
        <p:spPr bwMode="gray">
          <a:xfrm>
            <a:off x="5303838" y="3132138"/>
            <a:ext cx="117475" cy="95250"/>
          </a:xfrm>
          <a:prstGeom prst="rect">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9525" tIns="0" rIns="9525"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78A63131-A35F-4D60-989F-866156C1666D}" type="datetime'''''''''''''''''''''''''''''''''''''''''''63'''''">
              <a:rPr lang="en-US" altLang="en-US" sz="600" spc="0" smtClean="0">
                <a:latin typeface="+mn-lt"/>
                <a:ea typeface="+mj-ea"/>
                <a:cs typeface="+mj-cs"/>
              </a:rPr>
              <a:pPr marL="0" lvl="0" indent="0" algn="ctr">
                <a:lnSpc>
                  <a:spcPct val="104250"/>
                </a:lnSpc>
                <a:spcBef>
                  <a:spcPct val="0"/>
                </a:spcBef>
                <a:spcAft>
                  <a:spcPct val="0"/>
                </a:spcAft>
                <a:buNone/>
              </a:pPr>
              <a:t>63</a:t>
            </a:fld>
            <a:endParaRPr lang="en-US" sz="600" spc="0">
              <a:latin typeface="+mn-lt"/>
              <a:ea typeface="+mj-ea"/>
              <a:cs typeface="+mj-cs"/>
              <a:sym typeface="Arial" panose="020B0604020202020204" pitchFamily="34" charset="0"/>
            </a:endParaRPr>
          </a:p>
        </p:txBody>
      </p:sp>
      <p:sp>
        <p:nvSpPr>
          <p:cNvPr id="87" name="Text Placeholder 5">
            <a:extLst>
              <a:ext uri="{FF2B5EF4-FFF2-40B4-BE49-F238E27FC236}">
                <a16:creationId xmlns:a16="http://schemas.microsoft.com/office/drawing/2014/main" id="{8BB88D57-110F-971E-4158-171CD829D728}"/>
              </a:ext>
            </a:extLst>
          </p:cNvPr>
          <p:cNvSpPr>
            <a:spLocks noGrp="1"/>
          </p:cNvSpPr>
          <p:nvPr>
            <p:custDataLst>
              <p:tags r:id="rId91"/>
            </p:custDataLst>
          </p:nvPr>
        </p:nvSpPr>
        <p:spPr bwMode="gray">
          <a:xfrm>
            <a:off x="4930775" y="1825625"/>
            <a:ext cx="347663" cy="92075"/>
          </a:xfrm>
          <a:prstGeom prst="rect">
            <a:avLst/>
          </a:prstGeom>
          <a:noFill/>
          <a:effectLst/>
        </p:spPr>
        <p:txBody>
          <a:bodyPr vert="horz" wrap="none" lIns="0" tIns="0" rIns="0" bIns="0" numCol="1" spcCol="0" anchor="b" anchorCtr="0">
            <a:noAutofit/>
          </a:bodyPr>
          <a:lstStyle>
            <a:lvl1pPr marL="0" indent="0" algn="l" defTabSz="914400" rtl="0" eaLnBrk="1" latinLnBrk="0" hangingPunct="1">
              <a:spcBef>
                <a:spcPts val="384"/>
              </a:spcBef>
              <a:buFontTx/>
              <a:buNone/>
              <a:defRPr sz="1600" b="1" kern="1200">
                <a:solidFill>
                  <a:schemeClr val="tx1"/>
                </a:solidFill>
                <a:latin typeface="+mn-lt"/>
                <a:ea typeface="+mn-ea"/>
                <a:cs typeface="+mn-cs"/>
              </a:defRPr>
            </a:lvl1pPr>
            <a:lvl2pPr marL="4572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2pPr>
            <a:lvl3pPr marL="914400" indent="-228600"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3pPr>
            <a:lvl4pPr marL="1376363" indent="-233362"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4pPr>
            <a:lvl5pPr marL="2058988" indent="-230188" algn="l" defTabSz="914400" rtl="0" eaLnBrk="1" latinLnBrk="0" hangingPunct="1">
              <a:spcBef>
                <a:spcPts val="384"/>
              </a:spcBef>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ct val="0"/>
              </a:spcBef>
              <a:spcAft>
                <a:spcPct val="0"/>
              </a:spcAft>
            </a:pPr>
            <a:r>
              <a:rPr lang="en-US" sz="600" b="0">
                <a:latin typeface="+mj-lt"/>
                <a:ea typeface="+mj-ea"/>
                <a:cs typeface="+mj-cs"/>
                <a:sym typeface="Arial"/>
              </a:rPr>
              <a:t>(€Billion)</a:t>
            </a:r>
          </a:p>
        </p:txBody>
      </p:sp>
      <p:sp>
        <p:nvSpPr>
          <p:cNvPr id="100" name="Tekstin paikkamerkki 3">
            <a:extLst>
              <a:ext uri="{FF2B5EF4-FFF2-40B4-BE49-F238E27FC236}">
                <a16:creationId xmlns:a16="http://schemas.microsoft.com/office/drawing/2014/main" id="{361F27D7-FB91-4C86-5FC6-7FEF9706C429}"/>
              </a:ext>
            </a:extLst>
          </p:cNvPr>
          <p:cNvSpPr>
            <a:spLocks noGrp="1"/>
          </p:cNvSpPr>
          <p:nvPr>
            <p:custDataLst>
              <p:tags r:id="rId92"/>
            </p:custDataLst>
          </p:nvPr>
        </p:nvSpPr>
        <p:spPr bwMode="gray">
          <a:xfrm>
            <a:off x="6462713" y="2312988"/>
            <a:ext cx="187325" cy="134938"/>
          </a:xfrm>
          <a:prstGeom prst="ellipse">
            <a:avLst/>
          </a:prstGeom>
          <a:noFill/>
          <a:ln>
            <a:noFill/>
          </a:ln>
          <a:effectLst/>
          <a:extLst>
            <a:ext uri="{909E8E84-426E-40DD-AFC4-6F175D3DCCD1}">
              <a14:hiddenFill xmlns:a14="http://schemas.microsoft.com/office/drawing/2010/main">
                <a:solidFill>
                  <a:schemeClr val="accent1"/>
                </a:solidFill>
              </a14:hiddenFill>
            </a:ext>
          </a:extLst>
        </p:spPr>
        <p:txBody>
          <a:bodyPr vert="horz" wrap="none" lIns="0" tIns="0" rIns="0" bIns="0" rtlCol="0" anchor="ctr">
            <a:noAutofit/>
          </a:bodyPr>
          <a:lstStyle>
            <a:lvl1pPr marL="234000" indent="-212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6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29732" indent="-158400" algn="l" defTabSz="806052" rtl="0" eaLnBrk="1" latinLnBrk="0" hangingPunct="1">
              <a:lnSpc>
                <a:spcPts val="1800"/>
              </a:lnSpc>
              <a:spcBef>
                <a:spcPts val="200"/>
              </a:spcBef>
              <a:spcAft>
                <a:spcPts val="200"/>
              </a:spcAft>
              <a:buClrTx/>
              <a:buSzPct val="125000"/>
              <a:buFont typeface="Arial" pitchFamily="34" charset="0"/>
              <a:buChar char="–"/>
              <a:defRPr sz="13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944591" indent="-158400" algn="l" defTabSz="806052" rtl="0" eaLnBrk="1" latinLnBrk="0" hangingPunct="1">
              <a:lnSpc>
                <a:spcPts val="1800"/>
              </a:lnSpc>
              <a:spcBef>
                <a:spcPts val="200"/>
              </a:spcBef>
              <a:spcAft>
                <a:spcPts val="200"/>
              </a:spcAft>
              <a:buClrTx/>
              <a:buSzPct val="125000"/>
              <a:buFont typeface="Arial" panose="020B0604020202020204"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267851" indent="-158400" algn="l" defTabSz="806052" rtl="0" eaLnBrk="1" latinLnBrk="0" hangingPunct="1">
              <a:lnSpc>
                <a:spcPts val="1800"/>
              </a:lnSpc>
              <a:spcBef>
                <a:spcPts val="200"/>
              </a:spcBef>
              <a:spcAft>
                <a:spcPts val="200"/>
              </a:spcAft>
              <a:buClrTx/>
              <a:buSzPct val="125000"/>
              <a:buFont typeface="Arial" pitchFamily="34" charset="0"/>
              <a:buChar char="–"/>
              <a:defRPr sz="105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1582718" indent="-158400" algn="l" defTabSz="806052" rtl="0" eaLnBrk="1" latinLnBrk="0" hangingPunct="1">
              <a:lnSpc>
                <a:spcPts val="2000"/>
              </a:lnSpc>
              <a:spcBef>
                <a:spcPts val="400"/>
              </a:spcBef>
              <a:spcAft>
                <a:spcPts val="300"/>
              </a:spcAft>
              <a:buClrTx/>
              <a:buSzPct val="125000"/>
              <a:buFont typeface="Arial" panose="020B0604020202020204" pitchFamily="34" charset="0"/>
              <a:buChar char="•"/>
              <a:defRPr sz="1000" kern="1200" spc="-35" baseline="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216640"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6pPr>
            <a:lvl7pPr marL="2619666"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7pPr>
            <a:lvl8pPr marL="3022694"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8pPr>
            <a:lvl9pPr marL="3425719" indent="-201515" algn="l" defTabSz="806052" rtl="0" eaLnBrk="1" latinLnBrk="0" hangingPunct="1">
              <a:spcBef>
                <a:spcPct val="20000"/>
              </a:spcBef>
              <a:buFont typeface="Arial" pitchFamily="34" charset="0"/>
              <a:buChar char="•"/>
              <a:defRPr sz="1856" kern="1200">
                <a:solidFill>
                  <a:schemeClr val="tx1"/>
                </a:solidFill>
                <a:latin typeface="+mn-lt"/>
                <a:ea typeface="+mn-ea"/>
                <a:cs typeface="+mn-cs"/>
              </a:defRPr>
            </a:lvl9pPr>
          </a:lstStyle>
          <a:p>
            <a:pPr marL="0" lvl="0" indent="0" algn="ctr">
              <a:lnSpc>
                <a:spcPct val="104250"/>
              </a:lnSpc>
              <a:spcBef>
                <a:spcPct val="0"/>
              </a:spcBef>
              <a:spcAft>
                <a:spcPct val="0"/>
              </a:spcAft>
              <a:buNone/>
            </a:pPr>
            <a:fld id="{93F924A5-BA1B-4D31-859A-860F9DC7789D}" type="datetime'''''''''''''7''''''''''''''''''%'''''''''''''''''''''''''''">
              <a:rPr lang="en-US" altLang="en-US" sz="600" spc="0" smtClean="0">
                <a:latin typeface="+mn-lt"/>
                <a:ea typeface="+mj-ea"/>
                <a:cs typeface="+mj-cs"/>
              </a:rPr>
              <a:pPr marL="0" lvl="0" indent="0" algn="ctr">
                <a:lnSpc>
                  <a:spcPct val="104250"/>
                </a:lnSpc>
                <a:spcBef>
                  <a:spcPct val="0"/>
                </a:spcBef>
                <a:spcAft>
                  <a:spcPct val="0"/>
                </a:spcAft>
                <a:buNone/>
              </a:pPr>
              <a:t>7%</a:t>
            </a:fld>
            <a:endParaRPr lang="en-US" sz="600" spc="0">
              <a:latin typeface="+mn-lt"/>
              <a:ea typeface="+mj-ea"/>
              <a:cs typeface="+mj-cs"/>
              <a:sym typeface="Arial" panose="020B0604020202020204" pitchFamily="34" charset="0"/>
            </a:endParaRPr>
          </a:p>
        </p:txBody>
      </p:sp>
      <p:sp>
        <p:nvSpPr>
          <p:cNvPr id="101" name="TextBox 100">
            <a:extLst>
              <a:ext uri="{FF2B5EF4-FFF2-40B4-BE49-F238E27FC236}">
                <a16:creationId xmlns:a16="http://schemas.microsoft.com/office/drawing/2014/main" id="{40CAAA70-F467-0126-1C4B-55F8FF0D3C11}"/>
              </a:ext>
            </a:extLst>
          </p:cNvPr>
          <p:cNvSpPr txBox="1"/>
          <p:nvPr/>
        </p:nvSpPr>
        <p:spPr>
          <a:xfrm>
            <a:off x="8179466" y="1907794"/>
            <a:ext cx="938213" cy="257369"/>
          </a:xfrm>
          <a:prstGeom prst="rect">
            <a:avLst/>
          </a:prstGeom>
          <a:noFill/>
        </p:spPr>
        <p:txBody>
          <a:bodyPr wrap="square" lIns="36000" tIns="36000" rIns="36000" bIns="36000" rtlCol="0">
            <a:spAutoFit/>
          </a:bodyPr>
          <a:lstStyle/>
          <a:p>
            <a:r>
              <a:rPr lang="en-US" sz="600" b="1" i="1" spc="-40"/>
              <a:t>CAGR</a:t>
            </a:r>
          </a:p>
          <a:p>
            <a:r>
              <a:rPr lang="en-US" sz="600" b="1" i="1" spc="-40"/>
              <a:t>2022-2030</a:t>
            </a:r>
          </a:p>
        </p:txBody>
      </p:sp>
      <p:sp>
        <p:nvSpPr>
          <p:cNvPr id="102" name="TextBox 101">
            <a:extLst>
              <a:ext uri="{FF2B5EF4-FFF2-40B4-BE49-F238E27FC236}">
                <a16:creationId xmlns:a16="http://schemas.microsoft.com/office/drawing/2014/main" id="{A4F5A3E5-16B2-EF77-F554-DF0EBF9AEF3B}"/>
              </a:ext>
            </a:extLst>
          </p:cNvPr>
          <p:cNvSpPr txBox="1"/>
          <p:nvPr/>
        </p:nvSpPr>
        <p:spPr>
          <a:xfrm>
            <a:off x="8316009" y="2259045"/>
            <a:ext cx="387350" cy="165036"/>
          </a:xfrm>
          <a:prstGeom prst="rect">
            <a:avLst/>
          </a:prstGeom>
          <a:noFill/>
        </p:spPr>
        <p:txBody>
          <a:bodyPr wrap="square" lIns="36000" tIns="36000" rIns="36000" bIns="36000" rtlCol="0">
            <a:spAutoFit/>
          </a:bodyPr>
          <a:lstStyle/>
          <a:p>
            <a:r>
              <a:rPr lang="en-US" sz="600" b="1" spc="-40"/>
              <a:t>4%</a:t>
            </a:r>
          </a:p>
        </p:txBody>
      </p:sp>
      <p:sp>
        <p:nvSpPr>
          <p:cNvPr id="103" name="TextBox 102">
            <a:extLst>
              <a:ext uri="{FF2B5EF4-FFF2-40B4-BE49-F238E27FC236}">
                <a16:creationId xmlns:a16="http://schemas.microsoft.com/office/drawing/2014/main" id="{43FCD4BF-8D6E-C310-ADD5-80F92CEFAC3A}"/>
              </a:ext>
            </a:extLst>
          </p:cNvPr>
          <p:cNvSpPr txBox="1"/>
          <p:nvPr/>
        </p:nvSpPr>
        <p:spPr>
          <a:xfrm>
            <a:off x="8316009" y="2537968"/>
            <a:ext cx="387350" cy="165036"/>
          </a:xfrm>
          <a:prstGeom prst="rect">
            <a:avLst/>
          </a:prstGeom>
          <a:noFill/>
        </p:spPr>
        <p:txBody>
          <a:bodyPr wrap="square" lIns="36000" tIns="36000" rIns="36000" bIns="36000" rtlCol="0">
            <a:spAutoFit/>
          </a:bodyPr>
          <a:lstStyle/>
          <a:p>
            <a:r>
              <a:rPr lang="en-US" sz="600" b="1" spc="-40"/>
              <a:t>9%</a:t>
            </a:r>
          </a:p>
        </p:txBody>
      </p:sp>
      <p:sp>
        <p:nvSpPr>
          <p:cNvPr id="104" name="TextBox 103">
            <a:extLst>
              <a:ext uri="{FF2B5EF4-FFF2-40B4-BE49-F238E27FC236}">
                <a16:creationId xmlns:a16="http://schemas.microsoft.com/office/drawing/2014/main" id="{0C98A232-B4DD-E488-7027-CDEB1A73A5EA}"/>
              </a:ext>
            </a:extLst>
          </p:cNvPr>
          <p:cNvSpPr txBox="1"/>
          <p:nvPr/>
        </p:nvSpPr>
        <p:spPr>
          <a:xfrm>
            <a:off x="8316009" y="2856343"/>
            <a:ext cx="387350" cy="165036"/>
          </a:xfrm>
          <a:prstGeom prst="rect">
            <a:avLst/>
          </a:prstGeom>
          <a:noFill/>
        </p:spPr>
        <p:txBody>
          <a:bodyPr wrap="square" lIns="36000" tIns="36000" rIns="36000" bIns="36000" rtlCol="0">
            <a:spAutoFit/>
          </a:bodyPr>
          <a:lstStyle/>
          <a:p>
            <a:r>
              <a:rPr lang="en-US" sz="600" b="1" spc="-40"/>
              <a:t>12%</a:t>
            </a:r>
          </a:p>
        </p:txBody>
      </p:sp>
      <p:sp>
        <p:nvSpPr>
          <p:cNvPr id="105" name="TextBox 104">
            <a:extLst>
              <a:ext uri="{FF2B5EF4-FFF2-40B4-BE49-F238E27FC236}">
                <a16:creationId xmlns:a16="http://schemas.microsoft.com/office/drawing/2014/main" id="{E36E6096-926D-AB85-19AD-9CA74FB3A36A}"/>
              </a:ext>
            </a:extLst>
          </p:cNvPr>
          <p:cNvSpPr txBox="1"/>
          <p:nvPr/>
        </p:nvSpPr>
        <p:spPr>
          <a:xfrm>
            <a:off x="8316009" y="3368706"/>
            <a:ext cx="387350" cy="165036"/>
          </a:xfrm>
          <a:prstGeom prst="rect">
            <a:avLst/>
          </a:prstGeom>
          <a:noFill/>
        </p:spPr>
        <p:txBody>
          <a:bodyPr wrap="square" lIns="36000" tIns="36000" rIns="36000" bIns="36000" rtlCol="0">
            <a:spAutoFit/>
          </a:bodyPr>
          <a:lstStyle/>
          <a:p>
            <a:r>
              <a:rPr lang="en-US" sz="600" b="1" spc="-40"/>
              <a:t>9%</a:t>
            </a:r>
          </a:p>
        </p:txBody>
      </p:sp>
      <p:sp>
        <p:nvSpPr>
          <p:cNvPr id="106" name="TextBox 105">
            <a:extLst>
              <a:ext uri="{FF2B5EF4-FFF2-40B4-BE49-F238E27FC236}">
                <a16:creationId xmlns:a16="http://schemas.microsoft.com/office/drawing/2014/main" id="{4A377679-16C9-B091-3292-41B0BEB8FAFA}"/>
              </a:ext>
            </a:extLst>
          </p:cNvPr>
          <p:cNvSpPr txBox="1"/>
          <p:nvPr/>
        </p:nvSpPr>
        <p:spPr>
          <a:xfrm>
            <a:off x="8316009" y="4034356"/>
            <a:ext cx="387350" cy="165036"/>
          </a:xfrm>
          <a:prstGeom prst="rect">
            <a:avLst/>
          </a:prstGeom>
          <a:noFill/>
        </p:spPr>
        <p:txBody>
          <a:bodyPr wrap="square" lIns="36000" tIns="36000" rIns="36000" bIns="36000" rtlCol="0">
            <a:spAutoFit/>
          </a:bodyPr>
          <a:lstStyle/>
          <a:p>
            <a:r>
              <a:rPr lang="en-US" sz="600" b="1" spc="-40"/>
              <a:t>9%</a:t>
            </a:r>
          </a:p>
        </p:txBody>
      </p:sp>
      <p:sp>
        <p:nvSpPr>
          <p:cNvPr id="107" name="TextBox 106">
            <a:extLst>
              <a:ext uri="{FF2B5EF4-FFF2-40B4-BE49-F238E27FC236}">
                <a16:creationId xmlns:a16="http://schemas.microsoft.com/office/drawing/2014/main" id="{9D58C52E-06D1-2D2E-0FFE-57463B8BE400}"/>
              </a:ext>
            </a:extLst>
          </p:cNvPr>
          <p:cNvSpPr txBox="1"/>
          <p:nvPr/>
        </p:nvSpPr>
        <p:spPr>
          <a:xfrm>
            <a:off x="4834818" y="1506766"/>
            <a:ext cx="3878090" cy="195814"/>
          </a:xfrm>
          <a:prstGeom prst="rect">
            <a:avLst/>
          </a:prstGeom>
          <a:noFill/>
        </p:spPr>
        <p:txBody>
          <a:bodyPr wrap="square" lIns="36000" tIns="36000" rIns="36000" bIns="36000" rtlCol="0">
            <a:spAutoFit/>
          </a:bodyPr>
          <a:lstStyle/>
          <a:p>
            <a:r>
              <a:rPr lang="en-US" sz="800" b="1" spc="-40">
                <a:solidFill>
                  <a:srgbClr val="000C20"/>
                </a:solidFill>
                <a:latin typeface="+mj-lt"/>
              </a:rPr>
              <a:t>Semiconductor demand by end-use sector</a:t>
            </a:r>
            <a:endParaRPr lang="en-US" sz="800" spc="-40">
              <a:solidFill>
                <a:srgbClr val="000C20"/>
              </a:solidFill>
              <a:latin typeface="+mj-lt"/>
            </a:endParaRPr>
          </a:p>
        </p:txBody>
      </p:sp>
      <p:sp>
        <p:nvSpPr>
          <p:cNvPr id="108" name="TextBox 107">
            <a:extLst>
              <a:ext uri="{FF2B5EF4-FFF2-40B4-BE49-F238E27FC236}">
                <a16:creationId xmlns:a16="http://schemas.microsoft.com/office/drawing/2014/main" id="{728407F1-35EC-F8C6-DC9A-207C5C61E3DB}"/>
              </a:ext>
            </a:extLst>
          </p:cNvPr>
          <p:cNvSpPr txBox="1"/>
          <p:nvPr/>
        </p:nvSpPr>
        <p:spPr>
          <a:xfrm>
            <a:off x="4686814" y="1110098"/>
            <a:ext cx="3829050" cy="257369"/>
          </a:xfrm>
          <a:prstGeom prst="rect">
            <a:avLst/>
          </a:prstGeom>
          <a:no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t" anchorCtr="0" forceAA="0" compatLnSpc="1">
            <a:prstTxWarp prst="textNoShape">
              <a:avLst/>
            </a:prstTxWarp>
            <a:noAutofit/>
          </a:bodyPr>
          <a:lstStyle>
            <a:defPPr>
              <a:defRPr lang="fi-FI"/>
            </a:defPPr>
            <a:lvl1pPr>
              <a:defRPr sz="1000" b="1" spc="-40">
                <a:solidFill>
                  <a:schemeClr val="tx2"/>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r>
              <a:rPr lang="en-US">
                <a:solidFill>
                  <a:schemeClr val="tx1"/>
                </a:solidFill>
              </a:rPr>
              <a:t>The demand for semiconductors is growing across end-users</a:t>
            </a:r>
          </a:p>
        </p:txBody>
      </p:sp>
      <p:sp>
        <p:nvSpPr>
          <p:cNvPr id="109" name="Title 1">
            <a:extLst>
              <a:ext uri="{FF2B5EF4-FFF2-40B4-BE49-F238E27FC236}">
                <a16:creationId xmlns:a16="http://schemas.microsoft.com/office/drawing/2014/main" id="{FEFDDD24-76A9-BDB0-95FB-5D787D61631F}"/>
              </a:ext>
            </a:extLst>
          </p:cNvPr>
          <p:cNvSpPr txBox="1">
            <a:spLocks/>
          </p:cNvSpPr>
          <p:nvPr/>
        </p:nvSpPr>
        <p:spPr>
          <a:xfrm>
            <a:off x="251999" y="290513"/>
            <a:ext cx="8137621" cy="498475"/>
          </a:xfrm>
          <a:prstGeom prst="rect">
            <a:avLst/>
          </a:prstGeom>
        </p:spPr>
        <p:txBody>
          <a:bodyPr vert="horz" lIns="91440" tIns="45720" rIns="91440" bIns="45720" rtlCol="0" anchor="t">
            <a:noAutofit/>
          </a:bodyPr>
          <a:lst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a:lstStyle>
          <a:p>
            <a:pPr marL="0" defTabSz="679871">
              <a:lnSpc>
                <a:spcPct val="100000"/>
              </a:lnSpc>
            </a:pPr>
            <a:r>
              <a:rPr lang="en-US" sz="1400" spc="0" dirty="0">
                <a:solidFill>
                  <a:srgbClr val="29282E"/>
                </a:solidFill>
                <a:latin typeface="Verdana"/>
                <a:ea typeface="+mn-ea"/>
                <a:cs typeface="+mn-cs"/>
              </a:rPr>
              <a:t>The semiconductor industry offers numerous growth opportunities: Slowing Moore's Law spurs innovation and demand increases across sectors</a:t>
            </a:r>
          </a:p>
        </p:txBody>
      </p:sp>
      <p:sp>
        <p:nvSpPr>
          <p:cNvPr id="117" name="Footer Placeholder 3">
            <a:extLst>
              <a:ext uri="{FF2B5EF4-FFF2-40B4-BE49-F238E27FC236}">
                <a16:creationId xmlns:a16="http://schemas.microsoft.com/office/drawing/2014/main" id="{0E6AD056-2923-FF2A-C0FD-8AB2C6E62685}"/>
              </a:ext>
            </a:extLst>
          </p:cNvPr>
          <p:cNvSpPr>
            <a:spLocks noGrp="1"/>
          </p:cNvSpPr>
          <p:nvPr>
            <p:ph type="ftr" sz="quarter" idx="11"/>
          </p:nvPr>
        </p:nvSpPr>
        <p:spPr>
          <a:xfrm>
            <a:off x="2884487" y="4728047"/>
            <a:ext cx="5144185" cy="164690"/>
          </a:xfrm>
        </p:spPr>
        <p:txBody>
          <a:bodyPr/>
          <a:lstStyle/>
          <a:p>
            <a:r>
              <a:rPr lang="en-US"/>
              <a:t>1. Prediction made by Gordon Moore in the 70s that the number of transistors in consumer-priced processors would double approximately every two years, leading to exponential growth in computing power</a:t>
            </a:r>
          </a:p>
          <a:p>
            <a:r>
              <a:rPr lang="en-US"/>
              <a:t>Source: Gartner, BCG</a:t>
            </a:r>
          </a:p>
        </p:txBody>
      </p:sp>
      <p:sp>
        <p:nvSpPr>
          <p:cNvPr id="4" name="Footer Placeholder 3">
            <a:extLst>
              <a:ext uri="{FF2B5EF4-FFF2-40B4-BE49-F238E27FC236}">
                <a16:creationId xmlns:a16="http://schemas.microsoft.com/office/drawing/2014/main" id="{624E4400-E51F-503F-8733-CAB0AC9C1593}"/>
              </a:ext>
            </a:extLst>
          </p:cNvPr>
          <p:cNvSpPr txBox="1">
            <a:spLocks/>
          </p:cNvSpPr>
          <p:nvPr/>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Technology Industries of Finland</a:t>
            </a:r>
          </a:p>
        </p:txBody>
      </p:sp>
    </p:spTree>
    <p:extLst>
      <p:ext uri="{BB962C8B-B14F-4D97-AF65-F5344CB8AC3E}">
        <p14:creationId xmlns:p14="http://schemas.microsoft.com/office/powerpoint/2010/main" val="1956212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 name="think-cell data - do not delete" hidden="1">
            <a:extLst>
              <a:ext uri="{FF2B5EF4-FFF2-40B4-BE49-F238E27FC236}">
                <a16:creationId xmlns:a16="http://schemas.microsoft.com/office/drawing/2014/main" id="{745B1105-B840-B99A-7C1D-6569D6060CCD}"/>
              </a:ext>
            </a:extLst>
          </p:cNvPr>
          <p:cNvGraphicFramePr>
            <a:graphicFrameLocks noChangeAspect="1"/>
          </p:cNvGraphicFramePr>
          <p:nvPr>
            <p:custDataLst>
              <p:tags r:id="rId1"/>
            </p:custDataLst>
            <p:extLst>
              <p:ext uri="{D42A27DB-BD31-4B8C-83A1-F6EECF244321}">
                <p14:modId xmlns:p14="http://schemas.microsoft.com/office/powerpoint/2010/main" val="36217113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04" imgH="405" progId="TCLayout.ActiveDocument.1">
                  <p:embed/>
                </p:oleObj>
              </mc:Choice>
              <mc:Fallback>
                <p:oleObj name="think-cell Slide" r:id="rId4" imgW="404" imgH="405" progId="TCLayout.ActiveDocument.1">
                  <p:embed/>
                  <p:pic>
                    <p:nvPicPr>
                      <p:cNvPr id="57" name="think-cell data - do not delete" hidden="1">
                        <a:extLst>
                          <a:ext uri="{FF2B5EF4-FFF2-40B4-BE49-F238E27FC236}">
                            <a16:creationId xmlns:a16="http://schemas.microsoft.com/office/drawing/2014/main" id="{745B1105-B840-B99A-7C1D-6569D6060CC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Slide Number Placeholder 1">
            <a:extLst>
              <a:ext uri="{FF2B5EF4-FFF2-40B4-BE49-F238E27FC236}">
                <a16:creationId xmlns:a16="http://schemas.microsoft.com/office/drawing/2014/main" id="{3D276EDA-45C9-60D6-7BB0-61EE15635B23}"/>
              </a:ext>
            </a:extLst>
          </p:cNvPr>
          <p:cNvSpPr>
            <a:spLocks noGrp="1"/>
          </p:cNvSpPr>
          <p:nvPr>
            <p:ph type="sldNum" sz="quarter" idx="12"/>
          </p:nvPr>
        </p:nvSpPr>
        <p:spPr>
          <a:xfrm>
            <a:off x="8005977" y="4906963"/>
            <a:ext cx="863990" cy="165100"/>
          </a:xfrm>
        </p:spPr>
        <p:txBody>
          <a:bodyPr/>
          <a:lstStyle/>
          <a:p>
            <a:fld id="{6FCB6B90-8271-4E8F-82C1-E646FBB48A2E}" type="slidenum">
              <a:rPr lang="en-US" smtClean="0">
                <a:latin typeface="+mj-lt"/>
              </a:rPr>
              <a:pPr/>
              <a:t>8</a:t>
            </a:fld>
            <a:endParaRPr lang="en-US">
              <a:latin typeface="+mj-lt"/>
            </a:endParaRPr>
          </a:p>
        </p:txBody>
      </p:sp>
      <p:sp>
        <p:nvSpPr>
          <p:cNvPr id="3" name="Date Placeholder 2">
            <a:extLst>
              <a:ext uri="{FF2B5EF4-FFF2-40B4-BE49-F238E27FC236}">
                <a16:creationId xmlns:a16="http://schemas.microsoft.com/office/drawing/2014/main" id="{522AC60D-FE96-2546-F27F-FF49D8F5A326}"/>
              </a:ext>
            </a:extLst>
          </p:cNvPr>
          <p:cNvSpPr>
            <a:spLocks noGrp="1"/>
          </p:cNvSpPr>
          <p:nvPr>
            <p:ph type="dt" sz="half" idx="10"/>
          </p:nvPr>
        </p:nvSpPr>
        <p:spPr>
          <a:xfrm>
            <a:off x="282027" y="4905375"/>
            <a:ext cx="916709" cy="165100"/>
          </a:xfrm>
        </p:spPr>
        <p:txBody>
          <a:bodyPr/>
          <a:lstStyle/>
          <a:p>
            <a:fld id="{F553C366-6A2C-43B9-A437-B827E0484441}" type="datetime1">
              <a:rPr lang="fi-FI" smtClean="0"/>
              <a:pPr/>
              <a:t>9.4.2024</a:t>
            </a:fld>
            <a:endParaRPr lang="en-US">
              <a:latin typeface="+mj-lt"/>
            </a:endParaRPr>
          </a:p>
        </p:txBody>
      </p:sp>
      <p:sp>
        <p:nvSpPr>
          <p:cNvPr id="4" name="Footer Placeholder 3">
            <a:extLst>
              <a:ext uri="{FF2B5EF4-FFF2-40B4-BE49-F238E27FC236}">
                <a16:creationId xmlns:a16="http://schemas.microsoft.com/office/drawing/2014/main" id="{7DAD173B-050D-ADC2-C16D-F8C1AF4A1564}"/>
              </a:ext>
            </a:extLst>
          </p:cNvPr>
          <p:cNvSpPr>
            <a:spLocks noGrp="1"/>
          </p:cNvSpPr>
          <p:nvPr>
            <p:ph type="ftr" sz="quarter" idx="11"/>
          </p:nvPr>
        </p:nvSpPr>
        <p:spPr>
          <a:xfrm>
            <a:off x="1111510" y="4905375"/>
            <a:ext cx="2034868" cy="165100"/>
          </a:xfrm>
        </p:spPr>
        <p:txBody>
          <a:bodyPr/>
          <a:lstStyle/>
          <a:p>
            <a:r>
              <a:rPr lang="en-US">
                <a:latin typeface="+mj-lt"/>
              </a:rPr>
              <a:t>Technology Industries of Finland</a:t>
            </a:r>
          </a:p>
        </p:txBody>
      </p:sp>
      <p:sp>
        <p:nvSpPr>
          <p:cNvPr id="8" name="Title 1">
            <a:extLst>
              <a:ext uri="{FF2B5EF4-FFF2-40B4-BE49-F238E27FC236}">
                <a16:creationId xmlns:a16="http://schemas.microsoft.com/office/drawing/2014/main" id="{9806F401-BD29-CD8B-DF35-C83F70109977}"/>
              </a:ext>
            </a:extLst>
          </p:cNvPr>
          <p:cNvSpPr txBox="1">
            <a:spLocks/>
          </p:cNvSpPr>
          <p:nvPr/>
        </p:nvSpPr>
        <p:spPr>
          <a:xfrm>
            <a:off x="251999" y="290513"/>
            <a:ext cx="7969981" cy="498475"/>
          </a:xfrm>
          <a:prstGeom prst="rect">
            <a:avLst/>
          </a:prstGeom>
        </p:spPr>
        <p:txBody>
          <a:bodyPr vert="horz" lIns="91440" tIns="45720" rIns="91440" bIns="45720" rtlCol="0" anchor="t">
            <a:noAutofit/>
          </a:bodyPr>
          <a:lst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a:lstStyle>
          <a:p>
            <a:pPr marL="0" defTabSz="679871">
              <a:lnSpc>
                <a:spcPct val="100000"/>
              </a:lnSpc>
            </a:pPr>
            <a:r>
              <a:rPr lang="en-US" sz="1400" spc="0" dirty="0">
                <a:solidFill>
                  <a:srgbClr val="29282E"/>
                </a:solidFill>
                <a:latin typeface="Verdana"/>
                <a:ea typeface="+mn-ea"/>
                <a:cs typeface="+mn-cs"/>
              </a:rPr>
              <a:t>Increasing demand visible in the semiconductor industry market (€560 billion in 2022) growth projections across different device/end-use segments</a:t>
            </a:r>
          </a:p>
        </p:txBody>
      </p:sp>
      <p:graphicFrame>
        <p:nvGraphicFramePr>
          <p:cNvPr id="9" name="Table 8">
            <a:extLst>
              <a:ext uri="{FF2B5EF4-FFF2-40B4-BE49-F238E27FC236}">
                <a16:creationId xmlns:a16="http://schemas.microsoft.com/office/drawing/2014/main" id="{8DED4956-6027-EA3D-52B0-1344BC7B73FE}"/>
              </a:ext>
            </a:extLst>
          </p:cNvPr>
          <p:cNvGraphicFramePr>
            <a:graphicFrameLocks noGrp="1"/>
          </p:cNvGraphicFramePr>
          <p:nvPr>
            <p:extLst>
              <p:ext uri="{D42A27DB-BD31-4B8C-83A1-F6EECF244321}">
                <p14:modId xmlns:p14="http://schemas.microsoft.com/office/powerpoint/2010/main" val="3518591633"/>
              </p:ext>
            </p:extLst>
          </p:nvPr>
        </p:nvGraphicFramePr>
        <p:xfrm>
          <a:off x="355600" y="962868"/>
          <a:ext cx="8525000" cy="3879125"/>
        </p:xfrm>
        <a:graphic>
          <a:graphicData uri="http://schemas.openxmlformats.org/drawingml/2006/table">
            <a:tbl>
              <a:tblPr firstRow="1" bandRow="1">
                <a:tableStyleId>{5C22544A-7EE6-4342-B048-85BDC9FD1C3A}</a:tableStyleId>
              </a:tblPr>
              <a:tblGrid>
                <a:gridCol w="1397000">
                  <a:extLst>
                    <a:ext uri="{9D8B030D-6E8A-4147-A177-3AD203B41FA5}">
                      <a16:colId xmlns:a16="http://schemas.microsoft.com/office/drawing/2014/main" val="3980964632"/>
                    </a:ext>
                  </a:extLst>
                </a:gridCol>
                <a:gridCol w="2376000">
                  <a:extLst>
                    <a:ext uri="{9D8B030D-6E8A-4147-A177-3AD203B41FA5}">
                      <a16:colId xmlns:a16="http://schemas.microsoft.com/office/drawing/2014/main" val="3801739236"/>
                    </a:ext>
                  </a:extLst>
                </a:gridCol>
                <a:gridCol w="2376000">
                  <a:extLst>
                    <a:ext uri="{9D8B030D-6E8A-4147-A177-3AD203B41FA5}">
                      <a16:colId xmlns:a16="http://schemas.microsoft.com/office/drawing/2014/main" val="4138362966"/>
                    </a:ext>
                  </a:extLst>
                </a:gridCol>
                <a:gridCol w="2376000">
                  <a:extLst>
                    <a:ext uri="{9D8B030D-6E8A-4147-A177-3AD203B41FA5}">
                      <a16:colId xmlns:a16="http://schemas.microsoft.com/office/drawing/2014/main" val="869458803"/>
                    </a:ext>
                  </a:extLst>
                </a:gridCol>
              </a:tblGrid>
              <a:tr h="645601">
                <a:tc>
                  <a:txBody>
                    <a:bodyPr/>
                    <a:lstStyle/>
                    <a:p>
                      <a:endParaRPr lang="en-ES" sz="700">
                        <a:solidFill>
                          <a:srgbClr val="121E8D"/>
                        </a:solidFill>
                        <a:latin typeface="DINPro" panose="020B0504020201010104" pitchFamily="34" charset="0"/>
                      </a:endParaRPr>
                    </a:p>
                  </a:txBody>
                  <a:tcPr>
                    <a:lnL w="12700" cmpd="sng">
                      <a:noFill/>
                    </a:lnL>
                    <a:lnR w="6350" cap="flat" cmpd="sng" algn="ctr">
                      <a:solidFill>
                        <a:schemeClr val="bg1">
                          <a:lumMod val="75000"/>
                        </a:schemeClr>
                      </a:solidFill>
                      <a:prstDash val="sysDot"/>
                      <a:round/>
                      <a:headEnd type="none" w="med" len="med"/>
                      <a:tailEnd type="none" w="med" len="med"/>
                    </a:lnR>
                    <a:lnT w="12700" cmpd="sng">
                      <a:noFill/>
                    </a:lnT>
                    <a:lnB w="6350" cap="flat" cmpd="sng" algn="ctr">
                      <a:solidFill>
                        <a:schemeClr val="bg1">
                          <a:lumMod val="75000"/>
                        </a:schemeClr>
                      </a:solidFill>
                      <a:prstDash val="sysDot"/>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1000" b="1" kern="1200">
                        <a:solidFill>
                          <a:srgbClr val="000C20"/>
                        </a:solidFill>
                        <a:latin typeface="+mj-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Logic</a:t>
                      </a:r>
                    </a:p>
                    <a:p>
                      <a:r>
                        <a:rPr lang="en-US" sz="800" b="1">
                          <a:solidFill>
                            <a:srgbClr val="619B42"/>
                          </a:solidFill>
                          <a:latin typeface="+mj-lt"/>
                          <a:ea typeface="Verdana" panose="020B0604030504040204" pitchFamily="34" charset="0"/>
                          <a:cs typeface="Verdana" panose="020B0604030504040204" pitchFamily="34" charset="0"/>
                        </a:rPr>
                        <a:t>€210B</a:t>
                      </a:r>
                    </a:p>
                    <a:p>
                      <a:r>
                        <a:rPr lang="en-US" sz="700" b="0" i="1" kern="1200">
                          <a:solidFill>
                            <a:schemeClr val="bg1">
                              <a:lumMod val="50000"/>
                            </a:schemeClr>
                          </a:solidFill>
                          <a:latin typeface="+mj-lt"/>
                          <a:ea typeface="Verdana" panose="020B0604030504040204" pitchFamily="34" charset="0"/>
                          <a:cs typeface="Verdana" panose="020B0604030504040204" pitchFamily="34" charset="0"/>
                        </a:rPr>
                        <a:t>6% CAGR</a:t>
                      </a:r>
                    </a:p>
                  </a:txBody>
                  <a:tcPr marT="72000">
                    <a:lnL w="6350" cap="flat" cmpd="sng" algn="ctr">
                      <a:solidFill>
                        <a:schemeClr val="bg1">
                          <a:lumMod val="75000"/>
                        </a:schemeClr>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1000" b="1" kern="1200">
                        <a:solidFill>
                          <a:srgbClr val="000C20"/>
                        </a:solidFill>
                        <a:latin typeface="+mj-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Memory</a:t>
                      </a:r>
                    </a:p>
                    <a:p>
                      <a:pPr marL="0" algn="l" defTabSz="806052" rtl="0" eaLnBrk="1" latinLnBrk="0" hangingPunct="1"/>
                      <a:r>
                        <a:rPr lang="en-US" sz="800" b="1" kern="1200">
                          <a:solidFill>
                            <a:srgbClr val="619B42"/>
                          </a:solidFill>
                          <a:latin typeface="+mj-lt"/>
                          <a:ea typeface="Verdana" panose="020B0604030504040204" pitchFamily="34" charset="0"/>
                          <a:cs typeface="Verdana" panose="020B0604030504040204" pitchFamily="34" charset="0"/>
                        </a:rPr>
                        <a:t>€135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7% CAGR</a:t>
                      </a:r>
                    </a:p>
                  </a:txBody>
                  <a:tcPr marT="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endParaRPr lang="en-US" altLang="ja-JP" sz="1000" b="1" kern="1200">
                        <a:solidFill>
                          <a:srgbClr val="000C20"/>
                        </a:solidFill>
                        <a:latin typeface="+mj-lt"/>
                        <a:ea typeface="Verdana" panose="020B0604030504040204" pitchFamily="34" charset="0"/>
                        <a:cs typeface="Verdana" panose="020B0604030504040204" pitchFamily="34" charset="0"/>
                        <a:sym typeface="+mn-lt"/>
                      </a:endParaRPr>
                    </a:p>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Discrete, Analog, Other</a:t>
                      </a:r>
                    </a:p>
                    <a:p>
                      <a:pPr marL="0" algn="l" defTabSz="806052" rtl="0" eaLnBrk="1" latinLnBrk="0" hangingPunct="1"/>
                      <a:r>
                        <a:rPr lang="en-US" sz="800" b="1" kern="1200">
                          <a:solidFill>
                            <a:srgbClr val="619B42"/>
                          </a:solidFill>
                          <a:latin typeface="+mj-lt"/>
                          <a:ea typeface="Verdana" panose="020B0604030504040204" pitchFamily="34" charset="0"/>
                          <a:cs typeface="Verdana" panose="020B0604030504040204" pitchFamily="34" charset="0"/>
                        </a:rPr>
                        <a:t>€215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7% CAGR</a:t>
                      </a:r>
                    </a:p>
                  </a:txBody>
                  <a:tcPr marT="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889512398"/>
                  </a:ext>
                </a:extLst>
              </a:tr>
              <a:tr h="645601">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Data processing</a:t>
                      </a:r>
                    </a:p>
                    <a:p>
                      <a:r>
                        <a:rPr lang="en-US" altLang="ja-JP" sz="600" b="0">
                          <a:solidFill>
                            <a:schemeClr val="tx1"/>
                          </a:solidFill>
                          <a:latin typeface="+mj-lt"/>
                          <a:ea typeface="Verdana" panose="020B0604030504040204" pitchFamily="34" charset="0"/>
                          <a:cs typeface="Verdana" panose="020B0604030504040204" pitchFamily="34" charset="0"/>
                          <a:sym typeface="+mn-lt"/>
                        </a:rPr>
                        <a:t>(compute, storage)</a:t>
                      </a:r>
                    </a:p>
                    <a:p>
                      <a:pPr marL="0" algn="l" defTabSz="806052" rtl="0" eaLnBrk="1" latinLnBrk="0" hangingPunct="1"/>
                      <a:r>
                        <a:rPr lang="en-US" sz="800" b="1" kern="1200">
                          <a:solidFill>
                            <a:srgbClr val="619B42"/>
                          </a:solidFill>
                          <a:latin typeface="+mj-lt"/>
                          <a:ea typeface="Verdana" panose="020B0604030504040204" pitchFamily="34" charset="0"/>
                          <a:cs typeface="Verdana" panose="020B0604030504040204" pitchFamily="34" charset="0"/>
                        </a:rPr>
                        <a:t>€185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6% CAGR</a:t>
                      </a:r>
                    </a:p>
                  </a:txBody>
                  <a:tcPr anchor="ctr">
                    <a:lnL w="12700" cmpd="sng">
                      <a:noFill/>
                    </a:lnL>
                    <a:lnR w="6350" cap="flat" cmpd="sng" algn="ctr">
                      <a:solidFill>
                        <a:schemeClr val="bg1">
                          <a:lumMod val="85000"/>
                        </a:schemeClr>
                      </a:solidFill>
                      <a:prstDash val="solid"/>
                      <a:round/>
                      <a:headEnd type="none" w="med" len="med"/>
                      <a:tailEnd type="none" w="med" len="med"/>
                    </a:lnR>
                    <a:lnT w="6350" cap="flat" cmpd="sng" algn="ctr">
                      <a:solidFill>
                        <a:schemeClr val="bg1">
                          <a:lumMod val="75000"/>
                        </a:schemeClr>
                      </a:solidFill>
                      <a:prstDash val="sysDot"/>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base">
                        <a:spcAft>
                          <a:spcPts val="300"/>
                        </a:spcAft>
                      </a:pPr>
                      <a:endParaRPr lang="en-US" sz="400" b="1">
                        <a:solidFill>
                          <a:srgbClr val="121E8D"/>
                        </a:solidFill>
                        <a:latin typeface="+mj-lt"/>
                        <a:ea typeface="Verdana" panose="020B0604030504040204" pitchFamily="34" charset="0"/>
                        <a:cs typeface="Verdana" panose="020B0604030504040204" pitchFamily="34" charset="0"/>
                      </a:endParaRPr>
                    </a:p>
                  </a:txBody>
                  <a:tcPr marL="36000" marR="648000" marB="72000">
                    <a:lnL w="635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ES" sz="400">
                        <a:solidFill>
                          <a:srgbClr val="121E8D"/>
                        </a:solidFill>
                        <a:latin typeface="+mj-lt"/>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a:solidFill>
                          <a:schemeClr val="bg2">
                            <a:lumMod val="10000"/>
                          </a:schemeClr>
                        </a:solidFill>
                        <a:latin typeface="+mj-lt"/>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6159822"/>
                  </a:ext>
                </a:extLst>
              </a:tr>
              <a:tr h="645601">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Communications</a:t>
                      </a:r>
                    </a:p>
                    <a:p>
                      <a:pPr marL="0" algn="l" defTabSz="806052" rtl="0" eaLnBrk="1" latinLnBrk="0" hangingPunct="1"/>
                      <a:r>
                        <a:rPr lang="en-US" altLang="ja-JP" sz="600" b="0">
                          <a:solidFill>
                            <a:schemeClr val="tx1"/>
                          </a:solidFill>
                          <a:latin typeface="+mj-lt"/>
                          <a:ea typeface="Verdana" panose="020B0604030504040204" pitchFamily="34" charset="0"/>
                          <a:cs typeface="Verdana" panose="020B0604030504040204" pitchFamily="34" charset="0"/>
                          <a:sym typeface="+mn-lt"/>
                        </a:rPr>
                        <a:t>Incl. smartphones</a:t>
                      </a:r>
                      <a:br>
                        <a:rPr lang="en-US" sz="900" b="1">
                          <a:solidFill>
                            <a:schemeClr val="bg2">
                              <a:lumMod val="10000"/>
                            </a:schemeClr>
                          </a:solidFill>
                          <a:latin typeface="+mj-lt"/>
                          <a:ea typeface="Verdana" panose="020B0604030504040204" pitchFamily="34" charset="0"/>
                          <a:cs typeface="Verdana" panose="020B0604030504040204" pitchFamily="34" charset="0"/>
                        </a:rPr>
                      </a:br>
                      <a:r>
                        <a:rPr lang="en-US" sz="800" b="1" kern="1200">
                          <a:solidFill>
                            <a:srgbClr val="619B42"/>
                          </a:solidFill>
                          <a:latin typeface="+mj-lt"/>
                          <a:ea typeface="Verdana" panose="020B0604030504040204" pitchFamily="34" charset="0"/>
                          <a:cs typeface="Verdana" panose="020B0604030504040204" pitchFamily="34" charset="0"/>
                        </a:rPr>
                        <a:t>€180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4% CAGR</a:t>
                      </a:r>
                    </a:p>
                  </a:txBody>
                  <a:tcPr anchor="ct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base">
                        <a:spcAft>
                          <a:spcPts val="300"/>
                        </a:spcAft>
                      </a:pPr>
                      <a:endParaRPr lang="en-US" sz="4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sym typeface="Trebuchet MS" panose="020B0603020202020204" pitchFamily="34" charset="0"/>
                      </a:endParaRPr>
                    </a:p>
                  </a:txBody>
                  <a:tcPr marL="36000" marR="648000" marB="72000">
                    <a:lnL w="635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6311898"/>
                  </a:ext>
                </a:extLst>
              </a:tr>
              <a:tr h="645601">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sz="1000" b="1" kern="1200">
                          <a:solidFill>
                            <a:srgbClr val="000C20"/>
                          </a:solidFill>
                          <a:latin typeface="+mj-lt"/>
                          <a:ea typeface="Verdana" panose="020B0604030504040204" pitchFamily="34" charset="0"/>
                          <a:cs typeface="Verdana" panose="020B0604030504040204" pitchFamily="34" charset="0"/>
                        </a:rPr>
                        <a:t>Automotive</a:t>
                      </a:r>
                      <a:br>
                        <a:rPr lang="en-US" sz="1000" b="1" kern="1200">
                          <a:solidFill>
                            <a:srgbClr val="000C20"/>
                          </a:solidFill>
                          <a:latin typeface="+mj-lt"/>
                          <a:ea typeface="Verdana" panose="020B0604030504040204" pitchFamily="34" charset="0"/>
                          <a:cs typeface="Verdana" panose="020B0604030504040204" pitchFamily="34" charset="0"/>
                        </a:rPr>
                      </a:br>
                      <a:r>
                        <a:rPr lang="en-US" sz="800" b="1" kern="1200">
                          <a:solidFill>
                            <a:srgbClr val="619B42"/>
                          </a:solidFill>
                          <a:latin typeface="+mj-lt"/>
                          <a:ea typeface="Verdana" panose="020B0604030504040204" pitchFamily="34" charset="0"/>
                          <a:cs typeface="Verdana" panose="020B0604030504040204" pitchFamily="34" charset="0"/>
                        </a:rPr>
                        <a:t>€65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12% CAGR</a:t>
                      </a:r>
                    </a:p>
                  </a:txBody>
                  <a:tcPr anchor="ct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spcAft>
                          <a:spcPts val="300"/>
                        </a:spcAft>
                      </a:pPr>
                      <a:endParaRPr lang="en-ES" sz="400">
                        <a:solidFill>
                          <a:srgbClr val="121E8D"/>
                        </a:solidFill>
                        <a:latin typeface="DINPro" panose="020B0504020201010104" pitchFamily="34" charset="0"/>
                      </a:endParaRPr>
                    </a:p>
                  </a:txBody>
                  <a:tcPr marL="36000" marR="648000" marB="72000">
                    <a:lnL w="635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b="1">
                        <a:solidFill>
                          <a:srgbClr val="003580"/>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22035299"/>
                  </a:ext>
                </a:extLst>
              </a:tr>
              <a:tr h="645601">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Industrial</a:t>
                      </a:r>
                    </a:p>
                    <a:p>
                      <a:pPr marL="0" algn="l" defTabSz="806052" rtl="0" eaLnBrk="1" latinLnBrk="0" hangingPunct="1"/>
                      <a:r>
                        <a:rPr lang="en-US" altLang="ja-JP" sz="600" b="0">
                          <a:solidFill>
                            <a:schemeClr val="tx1"/>
                          </a:solidFill>
                          <a:latin typeface="+mj-lt"/>
                          <a:ea typeface="Verdana" panose="020B0604030504040204" pitchFamily="34" charset="0"/>
                          <a:cs typeface="Verdana" panose="020B0604030504040204" pitchFamily="34" charset="0"/>
                          <a:sym typeface="+mn-lt"/>
                        </a:rPr>
                        <a:t>Incl. healthcare, military </a:t>
                      </a:r>
                      <a:br>
                        <a:rPr lang="en-US" sz="900" b="1">
                          <a:solidFill>
                            <a:schemeClr val="bg2">
                              <a:lumMod val="10000"/>
                            </a:schemeClr>
                          </a:solidFill>
                          <a:latin typeface="+mj-lt"/>
                          <a:ea typeface="Verdana" panose="020B0604030504040204" pitchFamily="34" charset="0"/>
                          <a:cs typeface="Verdana" panose="020B0604030504040204" pitchFamily="34" charset="0"/>
                        </a:rPr>
                      </a:br>
                      <a:r>
                        <a:rPr lang="en-US" sz="800" b="1" kern="1200">
                          <a:solidFill>
                            <a:srgbClr val="619B42"/>
                          </a:solidFill>
                          <a:latin typeface="+mj-lt"/>
                          <a:ea typeface="Verdana" panose="020B0604030504040204" pitchFamily="34" charset="0"/>
                          <a:cs typeface="Verdana" panose="020B0604030504040204" pitchFamily="34" charset="0"/>
                        </a:rPr>
                        <a:t>€70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9% CAGR</a:t>
                      </a:r>
                    </a:p>
                  </a:txBody>
                  <a:tcPr anchor="ct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base">
                        <a:spcAft>
                          <a:spcPts val="300"/>
                        </a:spcAft>
                      </a:pPr>
                      <a:endParaRPr lang="en-US" sz="400" b="1">
                        <a:solidFill>
                          <a:srgbClr val="003580"/>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635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fontAlgn="base">
                        <a:spcAft>
                          <a:spcPts val="300"/>
                        </a:spcAft>
                      </a:pPr>
                      <a:endParaRPr lang="en-US" sz="400" b="1">
                        <a:solidFill>
                          <a:srgbClr val="003580"/>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175530370"/>
                  </a:ext>
                </a:extLst>
              </a:tr>
              <a:tr h="645601">
                <a:tc>
                  <a:txBody>
                    <a:bodyPr/>
                    <a:lstStyle/>
                    <a:p>
                      <a:pPr marL="0" marR="0" lvl="0" indent="0" algn="l" defTabSz="806052" rtl="0" eaLnBrk="1" fontAlgn="auto" latinLnBrk="0" hangingPunct="1">
                        <a:lnSpc>
                          <a:spcPct val="100000"/>
                        </a:lnSpc>
                        <a:spcBef>
                          <a:spcPts val="0"/>
                        </a:spcBef>
                        <a:spcAft>
                          <a:spcPts val="0"/>
                        </a:spcAft>
                        <a:buClrTx/>
                        <a:buSzTx/>
                        <a:buFontTx/>
                        <a:buNone/>
                        <a:tabLst/>
                        <a:defRPr/>
                      </a:pPr>
                      <a:r>
                        <a:rPr lang="en-US" altLang="ja-JP" sz="1000" b="1" kern="1200">
                          <a:solidFill>
                            <a:srgbClr val="000C20"/>
                          </a:solidFill>
                          <a:latin typeface="+mj-lt"/>
                          <a:ea typeface="Verdana" panose="020B0604030504040204" pitchFamily="34" charset="0"/>
                          <a:cs typeface="Verdana" panose="020B0604030504040204" pitchFamily="34" charset="0"/>
                          <a:sym typeface="+mn-lt"/>
                        </a:rPr>
                        <a:t>Consumer</a:t>
                      </a:r>
                    </a:p>
                    <a:p>
                      <a:pPr marL="0" algn="l" defTabSz="806052" rtl="0" eaLnBrk="1" latinLnBrk="0" hangingPunct="1"/>
                      <a:r>
                        <a:rPr lang="en-US" sz="800" b="1" kern="1200">
                          <a:solidFill>
                            <a:srgbClr val="619B42"/>
                          </a:solidFill>
                          <a:latin typeface="+mj-lt"/>
                          <a:ea typeface="Verdana" panose="020B0604030504040204" pitchFamily="34" charset="0"/>
                          <a:cs typeface="Verdana" panose="020B0604030504040204" pitchFamily="34" charset="0"/>
                        </a:rPr>
                        <a:t>€60B</a:t>
                      </a:r>
                    </a:p>
                    <a:p>
                      <a:pPr marL="0" algn="l" defTabSz="806052" rtl="0" eaLnBrk="1" latinLnBrk="0" hangingPunct="1"/>
                      <a:r>
                        <a:rPr lang="en-US" sz="700" b="0" i="1" kern="1200">
                          <a:solidFill>
                            <a:schemeClr val="bg1">
                              <a:lumMod val="50000"/>
                            </a:schemeClr>
                          </a:solidFill>
                          <a:latin typeface="+mj-lt"/>
                          <a:ea typeface="Verdana" panose="020B0604030504040204" pitchFamily="34" charset="0"/>
                          <a:cs typeface="Verdana" panose="020B0604030504040204" pitchFamily="34" charset="0"/>
                        </a:rPr>
                        <a:t>4% CAGR</a:t>
                      </a:r>
                    </a:p>
                  </a:txBody>
                  <a:tcPr anchor="ctr">
                    <a:lnL w="12700" cmpd="sng">
                      <a:noFill/>
                    </a:lnL>
                    <a:lnR w="6350" cap="flat" cmpd="sng" algn="ctr">
                      <a:solidFill>
                        <a:schemeClr val="bg1">
                          <a:lumMod val="85000"/>
                        </a:schemeClr>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fontAlgn="base">
                        <a:spcAft>
                          <a:spcPts val="300"/>
                        </a:spcAft>
                      </a:pPr>
                      <a:endParaRPr lang="en-US" sz="400" b="1">
                        <a:solidFill>
                          <a:srgbClr val="003580"/>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6350" cap="flat" cmpd="sng" algn="ctr">
                      <a:solidFill>
                        <a:schemeClr val="bg1">
                          <a:lumMod val="85000"/>
                        </a:schemeClr>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spcAft>
                          <a:spcPts val="300"/>
                        </a:spcAft>
                      </a:pPr>
                      <a:endParaRPr lang="en-US" sz="400">
                        <a:solidFill>
                          <a:schemeClr val="bg2">
                            <a:lumMod val="10000"/>
                          </a:schemeClr>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fontAlgn="base">
                        <a:spcAft>
                          <a:spcPts val="300"/>
                        </a:spcAft>
                      </a:pPr>
                      <a:endParaRPr lang="en-US" sz="400" b="1">
                        <a:solidFill>
                          <a:srgbClr val="003580"/>
                        </a:solidFill>
                        <a:latin typeface="DINPro" panose="020B0504020201010104" pitchFamily="34" charset="0"/>
                        <a:ea typeface="Verdana" panose="020B0604030504040204" pitchFamily="34" charset="0"/>
                        <a:cs typeface="Verdana" panose="020B0604030504040204" pitchFamily="34" charset="0"/>
                      </a:endParaRPr>
                    </a:p>
                  </a:txBody>
                  <a:tcPr marL="36000" marR="648000" marB="72000">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973929385"/>
                  </a:ext>
                </a:extLst>
              </a:tr>
            </a:tbl>
          </a:graphicData>
        </a:graphic>
      </p:graphicFrame>
      <p:sp>
        <p:nvSpPr>
          <p:cNvPr id="10" name="Rectangle 9">
            <a:extLst>
              <a:ext uri="{FF2B5EF4-FFF2-40B4-BE49-F238E27FC236}">
                <a16:creationId xmlns:a16="http://schemas.microsoft.com/office/drawing/2014/main" id="{1F785D3F-109F-A5E1-5CBB-62E16FFAD99C}"/>
              </a:ext>
            </a:extLst>
          </p:cNvPr>
          <p:cNvSpPr/>
          <p:nvPr/>
        </p:nvSpPr>
        <p:spPr>
          <a:xfrm>
            <a:off x="1833636" y="936305"/>
            <a:ext cx="1006256" cy="123825"/>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r>
              <a:rPr lang="en-US" sz="800" spc="300">
                <a:solidFill>
                  <a:srgbClr val="000C20"/>
                </a:solidFill>
                <a:latin typeface="+mj-lt"/>
                <a:ea typeface="Verdana" panose="020B0604030504040204" pitchFamily="34" charset="0"/>
                <a:cs typeface="Verdana" panose="020B0604030504040204" pitchFamily="34" charset="0"/>
              </a:rPr>
              <a:t>DEVICES</a:t>
            </a:r>
          </a:p>
        </p:txBody>
      </p:sp>
      <p:sp>
        <p:nvSpPr>
          <p:cNvPr id="12" name="Rectangle 11">
            <a:extLst>
              <a:ext uri="{FF2B5EF4-FFF2-40B4-BE49-F238E27FC236}">
                <a16:creationId xmlns:a16="http://schemas.microsoft.com/office/drawing/2014/main" id="{5DE12A3F-197C-4896-AE32-E7F7F65A4FBF}"/>
              </a:ext>
            </a:extLst>
          </p:cNvPr>
          <p:cNvSpPr/>
          <p:nvPr/>
        </p:nvSpPr>
        <p:spPr>
          <a:xfrm rot="16200000">
            <a:off x="-114664" y="2029907"/>
            <a:ext cx="789277" cy="123111"/>
          </a:xfrm>
          <a:prstGeom prst="rect">
            <a:avLst/>
          </a:prstGeom>
          <a:solidFill>
            <a:schemeClr val="bg1"/>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b" anchorCtr="0" forceAA="0" compatLnSpc="1">
            <a:prstTxWarp prst="textNoShape">
              <a:avLst/>
            </a:prstTxWarp>
            <a:spAutoFit/>
          </a:bodyPr>
          <a:lstStyle/>
          <a:p>
            <a:pPr algn="r"/>
            <a:r>
              <a:rPr lang="en-US" sz="800" spc="300">
                <a:solidFill>
                  <a:srgbClr val="000C20"/>
                </a:solidFill>
                <a:latin typeface="+mj-lt"/>
                <a:ea typeface="Verdana" panose="020B0604030504040204" pitchFamily="34" charset="0"/>
                <a:cs typeface="Verdana" panose="020B0604030504040204" pitchFamily="34" charset="0"/>
              </a:rPr>
              <a:t>USERS</a:t>
            </a:r>
          </a:p>
        </p:txBody>
      </p:sp>
      <p:graphicFrame>
        <p:nvGraphicFramePr>
          <p:cNvPr id="5" name="Chart 4">
            <a:extLst>
              <a:ext uri="{FF2B5EF4-FFF2-40B4-BE49-F238E27FC236}">
                <a16:creationId xmlns:a16="http://schemas.microsoft.com/office/drawing/2014/main" id="{2CBDDA2A-F096-B59F-BCE5-6219AA13DEB6}"/>
              </a:ext>
            </a:extLst>
          </p:cNvPr>
          <p:cNvGraphicFramePr/>
          <p:nvPr>
            <p:custDataLst>
              <p:tags r:id="rId2"/>
            </p:custDataLst>
            <p:extLst>
              <p:ext uri="{D42A27DB-BD31-4B8C-83A1-F6EECF244321}">
                <p14:modId xmlns:p14="http://schemas.microsoft.com/office/powerpoint/2010/main" val="3479256834"/>
              </p:ext>
            </p:extLst>
          </p:nvPr>
        </p:nvGraphicFramePr>
        <p:xfrm>
          <a:off x="768350" y="1154113"/>
          <a:ext cx="7300913" cy="4108450"/>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Box 14">
            <a:extLst>
              <a:ext uri="{FF2B5EF4-FFF2-40B4-BE49-F238E27FC236}">
                <a16:creationId xmlns:a16="http://schemas.microsoft.com/office/drawing/2014/main" id="{7401882C-0FC8-C3C9-764A-50F6C6C1CD15}"/>
              </a:ext>
            </a:extLst>
          </p:cNvPr>
          <p:cNvSpPr txBox="1"/>
          <p:nvPr/>
        </p:nvSpPr>
        <p:spPr>
          <a:xfrm>
            <a:off x="312385" y="1090433"/>
            <a:ext cx="971550" cy="184150"/>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p>
            <a:r>
              <a:rPr lang="en-US" sz="600" b="1">
                <a:solidFill>
                  <a:schemeClr val="bg2">
                    <a:lumMod val="10000"/>
                  </a:schemeClr>
                </a:solidFill>
                <a:latin typeface="+mj-lt"/>
                <a:ea typeface="Verdana" panose="020B0604030504040204" pitchFamily="34" charset="0"/>
                <a:cs typeface="Verdana" panose="020B0604030504040204" pitchFamily="34" charset="0"/>
              </a:rPr>
              <a:t>CAGR, 2022-30</a:t>
            </a:r>
          </a:p>
        </p:txBody>
      </p:sp>
      <p:sp>
        <p:nvSpPr>
          <p:cNvPr id="18" name="Oval 17">
            <a:extLst>
              <a:ext uri="{FF2B5EF4-FFF2-40B4-BE49-F238E27FC236}">
                <a16:creationId xmlns:a16="http://schemas.microsoft.com/office/drawing/2014/main" id="{1E5C105C-7FB0-FFEF-0CF3-B10F28A5C194}"/>
              </a:ext>
            </a:extLst>
          </p:cNvPr>
          <p:cNvSpPr/>
          <p:nvPr/>
        </p:nvSpPr>
        <p:spPr>
          <a:xfrm>
            <a:off x="418747" y="1357454"/>
            <a:ext cx="80963" cy="80963"/>
          </a:xfrm>
          <a:prstGeom prst="ellipse">
            <a:avLst/>
          </a:prstGeom>
          <a:solidFill>
            <a:srgbClr val="619B4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latin typeface="+mj-lt"/>
              <a:ea typeface="Verdana" panose="020B0604030504040204" pitchFamily="34" charset="0"/>
              <a:cs typeface="Verdana" panose="020B0604030504040204" pitchFamily="34" charset="0"/>
            </a:endParaRPr>
          </a:p>
        </p:txBody>
      </p:sp>
      <p:sp>
        <p:nvSpPr>
          <p:cNvPr id="19" name="TextBox 18">
            <a:extLst>
              <a:ext uri="{FF2B5EF4-FFF2-40B4-BE49-F238E27FC236}">
                <a16:creationId xmlns:a16="http://schemas.microsoft.com/office/drawing/2014/main" id="{F8DC370C-F68E-0C82-FDE1-01E2F1E46CDF}"/>
              </a:ext>
            </a:extLst>
          </p:cNvPr>
          <p:cNvSpPr txBox="1"/>
          <p:nvPr/>
        </p:nvSpPr>
        <p:spPr>
          <a:xfrm>
            <a:off x="478278" y="1361423"/>
            <a:ext cx="461963" cy="73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600">
                <a:solidFill>
                  <a:srgbClr val="575757"/>
                </a:solidFill>
                <a:latin typeface="+mj-lt"/>
                <a:ea typeface="Verdana" panose="020B0604030504040204" pitchFamily="34" charset="0"/>
                <a:cs typeface="Verdana" panose="020B0604030504040204" pitchFamily="34" charset="0"/>
              </a:rPr>
              <a:t>5-10%</a:t>
            </a:r>
          </a:p>
        </p:txBody>
      </p:sp>
      <p:sp>
        <p:nvSpPr>
          <p:cNvPr id="16" name="Oval 15">
            <a:extLst>
              <a:ext uri="{FF2B5EF4-FFF2-40B4-BE49-F238E27FC236}">
                <a16:creationId xmlns:a16="http://schemas.microsoft.com/office/drawing/2014/main" id="{3A1324D6-A7A5-F4E6-42D0-0CF65D3D8624}"/>
              </a:ext>
            </a:extLst>
          </p:cNvPr>
          <p:cNvSpPr/>
          <p:nvPr/>
        </p:nvSpPr>
        <p:spPr>
          <a:xfrm>
            <a:off x="418747" y="1249320"/>
            <a:ext cx="80963" cy="80963"/>
          </a:xfrm>
          <a:prstGeom prst="ellipse">
            <a:avLst/>
          </a:prstGeom>
          <a:solidFill>
            <a:srgbClr val="6FDD85"/>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latin typeface="+mj-lt"/>
              <a:ea typeface="Verdana" panose="020B0604030504040204" pitchFamily="34" charset="0"/>
              <a:cs typeface="Verdana" panose="020B0604030504040204" pitchFamily="34" charset="0"/>
            </a:endParaRPr>
          </a:p>
        </p:txBody>
      </p:sp>
      <p:sp>
        <p:nvSpPr>
          <p:cNvPr id="17" name="TextBox 16">
            <a:extLst>
              <a:ext uri="{FF2B5EF4-FFF2-40B4-BE49-F238E27FC236}">
                <a16:creationId xmlns:a16="http://schemas.microsoft.com/office/drawing/2014/main" id="{8E6D5BF3-9530-C112-DF33-12A77A6F1FE9}"/>
              </a:ext>
            </a:extLst>
          </p:cNvPr>
          <p:cNvSpPr txBox="1"/>
          <p:nvPr/>
        </p:nvSpPr>
        <p:spPr>
          <a:xfrm>
            <a:off x="478278" y="1253289"/>
            <a:ext cx="461963" cy="73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600">
                <a:solidFill>
                  <a:srgbClr val="575757"/>
                </a:solidFill>
                <a:latin typeface="+mj-lt"/>
                <a:ea typeface="Verdana" panose="020B0604030504040204" pitchFamily="34" charset="0"/>
                <a:cs typeface="Verdana" panose="020B0604030504040204" pitchFamily="34" charset="0"/>
              </a:rPr>
              <a:t>1-5%</a:t>
            </a:r>
          </a:p>
        </p:txBody>
      </p:sp>
      <p:sp>
        <p:nvSpPr>
          <p:cNvPr id="20" name="TextBox 19">
            <a:extLst>
              <a:ext uri="{FF2B5EF4-FFF2-40B4-BE49-F238E27FC236}">
                <a16:creationId xmlns:a16="http://schemas.microsoft.com/office/drawing/2014/main" id="{CA816FF0-4593-4490-B043-75A97697C067}"/>
              </a:ext>
            </a:extLst>
          </p:cNvPr>
          <p:cNvSpPr txBox="1"/>
          <p:nvPr/>
        </p:nvSpPr>
        <p:spPr>
          <a:xfrm>
            <a:off x="478278" y="1469557"/>
            <a:ext cx="461963" cy="73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r>
              <a:rPr lang="en-US" sz="600">
                <a:solidFill>
                  <a:srgbClr val="575757"/>
                </a:solidFill>
                <a:latin typeface="+mj-lt"/>
                <a:ea typeface="Verdana" panose="020B0604030504040204" pitchFamily="34" charset="0"/>
                <a:cs typeface="Verdana" panose="020B0604030504040204" pitchFamily="34" charset="0"/>
              </a:rPr>
              <a:t>+10%</a:t>
            </a:r>
          </a:p>
        </p:txBody>
      </p:sp>
      <p:sp>
        <p:nvSpPr>
          <p:cNvPr id="21" name="Oval 20">
            <a:extLst>
              <a:ext uri="{FF2B5EF4-FFF2-40B4-BE49-F238E27FC236}">
                <a16:creationId xmlns:a16="http://schemas.microsoft.com/office/drawing/2014/main" id="{AF6C42F1-0A0A-654F-B94A-A32ECBEB0AE2}"/>
              </a:ext>
            </a:extLst>
          </p:cNvPr>
          <p:cNvSpPr/>
          <p:nvPr/>
        </p:nvSpPr>
        <p:spPr>
          <a:xfrm>
            <a:off x="418747" y="1465588"/>
            <a:ext cx="80963" cy="80963"/>
          </a:xfrm>
          <a:prstGeom prst="ellipse">
            <a:avLst/>
          </a:prstGeom>
          <a:solidFill>
            <a:srgbClr val="324E27"/>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900">
              <a:solidFill>
                <a:srgbClr val="FFFFFF"/>
              </a:solidFill>
              <a:latin typeface="+mj-lt"/>
              <a:ea typeface="Verdana" panose="020B0604030504040204" pitchFamily="34" charset="0"/>
              <a:cs typeface="Verdana" panose="020B0604030504040204" pitchFamily="34" charset="0"/>
            </a:endParaRPr>
          </a:p>
        </p:txBody>
      </p:sp>
      <p:sp>
        <p:nvSpPr>
          <p:cNvPr id="22" name="TextBox 21">
            <a:extLst>
              <a:ext uri="{FF2B5EF4-FFF2-40B4-BE49-F238E27FC236}">
                <a16:creationId xmlns:a16="http://schemas.microsoft.com/office/drawing/2014/main" id="{0C68B494-FF7D-74F5-A641-619AF3387052}"/>
              </a:ext>
            </a:extLst>
          </p:cNvPr>
          <p:cNvSpPr txBox="1"/>
          <p:nvPr/>
        </p:nvSpPr>
        <p:spPr>
          <a:xfrm>
            <a:off x="312385" y="925988"/>
            <a:ext cx="1355341" cy="18573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a:spAutoFit/>
          </a:bodyPr>
          <a:lstStyle>
            <a:defPPr>
              <a:defRPr lang="fi-FI"/>
            </a:defPPr>
            <a:lvl1pPr>
              <a:defRPr sz="600">
                <a:solidFill>
                  <a:schemeClr val="bg2">
                    <a:lumMod val="10000"/>
                  </a:schemeClr>
                </a:solidFill>
                <a:latin typeface="+mj-lt"/>
                <a:ea typeface="Verdana" panose="020B0604030504040204" pitchFamily="34" charset="0"/>
                <a:cs typeface="Verdana" panose="020B0604030504040204" pitchFamily="34" charset="0"/>
              </a:defRPr>
            </a:lvl1pPr>
          </a:lstStyle>
          <a:p>
            <a:r>
              <a:rPr lang="en-US" b="1"/>
              <a:t>Circle size </a:t>
            </a:r>
            <a:r>
              <a:rPr lang="en-US"/>
              <a:t>= 2022 revenue</a:t>
            </a:r>
          </a:p>
        </p:txBody>
      </p:sp>
      <p:sp>
        <p:nvSpPr>
          <p:cNvPr id="23" name="TextBox 22">
            <a:extLst>
              <a:ext uri="{FF2B5EF4-FFF2-40B4-BE49-F238E27FC236}">
                <a16:creationId xmlns:a16="http://schemas.microsoft.com/office/drawing/2014/main" id="{752977E1-34EF-1C47-EC81-F0BC8BC4993C}"/>
              </a:ext>
            </a:extLst>
          </p:cNvPr>
          <p:cNvSpPr txBox="1"/>
          <p:nvPr/>
        </p:nvSpPr>
        <p:spPr>
          <a:xfrm>
            <a:off x="2251848" y="1635940"/>
            <a:ext cx="1800000" cy="612000"/>
          </a:xfrm>
          <a:prstGeom prst="rect">
            <a:avLst/>
          </a:prstGeom>
          <a:noFill/>
        </p:spPr>
        <p:txBody>
          <a:bodyPr wrap="square" anchor="ctr">
            <a:spAutoFit/>
          </a:bodyPr>
          <a:lstStyle/>
          <a:p>
            <a:pPr fontAlgn="base">
              <a:spcAft>
                <a:spcPts val="300"/>
              </a:spcAft>
            </a:pPr>
            <a:r>
              <a:rPr lang="en-US" sz="600" b="1" dirty="0">
                <a:solidFill>
                  <a:schemeClr val="bg2">
                    <a:lumMod val="10000"/>
                  </a:schemeClr>
                </a:solidFill>
                <a:latin typeface="+mj-lt"/>
                <a:ea typeface="Verdana" panose="020B0604030504040204" pitchFamily="34" charset="0"/>
                <a:cs typeface="Verdana" panose="020B0604030504040204" pitchFamily="34" charset="0"/>
              </a:rPr>
              <a:t>Use case drivers</a:t>
            </a:r>
            <a:r>
              <a:rPr lang="en-US" sz="600" dirty="0">
                <a:solidFill>
                  <a:schemeClr val="bg2">
                    <a:lumMod val="10000"/>
                  </a:schemeClr>
                </a:solidFill>
                <a:latin typeface="+mj-lt"/>
                <a:ea typeface="Verdana" panose="020B0604030504040204" pitchFamily="34" charset="0"/>
                <a:cs typeface="Verdana" panose="020B0604030504040204" pitchFamily="34" charset="0"/>
              </a:rPr>
              <a:t>: Datacenters, edge computing</a:t>
            </a:r>
          </a:p>
          <a:p>
            <a:pPr fontAlgn="base">
              <a:spcAft>
                <a:spcPts val="300"/>
              </a:spcAft>
            </a:pPr>
            <a:r>
              <a:rPr lang="en-US" sz="600" b="1" dirty="0">
                <a:solidFill>
                  <a:schemeClr val="bg2">
                    <a:lumMod val="10000"/>
                  </a:schemeClr>
                </a:solidFill>
                <a:latin typeface="+mj-lt"/>
                <a:ea typeface="Verdana" panose="020B0604030504040204" pitchFamily="34" charset="0"/>
                <a:cs typeface="Verdana" panose="020B0604030504040204" pitchFamily="34" charset="0"/>
              </a:rPr>
              <a:t>Technological drivers: </a:t>
            </a:r>
            <a:r>
              <a:rPr lang="en-US" sz="600" dirty="0">
                <a:solidFill>
                  <a:schemeClr val="bg2">
                    <a:lumMod val="10000"/>
                  </a:schemeClr>
                </a:solidFill>
                <a:latin typeface="+mj-lt"/>
                <a:ea typeface="Verdana" panose="020B0604030504040204" pitchFamily="34" charset="0"/>
                <a:cs typeface="Verdana" panose="020B0604030504040204" pitchFamily="34" charset="0"/>
              </a:rPr>
              <a:t>AI chips, SoCs, </a:t>
            </a:r>
            <a:r>
              <a:rPr lang="en-US" sz="600" dirty="0" err="1">
                <a:solidFill>
                  <a:schemeClr val="bg2">
                    <a:lumMod val="10000"/>
                  </a:schemeClr>
                </a:solidFill>
                <a:latin typeface="+mj-lt"/>
                <a:ea typeface="Verdana" panose="020B0604030504040204" pitchFamily="34" charset="0"/>
                <a:cs typeface="Verdana" panose="020B0604030504040204" pitchFamily="34" charset="0"/>
              </a:rPr>
              <a:t>chiplets</a:t>
            </a:r>
            <a:r>
              <a:rPr lang="en-US" sz="600" dirty="0">
                <a:solidFill>
                  <a:schemeClr val="bg2">
                    <a:lumMod val="10000"/>
                  </a:schemeClr>
                </a:solidFill>
                <a:latin typeface="+mj-lt"/>
                <a:ea typeface="Verdana" panose="020B0604030504040204" pitchFamily="34" charset="0"/>
                <a:cs typeface="Verdana" panose="020B0604030504040204" pitchFamily="34" charset="0"/>
              </a:rPr>
              <a:t>,</a:t>
            </a:r>
            <a:r>
              <a:rPr lang="en-US" sz="600" dirty="0">
                <a:solidFill>
                  <a:schemeClr val="bg2">
                    <a:lumMod val="10000"/>
                  </a:schemeClr>
                </a:solidFill>
                <a:latin typeface="+mj-lt"/>
                <a:ea typeface="Verdana" panose="020B0604030504040204" pitchFamily="34" charset="0"/>
                <a:cs typeface="Verdana" panose="020B0604030504040204" pitchFamily="34" charset="0"/>
                <a:sym typeface="Trebuchet MS" panose="020B0603020202020204" pitchFamily="34" charset="0"/>
              </a:rPr>
              <a:t> advanced packaging, </a:t>
            </a:r>
            <a:r>
              <a:rPr lang="en-US" sz="600" dirty="0">
                <a:solidFill>
                  <a:schemeClr val="bg2">
                    <a:lumMod val="10000"/>
                  </a:schemeClr>
                </a:solidFill>
                <a:latin typeface="+mj-lt"/>
                <a:ea typeface="Verdana" panose="020B0604030504040204" pitchFamily="34" charset="0"/>
                <a:cs typeface="Verdana" panose="020B0604030504040204" pitchFamily="34" charset="0"/>
              </a:rPr>
              <a:t>quantum tech, photonic chips</a:t>
            </a:r>
          </a:p>
        </p:txBody>
      </p:sp>
      <p:sp>
        <p:nvSpPr>
          <p:cNvPr id="24" name="TextBox 23">
            <a:extLst>
              <a:ext uri="{FF2B5EF4-FFF2-40B4-BE49-F238E27FC236}">
                <a16:creationId xmlns:a16="http://schemas.microsoft.com/office/drawing/2014/main" id="{FD32732E-BA07-A446-1F8B-49A27F0D7E71}"/>
              </a:ext>
            </a:extLst>
          </p:cNvPr>
          <p:cNvSpPr txBox="1"/>
          <p:nvPr/>
        </p:nvSpPr>
        <p:spPr>
          <a:xfrm>
            <a:off x="2267623" y="2279133"/>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Smartphones, 5G/6G infrastructure (base stations, network processors),  satellite communication</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SoCs, low-power chips, photonics, high-speed signal processing</a:t>
            </a:r>
          </a:p>
        </p:txBody>
      </p:sp>
      <p:sp>
        <p:nvSpPr>
          <p:cNvPr id="25" name="TextBox 24">
            <a:extLst>
              <a:ext uri="{FF2B5EF4-FFF2-40B4-BE49-F238E27FC236}">
                <a16:creationId xmlns:a16="http://schemas.microsoft.com/office/drawing/2014/main" id="{6E6A7902-B5ED-7879-2904-2F4F7B823878}"/>
              </a:ext>
            </a:extLst>
          </p:cNvPr>
          <p:cNvSpPr txBox="1"/>
          <p:nvPr/>
        </p:nvSpPr>
        <p:spPr>
          <a:xfrm>
            <a:off x="2267623" y="2922326"/>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Autonomous vehicles (e.g., ADAS, LiDAR systems), electric vehicles (e.g., battery management systems)</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Automotive SoCs, chiplets, AI chips, low-latency, photonic interconnections (high data outputs)</a:t>
            </a:r>
          </a:p>
        </p:txBody>
      </p:sp>
      <p:sp>
        <p:nvSpPr>
          <p:cNvPr id="26" name="TextBox 25">
            <a:extLst>
              <a:ext uri="{FF2B5EF4-FFF2-40B4-BE49-F238E27FC236}">
                <a16:creationId xmlns:a16="http://schemas.microsoft.com/office/drawing/2014/main" id="{1C423085-878A-BE2C-534A-3E5DE531065F}"/>
              </a:ext>
            </a:extLst>
          </p:cNvPr>
          <p:cNvSpPr txBox="1"/>
          <p:nvPr/>
        </p:nvSpPr>
        <p:spPr>
          <a:xfrm>
            <a:off x="2267623" y="3565519"/>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Robotics, automation, surveillance systems, secure communications</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Low-energy SoCs, </a:t>
            </a:r>
            <a:r>
              <a:rPr lang="en-US" sz="600" err="1">
                <a:solidFill>
                  <a:schemeClr val="bg2">
                    <a:lumMod val="10000"/>
                  </a:schemeClr>
                </a:solidFill>
                <a:latin typeface="+mj-lt"/>
                <a:ea typeface="Verdana" panose="020B0604030504040204" pitchFamily="34" charset="0"/>
                <a:cs typeface="Verdana" panose="020B0604030504040204" pitchFamily="34" charset="0"/>
              </a:rPr>
              <a:t>chiplets</a:t>
            </a:r>
            <a:r>
              <a:rPr lang="en-US" sz="600">
                <a:solidFill>
                  <a:schemeClr val="bg2">
                    <a:lumMod val="10000"/>
                  </a:schemeClr>
                </a:solidFill>
                <a:latin typeface="+mj-lt"/>
                <a:ea typeface="Verdana" panose="020B0604030504040204" pitchFamily="34" charset="0"/>
                <a:cs typeface="Verdana" panose="020B0604030504040204" pitchFamily="34" charset="0"/>
              </a:rPr>
              <a:t>, AI chips, advanced packaging</a:t>
            </a:r>
          </a:p>
        </p:txBody>
      </p:sp>
      <p:sp>
        <p:nvSpPr>
          <p:cNvPr id="27" name="TextBox 26">
            <a:extLst>
              <a:ext uri="{FF2B5EF4-FFF2-40B4-BE49-F238E27FC236}">
                <a16:creationId xmlns:a16="http://schemas.microsoft.com/office/drawing/2014/main" id="{11F9DEA9-0AE1-B1EC-9C00-B9CE096FF815}"/>
              </a:ext>
            </a:extLst>
          </p:cNvPr>
          <p:cNvSpPr txBox="1"/>
          <p:nvPr/>
        </p:nvSpPr>
        <p:spPr>
          <a:xfrm>
            <a:off x="2267623" y="4208710"/>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Smart home devices, wearables, personal electronics, extended reality (XR, VR, AR)</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Low-power SoCs, advanced packaging, integrated connectivity, user interface enhancements</a:t>
            </a:r>
          </a:p>
        </p:txBody>
      </p:sp>
      <p:sp>
        <p:nvSpPr>
          <p:cNvPr id="28" name="TextBox 27">
            <a:extLst>
              <a:ext uri="{FF2B5EF4-FFF2-40B4-BE49-F238E27FC236}">
                <a16:creationId xmlns:a16="http://schemas.microsoft.com/office/drawing/2014/main" id="{38E12450-6CCA-A3A6-1CAD-9A2D37F20E34}"/>
              </a:ext>
            </a:extLst>
          </p:cNvPr>
          <p:cNvSpPr txBox="1"/>
          <p:nvPr/>
        </p:nvSpPr>
        <p:spPr>
          <a:xfrm>
            <a:off x="4633636" y="2279133"/>
            <a:ext cx="1800000" cy="612000"/>
          </a:xfrm>
          <a:prstGeom prst="rect">
            <a:avLst/>
          </a:prstGeom>
          <a:noFill/>
        </p:spPr>
        <p:txBody>
          <a:bodyPr wrap="square" anchor="ctr">
            <a:spAutoFit/>
          </a:bodyPr>
          <a:lstStyle/>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Smartphones, high-speed network equipment, 5G.</a:t>
            </a:r>
          </a:p>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Advanced materials, low-latency, energy-efficient design</a:t>
            </a:r>
          </a:p>
        </p:txBody>
      </p:sp>
      <p:sp>
        <p:nvSpPr>
          <p:cNvPr id="29" name="TextBox 28">
            <a:extLst>
              <a:ext uri="{FF2B5EF4-FFF2-40B4-BE49-F238E27FC236}">
                <a16:creationId xmlns:a16="http://schemas.microsoft.com/office/drawing/2014/main" id="{D45E247E-9A6C-3DE7-72EF-1D070D368BDD}"/>
              </a:ext>
            </a:extLst>
          </p:cNvPr>
          <p:cNvSpPr txBox="1"/>
          <p:nvPr/>
        </p:nvSpPr>
        <p:spPr>
          <a:xfrm>
            <a:off x="4633636" y="2922326"/>
            <a:ext cx="1800000" cy="612000"/>
          </a:xfrm>
          <a:prstGeom prst="rect">
            <a:avLst/>
          </a:prstGeom>
          <a:noFill/>
        </p:spPr>
        <p:txBody>
          <a:bodyPr wrap="square" anchor="ctr">
            <a:spAutoFit/>
          </a:bodyPr>
          <a:lstStyle/>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Infotainment systems, control units, storage for AI and sensor data</a:t>
            </a:r>
          </a:p>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High-performance reliable memory </a:t>
            </a:r>
          </a:p>
        </p:txBody>
      </p:sp>
      <p:sp>
        <p:nvSpPr>
          <p:cNvPr id="30" name="TextBox 29">
            <a:extLst>
              <a:ext uri="{FF2B5EF4-FFF2-40B4-BE49-F238E27FC236}">
                <a16:creationId xmlns:a16="http://schemas.microsoft.com/office/drawing/2014/main" id="{7BF34145-C6C4-065E-C019-78A220F9EAA2}"/>
              </a:ext>
            </a:extLst>
          </p:cNvPr>
          <p:cNvSpPr txBox="1"/>
          <p:nvPr/>
        </p:nvSpPr>
        <p:spPr>
          <a:xfrm>
            <a:off x="4633636" y="3565519"/>
            <a:ext cx="1800000" cy="612000"/>
          </a:xfrm>
          <a:prstGeom prst="rect">
            <a:avLst/>
          </a:prstGeom>
          <a:noFill/>
        </p:spPr>
        <p:txBody>
          <a:bodyPr wrap="square" anchor="ctr">
            <a:spAutoFit/>
          </a:bodyPr>
          <a:lstStyle/>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Control systems, military computing, solutions for harsh conditions.</a:t>
            </a:r>
          </a:p>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High-endurance storage</a:t>
            </a:r>
          </a:p>
        </p:txBody>
      </p:sp>
      <p:sp>
        <p:nvSpPr>
          <p:cNvPr id="31" name="TextBox 30">
            <a:extLst>
              <a:ext uri="{FF2B5EF4-FFF2-40B4-BE49-F238E27FC236}">
                <a16:creationId xmlns:a16="http://schemas.microsoft.com/office/drawing/2014/main" id="{AACA09E4-06E1-74BF-8C5D-7B8B4C5E34DA}"/>
              </a:ext>
            </a:extLst>
          </p:cNvPr>
          <p:cNvSpPr txBox="1"/>
          <p:nvPr/>
        </p:nvSpPr>
        <p:spPr>
          <a:xfrm>
            <a:off x="4633636" y="4208710"/>
            <a:ext cx="1800000" cy="612000"/>
          </a:xfrm>
          <a:prstGeom prst="rect">
            <a:avLst/>
          </a:prstGeom>
          <a:noFill/>
        </p:spPr>
        <p:txBody>
          <a:bodyPr wrap="square" anchor="ctr">
            <a:spAutoFit/>
          </a:bodyPr>
          <a:lstStyle/>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Media storage, consumer electronics, gaming</a:t>
            </a:r>
          </a:p>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Non-volatile memory, fast and high-capacity memory, multi-tasking</a:t>
            </a:r>
          </a:p>
        </p:txBody>
      </p:sp>
      <p:sp>
        <p:nvSpPr>
          <p:cNvPr id="32" name="TextBox 31">
            <a:extLst>
              <a:ext uri="{FF2B5EF4-FFF2-40B4-BE49-F238E27FC236}">
                <a16:creationId xmlns:a16="http://schemas.microsoft.com/office/drawing/2014/main" id="{36316487-72CB-EE66-7730-E094E070DF52}"/>
              </a:ext>
            </a:extLst>
          </p:cNvPr>
          <p:cNvSpPr txBox="1"/>
          <p:nvPr/>
        </p:nvSpPr>
        <p:spPr>
          <a:xfrm>
            <a:off x="4633636" y="1635940"/>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Big data analytics, high performance computing,</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Energy efficient, fast and scalable new memory technologies, advanced packaging (e.g., 3D stacking)</a:t>
            </a:r>
          </a:p>
        </p:txBody>
      </p:sp>
      <p:sp>
        <p:nvSpPr>
          <p:cNvPr id="33" name="TextBox 32">
            <a:extLst>
              <a:ext uri="{FF2B5EF4-FFF2-40B4-BE49-F238E27FC236}">
                <a16:creationId xmlns:a16="http://schemas.microsoft.com/office/drawing/2014/main" id="{27E1480E-F722-C391-9DFF-CAA22A8F59F9}"/>
              </a:ext>
            </a:extLst>
          </p:cNvPr>
          <p:cNvSpPr txBox="1"/>
          <p:nvPr/>
        </p:nvSpPr>
        <p:spPr>
          <a:xfrm>
            <a:off x="7017305" y="2279133"/>
            <a:ext cx="1800000" cy="612000"/>
          </a:xfrm>
          <a:prstGeom prst="rect">
            <a:avLst/>
          </a:prstGeom>
          <a:noFill/>
        </p:spPr>
        <p:txBody>
          <a:bodyPr wrap="square" anchor="ctr">
            <a:spAutoFit/>
          </a:bodyPr>
          <a:lstStyle/>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IoT, enhanced wireless comms bandwidth, signal processing, communication infrastructure.</a:t>
            </a:r>
          </a:p>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RF components, analog, power amplifiers, and mixers</a:t>
            </a:r>
          </a:p>
        </p:txBody>
      </p:sp>
      <p:sp>
        <p:nvSpPr>
          <p:cNvPr id="34" name="TextBox 33">
            <a:extLst>
              <a:ext uri="{FF2B5EF4-FFF2-40B4-BE49-F238E27FC236}">
                <a16:creationId xmlns:a16="http://schemas.microsoft.com/office/drawing/2014/main" id="{C1E80E5D-16CF-4E90-DC49-CA194E023031}"/>
              </a:ext>
            </a:extLst>
          </p:cNvPr>
          <p:cNvSpPr txBox="1"/>
          <p:nvPr/>
        </p:nvSpPr>
        <p:spPr>
          <a:xfrm>
            <a:off x="7017305" y="2922326"/>
            <a:ext cx="1800000" cy="612000"/>
          </a:xfrm>
          <a:prstGeom prst="rect">
            <a:avLst/>
          </a:prstGeom>
          <a:noFill/>
        </p:spPr>
        <p:txBody>
          <a:bodyPr wrap="square" anchor="ctr">
            <a:spAutoFit/>
          </a:bodyPr>
          <a:lstStyle/>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Autonomous and electric vehicles</a:t>
            </a:r>
          </a:p>
          <a:p>
            <a:pPr>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Imaging, power mgmt., compound materials, analog ICs, photonics</a:t>
            </a:r>
          </a:p>
        </p:txBody>
      </p:sp>
      <p:sp>
        <p:nvSpPr>
          <p:cNvPr id="35" name="TextBox 34">
            <a:extLst>
              <a:ext uri="{FF2B5EF4-FFF2-40B4-BE49-F238E27FC236}">
                <a16:creationId xmlns:a16="http://schemas.microsoft.com/office/drawing/2014/main" id="{ED1469CC-CEDF-0F51-174A-16056B67A8B2}"/>
              </a:ext>
            </a:extLst>
          </p:cNvPr>
          <p:cNvSpPr txBox="1"/>
          <p:nvPr/>
        </p:nvSpPr>
        <p:spPr>
          <a:xfrm>
            <a:off x="7017305" y="3565519"/>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Automation, robotics, military, security, healthcare equipment</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High-precision analog devices, high-reliability discrete components, power semiconductors, MEMS sensors, optoelectronics </a:t>
            </a:r>
          </a:p>
        </p:txBody>
      </p:sp>
      <p:sp>
        <p:nvSpPr>
          <p:cNvPr id="36" name="TextBox 35">
            <a:extLst>
              <a:ext uri="{FF2B5EF4-FFF2-40B4-BE49-F238E27FC236}">
                <a16:creationId xmlns:a16="http://schemas.microsoft.com/office/drawing/2014/main" id="{F95ACB3C-C490-7AC3-F728-F51C6A035A48}"/>
              </a:ext>
            </a:extLst>
          </p:cNvPr>
          <p:cNvSpPr txBox="1"/>
          <p:nvPr/>
        </p:nvSpPr>
        <p:spPr>
          <a:xfrm>
            <a:off x="7017305" y="4208710"/>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Home entertainment, personal electronics, XR, VR and AR</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Low-cost sensors, advanced photonics and optoelectronics solutions for displays and interfaces</a:t>
            </a:r>
          </a:p>
        </p:txBody>
      </p:sp>
      <p:sp>
        <p:nvSpPr>
          <p:cNvPr id="37" name="TextBox 36">
            <a:extLst>
              <a:ext uri="{FF2B5EF4-FFF2-40B4-BE49-F238E27FC236}">
                <a16:creationId xmlns:a16="http://schemas.microsoft.com/office/drawing/2014/main" id="{728421F0-E587-F7F2-9ADE-C8EA4211A239}"/>
              </a:ext>
            </a:extLst>
          </p:cNvPr>
          <p:cNvSpPr txBox="1"/>
          <p:nvPr/>
        </p:nvSpPr>
        <p:spPr>
          <a:xfrm>
            <a:off x="7017305" y="1635940"/>
            <a:ext cx="1800000" cy="612000"/>
          </a:xfrm>
          <a:prstGeom prst="rect">
            <a:avLst/>
          </a:prstGeom>
          <a:noFill/>
        </p:spPr>
        <p:txBody>
          <a:bodyPr wrap="square" anchor="ctr">
            <a:spAutoFit/>
          </a:bodyPr>
          <a:lstStyle/>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Power management for data centers, environmental monitoring sensors, discrete components</a:t>
            </a:r>
          </a:p>
          <a:p>
            <a:pPr fontAlgn="base">
              <a:spcAft>
                <a:spcPts val="300"/>
              </a:spcAft>
            </a:pPr>
            <a:r>
              <a:rPr lang="en-US" sz="600">
                <a:solidFill>
                  <a:schemeClr val="bg2">
                    <a:lumMod val="10000"/>
                  </a:schemeClr>
                </a:solidFill>
                <a:latin typeface="+mj-lt"/>
                <a:ea typeface="Verdana" panose="020B0604030504040204" pitchFamily="34" charset="0"/>
                <a:cs typeface="Verdana" panose="020B0604030504040204" pitchFamily="34" charset="0"/>
              </a:rPr>
              <a:t>High-efficiency power components, specialized sensors (e.g., MEMS)</a:t>
            </a:r>
          </a:p>
        </p:txBody>
      </p:sp>
      <p:sp>
        <p:nvSpPr>
          <p:cNvPr id="38" name="TextBox 37">
            <a:extLst>
              <a:ext uri="{FF2B5EF4-FFF2-40B4-BE49-F238E27FC236}">
                <a16:creationId xmlns:a16="http://schemas.microsoft.com/office/drawing/2014/main" id="{AF4C27CD-192E-813A-48DC-F3E793A828BA}"/>
              </a:ext>
            </a:extLst>
          </p:cNvPr>
          <p:cNvSpPr txBox="1"/>
          <p:nvPr/>
        </p:nvSpPr>
        <p:spPr>
          <a:xfrm>
            <a:off x="1848876" y="2056130"/>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90B</a:t>
            </a:r>
          </a:p>
        </p:txBody>
      </p:sp>
      <p:sp>
        <p:nvSpPr>
          <p:cNvPr id="39" name="TextBox 38">
            <a:extLst>
              <a:ext uri="{FF2B5EF4-FFF2-40B4-BE49-F238E27FC236}">
                <a16:creationId xmlns:a16="http://schemas.microsoft.com/office/drawing/2014/main" id="{01032468-CFDE-00B2-11EB-9BF3DC3CDB53}"/>
              </a:ext>
            </a:extLst>
          </p:cNvPr>
          <p:cNvSpPr txBox="1"/>
          <p:nvPr/>
        </p:nvSpPr>
        <p:spPr>
          <a:xfrm>
            <a:off x="1833636" y="2700179"/>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50B</a:t>
            </a:r>
          </a:p>
        </p:txBody>
      </p:sp>
      <p:sp>
        <p:nvSpPr>
          <p:cNvPr id="40" name="TextBox 39">
            <a:extLst>
              <a:ext uri="{FF2B5EF4-FFF2-40B4-BE49-F238E27FC236}">
                <a16:creationId xmlns:a16="http://schemas.microsoft.com/office/drawing/2014/main" id="{413E66E8-263C-DDBF-6E0C-4F4ACA7E5255}"/>
              </a:ext>
            </a:extLst>
          </p:cNvPr>
          <p:cNvSpPr txBox="1"/>
          <p:nvPr/>
        </p:nvSpPr>
        <p:spPr>
          <a:xfrm>
            <a:off x="1833636" y="3344228"/>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20B</a:t>
            </a:r>
          </a:p>
        </p:txBody>
      </p:sp>
      <p:sp>
        <p:nvSpPr>
          <p:cNvPr id="41" name="TextBox 40">
            <a:extLst>
              <a:ext uri="{FF2B5EF4-FFF2-40B4-BE49-F238E27FC236}">
                <a16:creationId xmlns:a16="http://schemas.microsoft.com/office/drawing/2014/main" id="{8836F41A-9C45-B99F-841D-0F0C00A919BA}"/>
              </a:ext>
            </a:extLst>
          </p:cNvPr>
          <p:cNvSpPr txBox="1"/>
          <p:nvPr/>
        </p:nvSpPr>
        <p:spPr>
          <a:xfrm>
            <a:off x="1833636" y="3988277"/>
            <a:ext cx="360000" cy="180425"/>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20B</a:t>
            </a:r>
          </a:p>
        </p:txBody>
      </p:sp>
      <p:sp>
        <p:nvSpPr>
          <p:cNvPr id="42" name="TextBox 41">
            <a:extLst>
              <a:ext uri="{FF2B5EF4-FFF2-40B4-BE49-F238E27FC236}">
                <a16:creationId xmlns:a16="http://schemas.microsoft.com/office/drawing/2014/main" id="{870C4CD2-0373-CF14-C4DA-525816A6211E}"/>
              </a:ext>
            </a:extLst>
          </p:cNvPr>
          <p:cNvSpPr txBox="1"/>
          <p:nvPr/>
        </p:nvSpPr>
        <p:spPr>
          <a:xfrm>
            <a:off x="1833636" y="4632325"/>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25B</a:t>
            </a:r>
          </a:p>
        </p:txBody>
      </p:sp>
      <p:sp>
        <p:nvSpPr>
          <p:cNvPr id="43" name="TextBox 42">
            <a:extLst>
              <a:ext uri="{FF2B5EF4-FFF2-40B4-BE49-F238E27FC236}">
                <a16:creationId xmlns:a16="http://schemas.microsoft.com/office/drawing/2014/main" id="{98EB1A6E-A021-7AE6-EA6F-2FBF402E5A36}"/>
              </a:ext>
            </a:extLst>
          </p:cNvPr>
          <p:cNvSpPr txBox="1"/>
          <p:nvPr/>
        </p:nvSpPr>
        <p:spPr>
          <a:xfrm>
            <a:off x="4230664" y="2056130"/>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65B</a:t>
            </a:r>
          </a:p>
        </p:txBody>
      </p:sp>
      <p:sp>
        <p:nvSpPr>
          <p:cNvPr id="44" name="TextBox 43">
            <a:extLst>
              <a:ext uri="{FF2B5EF4-FFF2-40B4-BE49-F238E27FC236}">
                <a16:creationId xmlns:a16="http://schemas.microsoft.com/office/drawing/2014/main" id="{86341E98-075E-F6EF-8D70-083638FB5ECD}"/>
              </a:ext>
            </a:extLst>
          </p:cNvPr>
          <p:cNvSpPr txBox="1"/>
          <p:nvPr/>
        </p:nvSpPr>
        <p:spPr>
          <a:xfrm>
            <a:off x="4215424" y="2700179"/>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45B</a:t>
            </a:r>
          </a:p>
        </p:txBody>
      </p:sp>
      <p:sp>
        <p:nvSpPr>
          <p:cNvPr id="45" name="TextBox 44">
            <a:extLst>
              <a:ext uri="{FF2B5EF4-FFF2-40B4-BE49-F238E27FC236}">
                <a16:creationId xmlns:a16="http://schemas.microsoft.com/office/drawing/2014/main" id="{47E64E72-2E93-DAEA-680B-850F96E5612F}"/>
              </a:ext>
            </a:extLst>
          </p:cNvPr>
          <p:cNvSpPr txBox="1"/>
          <p:nvPr/>
        </p:nvSpPr>
        <p:spPr>
          <a:xfrm>
            <a:off x="4215424" y="3344228"/>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5B</a:t>
            </a:r>
          </a:p>
        </p:txBody>
      </p:sp>
      <p:sp>
        <p:nvSpPr>
          <p:cNvPr id="46" name="TextBox 45">
            <a:extLst>
              <a:ext uri="{FF2B5EF4-FFF2-40B4-BE49-F238E27FC236}">
                <a16:creationId xmlns:a16="http://schemas.microsoft.com/office/drawing/2014/main" id="{E0C8F4D1-BF6A-AE86-B603-A97171603F63}"/>
              </a:ext>
            </a:extLst>
          </p:cNvPr>
          <p:cNvSpPr txBox="1"/>
          <p:nvPr/>
        </p:nvSpPr>
        <p:spPr>
          <a:xfrm>
            <a:off x="4215424" y="3988277"/>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5B</a:t>
            </a:r>
          </a:p>
        </p:txBody>
      </p:sp>
      <p:sp>
        <p:nvSpPr>
          <p:cNvPr id="47" name="TextBox 46">
            <a:extLst>
              <a:ext uri="{FF2B5EF4-FFF2-40B4-BE49-F238E27FC236}">
                <a16:creationId xmlns:a16="http://schemas.microsoft.com/office/drawing/2014/main" id="{67C14584-D255-2353-AE8E-B5BE82BE5CD6}"/>
              </a:ext>
            </a:extLst>
          </p:cNvPr>
          <p:cNvSpPr txBox="1"/>
          <p:nvPr/>
        </p:nvSpPr>
        <p:spPr>
          <a:xfrm>
            <a:off x="4215424" y="4632325"/>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15B</a:t>
            </a:r>
          </a:p>
        </p:txBody>
      </p:sp>
      <p:sp>
        <p:nvSpPr>
          <p:cNvPr id="48" name="TextBox 47">
            <a:extLst>
              <a:ext uri="{FF2B5EF4-FFF2-40B4-BE49-F238E27FC236}">
                <a16:creationId xmlns:a16="http://schemas.microsoft.com/office/drawing/2014/main" id="{AE71FF3B-A6A3-A358-A012-A70511E4B77B}"/>
              </a:ext>
            </a:extLst>
          </p:cNvPr>
          <p:cNvSpPr txBox="1"/>
          <p:nvPr/>
        </p:nvSpPr>
        <p:spPr>
          <a:xfrm>
            <a:off x="6608644" y="2056130"/>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30B</a:t>
            </a:r>
          </a:p>
        </p:txBody>
      </p:sp>
      <p:sp>
        <p:nvSpPr>
          <p:cNvPr id="49" name="TextBox 48">
            <a:extLst>
              <a:ext uri="{FF2B5EF4-FFF2-40B4-BE49-F238E27FC236}">
                <a16:creationId xmlns:a16="http://schemas.microsoft.com/office/drawing/2014/main" id="{A2011173-4073-1364-AB99-9C1F71630D89}"/>
              </a:ext>
            </a:extLst>
          </p:cNvPr>
          <p:cNvSpPr txBox="1"/>
          <p:nvPr/>
        </p:nvSpPr>
        <p:spPr>
          <a:xfrm>
            <a:off x="6608643" y="2700179"/>
            <a:ext cx="360000" cy="180425"/>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85B</a:t>
            </a:r>
          </a:p>
        </p:txBody>
      </p:sp>
      <p:sp>
        <p:nvSpPr>
          <p:cNvPr id="50" name="TextBox 49">
            <a:extLst>
              <a:ext uri="{FF2B5EF4-FFF2-40B4-BE49-F238E27FC236}">
                <a16:creationId xmlns:a16="http://schemas.microsoft.com/office/drawing/2014/main" id="{0648BAF4-8FFF-2ABB-24C2-ACDC3CDA9E9B}"/>
              </a:ext>
            </a:extLst>
          </p:cNvPr>
          <p:cNvSpPr txBox="1"/>
          <p:nvPr/>
        </p:nvSpPr>
        <p:spPr>
          <a:xfrm>
            <a:off x="6608642" y="3344228"/>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35B</a:t>
            </a:r>
          </a:p>
        </p:txBody>
      </p:sp>
      <p:sp>
        <p:nvSpPr>
          <p:cNvPr id="51" name="TextBox 50">
            <a:extLst>
              <a:ext uri="{FF2B5EF4-FFF2-40B4-BE49-F238E27FC236}">
                <a16:creationId xmlns:a16="http://schemas.microsoft.com/office/drawing/2014/main" id="{91C02490-4429-2FDB-0C02-29CBD6ABFB9A}"/>
              </a:ext>
            </a:extLst>
          </p:cNvPr>
          <p:cNvSpPr txBox="1"/>
          <p:nvPr/>
        </p:nvSpPr>
        <p:spPr>
          <a:xfrm>
            <a:off x="6608642" y="3988277"/>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45B</a:t>
            </a:r>
          </a:p>
        </p:txBody>
      </p:sp>
      <p:sp>
        <p:nvSpPr>
          <p:cNvPr id="52" name="TextBox 51">
            <a:extLst>
              <a:ext uri="{FF2B5EF4-FFF2-40B4-BE49-F238E27FC236}">
                <a16:creationId xmlns:a16="http://schemas.microsoft.com/office/drawing/2014/main" id="{8BB4BDC5-CDF1-9FC1-CA83-8BC8F0553DD6}"/>
              </a:ext>
            </a:extLst>
          </p:cNvPr>
          <p:cNvSpPr txBox="1"/>
          <p:nvPr/>
        </p:nvSpPr>
        <p:spPr>
          <a:xfrm>
            <a:off x="6608643" y="4632325"/>
            <a:ext cx="360000" cy="180000"/>
          </a:xfrm>
          <a:prstGeom prst="rect">
            <a:avLst/>
          </a:prstGeom>
          <a:noFill/>
        </p:spPr>
        <p:txBody>
          <a:bodyPr wrap="square" lIns="36000" tIns="36000" rIns="36000" bIns="36000" rtlCol="0">
            <a:spAutoFit/>
          </a:bodyPr>
          <a:lstStyle/>
          <a:p>
            <a:pPr algn="ctr"/>
            <a:r>
              <a:rPr lang="en-GB" sz="700" b="1">
                <a:solidFill>
                  <a:srgbClr val="619B42"/>
                </a:solidFill>
                <a:latin typeface="+mj-lt"/>
                <a:ea typeface="Verdana" panose="020B0604030504040204" pitchFamily="34" charset="0"/>
              </a:rPr>
              <a:t>€25B</a:t>
            </a:r>
          </a:p>
        </p:txBody>
      </p:sp>
      <p:sp>
        <p:nvSpPr>
          <p:cNvPr id="53" name="TextBox 52">
            <a:extLst>
              <a:ext uri="{FF2B5EF4-FFF2-40B4-BE49-F238E27FC236}">
                <a16:creationId xmlns:a16="http://schemas.microsoft.com/office/drawing/2014/main" id="{E52486E8-3A13-5DE8-61E9-9ED900BA5D4E}"/>
              </a:ext>
            </a:extLst>
          </p:cNvPr>
          <p:cNvSpPr txBox="1"/>
          <p:nvPr/>
        </p:nvSpPr>
        <p:spPr>
          <a:xfrm>
            <a:off x="4730818" y="1321753"/>
            <a:ext cx="1306395" cy="261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600" b="1">
                <a:solidFill>
                  <a:srgbClr val="670F31"/>
                </a:solidFill>
                <a:latin typeface="+mj-lt"/>
              </a:rPr>
              <a:t>Highly</a:t>
            </a:r>
            <a:r>
              <a:rPr lang="en-US" sz="600" b="1" baseline="30000">
                <a:solidFill>
                  <a:srgbClr val="670F31"/>
                </a:solidFill>
                <a:latin typeface="+mj-lt"/>
              </a:rPr>
              <a:t>1</a:t>
            </a:r>
            <a:r>
              <a:rPr lang="en-US" sz="600" b="1">
                <a:solidFill>
                  <a:srgbClr val="670F31"/>
                </a:solidFill>
                <a:latin typeface="+mj-lt"/>
              </a:rPr>
              <a:t> </a:t>
            </a:r>
            <a:r>
              <a:rPr lang="en-US" sz="600">
                <a:solidFill>
                  <a:srgbClr val="575757"/>
                </a:solidFill>
                <a:latin typeface="+mj-lt"/>
              </a:rPr>
              <a:t>concentrated market (HHI Index 2300)</a:t>
            </a:r>
          </a:p>
        </p:txBody>
      </p:sp>
      <p:sp>
        <p:nvSpPr>
          <p:cNvPr id="54" name="TextBox 53">
            <a:extLst>
              <a:ext uri="{FF2B5EF4-FFF2-40B4-BE49-F238E27FC236}">
                <a16:creationId xmlns:a16="http://schemas.microsoft.com/office/drawing/2014/main" id="{488FCF46-7EE0-68A5-7F7A-BB5340A048FD}"/>
              </a:ext>
            </a:extLst>
          </p:cNvPr>
          <p:cNvSpPr txBox="1"/>
          <p:nvPr/>
        </p:nvSpPr>
        <p:spPr>
          <a:xfrm>
            <a:off x="7079951" y="1321753"/>
            <a:ext cx="1458753" cy="261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600" b="1">
                <a:solidFill>
                  <a:srgbClr val="29BA74"/>
                </a:solidFill>
                <a:latin typeface="+mj-lt"/>
              </a:rPr>
              <a:t>Unconcentrated</a:t>
            </a:r>
            <a:r>
              <a:rPr lang="en-US" sz="600" b="1" baseline="30000">
                <a:solidFill>
                  <a:srgbClr val="29BA74"/>
                </a:solidFill>
                <a:latin typeface="+mj-lt"/>
              </a:rPr>
              <a:t>1</a:t>
            </a:r>
            <a:r>
              <a:rPr lang="en-US" sz="600" b="1">
                <a:solidFill>
                  <a:srgbClr val="29BA74"/>
                </a:solidFill>
                <a:latin typeface="+mj-lt"/>
              </a:rPr>
              <a:t> </a:t>
            </a:r>
            <a:r>
              <a:rPr lang="en-US" sz="600">
                <a:solidFill>
                  <a:srgbClr val="575757"/>
                </a:solidFill>
                <a:latin typeface="+mj-lt"/>
              </a:rPr>
              <a:t>market (HHI Index &lt;1000)</a:t>
            </a:r>
          </a:p>
        </p:txBody>
      </p:sp>
      <p:sp>
        <p:nvSpPr>
          <p:cNvPr id="55" name="TextBox 54">
            <a:extLst>
              <a:ext uri="{FF2B5EF4-FFF2-40B4-BE49-F238E27FC236}">
                <a16:creationId xmlns:a16="http://schemas.microsoft.com/office/drawing/2014/main" id="{D6BF1236-7915-54E0-7C33-929D0379B7DB}"/>
              </a:ext>
            </a:extLst>
          </p:cNvPr>
          <p:cNvSpPr txBox="1"/>
          <p:nvPr/>
        </p:nvSpPr>
        <p:spPr>
          <a:xfrm>
            <a:off x="2323996" y="1321753"/>
            <a:ext cx="1447903" cy="26193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en-US" sz="600" b="1">
                <a:solidFill>
                  <a:srgbClr val="A8B21C"/>
                </a:solidFill>
                <a:latin typeface="+mj-lt"/>
              </a:rPr>
              <a:t>Moderately</a:t>
            </a:r>
            <a:r>
              <a:rPr lang="en-US" sz="600" b="1" baseline="30000">
                <a:solidFill>
                  <a:srgbClr val="A8B21C"/>
                </a:solidFill>
                <a:latin typeface="+mj-lt"/>
              </a:rPr>
              <a:t>1</a:t>
            </a:r>
            <a:r>
              <a:rPr lang="en-US" sz="600" b="1">
                <a:solidFill>
                  <a:srgbClr val="A8B21C"/>
                </a:solidFill>
                <a:latin typeface="+mj-lt"/>
              </a:rPr>
              <a:t> </a:t>
            </a:r>
            <a:r>
              <a:rPr lang="en-US" sz="600">
                <a:solidFill>
                  <a:srgbClr val="575757"/>
                </a:solidFill>
                <a:latin typeface="+mj-lt"/>
              </a:rPr>
              <a:t>concentrated market (HHI Index 1000-1800)</a:t>
            </a:r>
          </a:p>
        </p:txBody>
      </p:sp>
      <p:cxnSp>
        <p:nvCxnSpPr>
          <p:cNvPr id="72" name="Straight Connector 71">
            <a:extLst>
              <a:ext uri="{FF2B5EF4-FFF2-40B4-BE49-F238E27FC236}">
                <a16:creationId xmlns:a16="http://schemas.microsoft.com/office/drawing/2014/main" id="{1194051A-5FB9-E3C6-B0BD-A96098D48CEF}"/>
              </a:ext>
            </a:extLst>
          </p:cNvPr>
          <p:cNvCxnSpPr>
            <a:cxnSpLocks/>
          </p:cNvCxnSpPr>
          <p:nvPr/>
        </p:nvCxnSpPr>
        <p:spPr>
          <a:xfrm flipV="1">
            <a:off x="1839894" y="1060130"/>
            <a:ext cx="6957891" cy="23813"/>
          </a:xfrm>
          <a:prstGeom prst="line">
            <a:avLst/>
          </a:prstGeom>
          <a:ln w="63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cxnSp>
        <p:nvCxnSpPr>
          <p:cNvPr id="73" name="Straight Connector 72">
            <a:extLst>
              <a:ext uri="{FF2B5EF4-FFF2-40B4-BE49-F238E27FC236}">
                <a16:creationId xmlns:a16="http://schemas.microsoft.com/office/drawing/2014/main" id="{885899E0-700B-BD20-6865-A99FEA4B64F0}"/>
              </a:ext>
            </a:extLst>
          </p:cNvPr>
          <p:cNvCxnSpPr>
            <a:cxnSpLocks/>
          </p:cNvCxnSpPr>
          <p:nvPr/>
        </p:nvCxnSpPr>
        <p:spPr>
          <a:xfrm flipV="1">
            <a:off x="350596" y="1696825"/>
            <a:ext cx="5004" cy="3091550"/>
          </a:xfrm>
          <a:prstGeom prst="line">
            <a:avLst/>
          </a:prstGeom>
          <a:ln w="6350" cap="rnd">
            <a:solidFill>
              <a:schemeClr val="tx2"/>
            </a:solidFill>
            <a:prstDash val="solid"/>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38567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hink-cell data - do not delete" hidden="1">
            <a:extLst>
              <a:ext uri="{FF2B5EF4-FFF2-40B4-BE49-F238E27FC236}">
                <a16:creationId xmlns:a16="http://schemas.microsoft.com/office/drawing/2014/main" id="{8A5F5CD0-5454-6BB9-60EA-5BFFFD54256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04" imgH="405" progId="TCLayout.ActiveDocument.1">
                  <p:embed/>
                </p:oleObj>
              </mc:Choice>
              <mc:Fallback>
                <p:oleObj name="think-cell Slide" r:id="rId3" imgW="404" imgH="405" progId="TCLayout.ActiveDocument.1">
                  <p:embed/>
                  <p:pic>
                    <p:nvPicPr>
                      <p:cNvPr id="13" name="think-cell data - do not delete" hidden="1">
                        <a:extLst>
                          <a:ext uri="{FF2B5EF4-FFF2-40B4-BE49-F238E27FC236}">
                            <a16:creationId xmlns:a16="http://schemas.microsoft.com/office/drawing/2014/main" id="{8A5F5CD0-5454-6BB9-60EA-5BFFFD54256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Footer Placeholder 3">
            <a:extLst>
              <a:ext uri="{FF2B5EF4-FFF2-40B4-BE49-F238E27FC236}">
                <a16:creationId xmlns:a16="http://schemas.microsoft.com/office/drawing/2014/main" id="{D9887F4F-E1B1-7623-D3FE-D1FB9CFA9263}"/>
              </a:ext>
            </a:extLst>
          </p:cNvPr>
          <p:cNvSpPr>
            <a:spLocks noGrp="1"/>
          </p:cNvSpPr>
          <p:nvPr>
            <p:ph type="ftr" sz="quarter" idx="11"/>
          </p:nvPr>
        </p:nvSpPr>
        <p:spPr>
          <a:xfrm>
            <a:off x="2879725" y="4728047"/>
            <a:ext cx="5148948" cy="164690"/>
          </a:xfrm>
        </p:spPr>
        <p:txBody>
          <a:bodyPr/>
          <a:lstStyle/>
          <a:p>
            <a:r>
              <a:rPr lang="en-US"/>
              <a:t>1. Outsourced assembly and testing 2. Integrated device manufacturer 3. Electronic design automation and intellectual property</a:t>
            </a:r>
          </a:p>
          <a:p>
            <a:r>
              <a:rPr lang="en-US"/>
              <a:t>Source: Gartner, BCG</a:t>
            </a:r>
          </a:p>
        </p:txBody>
      </p:sp>
      <p:sp>
        <p:nvSpPr>
          <p:cNvPr id="12" name="Date Placeholder 2">
            <a:extLst>
              <a:ext uri="{FF2B5EF4-FFF2-40B4-BE49-F238E27FC236}">
                <a16:creationId xmlns:a16="http://schemas.microsoft.com/office/drawing/2014/main" id="{1AEEDF5B-C5FE-956E-0095-701A4B52AEB1}"/>
              </a:ext>
            </a:extLst>
          </p:cNvPr>
          <p:cNvSpPr>
            <a:spLocks noGrp="1"/>
          </p:cNvSpPr>
          <p:nvPr>
            <p:ph type="dt" sz="half" idx="10"/>
          </p:nvPr>
        </p:nvSpPr>
        <p:spPr>
          <a:xfrm>
            <a:off x="282027" y="4728047"/>
            <a:ext cx="916709" cy="164690"/>
          </a:xfrm>
        </p:spPr>
        <p:txBody>
          <a:bodyPr/>
          <a:lstStyle/>
          <a:p>
            <a:fld id="{F553C366-6A2C-43B9-A437-B827E0484441}" type="datetime1">
              <a:rPr lang="fi-FI" smtClean="0"/>
              <a:pPr/>
              <a:t>9.4.2024</a:t>
            </a:fld>
            <a:endParaRPr lang="en-US"/>
          </a:p>
        </p:txBody>
      </p:sp>
      <p:sp>
        <p:nvSpPr>
          <p:cNvPr id="16" name="Footer Placeholder 3">
            <a:extLst>
              <a:ext uri="{FF2B5EF4-FFF2-40B4-BE49-F238E27FC236}">
                <a16:creationId xmlns:a16="http://schemas.microsoft.com/office/drawing/2014/main" id="{1C3A6DE7-22DD-D5BB-F7DB-199257A59342}"/>
              </a:ext>
            </a:extLst>
          </p:cNvPr>
          <p:cNvSpPr txBox="1">
            <a:spLocks/>
          </p:cNvSpPr>
          <p:nvPr/>
        </p:nvSpPr>
        <p:spPr>
          <a:xfrm>
            <a:off x="1111510" y="4728047"/>
            <a:ext cx="2034868" cy="164690"/>
          </a:xfrm>
          <a:prstGeom prst="rect">
            <a:avLst/>
          </a:prstGeom>
        </p:spPr>
        <p:txBody>
          <a:bodyPr vert="horz" lIns="91440" tIns="45720" rIns="91440" bIns="45720" rtlCol="0" anchor="t"/>
          <a:lstStyle>
            <a:defPPr>
              <a:defRPr lang="fi-FI"/>
            </a:defPPr>
            <a:lvl1pPr marL="0" algn="l" defTabSz="679871" rtl="0" eaLnBrk="1" latinLnBrk="0" hangingPunct="1">
              <a:defRPr sz="70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339932" algn="l" defTabSz="679871" rtl="0" eaLnBrk="1" latinLnBrk="0" hangingPunct="1">
              <a:defRPr sz="1340" kern="1200">
                <a:solidFill>
                  <a:schemeClr val="tx1"/>
                </a:solidFill>
                <a:latin typeface="+mn-lt"/>
                <a:ea typeface="+mn-ea"/>
                <a:cs typeface="+mn-cs"/>
              </a:defRPr>
            </a:lvl2pPr>
            <a:lvl3pPr marL="679871" algn="l" defTabSz="679871" rtl="0" eaLnBrk="1" latinLnBrk="0" hangingPunct="1">
              <a:defRPr sz="1340" kern="1200">
                <a:solidFill>
                  <a:schemeClr val="tx1"/>
                </a:solidFill>
                <a:latin typeface="+mn-lt"/>
                <a:ea typeface="+mn-ea"/>
                <a:cs typeface="+mn-cs"/>
              </a:defRPr>
            </a:lvl3pPr>
            <a:lvl4pPr marL="1019807" algn="l" defTabSz="679871" rtl="0" eaLnBrk="1" latinLnBrk="0" hangingPunct="1">
              <a:defRPr sz="1340" kern="1200">
                <a:solidFill>
                  <a:schemeClr val="tx1"/>
                </a:solidFill>
                <a:latin typeface="+mn-lt"/>
                <a:ea typeface="+mn-ea"/>
                <a:cs typeface="+mn-cs"/>
              </a:defRPr>
            </a:lvl4pPr>
            <a:lvl5pPr marL="1359744" algn="l" defTabSz="679871" rtl="0" eaLnBrk="1" latinLnBrk="0" hangingPunct="1">
              <a:defRPr sz="1340" kern="1200">
                <a:solidFill>
                  <a:schemeClr val="tx1"/>
                </a:solidFill>
                <a:latin typeface="+mn-lt"/>
                <a:ea typeface="+mn-ea"/>
                <a:cs typeface="+mn-cs"/>
              </a:defRPr>
            </a:lvl5pPr>
            <a:lvl6pPr marL="1699681" algn="l" defTabSz="679871" rtl="0" eaLnBrk="1" latinLnBrk="0" hangingPunct="1">
              <a:defRPr sz="1340" kern="1200">
                <a:solidFill>
                  <a:schemeClr val="tx1"/>
                </a:solidFill>
                <a:latin typeface="+mn-lt"/>
                <a:ea typeface="+mn-ea"/>
                <a:cs typeface="+mn-cs"/>
              </a:defRPr>
            </a:lvl6pPr>
            <a:lvl7pPr marL="2039614" algn="l" defTabSz="679871" rtl="0" eaLnBrk="1" latinLnBrk="0" hangingPunct="1">
              <a:defRPr sz="1340" kern="1200">
                <a:solidFill>
                  <a:schemeClr val="tx1"/>
                </a:solidFill>
                <a:latin typeface="+mn-lt"/>
                <a:ea typeface="+mn-ea"/>
                <a:cs typeface="+mn-cs"/>
              </a:defRPr>
            </a:lvl7pPr>
            <a:lvl8pPr marL="2379548" algn="l" defTabSz="679871" rtl="0" eaLnBrk="1" latinLnBrk="0" hangingPunct="1">
              <a:defRPr sz="1340" kern="1200">
                <a:solidFill>
                  <a:schemeClr val="tx1"/>
                </a:solidFill>
                <a:latin typeface="+mn-lt"/>
                <a:ea typeface="+mn-ea"/>
                <a:cs typeface="+mn-cs"/>
              </a:defRPr>
            </a:lvl8pPr>
            <a:lvl9pPr marL="2719486" algn="l" defTabSz="679871" rtl="0" eaLnBrk="1" latinLnBrk="0" hangingPunct="1">
              <a:defRPr sz="1340" kern="1200">
                <a:solidFill>
                  <a:schemeClr val="tx1"/>
                </a:solidFill>
                <a:latin typeface="+mn-lt"/>
                <a:ea typeface="+mn-ea"/>
                <a:cs typeface="+mn-cs"/>
              </a:defRPr>
            </a:lvl9pPr>
          </a:lstStyle>
          <a:p>
            <a:r>
              <a:rPr lang="en-US"/>
              <a:t>Technology Industries of Finland</a:t>
            </a:r>
          </a:p>
        </p:txBody>
      </p:sp>
      <p:grpSp>
        <p:nvGrpSpPr>
          <p:cNvPr id="58" name="Group 57">
            <a:extLst>
              <a:ext uri="{FF2B5EF4-FFF2-40B4-BE49-F238E27FC236}">
                <a16:creationId xmlns:a16="http://schemas.microsoft.com/office/drawing/2014/main" id="{43EBFB16-2254-CE0E-A6D4-FEEE287B90BF}"/>
              </a:ext>
            </a:extLst>
          </p:cNvPr>
          <p:cNvGrpSpPr/>
          <p:nvPr/>
        </p:nvGrpSpPr>
        <p:grpSpPr>
          <a:xfrm>
            <a:off x="378189" y="1054100"/>
            <a:ext cx="8393033" cy="3575050"/>
            <a:chOff x="378189" y="368100"/>
            <a:chExt cx="8393033" cy="4491892"/>
          </a:xfrm>
        </p:grpSpPr>
        <p:sp>
          <p:nvSpPr>
            <p:cNvPr id="59" name="Arrow: Pentagon 7">
              <a:extLst>
                <a:ext uri="{FF2B5EF4-FFF2-40B4-BE49-F238E27FC236}">
                  <a16:creationId xmlns:a16="http://schemas.microsoft.com/office/drawing/2014/main" id="{29932703-FE2F-2A80-B07A-E94517142BB8}"/>
                </a:ext>
              </a:extLst>
            </p:cNvPr>
            <p:cNvSpPr/>
            <p:nvPr/>
          </p:nvSpPr>
          <p:spPr bwMode="auto">
            <a:xfrm>
              <a:off x="378189" y="368100"/>
              <a:ext cx="2143292" cy="428922"/>
            </a:xfrm>
            <a:prstGeom prst="homePlate">
              <a:avLst>
                <a:gd name="adj" fmla="val 15584"/>
              </a:avLst>
            </a:prstGeom>
            <a:solidFill>
              <a:srgbClr val="50A26E"/>
            </a:solidFill>
            <a:ln w="9525" cap="flat" cmpd="sng" algn="ctr">
              <a:noFill/>
              <a:prstDash val="solid"/>
              <a:round/>
              <a:headEnd type="none" w="med" len="med"/>
              <a:tailEnd type="none" w="med" len="med"/>
            </a:ln>
          </p:spPr>
          <p:txBody>
            <a:bodyPr vert="horz" wrap="square" lIns="91440" tIns="45720" rIns="91440" bIns="45720" numCol="1" rtlCol="0" anchor="ctr" anchorCtr="0" compatLnSpc="1">
              <a:prstTxWarp prst="textNoShape">
                <a:avLst/>
              </a:prstTxWarp>
            </a:bodyPr>
            <a:lstStyle/>
            <a:p>
              <a:pPr algn="ctr"/>
              <a:r>
                <a:rPr lang="en-US" sz="1050" b="1" spc="-40" dirty="0">
                  <a:solidFill>
                    <a:schemeClr val="bg1"/>
                  </a:solidFill>
                </a:rPr>
                <a:t>Design</a:t>
              </a:r>
            </a:p>
          </p:txBody>
        </p:sp>
        <p:sp>
          <p:nvSpPr>
            <p:cNvPr id="60" name="Arrow: Chevron 8">
              <a:extLst>
                <a:ext uri="{FF2B5EF4-FFF2-40B4-BE49-F238E27FC236}">
                  <a16:creationId xmlns:a16="http://schemas.microsoft.com/office/drawing/2014/main" id="{630BAE72-F142-DC06-3D8D-914C6C0AFF22}"/>
                </a:ext>
              </a:extLst>
            </p:cNvPr>
            <p:cNvSpPr/>
            <p:nvPr/>
          </p:nvSpPr>
          <p:spPr bwMode="auto">
            <a:xfrm>
              <a:off x="2500747" y="368100"/>
              <a:ext cx="2143292" cy="428922"/>
            </a:xfrm>
            <a:prstGeom prst="chevron">
              <a:avLst>
                <a:gd name="adj" fmla="val 14658"/>
              </a:avLst>
            </a:prstGeom>
            <a:solidFill>
              <a:srgbClr val="50A26E"/>
            </a:solidFill>
            <a:ln w="9525" cap="flat" cmpd="sng" algn="ctr">
              <a:noFill/>
              <a:prstDash val="solid"/>
              <a:round/>
              <a:headEnd type="none" w="med" len="med"/>
              <a:tailEnd type="none" w="med" len="med"/>
            </a:ln>
          </p:spPr>
          <p:txBody>
            <a:bodyPr vert="horz" wrap="square" lIns="91440" tIns="45720" rIns="91440" bIns="45720" numCol="1" rtlCol="0" anchor="ctr" anchorCtr="0" compatLnSpc="1">
              <a:prstTxWarp prst="textNoShape">
                <a:avLst/>
              </a:prstTxWarp>
            </a:bodyPr>
            <a:lstStyle/>
            <a:p>
              <a:pPr algn="ctr"/>
              <a:r>
                <a:rPr lang="en-US" sz="1050" b="1" spc="-40" dirty="0">
                  <a:solidFill>
                    <a:schemeClr val="bg1"/>
                  </a:solidFill>
                </a:rPr>
                <a:t>Fabrication</a:t>
              </a:r>
            </a:p>
          </p:txBody>
        </p:sp>
        <p:sp>
          <p:nvSpPr>
            <p:cNvPr id="61" name="Arrow: Chevron 9">
              <a:extLst>
                <a:ext uri="{FF2B5EF4-FFF2-40B4-BE49-F238E27FC236}">
                  <a16:creationId xmlns:a16="http://schemas.microsoft.com/office/drawing/2014/main" id="{A1A37D1E-FDF9-38A7-B066-21ACAE53FEC7}"/>
                </a:ext>
              </a:extLst>
            </p:cNvPr>
            <p:cNvSpPr/>
            <p:nvPr/>
          </p:nvSpPr>
          <p:spPr bwMode="auto">
            <a:xfrm>
              <a:off x="4612271" y="368100"/>
              <a:ext cx="2095813" cy="428922"/>
            </a:xfrm>
            <a:prstGeom prst="chevron">
              <a:avLst>
                <a:gd name="adj" fmla="val 14658"/>
              </a:avLst>
            </a:prstGeom>
            <a:solidFill>
              <a:srgbClr val="50A26E"/>
            </a:solidFill>
            <a:ln w="9525" cap="flat" cmpd="sng" algn="ctr">
              <a:noFill/>
              <a:prstDash val="solid"/>
              <a:round/>
              <a:headEnd type="none" w="med" len="med"/>
              <a:tailEnd type="none" w="med" len="med"/>
            </a:ln>
          </p:spPr>
          <p:txBody>
            <a:bodyPr vert="horz" wrap="square" lIns="91440" tIns="45720" rIns="91440" bIns="45720" numCol="1" rtlCol="0" anchor="ctr" anchorCtr="0" compatLnSpc="1">
              <a:prstTxWarp prst="textNoShape">
                <a:avLst/>
              </a:prstTxWarp>
            </a:bodyPr>
            <a:lstStyle/>
            <a:p>
              <a:pPr algn="ctr"/>
              <a:r>
                <a:rPr lang="fi-FI" sz="1050" b="1" spc="-40">
                  <a:solidFill>
                    <a:schemeClr val="bg1"/>
                  </a:solidFill>
                </a:rPr>
                <a:t>Assembly, testing, </a:t>
              </a:r>
              <a:br>
                <a:rPr lang="fi-FI" sz="1050" b="1" spc="-40">
                  <a:solidFill>
                    <a:schemeClr val="bg1"/>
                  </a:solidFill>
                </a:rPr>
              </a:br>
              <a:r>
                <a:rPr lang="fi-FI" sz="1050" b="1" spc="-40">
                  <a:solidFill>
                    <a:schemeClr val="bg1"/>
                  </a:solidFill>
                </a:rPr>
                <a:t>and packaging</a:t>
              </a:r>
            </a:p>
          </p:txBody>
        </p:sp>
        <p:sp>
          <p:nvSpPr>
            <p:cNvPr id="62" name="Arrow: Chevron 10">
              <a:extLst>
                <a:ext uri="{FF2B5EF4-FFF2-40B4-BE49-F238E27FC236}">
                  <a16:creationId xmlns:a16="http://schemas.microsoft.com/office/drawing/2014/main" id="{6207A3D2-3F32-F890-1947-E808373CC737}"/>
                </a:ext>
              </a:extLst>
            </p:cNvPr>
            <p:cNvSpPr/>
            <p:nvPr/>
          </p:nvSpPr>
          <p:spPr bwMode="auto">
            <a:xfrm>
              <a:off x="6675409" y="368100"/>
              <a:ext cx="2095813" cy="428922"/>
            </a:xfrm>
            <a:prstGeom prst="chevron">
              <a:avLst>
                <a:gd name="adj" fmla="val 14658"/>
              </a:avLst>
            </a:prstGeom>
            <a:solidFill>
              <a:schemeClr val="bg1">
                <a:lumMod val="95000"/>
              </a:schemeClr>
            </a:solidFill>
            <a:ln w="9525" cap="flat" cmpd="sng" algn="ctr">
              <a:noFill/>
              <a:prstDash val="sysDash"/>
              <a:round/>
              <a:headEnd type="none" w="med" len="med"/>
              <a:tailEnd type="none" w="med" len="med"/>
            </a:ln>
          </p:spPr>
          <p:txBody>
            <a:bodyPr vert="horz" wrap="square" lIns="91440" tIns="45720" rIns="91440" bIns="45720" numCol="1" rtlCol="0" anchor="ctr" anchorCtr="0" compatLnSpc="1">
              <a:prstTxWarp prst="textNoShape">
                <a:avLst/>
              </a:prstTxWarp>
            </a:bodyPr>
            <a:lstStyle/>
            <a:p>
              <a:pPr algn="ctr" defTabSz="914400" eaLnBrk="0" hangingPunct="0"/>
              <a:r>
                <a:rPr lang="en-US" sz="1050" b="1" dirty="0">
                  <a:cs typeface="Arial" panose="020B0604020202020204" pitchFamily="34" charset="0"/>
                </a:rPr>
                <a:t>Distribution</a:t>
              </a:r>
            </a:p>
          </p:txBody>
        </p:sp>
        <p:cxnSp>
          <p:nvCxnSpPr>
            <p:cNvPr id="63" name="Straight Connector 62">
              <a:extLst>
                <a:ext uri="{FF2B5EF4-FFF2-40B4-BE49-F238E27FC236}">
                  <a16:creationId xmlns:a16="http://schemas.microsoft.com/office/drawing/2014/main" id="{2288B5CF-0DCD-C89F-CC49-BA0694AB159D}"/>
                </a:ext>
              </a:extLst>
            </p:cNvPr>
            <p:cNvCxnSpPr>
              <a:cxnSpLocks/>
              <a:stCxn id="78" idx="2"/>
              <a:endCxn id="93" idx="0"/>
            </p:cNvCxnSpPr>
            <p:nvPr/>
          </p:nvCxnSpPr>
          <p:spPr>
            <a:xfrm>
              <a:off x="3517300" y="2375598"/>
              <a:ext cx="1054319" cy="853216"/>
            </a:xfrm>
            <a:prstGeom prst="line">
              <a:avLst/>
            </a:prstGeom>
            <a:ln w="19050">
              <a:solidFill>
                <a:srgbClr val="50A26E"/>
              </a:solidFill>
              <a:prstDash val="sysDot"/>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E79FFA52-132F-2E80-154A-F4EF612818E8}"/>
                </a:ext>
              </a:extLst>
            </p:cNvPr>
            <p:cNvCxnSpPr>
              <a:cxnSpLocks/>
              <a:stCxn id="75" idx="2"/>
              <a:endCxn id="93" idx="0"/>
            </p:cNvCxnSpPr>
            <p:nvPr/>
          </p:nvCxnSpPr>
          <p:spPr>
            <a:xfrm flipH="1">
              <a:off x="4571619" y="2375600"/>
              <a:ext cx="1054318" cy="853214"/>
            </a:xfrm>
            <a:prstGeom prst="line">
              <a:avLst/>
            </a:prstGeom>
            <a:ln w="19050">
              <a:solidFill>
                <a:srgbClr val="50A26E"/>
              </a:solidFill>
              <a:prstDash val="sysDot"/>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6515B3AA-340D-0BA5-9AC4-532EE2B8C805}"/>
                </a:ext>
              </a:extLst>
            </p:cNvPr>
            <p:cNvCxnSpPr>
              <a:cxnSpLocks/>
              <a:stCxn id="81" idx="2"/>
              <a:endCxn id="69" idx="0"/>
            </p:cNvCxnSpPr>
            <p:nvPr/>
          </p:nvCxnSpPr>
          <p:spPr>
            <a:xfrm flipH="1">
              <a:off x="1408662" y="2375598"/>
              <a:ext cx="1" cy="853403"/>
            </a:xfrm>
            <a:prstGeom prst="line">
              <a:avLst/>
            </a:prstGeom>
            <a:ln w="19050">
              <a:solidFill>
                <a:srgbClr val="50A26E"/>
              </a:solidFill>
              <a:prstDash val="sysDot"/>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45A01B3D-60D9-32A5-239C-55CCC861214D}"/>
                </a:ext>
              </a:extLst>
            </p:cNvPr>
            <p:cNvSpPr/>
            <p:nvPr/>
          </p:nvSpPr>
          <p:spPr>
            <a:xfrm>
              <a:off x="8661255" y="1804985"/>
              <a:ext cx="85317" cy="4273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600" dirty="0">
                <a:solidFill>
                  <a:srgbClr val="FFFFFF"/>
                </a:solidFill>
              </a:endParaRPr>
            </a:p>
          </p:txBody>
        </p:sp>
        <p:sp>
          <p:nvSpPr>
            <p:cNvPr id="67" name="Rectangle 66">
              <a:extLst>
                <a:ext uri="{FF2B5EF4-FFF2-40B4-BE49-F238E27FC236}">
                  <a16:creationId xmlns:a16="http://schemas.microsoft.com/office/drawing/2014/main" id="{6CCBEE74-3273-6AD3-3E94-8BE6577D31BC}"/>
                </a:ext>
              </a:extLst>
            </p:cNvPr>
            <p:cNvSpPr/>
            <p:nvPr/>
          </p:nvSpPr>
          <p:spPr>
            <a:xfrm>
              <a:off x="378189" y="4602835"/>
              <a:ext cx="8391673" cy="257157"/>
            </a:xfrm>
            <a:prstGeom prst="rect">
              <a:avLst/>
            </a:prstGeom>
            <a:solidFill>
              <a:srgbClr val="50A26E"/>
            </a:solidFill>
            <a:ln w="9525" cap="flat" cmpd="sng" algn="ctr">
              <a:noFill/>
              <a:prstDash val="solid"/>
              <a:round/>
              <a:headEnd type="none" w="med" len="med"/>
              <a:tailEnd type="none" w="med" len="med"/>
            </a:ln>
          </p:spPr>
          <p:txBody>
            <a:bodyPr vert="horz" wrap="square" lIns="91440" tIns="45720" rIns="91440" bIns="45720" numCol="1" rtlCol="0" anchor="ctr" anchorCtr="0" compatLnSpc="1">
              <a:prstTxWarp prst="textNoShape">
                <a:avLst/>
              </a:prstTxWarp>
            </a:bodyPr>
            <a:lstStyle/>
            <a:p>
              <a:pPr algn="ctr"/>
              <a:r>
                <a:rPr lang="en-US" sz="1050" b="1" dirty="0">
                  <a:solidFill>
                    <a:schemeClr val="bg1"/>
                  </a:solidFill>
                </a:rPr>
                <a:t>R&amp;D: Universities and research institutions</a:t>
              </a:r>
            </a:p>
          </p:txBody>
        </p:sp>
        <p:cxnSp>
          <p:nvCxnSpPr>
            <p:cNvPr id="68" name="Straight Connector 67">
              <a:extLst>
                <a:ext uri="{FF2B5EF4-FFF2-40B4-BE49-F238E27FC236}">
                  <a16:creationId xmlns:a16="http://schemas.microsoft.com/office/drawing/2014/main" id="{466ABCB2-942A-A215-5379-6A802F578351}"/>
                </a:ext>
              </a:extLst>
            </p:cNvPr>
            <p:cNvCxnSpPr>
              <a:cxnSpLocks/>
            </p:cNvCxnSpPr>
            <p:nvPr/>
          </p:nvCxnSpPr>
          <p:spPr>
            <a:xfrm>
              <a:off x="7626799" y="4438830"/>
              <a:ext cx="0" cy="220392"/>
            </a:xfrm>
            <a:prstGeom prst="line">
              <a:avLst/>
            </a:prstGeom>
            <a:ln w="9525">
              <a:solidFill>
                <a:schemeClr val="tx1"/>
              </a:solidFill>
              <a:tailEnd type="oval"/>
            </a:ln>
          </p:spPr>
          <p:style>
            <a:lnRef idx="1">
              <a:schemeClr val="accent1"/>
            </a:lnRef>
            <a:fillRef idx="0">
              <a:schemeClr val="accent1"/>
            </a:fillRef>
            <a:effectRef idx="0">
              <a:schemeClr val="accent1"/>
            </a:effectRef>
            <a:fontRef idx="minor">
              <a:schemeClr val="tx1"/>
            </a:fontRef>
          </p:style>
        </p:cxnSp>
        <p:sp>
          <p:nvSpPr>
            <p:cNvPr id="69" name="Rectangle 68">
              <a:extLst>
                <a:ext uri="{FF2B5EF4-FFF2-40B4-BE49-F238E27FC236}">
                  <a16:creationId xmlns:a16="http://schemas.microsoft.com/office/drawing/2014/main" id="{8F431A9D-DC6C-EA51-388D-B824103FA141}"/>
                </a:ext>
              </a:extLst>
            </p:cNvPr>
            <p:cNvSpPr/>
            <p:nvPr/>
          </p:nvSpPr>
          <p:spPr>
            <a:xfrm>
              <a:off x="378189" y="3229001"/>
              <a:ext cx="2060945" cy="1209368"/>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buFont typeface="Trebuchet MS" panose="020B0603020202020204" pitchFamily="34" charset="0"/>
                <a:buChar char="​"/>
              </a:pPr>
              <a:endParaRPr lang="en-US" sz="600" dirty="0">
                <a:solidFill>
                  <a:srgbClr val="000C20"/>
                </a:solidFill>
              </a:endParaRPr>
            </a:p>
          </p:txBody>
        </p:sp>
        <p:sp>
          <p:nvSpPr>
            <p:cNvPr id="70" name="TextBox 69">
              <a:extLst>
                <a:ext uri="{FF2B5EF4-FFF2-40B4-BE49-F238E27FC236}">
                  <a16:creationId xmlns:a16="http://schemas.microsoft.com/office/drawing/2014/main" id="{55E1E306-742F-A54C-E9A3-F12D4D3CB47F}"/>
                </a:ext>
              </a:extLst>
            </p:cNvPr>
            <p:cNvSpPr txBox="1"/>
            <p:nvPr/>
          </p:nvSpPr>
          <p:spPr>
            <a:xfrm>
              <a:off x="389305" y="3728444"/>
              <a:ext cx="1718567" cy="244593"/>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AI enhances EDA tooling</a:t>
              </a:r>
            </a:p>
          </p:txBody>
        </p:sp>
        <p:sp>
          <p:nvSpPr>
            <p:cNvPr id="71" name="Rectangle 70">
              <a:extLst>
                <a:ext uri="{FF2B5EF4-FFF2-40B4-BE49-F238E27FC236}">
                  <a16:creationId xmlns:a16="http://schemas.microsoft.com/office/drawing/2014/main" id="{44D6D501-5F0E-BC48-861B-06BAC1962969}"/>
                </a:ext>
              </a:extLst>
            </p:cNvPr>
            <p:cNvSpPr/>
            <p:nvPr/>
          </p:nvSpPr>
          <p:spPr>
            <a:xfrm>
              <a:off x="465314" y="3299536"/>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defRPr/>
              </a:pPr>
              <a:r>
                <a:rPr lang="en-US" sz="1050" b="1" dirty="0">
                  <a:solidFill>
                    <a:srgbClr val="000C20"/>
                  </a:solidFill>
                </a:rPr>
                <a:t>EDA &amp; IP</a:t>
              </a:r>
              <a:endParaRPr lang="en-US" sz="1050" b="1" baseline="30000" dirty="0">
                <a:solidFill>
                  <a:srgbClr val="000C20"/>
                </a:solidFill>
              </a:endParaRPr>
            </a:p>
            <a:p>
              <a:pPr defTabSz="685800">
                <a:spcBef>
                  <a:spcPct val="0"/>
                </a:spcBef>
                <a:spcAft>
                  <a:spcPct val="0"/>
                </a:spcAft>
                <a:defRPr/>
              </a:pPr>
              <a:r>
                <a:rPr lang="en-US" sz="700" b="1" dirty="0">
                  <a:solidFill>
                    <a:srgbClr val="50A26E"/>
                  </a:solidFill>
                  <a:ea typeface="Verdana" panose="020B0604030504040204" pitchFamily="34" charset="0"/>
                </a:rPr>
                <a:t>€20B, </a:t>
              </a:r>
              <a:r>
                <a:rPr lang="en-US" sz="700" dirty="0">
                  <a:solidFill>
                    <a:schemeClr val="bg1">
                      <a:lumMod val="50000"/>
                    </a:schemeClr>
                  </a:solidFill>
                  <a:ea typeface="Verdana" panose="020B0604030504040204" pitchFamily="34" charset="0"/>
                </a:rPr>
                <a:t>9% CAGR</a:t>
              </a:r>
            </a:p>
          </p:txBody>
        </p:sp>
        <p:sp>
          <p:nvSpPr>
            <p:cNvPr id="72" name="Rectangle 71">
              <a:extLst>
                <a:ext uri="{FF2B5EF4-FFF2-40B4-BE49-F238E27FC236}">
                  <a16:creationId xmlns:a16="http://schemas.microsoft.com/office/drawing/2014/main" id="{4C8D68FD-055F-6881-B9B2-A72F1AC50036}"/>
                </a:ext>
              </a:extLst>
            </p:cNvPr>
            <p:cNvSpPr/>
            <p:nvPr/>
          </p:nvSpPr>
          <p:spPr>
            <a:xfrm>
              <a:off x="6704101" y="961486"/>
              <a:ext cx="2060947" cy="1414114"/>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defRPr/>
              </a:pPr>
              <a:endParaRPr lang="en-US" sz="600" b="1" dirty="0">
                <a:solidFill>
                  <a:srgbClr val="000C20"/>
                </a:solidFill>
              </a:endParaRPr>
            </a:p>
          </p:txBody>
        </p:sp>
        <p:sp>
          <p:nvSpPr>
            <p:cNvPr id="73" name="TextBox 72">
              <a:extLst>
                <a:ext uri="{FF2B5EF4-FFF2-40B4-BE49-F238E27FC236}">
                  <a16:creationId xmlns:a16="http://schemas.microsoft.com/office/drawing/2014/main" id="{181393A8-E723-A35B-A4B5-3768AE4841C7}"/>
                </a:ext>
              </a:extLst>
            </p:cNvPr>
            <p:cNvSpPr txBox="1"/>
            <p:nvPr/>
          </p:nvSpPr>
          <p:spPr>
            <a:xfrm>
              <a:off x="6712204" y="1508935"/>
              <a:ext cx="1981858" cy="53397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Efficient distribution drives growth</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Development and evolution in service and commerce platforms</a:t>
              </a:r>
            </a:p>
          </p:txBody>
        </p:sp>
        <p:sp>
          <p:nvSpPr>
            <p:cNvPr id="74" name="Rectangle 73">
              <a:extLst>
                <a:ext uri="{FF2B5EF4-FFF2-40B4-BE49-F238E27FC236}">
                  <a16:creationId xmlns:a16="http://schemas.microsoft.com/office/drawing/2014/main" id="{5BF19357-F411-3D1D-40DD-A153387948EC}"/>
                </a:ext>
              </a:extLst>
            </p:cNvPr>
            <p:cNvSpPr/>
            <p:nvPr/>
          </p:nvSpPr>
          <p:spPr>
            <a:xfrm>
              <a:off x="6796481" y="1028667"/>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defRPr/>
              </a:pPr>
              <a:r>
                <a:rPr lang="en-US" sz="1050" b="1" dirty="0">
                  <a:solidFill>
                    <a:srgbClr val="000C20"/>
                  </a:solidFill>
                </a:rPr>
                <a:t>Distributors</a:t>
              </a:r>
            </a:p>
            <a:p>
              <a:pPr defTabSz="685800">
                <a:spcBef>
                  <a:spcPct val="0"/>
                </a:spcBef>
                <a:spcAft>
                  <a:spcPct val="0"/>
                </a:spcAft>
                <a:defRPr/>
              </a:pPr>
              <a:r>
                <a:rPr lang="en-US" sz="700" b="1" dirty="0">
                  <a:solidFill>
                    <a:srgbClr val="50A26E"/>
                  </a:solidFill>
                  <a:ea typeface="Verdana" panose="020B0604030504040204" pitchFamily="34" charset="0"/>
                </a:rPr>
                <a:t>€205B, </a:t>
              </a:r>
              <a:r>
                <a:rPr lang="en-US" sz="700" dirty="0">
                  <a:solidFill>
                    <a:srgbClr val="000000"/>
                  </a:solidFill>
                  <a:ea typeface="Verdana" panose="020B0604030504040204" pitchFamily="34" charset="0"/>
                </a:rPr>
                <a:t>7% CAGR</a:t>
              </a:r>
            </a:p>
          </p:txBody>
        </p:sp>
        <p:sp>
          <p:nvSpPr>
            <p:cNvPr id="75" name="Rectangle 74">
              <a:extLst>
                <a:ext uri="{FF2B5EF4-FFF2-40B4-BE49-F238E27FC236}">
                  <a16:creationId xmlns:a16="http://schemas.microsoft.com/office/drawing/2014/main" id="{507D02D0-38B5-79D8-BAF4-FB2A9989EBAC}"/>
                </a:ext>
              </a:extLst>
            </p:cNvPr>
            <p:cNvSpPr/>
            <p:nvPr/>
          </p:nvSpPr>
          <p:spPr>
            <a:xfrm>
              <a:off x="4595463" y="961486"/>
              <a:ext cx="2060947" cy="1414114"/>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buFont typeface="Trebuchet MS" panose="020B0603020202020204" pitchFamily="34" charset="0"/>
                <a:buChar char="​"/>
                <a:defRPr/>
              </a:pPr>
              <a:endParaRPr lang="en-US" sz="600" b="1" dirty="0">
                <a:solidFill>
                  <a:srgbClr val="000C20"/>
                </a:solidFill>
              </a:endParaRPr>
            </a:p>
          </p:txBody>
        </p:sp>
        <p:sp>
          <p:nvSpPr>
            <p:cNvPr id="76" name="TextBox 75">
              <a:extLst>
                <a:ext uri="{FF2B5EF4-FFF2-40B4-BE49-F238E27FC236}">
                  <a16:creationId xmlns:a16="http://schemas.microsoft.com/office/drawing/2014/main" id="{D7F78FE2-5BFF-10BC-6682-80A2C1A38178}"/>
                </a:ext>
              </a:extLst>
            </p:cNvPr>
            <p:cNvSpPr txBox="1"/>
            <p:nvPr/>
          </p:nvSpPr>
          <p:spPr>
            <a:xfrm>
              <a:off x="4604570" y="1508935"/>
              <a:ext cx="2058938" cy="5662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Advanced packaging methods</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Foundries and IDMs entering</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Complexity of testing increasing</a:t>
              </a:r>
            </a:p>
          </p:txBody>
        </p:sp>
        <p:sp>
          <p:nvSpPr>
            <p:cNvPr id="77" name="Rectangle 76">
              <a:extLst>
                <a:ext uri="{FF2B5EF4-FFF2-40B4-BE49-F238E27FC236}">
                  <a16:creationId xmlns:a16="http://schemas.microsoft.com/office/drawing/2014/main" id="{23C6F389-062C-8DE3-798A-2E8EE21D9791}"/>
                </a:ext>
              </a:extLst>
            </p:cNvPr>
            <p:cNvSpPr/>
            <p:nvPr/>
          </p:nvSpPr>
          <p:spPr>
            <a:xfrm>
              <a:off x="4688380" y="1028667"/>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buFont typeface="Trebuchet MS" panose="020B0603020202020204" pitchFamily="34" charset="0"/>
                <a:buChar char="​"/>
                <a:defRPr/>
              </a:pPr>
              <a:r>
                <a:rPr lang="en-US" sz="1050" b="1" dirty="0">
                  <a:solidFill>
                    <a:srgbClr val="000C20"/>
                  </a:solidFill>
                </a:rPr>
                <a:t>OSAT</a:t>
              </a:r>
              <a:endParaRPr lang="en-US" sz="1050" b="1" baseline="30000" dirty="0">
                <a:solidFill>
                  <a:srgbClr val="000C20"/>
                </a:solidFill>
              </a:endParaRPr>
            </a:p>
            <a:p>
              <a:pPr defTabSz="685800">
                <a:spcBef>
                  <a:spcPct val="0"/>
                </a:spcBef>
                <a:spcAft>
                  <a:spcPct val="0"/>
                </a:spcAft>
                <a:buFont typeface="Trebuchet MS" panose="020B0603020202020204" pitchFamily="34" charset="0"/>
                <a:buChar char="​"/>
                <a:defRPr/>
              </a:pPr>
              <a:r>
                <a:rPr lang="en-US" sz="700" b="1" dirty="0">
                  <a:solidFill>
                    <a:srgbClr val="50A26E"/>
                  </a:solidFill>
                  <a:ea typeface="Verdana" panose="020B0604030504040204" pitchFamily="34" charset="0"/>
                </a:rPr>
                <a:t>€45B, </a:t>
              </a:r>
              <a:r>
                <a:rPr lang="en-US" sz="700" dirty="0">
                  <a:solidFill>
                    <a:srgbClr val="000000"/>
                  </a:solidFill>
                  <a:ea typeface="Verdana" panose="020B0604030504040204" pitchFamily="34" charset="0"/>
                </a:rPr>
                <a:t>6% CAGR</a:t>
              </a:r>
            </a:p>
          </p:txBody>
        </p:sp>
        <p:sp>
          <p:nvSpPr>
            <p:cNvPr id="78" name="Rectangle 77">
              <a:extLst>
                <a:ext uri="{FF2B5EF4-FFF2-40B4-BE49-F238E27FC236}">
                  <a16:creationId xmlns:a16="http://schemas.microsoft.com/office/drawing/2014/main" id="{445117E9-B70C-3314-B046-921F713ACC49}"/>
                </a:ext>
              </a:extLst>
            </p:cNvPr>
            <p:cNvSpPr/>
            <p:nvPr/>
          </p:nvSpPr>
          <p:spPr>
            <a:xfrm>
              <a:off x="2486826" y="961486"/>
              <a:ext cx="2060947" cy="1414112"/>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indent="-171450" algn="ctr" defTabSz="685800">
                <a:spcBef>
                  <a:spcPct val="0"/>
                </a:spcBef>
                <a:spcAft>
                  <a:spcPct val="0"/>
                </a:spcAft>
                <a:buFont typeface="Trebuchet MS" panose="020B0603020202020204" pitchFamily="34" charset="0"/>
                <a:buChar char="​"/>
                <a:defRPr/>
              </a:pPr>
              <a:endParaRPr lang="en-US" sz="600" b="1" dirty="0">
                <a:solidFill>
                  <a:srgbClr val="000C20"/>
                </a:solidFill>
              </a:endParaRPr>
            </a:p>
          </p:txBody>
        </p:sp>
        <p:sp>
          <p:nvSpPr>
            <p:cNvPr id="79" name="TextBox 78">
              <a:extLst>
                <a:ext uri="{FF2B5EF4-FFF2-40B4-BE49-F238E27FC236}">
                  <a16:creationId xmlns:a16="http://schemas.microsoft.com/office/drawing/2014/main" id="{24670B55-A21E-DCDB-3BD4-14FBB084CE0A}"/>
                </a:ext>
              </a:extLst>
            </p:cNvPr>
            <p:cNvSpPr txBox="1"/>
            <p:nvPr/>
          </p:nvSpPr>
          <p:spPr>
            <a:xfrm>
              <a:off x="2496938" y="1508935"/>
              <a:ext cx="2058938" cy="5662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Geopolitics drive capacity expansion</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Partnerships with OEMs</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Rising costs favor larger foundries</a:t>
              </a:r>
            </a:p>
          </p:txBody>
        </p:sp>
        <p:sp>
          <p:nvSpPr>
            <p:cNvPr id="80" name="Rectangle 79">
              <a:extLst>
                <a:ext uri="{FF2B5EF4-FFF2-40B4-BE49-F238E27FC236}">
                  <a16:creationId xmlns:a16="http://schemas.microsoft.com/office/drawing/2014/main" id="{4C6DD880-25C4-39E4-E981-B03FDB8D5800}"/>
                </a:ext>
              </a:extLst>
            </p:cNvPr>
            <p:cNvSpPr/>
            <p:nvPr/>
          </p:nvSpPr>
          <p:spPr>
            <a:xfrm>
              <a:off x="2580279" y="1028665"/>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defRPr/>
              </a:pPr>
              <a:r>
                <a:rPr lang="en-US" sz="1050" b="1" dirty="0">
                  <a:solidFill>
                    <a:srgbClr val="000C20"/>
                  </a:solidFill>
                </a:rPr>
                <a:t>Foundries </a:t>
              </a:r>
            </a:p>
            <a:p>
              <a:pPr defTabSz="685800">
                <a:spcBef>
                  <a:spcPct val="0"/>
                </a:spcBef>
                <a:spcAft>
                  <a:spcPct val="0"/>
                </a:spcAft>
                <a:defRPr/>
              </a:pPr>
              <a:r>
                <a:rPr lang="en-US" sz="700" b="1" dirty="0">
                  <a:solidFill>
                    <a:srgbClr val="50A26E"/>
                  </a:solidFill>
                  <a:ea typeface="Verdana" panose="020B0604030504040204" pitchFamily="34" charset="0"/>
                </a:rPr>
                <a:t>€120B, </a:t>
              </a:r>
              <a:r>
                <a:rPr lang="en-US" sz="700" dirty="0">
                  <a:solidFill>
                    <a:srgbClr val="000000"/>
                  </a:solidFill>
                  <a:ea typeface="Verdana" panose="020B0604030504040204" pitchFamily="34" charset="0"/>
                </a:rPr>
                <a:t>7% CAGR</a:t>
              </a:r>
            </a:p>
          </p:txBody>
        </p:sp>
        <p:sp>
          <p:nvSpPr>
            <p:cNvPr id="81" name="Rectangle 80">
              <a:extLst>
                <a:ext uri="{FF2B5EF4-FFF2-40B4-BE49-F238E27FC236}">
                  <a16:creationId xmlns:a16="http://schemas.microsoft.com/office/drawing/2014/main" id="{364F3F4F-DF2F-E5DB-29F5-AB10E2E40203}"/>
                </a:ext>
              </a:extLst>
            </p:cNvPr>
            <p:cNvSpPr/>
            <p:nvPr/>
          </p:nvSpPr>
          <p:spPr>
            <a:xfrm>
              <a:off x="378189" y="961486"/>
              <a:ext cx="2060947" cy="1414112"/>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buFont typeface="Trebuchet MS" panose="020B0603020202020204" pitchFamily="34" charset="0"/>
                <a:buChar char="​"/>
                <a:defRPr/>
              </a:pPr>
              <a:endParaRPr lang="en-US" sz="600" dirty="0">
                <a:solidFill>
                  <a:srgbClr val="000C20"/>
                </a:solidFill>
              </a:endParaRPr>
            </a:p>
          </p:txBody>
        </p:sp>
        <p:sp>
          <p:nvSpPr>
            <p:cNvPr id="82" name="TextBox 81">
              <a:extLst>
                <a:ext uri="{FF2B5EF4-FFF2-40B4-BE49-F238E27FC236}">
                  <a16:creationId xmlns:a16="http://schemas.microsoft.com/office/drawing/2014/main" id="{A7418AB1-3EB1-C4EA-C5A2-A386AE293247}"/>
                </a:ext>
              </a:extLst>
            </p:cNvPr>
            <p:cNvSpPr txBox="1"/>
            <p:nvPr/>
          </p:nvSpPr>
          <p:spPr>
            <a:xfrm>
              <a:off x="389305" y="1508935"/>
              <a:ext cx="1897581" cy="5662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Increased service outsourcing</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OEM in-sourcing of chip design</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Lower barriers for entry due to AI</a:t>
              </a:r>
            </a:p>
          </p:txBody>
        </p:sp>
        <p:sp>
          <p:nvSpPr>
            <p:cNvPr id="86" name="Rectangle 85">
              <a:extLst>
                <a:ext uri="{FF2B5EF4-FFF2-40B4-BE49-F238E27FC236}">
                  <a16:creationId xmlns:a16="http://schemas.microsoft.com/office/drawing/2014/main" id="{6F83CD21-A737-56FC-38CA-95916224C5A3}"/>
                </a:ext>
              </a:extLst>
            </p:cNvPr>
            <p:cNvSpPr/>
            <p:nvPr/>
          </p:nvSpPr>
          <p:spPr>
            <a:xfrm>
              <a:off x="472178" y="1026788"/>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buFont typeface="Trebuchet MS" panose="020B0603020202020204" pitchFamily="34" charset="0"/>
                <a:buChar char="​"/>
                <a:defRPr/>
              </a:pPr>
              <a:r>
                <a:rPr lang="en-US" sz="1050" b="1" dirty="0">
                  <a:solidFill>
                    <a:srgbClr val="000C20"/>
                  </a:solidFill>
                </a:rPr>
                <a:t>Design </a:t>
              </a:r>
              <a:r>
                <a:rPr lang="en-US" sz="1050" dirty="0">
                  <a:solidFill>
                    <a:srgbClr val="000C20"/>
                  </a:solidFill>
                </a:rPr>
                <a:t>(fabless)</a:t>
              </a:r>
            </a:p>
            <a:p>
              <a:pPr defTabSz="685800">
                <a:spcBef>
                  <a:spcPct val="0"/>
                </a:spcBef>
                <a:spcAft>
                  <a:spcPct val="0"/>
                </a:spcAft>
                <a:buFont typeface="Trebuchet MS" panose="020B0603020202020204" pitchFamily="34" charset="0"/>
                <a:buChar char="​"/>
                <a:defRPr/>
              </a:pPr>
              <a:r>
                <a:rPr lang="en-US" sz="700" b="1" dirty="0">
                  <a:solidFill>
                    <a:srgbClr val="50A26E"/>
                  </a:solidFill>
                  <a:ea typeface="Verdana" panose="020B0604030504040204" pitchFamily="34" charset="0"/>
                </a:rPr>
                <a:t>€170B,</a:t>
              </a:r>
              <a:r>
                <a:rPr lang="en-US" sz="700" i="1" dirty="0">
                  <a:solidFill>
                    <a:srgbClr val="50A26E"/>
                  </a:solidFill>
                  <a:ea typeface="Verdana" panose="020B0604030504040204" pitchFamily="34" charset="0"/>
                </a:rPr>
                <a:t> </a:t>
              </a:r>
              <a:r>
                <a:rPr lang="en-US" sz="700" dirty="0">
                  <a:solidFill>
                    <a:srgbClr val="000000"/>
                  </a:solidFill>
                  <a:ea typeface="Verdana" panose="020B0604030504040204" pitchFamily="34" charset="0"/>
                </a:rPr>
                <a:t>6% CAGR</a:t>
              </a:r>
            </a:p>
          </p:txBody>
        </p:sp>
        <p:sp>
          <p:nvSpPr>
            <p:cNvPr id="87" name="Right Arrow 47">
              <a:extLst>
                <a:ext uri="{FF2B5EF4-FFF2-40B4-BE49-F238E27FC236}">
                  <a16:creationId xmlns:a16="http://schemas.microsoft.com/office/drawing/2014/main" id="{1AE7B264-2AE0-8122-13DC-81B574875DEE}"/>
                </a:ext>
              </a:extLst>
            </p:cNvPr>
            <p:cNvSpPr/>
            <p:nvPr/>
          </p:nvSpPr>
          <p:spPr>
            <a:xfrm>
              <a:off x="378189" y="2540065"/>
              <a:ext cx="8386857" cy="524469"/>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buFont typeface="Trebuchet MS" panose="020B0603020202020204" pitchFamily="34" charset="0"/>
                <a:buChar char="​"/>
              </a:pPr>
              <a:endParaRPr lang="en-US" sz="600" dirty="0">
                <a:solidFill>
                  <a:srgbClr val="000C20"/>
                </a:solidFill>
              </a:endParaRPr>
            </a:p>
          </p:txBody>
        </p:sp>
        <p:sp>
          <p:nvSpPr>
            <p:cNvPr id="89" name="TextBox 88">
              <a:extLst>
                <a:ext uri="{FF2B5EF4-FFF2-40B4-BE49-F238E27FC236}">
                  <a16:creationId xmlns:a16="http://schemas.microsoft.com/office/drawing/2014/main" id="{0A48FCF0-0136-49E6-0223-FA6F25F31B44}"/>
                </a:ext>
              </a:extLst>
            </p:cNvPr>
            <p:cNvSpPr txBox="1"/>
            <p:nvPr/>
          </p:nvSpPr>
          <p:spPr>
            <a:xfrm>
              <a:off x="1418334" y="2611734"/>
              <a:ext cx="5457378" cy="40539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Fabless-foundry model dominant for leading edge chips, only few large IDMs remain on the market </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IDMs increasingly offer IoT security and PaaS services</a:t>
              </a:r>
            </a:p>
          </p:txBody>
        </p:sp>
        <p:sp>
          <p:nvSpPr>
            <p:cNvPr id="90" name="Rectangle 89">
              <a:extLst>
                <a:ext uri="{FF2B5EF4-FFF2-40B4-BE49-F238E27FC236}">
                  <a16:creationId xmlns:a16="http://schemas.microsoft.com/office/drawing/2014/main" id="{642516E4-FE3C-1E52-A2D8-CD92D04DB0E8}"/>
                </a:ext>
              </a:extLst>
            </p:cNvPr>
            <p:cNvSpPr/>
            <p:nvPr/>
          </p:nvSpPr>
          <p:spPr>
            <a:xfrm>
              <a:off x="472178" y="2629052"/>
              <a:ext cx="1976629"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defRPr/>
              </a:pPr>
              <a:r>
                <a:rPr lang="en-US" sz="1050" b="1" dirty="0">
                  <a:solidFill>
                    <a:srgbClr val="000C20"/>
                  </a:solidFill>
                </a:rPr>
                <a:t>IDMs</a:t>
              </a:r>
              <a:endParaRPr lang="en-US" sz="1050" b="1" baseline="30000" dirty="0">
                <a:solidFill>
                  <a:srgbClr val="000C20"/>
                </a:solidFill>
              </a:endParaRPr>
            </a:p>
            <a:p>
              <a:pPr defTabSz="685800">
                <a:spcBef>
                  <a:spcPct val="0"/>
                </a:spcBef>
                <a:spcAft>
                  <a:spcPct val="0"/>
                </a:spcAft>
                <a:defRPr/>
              </a:pPr>
              <a:r>
                <a:rPr lang="en-US" sz="700" b="1" dirty="0">
                  <a:solidFill>
                    <a:srgbClr val="50A26E"/>
                  </a:solidFill>
                  <a:ea typeface="Verdana" panose="020B0604030504040204" pitchFamily="34" charset="0"/>
                </a:rPr>
                <a:t>€370B,</a:t>
              </a:r>
              <a:r>
                <a:rPr lang="en-US" sz="700" b="1" i="1" dirty="0">
                  <a:solidFill>
                    <a:srgbClr val="50A26E"/>
                  </a:solidFill>
                  <a:ea typeface="Verdana" panose="020B0604030504040204" pitchFamily="34" charset="0"/>
                </a:rPr>
                <a:t> </a:t>
              </a:r>
              <a:r>
                <a:rPr lang="en-US" sz="700" i="1" dirty="0">
                  <a:solidFill>
                    <a:schemeClr val="bg1">
                      <a:lumMod val="50000"/>
                    </a:schemeClr>
                  </a:solidFill>
                  <a:ea typeface="Verdana" panose="020B0604030504040204" pitchFamily="34" charset="0"/>
                </a:rPr>
                <a:t>-</a:t>
              </a:r>
            </a:p>
          </p:txBody>
        </p:sp>
        <p:sp>
          <p:nvSpPr>
            <p:cNvPr id="92" name="Rectangle 91">
              <a:extLst>
                <a:ext uri="{FF2B5EF4-FFF2-40B4-BE49-F238E27FC236}">
                  <a16:creationId xmlns:a16="http://schemas.microsoft.com/office/drawing/2014/main" id="{E1B4242A-B087-6880-CE2C-B62C50EE6297}"/>
                </a:ext>
              </a:extLst>
            </p:cNvPr>
            <p:cNvSpPr/>
            <p:nvPr/>
          </p:nvSpPr>
          <p:spPr bwMode="auto">
            <a:xfrm>
              <a:off x="6704101" y="3219100"/>
              <a:ext cx="2060945" cy="1219270"/>
            </a:xfrm>
            <a:prstGeom prst="rect">
              <a:avLst/>
            </a:prstGeom>
            <a:solidFill>
              <a:schemeClr val="bg1"/>
            </a:solidFill>
            <a:ln w="19050">
              <a:solidFill>
                <a:srgbClr val="50A26E"/>
              </a:solid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lstStyle/>
            <a:p>
              <a:pPr marL="0" marR="0" lvl="0" indent="0" algn="ctr" defTabSz="679871" rtl="0" eaLnBrk="1" fontAlgn="auto" latinLnBrk="0" hangingPunct="1">
                <a:lnSpc>
                  <a:spcPct val="100000"/>
                </a:lnSpc>
                <a:spcBef>
                  <a:spcPts val="0"/>
                </a:spcBef>
                <a:spcAft>
                  <a:spcPts val="0"/>
                </a:spcAft>
                <a:buClrTx/>
                <a:buSzTx/>
                <a:buFontTx/>
                <a:buNone/>
                <a:tabLst/>
                <a:defRPr/>
              </a:pPr>
              <a:r>
                <a:rPr lang="en-US" sz="700" dirty="0">
                  <a:solidFill>
                    <a:schemeClr val="tx1"/>
                  </a:solidFill>
                  <a:ea typeface="Verdana" panose="020B0604030504040204" pitchFamily="34" charset="0"/>
                </a:rPr>
                <a:t>Second-highest R&amp;D spend per revenue compared with other industries</a:t>
              </a:r>
            </a:p>
          </p:txBody>
        </p:sp>
        <p:sp>
          <p:nvSpPr>
            <p:cNvPr id="93" name="Rectangle 92">
              <a:extLst>
                <a:ext uri="{FF2B5EF4-FFF2-40B4-BE49-F238E27FC236}">
                  <a16:creationId xmlns:a16="http://schemas.microsoft.com/office/drawing/2014/main" id="{8C2BEDF2-10B5-E01F-F4BE-E7A328A4FF62}"/>
                </a:ext>
              </a:extLst>
            </p:cNvPr>
            <p:cNvSpPr/>
            <p:nvPr/>
          </p:nvSpPr>
          <p:spPr>
            <a:xfrm>
              <a:off x="2486826" y="3228814"/>
              <a:ext cx="4169585" cy="1209742"/>
            </a:xfrm>
            <a:prstGeom prst="rect">
              <a:avLst/>
            </a:prstGeom>
            <a:solidFill>
              <a:schemeClr val="bg1"/>
            </a:solidFill>
            <a:ln w="9525" cap="flat" cmpd="sng" algn="ctr">
              <a:solidFill>
                <a:schemeClr val="bg1">
                  <a:lumMod val="85000"/>
                </a:schemeClr>
              </a:solidFill>
              <a:prstDash val="solid"/>
              <a:miter lim="800000"/>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0" tIns="34290" rIns="0" bIns="0" rtlCol="0" anchor="t" anchorCtr="0">
              <a:noAutofit/>
            </a:bodyPr>
            <a:lstStyle/>
            <a:p>
              <a:pPr algn="ctr" defTabSz="685800">
                <a:spcBef>
                  <a:spcPct val="0"/>
                </a:spcBef>
                <a:spcAft>
                  <a:spcPct val="0"/>
                </a:spcAft>
                <a:buFont typeface="Trebuchet MS" panose="020B0603020202020204" pitchFamily="34" charset="0"/>
                <a:buChar char="​"/>
              </a:pPr>
              <a:endParaRPr lang="en-US" sz="600" dirty="0">
                <a:solidFill>
                  <a:srgbClr val="000C20"/>
                </a:solidFill>
              </a:endParaRPr>
            </a:p>
          </p:txBody>
        </p:sp>
        <p:sp>
          <p:nvSpPr>
            <p:cNvPr id="94" name="Rectangle 93">
              <a:extLst>
                <a:ext uri="{FF2B5EF4-FFF2-40B4-BE49-F238E27FC236}">
                  <a16:creationId xmlns:a16="http://schemas.microsoft.com/office/drawing/2014/main" id="{E327D5FB-35AE-D3E6-D556-EAF3261EB06D}"/>
                </a:ext>
              </a:extLst>
            </p:cNvPr>
            <p:cNvSpPr/>
            <p:nvPr/>
          </p:nvSpPr>
          <p:spPr>
            <a:xfrm>
              <a:off x="2580279" y="3299349"/>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buFontTx/>
                <a:buChar char="​"/>
                <a:defRPr/>
              </a:pPr>
              <a:r>
                <a:rPr lang="en-US" sz="1050" b="1" dirty="0">
                  <a:solidFill>
                    <a:srgbClr val="000C20"/>
                  </a:solidFill>
                </a:rPr>
                <a:t>Material suppliers</a:t>
              </a:r>
            </a:p>
            <a:p>
              <a:pPr defTabSz="685800">
                <a:spcBef>
                  <a:spcPct val="0"/>
                </a:spcBef>
                <a:spcAft>
                  <a:spcPct val="0"/>
                </a:spcAft>
                <a:defRPr/>
              </a:pPr>
              <a:r>
                <a:rPr lang="en-US" sz="700" b="1" dirty="0">
                  <a:solidFill>
                    <a:srgbClr val="50A26E"/>
                  </a:solidFill>
                  <a:ea typeface="Verdana" panose="020B0604030504040204" pitchFamily="34" charset="0"/>
                </a:rPr>
                <a:t>€65B, </a:t>
              </a:r>
              <a:r>
                <a:rPr lang="en-US" sz="700" dirty="0">
                  <a:solidFill>
                    <a:srgbClr val="000000"/>
                  </a:solidFill>
                  <a:ea typeface="Verdana" panose="020B0604030504040204" pitchFamily="34" charset="0"/>
                </a:rPr>
                <a:t>5% CAGR</a:t>
              </a:r>
            </a:p>
          </p:txBody>
        </p:sp>
        <p:sp>
          <p:nvSpPr>
            <p:cNvPr id="95" name="Rectangle 94">
              <a:extLst>
                <a:ext uri="{FF2B5EF4-FFF2-40B4-BE49-F238E27FC236}">
                  <a16:creationId xmlns:a16="http://schemas.microsoft.com/office/drawing/2014/main" id="{EBA80673-783A-2F5D-5840-ADB9B4AA0488}"/>
                </a:ext>
              </a:extLst>
            </p:cNvPr>
            <p:cNvSpPr/>
            <p:nvPr/>
          </p:nvSpPr>
          <p:spPr>
            <a:xfrm>
              <a:off x="4688380" y="3299349"/>
              <a:ext cx="1897581" cy="34649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1E3A69"/>
                  </a:solidFill>
                </a14:hiddenFill>
              </a:ext>
              <a:ext uri="{91240B29-F687-4F45-9708-019B960494DF}">
                <a14:hiddenLine xmlns:a14="http://schemas.microsoft.com/office/drawing/2010/main" w="9525" cap="rnd" cmpd="sng" algn="ctr">
                  <a:solidFill>
                    <a:srgbClr val="1E3A69"/>
                  </a:solidFill>
                  <a:prstDash val="solid"/>
                  <a:round/>
                  <a:headEnd type="none" w="med" len="med"/>
                  <a:tailEnd type="none" w="med" len="med"/>
                </a14:hiddenLine>
              </a:ext>
            </a:ex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685800">
                <a:spcBef>
                  <a:spcPct val="0"/>
                </a:spcBef>
                <a:spcAft>
                  <a:spcPct val="0"/>
                </a:spcAft>
                <a:buFontTx/>
                <a:buChar char="​"/>
                <a:defRPr/>
              </a:pPr>
              <a:r>
                <a:rPr lang="en-US" sz="1050" b="1" dirty="0">
                  <a:solidFill>
                    <a:srgbClr val="000C20"/>
                  </a:solidFill>
                </a:rPr>
                <a:t>Equipment suppliers</a:t>
              </a:r>
            </a:p>
            <a:p>
              <a:pPr defTabSz="685800">
                <a:spcBef>
                  <a:spcPct val="0"/>
                </a:spcBef>
                <a:spcAft>
                  <a:spcPct val="0"/>
                </a:spcAft>
                <a:buFontTx/>
                <a:buChar char="​"/>
                <a:defRPr/>
              </a:pPr>
              <a:r>
                <a:rPr lang="en-US" sz="700" b="1" dirty="0">
                  <a:solidFill>
                    <a:srgbClr val="50A26E"/>
                  </a:solidFill>
                  <a:ea typeface="Verdana" panose="020B0604030504040204" pitchFamily="34" charset="0"/>
                </a:rPr>
                <a:t>€100B, </a:t>
              </a:r>
              <a:r>
                <a:rPr lang="en-US" sz="700" dirty="0">
                  <a:solidFill>
                    <a:srgbClr val="000000"/>
                  </a:solidFill>
                  <a:ea typeface="Verdana" panose="020B0604030504040204" pitchFamily="34" charset="0"/>
                </a:rPr>
                <a:t>8% CAGR</a:t>
              </a:r>
            </a:p>
          </p:txBody>
        </p:sp>
        <p:sp>
          <p:nvSpPr>
            <p:cNvPr id="97" name="TextBox 96">
              <a:extLst>
                <a:ext uri="{FF2B5EF4-FFF2-40B4-BE49-F238E27FC236}">
                  <a16:creationId xmlns:a16="http://schemas.microsoft.com/office/drawing/2014/main" id="{533B9BB0-0061-0617-1726-C2331BCDAA25}"/>
                </a:ext>
              </a:extLst>
            </p:cNvPr>
            <p:cNvSpPr txBox="1"/>
            <p:nvPr/>
          </p:nvSpPr>
          <p:spPr>
            <a:xfrm>
              <a:off x="2496937" y="3728446"/>
              <a:ext cx="2058938" cy="566204"/>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High performance demands </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Novel material innovations</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Compound semiconductors</a:t>
              </a:r>
            </a:p>
          </p:txBody>
        </p:sp>
        <p:sp>
          <p:nvSpPr>
            <p:cNvPr id="98" name="TextBox 97">
              <a:extLst>
                <a:ext uri="{FF2B5EF4-FFF2-40B4-BE49-F238E27FC236}">
                  <a16:creationId xmlns:a16="http://schemas.microsoft.com/office/drawing/2014/main" id="{40483BEF-3304-0BCA-6300-8BFF4FCD67BF}"/>
                </a:ext>
              </a:extLst>
            </p:cNvPr>
            <p:cNvSpPr txBox="1"/>
            <p:nvPr/>
          </p:nvSpPr>
          <p:spPr>
            <a:xfrm>
              <a:off x="4604570" y="3728444"/>
              <a:ext cx="2058938" cy="533979"/>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square" lIns="0" anchor="t">
              <a:spAutoFit/>
            </a:bodyPr>
            <a:lstStyle/>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Manufacturing capacity expansion globally drives demand growth</a:t>
              </a:r>
            </a:p>
            <a:p>
              <a:pPr marL="81000" lvl="1">
                <a:lnSpc>
                  <a:spcPct val="95000"/>
                </a:lnSpc>
                <a:spcAft>
                  <a:spcPts val="225"/>
                </a:spcAft>
                <a:buClr>
                  <a:schemeClr val="tx2"/>
                </a:buClr>
                <a:buSzPct val="100000"/>
              </a:pPr>
              <a:r>
                <a:rPr lang="en-US" sz="700" dirty="0">
                  <a:solidFill>
                    <a:schemeClr val="tx1"/>
                  </a:solidFill>
                  <a:ea typeface="Verdana" panose="020B0604030504040204" pitchFamily="34" charset="0"/>
                  <a:cs typeface="Verdana" panose="020B0604030504040204" pitchFamily="34" charset="0"/>
                </a:rPr>
                <a:t>Advances in processes equipment</a:t>
              </a:r>
            </a:p>
          </p:txBody>
        </p:sp>
      </p:grpSp>
      <p:sp>
        <p:nvSpPr>
          <p:cNvPr id="101" name="Title 1">
            <a:extLst>
              <a:ext uri="{FF2B5EF4-FFF2-40B4-BE49-F238E27FC236}">
                <a16:creationId xmlns:a16="http://schemas.microsoft.com/office/drawing/2014/main" id="{EFE2E1E5-ED76-ABA1-661F-E573B3AB7C12}"/>
              </a:ext>
            </a:extLst>
          </p:cNvPr>
          <p:cNvSpPr txBox="1">
            <a:spLocks/>
          </p:cNvSpPr>
          <p:nvPr/>
        </p:nvSpPr>
        <p:spPr>
          <a:xfrm>
            <a:off x="251999" y="290513"/>
            <a:ext cx="7969981" cy="498475"/>
          </a:xfrm>
          <a:prstGeom prst="rect">
            <a:avLst/>
          </a:prstGeom>
        </p:spPr>
        <p:txBody>
          <a:bodyPr vert="horz" lIns="91440" tIns="45720" rIns="91440" bIns="45720" rtlCol="0" anchor="t">
            <a:noAutofit/>
          </a:bodyPr>
          <a:lstStyle>
            <a:lvl1pPr marL="14400" algn="l" defTabSz="806052" rtl="0" eaLnBrk="1" latinLnBrk="0" hangingPunct="1">
              <a:lnSpc>
                <a:spcPts val="2700"/>
              </a:lnSpc>
              <a:spcBef>
                <a:spcPts val="0"/>
              </a:spcBef>
              <a:spcAft>
                <a:spcPts val="0"/>
              </a:spcAft>
              <a:buNone/>
              <a:defRPr sz="2200" b="1" kern="1200" spc="-35" baseline="0">
                <a:solidFill>
                  <a:srgbClr val="000000"/>
                </a:solidFill>
                <a:latin typeface="+mj-lt"/>
                <a:ea typeface="Adobe Fan Heiti Std B" panose="020B0700000000000000" pitchFamily="34" charset="-128"/>
                <a:cs typeface="Adobe Hebrew" panose="02040503050201020203" pitchFamily="18" charset="-79"/>
              </a:defRPr>
            </a:lvl1pPr>
          </a:lstStyle>
          <a:p>
            <a:pPr marL="0" defTabSz="679871">
              <a:lnSpc>
                <a:spcPct val="100000"/>
              </a:lnSpc>
            </a:pPr>
            <a:r>
              <a:rPr lang="en-US" sz="1400" spc="0" dirty="0">
                <a:solidFill>
                  <a:srgbClr val="29282E"/>
                </a:solidFill>
                <a:latin typeface="Verdana"/>
                <a:ea typeface="+mn-ea"/>
                <a:cs typeface="+mn-cs"/>
              </a:rPr>
              <a:t>Changing demand drives evolutions across the highly fragmented semiconductor value chain create additional opportunities for plays</a:t>
            </a:r>
          </a:p>
        </p:txBody>
      </p:sp>
    </p:spTree>
    <p:extLst>
      <p:ext uri="{BB962C8B-B14F-4D97-AF65-F5344CB8AC3E}">
        <p14:creationId xmlns:p14="http://schemas.microsoft.com/office/powerpoint/2010/main" val="32398712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8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4&quot;&gt;&lt;elem m_fUsage=&quot;3.14659000000000022013E+00&quot;&gt;&lt;m_msothmcolidx val=&quot;0&quot;/&gt;&lt;m_rgb r=&quot;30&quot; g=&quot;78&quot; b=&quot;B3&quot;/&gt;&lt;/elem&gt;&lt;elem m_fUsage=&quot;8.10000000000000053291E-01&quot;&gt;&lt;m_msothmcolidx val=&quot;0&quot;/&gt;&lt;m_rgb r=&quot;49&quot; g=&quot;99&quot; b=&quot;DD&quot;/&gt;&lt;/elem&gt;&lt;elem m_fUsage=&quot;7.29000000000000092371E-01&quot;&gt;&lt;m_msothmcolidx val=&quot;0&quot;/&gt;&lt;m_rgb r=&quot;00&quot; g=&quot;54&quot; b=&quot;90&quot;/&gt;&lt;/elem&gt;&lt;elem m_fUsage=&quot;5.31441000000000163261E-01&quot;&gt;&lt;m_msothmcolidx val=&quot;0&quot;/&gt;&lt;m_rgb r=&quot;50&quot; g=&quot;A2&quot; b=&quot;6E&quot;/&gt;&lt;/elem&gt;&lt;/m_vecMRU&gt;&lt;/m_mruColor&gt;&lt;m_eweekdayFirstOfWeek val=&quot;2&quot;/&gt;&lt;m_eweekdayFirstOfWorkweek val=&quot;2&quot;/&gt;&lt;m_eweekdayFirstOfWeekend val=&quot;7&quot;/&gt;&lt;/CPresentation&gt;&lt;/root&gt;"/>
  <p:tag name="EE4P_STYLE_ID" val="yQGgHwi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8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p4tq0OGUyjn_sYqBApAB0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j0JujqpXkE708d0FiuB1U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UaLxwCZan7RS0kuHsacpd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3wkhrOLm6pR_hYfot9qjN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e493tNLvmW3t.KVS.rb5F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ZQ7Ntyb0pzZyQwk2z2La9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TmZX0lv6MUvXQ0eEgbMaz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pjsRNKZVwrHY7dbELqJat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Fh9N.lfUfRbmfJxIICk7g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uF6atL5xOZj4uaTlzCtzx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J9L3IwRxSD0p2uBBiQiE3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EgamH1a_.CWAPYhBFW4E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vKgGnQjTkxlJ2kLeCeilM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XHf5QyNNqscArdG7MtvVE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_cg3zODOAsZqEAPO5Y2WO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FPxf8B7ODaqMB1BxTWyB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1a2Z5vV1IEZ6tuqy2uO7P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f0um3.RW4hkvYtMhGdt4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YNmJiLAbyMo1TyZRMJVug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Fp0jUHnwlfSYXLqaMcDmH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YFMEpSOp4JdAFBNhjl5y7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sY2PWKUdzo7BKsFJzU.W2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j2GszmzM_0KcX8GIQz_Oo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Bfkg9_rL4gLm64vgBIGv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ibwaBWq5NAZxzwAgIIO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rLdAUCcdT_8HbIeNk9UG4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AEcQgWjWtivvY8UpQwW4v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0X_pqXwMTwRmpmlDzjOllQ"/>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2DiCsUuc0ylvBJ3tBf41D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7A0iCrUf7nJzMxM.hQF02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7LcIiw2TcWop5d1aaaEBY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WDLz0yzbPseUAk2IyEGDD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yCNhNzwmGaQ1sDNCk8sFmQ"/>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QjUSCcjLuK4soP0xg.nTH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ZE4hMuPQkLTNRtRhyScz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QrLo1G4ocQaZFeuFQvhpgw"/>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b6h6JuzWR0o4WmibmuL1i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KZ5WvapJB155XQuZUyu1N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AwwF7VlaphGT6OfgQROcb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2QWsAmUtkRlRaWpPwMAsG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vo9IA6cNRVkAoq0WBpb95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IUK6Md_7FGu1AzPQDXV5P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E5A_8V2ATtsfqtyEKqrnQ"/>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4ItEClTNb.jD0N.AU8LaG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lktnZjxRt7O7DsFPtTEbV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i7lUIryEStLY4LU1NiAur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xp4435ruDt25mJNiVjIP0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27LSOvlreQFLQ5RzAu4x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I7cwWu.MPYetlP_EAys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gT1FlCQNs1NYF7idpukSS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gA7kMDReJCuvs6XOYhXBw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s36cd7mZzxRK8aarlezzx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1AndWKEva75DdaKrjK6VV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3sznFn1PQr5v.xagqu00iQ"/>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tVNG7GewdAXe9XhhU6oF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ZRGdNdb_oEHFeeWkqZIB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IUjoSyKpt_GxNE..XYQ_d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9YivR_zQySMUn0LLKfvqW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45u4K1trgnkEpzIrINNug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ij8KwtoUTityxOKRCNcx5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yBSlG6eM_Jl1BBP658KZW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x9zUFNDTQg2iIr81Yy7lJ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jZ5Dz0g.DdHobNNugJbjj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V3GYvpI76T_cwFZU0RBfc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XsDDKvc2Dt5lTVj.x8cU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u9p.aMgG2dESfFUhwDdVow"/>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M2ze2DubfhmOdGihEXDrz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L0ylTxIc5ooJOlRqoW11a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ArrksAui6AliAb7Or2Rv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cvR5LlJTMBq0pK1fj0.n2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muvWNyFVxHt6ObhTSwwOFw"/>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NC64wMH8J7KEdn_M5QO52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1dOhFukf_OTdLiDA.KIPIQ"/>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CQ89vgUNrbhPLRwgUdKro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TGoeekrmqHvgmTzbN67H2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LWnB5mywOBXc_rR7HLgwd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s5M3nC4HAcnrfoXPSWXs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75Ls4i6FnaYmE8F2eoVV7g"/>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aBvEQBJ3.X7XXLy6tY1yS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pS0QTHTZqWzAfCPNlZj3og"/>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PT5IVhgDVm.1upHPmC6H1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YkkoZViUwN9gKikqaO.XS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BXQFWyFp5a.guUhgWhsAD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THxyc1fjgb_W4et5o0CS0g"/>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3oE9HE_DNmkzzj214JJG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XZMAV1ian6HD_ZHP6Lo1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1IjrM1_qg0XtFREkEMV9H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1KphQygjy8PpKpo1C7I1g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RPIb9llPSDR_7setJnrQ7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ORbg6CN792TsVHrSOmlPX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8Eq5JrBj7vb7tiVcH0cyL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SFYRIAAHpza0tG8QvmsdvQ"/>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lre6Z9Bc2FC65Ra_lAsYbw"/>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DWueovIY3Vd7T25yE_ywu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4lENcXU7BqK6OOJSb_X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PbOSYWUvS8GyPQwb1Knxt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160V0bA9XJCRA1n4UzCOT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MH_4SZKXSBQsfUVvSsms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FMZyFU_0YouQ4V4Co6iTg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5MGWOYwuCVPHN.tL6aQWt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8.wUnOjy.LvvdRvO0vsuW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tfTwprQJEsAN7mECPbIn0Q"/>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yqJ2xsbmyFzGJAPl4Rt3p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Jg1.Znm3DG10O2zMY4lpK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qqXlDJz.POLRWA1UERBIW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HTFpwVwTUe2KVvjjPo9O1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UkUpjASURmrHhU96OpoYs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9.mNMIu797PufbUwTTfd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ONDH_YcTAGxh3nGoc3Dfx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SMXzdIIJbprrJMozUrMCm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df7Kov5FTQrP8oK8IUyj3w"/>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zCbVvhvMZuVI6oLGTcc1dw"/>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1gnQdFsj3ECJwJPcb1RHdg"/>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nhbjzzrySY6LPLkErOU2Tw"/>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4RGjgtUESheJieGFcsjDR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0dFb9NOSRZBqXGUit2iA_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O_EetdBBpQpaMEGECiyOO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w5gIHEdxPNKsYeNECxXCI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oXOZX9uphIhpiUE1JI9L0Q"/>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LuXd.LSe_sknPmMmqzVb7A"/>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uaRMU8MLrgNAdtiDpGo0lg"/>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W.dgySF3VjebpxDWq32tD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AUxz1e6bdRXZ9c9G1a7.J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S8gh8NOOqQ0tEiUqVzcmX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UNGpjvGN_hVa4hnrKXG3Rw"/>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PnlTCudu3.VSqYgCvQr84Q"/>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bP4c3Jm3E0FOTVuLTrt5O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tDfZuT3rpvjKEpbNNR2cfA"/>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3fbzMe8fpbg4W38LEA7ES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bkPzwDa6nLCQeIS6WfE1M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MQ29B5tODXb6IiT0SgNQSA"/>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rY2KSoysqENJwrX9jAT88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aic_pUHdw3.Dk4hIru3Lbg"/>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63iDbSaYqrf2OkffS3MOy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oUjXIvB0GlZvWHlK60Mp0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pKMFrVtI_sWXWDLx5WFPWQ"/>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lpIy1YLzHS22VNiTpd0LYw"/>
</p:tagLst>
</file>

<file path=ppt/tags/tag34.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_wgmLGzuP2w863CEk4DFYQ"/>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WEtQIT4BuBt2ylB2P5eGYQ"/>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noRBFwGWL8V8Zb3zigRehg"/>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Jx.MVGmvSQD5PN_oAQkpfQ"/>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qtPF7zdqKbWguGNO101Np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ljVxnY8q8uc8FjGlTJUR7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ki6Ab0aPKG6TyIjkkbHk9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_gBvCxOrWsEWtF4qEv9PL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wj0SJaaHFUJg9mBdHXfv7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Z5iJtlF3S8k3k9O7Lw0M4A"/>
</p:tagLst>
</file>

<file path=ppt/tags/tag3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PZf4itGdT2wOXjgb5dBQr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Z9hwc3obY2VifXpdJnEQY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Z4H9n4m9x5gZkOpoGBweY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60f.PWvo0H1hwsZG2Wd5Uw"/>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6p_3CMztGLNip2RHrVrSag"/>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ib_tEiSi4U8O.cNIBebhM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xmeq_mJfAO5J9bPm9nrm0g"/>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dKbyBI7P3RDd1rLGo8ME.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d6UNDi8E_NASOM6RhJapS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aUmcqtP.hGR5LekKi4RRM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vjwJaFmkMSWhtB7lLLRzBQ"/>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1Miefx7xiVvEu7DovuKiF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1cL.FoXGHvX8fNUwVZRg"/>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2uK2RTrgFEnyRPWp9JJnx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mkPi23AnFcQ0ZvHz4Ibw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trBtLsJxQOOo_cOh0b_Kw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RGXRcuy4VuPn8poa0nb59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Th8RpKUJD0f54ajZjCXERw"/>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eMHlRfEIg18lAeXGopZzvw"/>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4fow7jIU5vpOO_FqSCe5W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i9lEMMqIfLHWHWrHTys7G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_WtpJPKYx1Ei6ZTvJ5cXt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6QxR9cnS.yz6UUWPr9jS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vSdGQqj6xAGzGZ_Wx_NYA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pmHD9ChEwpKjsy3njSAEg"/>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AVrOisxYWZwn8vZceMGzQ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X2NlwUGqbS3OxrHs6E7z4Q"/>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AbBFlAsFoztORm2ZpXveqw"/>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cdTfiHqdIRzqcyaAwFxBR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GMOZy5XBwmOtKrPS1DF4H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C133PjUgpqzvIA5Ho1jY0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LBRuN8sdnpDAgkKGnDeqm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OsYXrqMtK9ju9HkguEF4x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Go1feolXuF_bEpVgXv90FQ"/>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hsGSytPdk34nsZjReTsS5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zF0XKEM5VRFXQ31nzTzsh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EFA8zhSvvGmEgXxUn55qR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Mxg0yWr1m.dp7et5c0.ku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g_tj_kbqypwCb5jnyLyCI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hbycIVdhG8lw88o6VjPv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4m3vmO9Z_67LYdeQ4mVw_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lZTB5gk5UcgWuqWGUBtTuA"/>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bSNGky_st1M4cM84b5E2n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6BqJHyeYgXUrEBP.HATFNw"/>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J.RiAvsoSUJBhQGcVfbXaw"/>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iafs3JaPcXDPUldKllE96Q"/>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JkPdSMBt5WumHDKIns1tm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Ojf4gNzzNWcNvrQK7kK68g"/>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h9nOZNvzqySBqxwAVXm4AQ"/>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X45pbz0_T8zU7LF_a1zOI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rflJimspZItCz8QU3_ivTg"/>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YUbrXBUtrRslT79XKaCIj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BM.YdKfU9gd2FGFwhjyUHw"/>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qneOVTXGHmZinN5GdrF2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k8BNgP2Jt73EOVxFxMuW4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7YD6E5jJb7MTvcPm5xnhTQ"/>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xQzD2zMRxtnFLub4T7Dgdw"/>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LwWRri333fxuzIUD7ysOTw"/>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2KNxTIpWWW1wnkR_mYGfI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SmE5qQ0Ht2_LwdUWZ9wv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0GPYHksvXiaOq1iDVgipy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TIbjEOOKdq4inyldyQ_9o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zrya4DSQiEDrn4Z5zOwNq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OAXqVidubXqBw6dza0ckN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tPukg3o4wLfLgAafzx7eNw"/>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o8afbr85ElMlQxDqLutHNw"/>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NxfwyEx46G2lKmfd8bJGC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icfTZhcUADYIH.OWuMjgs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tQg.kE4Q7yBvp12OttI0lg"/>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d8Qb.nJxcMpPLF0VkRshg"/>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4HiYqh1J4seChuvc4.IpKw"/>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y0aAEzqPZilg2__XJbgZ8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BvN4z2PxiKNhqhQey7FBxQ"/>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wEKHOsT.27B9UgQEEmu2ug"/>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e39oiyidko3F82gOHI53Y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j7_r_iRLuSrw6jerJR6fhQ"/>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ti6pqR01O3jOXil6hhlVE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UpxH.oZQdiJKJJEN1jg95Q"/>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OkwRy2avB3SKHbPn4GG5vQ"/>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c569Czftuyl2c7GbFVtKtQ"/>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h7FjpXOUtvPJhr4c8Zwpi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mjgaEFgiDEbbTkQp.nXTMw"/>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G..8OL2Ex0Eb4S1Uv8OHOg"/>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iaHiHQhvDqaj7Pu26PzKr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EU4YE5.6jCVe_76yw.wdOw"/>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yJRe4BUpubmEj4oLqhBenw"/>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rMxZg4dtWcnzwCR16gNd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BPVFoE6zC98dwwSZQ.aUy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p7qgwTbdVYuN4.PKZcVYFw"/>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_v4ebNp4bczUy81rV.2WK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b1KUKHXTHpjQ86iikWXML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4tEXJ9SNE9bkRfFiNlcT4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kk2tS61DvkUTP.e78ih79w"/>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v4ocXBiTxWUNtOaI9hVs7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kwaGgRKEZfeGUH6Dgzi0g"/>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P9SkCLgCp_wuB3KBw0jEaA"/>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NnzObE03koTDmcLuOB7MG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G.5yq4bdPHXucxywL2Y6A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2.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53.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54.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5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5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3.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6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6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8.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knologiateollisuus_masterdia">
  <a:themeElements>
    <a:clrScheme name="Teknologiateollisuus">
      <a:dk1>
        <a:srgbClr val="29282E"/>
      </a:dk1>
      <a:lt1>
        <a:srgbClr val="FFFFFF"/>
      </a:lt1>
      <a:dk2>
        <a:srgbClr val="29282E"/>
      </a:dk2>
      <a:lt2>
        <a:srgbClr val="FFFFFF"/>
      </a:lt2>
      <a:accent1>
        <a:srgbClr val="0070C0"/>
      </a:accent1>
      <a:accent2>
        <a:srgbClr val="FF00B8"/>
      </a:accent2>
      <a:accent3>
        <a:srgbClr val="85E869"/>
      </a:accent3>
      <a:accent4>
        <a:srgbClr val="FF805C"/>
      </a:accent4>
      <a:accent5>
        <a:srgbClr val="8A0FA6"/>
      </a:accent5>
      <a:accent6>
        <a:srgbClr val="FFFF00"/>
      </a:accent6>
      <a:hlink>
        <a:srgbClr val="0ACFCF"/>
      </a:hlink>
      <a:folHlink>
        <a:srgbClr val="0ACFCF"/>
      </a:folHlink>
    </a:clrScheme>
    <a:fontScheme name="Mukautettu 1">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ln>
      </a:spPr>
      <a:bodyPr vert="horz" wrap="square" lIns="91440" tIns="45720" rIns="91440" bIns="45720" numCol="1" anchor="t" anchorCtr="0" compatLnSpc="1">
        <a:prstTxWarp prst="textNoShape">
          <a:avLst/>
        </a:prstTxWarp>
      </a:bodyPr>
      <a:lstStyle>
        <a:defPPr>
          <a:defRPr/>
        </a:defPPr>
      </a:lstStyle>
    </a:spDef>
    <a:lnDef>
      <a:spPr>
        <a:ln w="19050"/>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pc="-40" dirty="0" err="1" smtClean="0"/>
        </a:defPPr>
      </a:lstStyle>
    </a:txDef>
  </a:objectDefaults>
  <a:extraClrSchemeLst/>
  <a:extLst>
    <a:ext uri="{05A4C25C-085E-4340-85A3-A5531E510DB2}">
      <thm15:themeFamily xmlns:thm15="http://schemas.microsoft.com/office/thememl/2012/main" name="Presentation2" id="{E772BC2D-301E-4AE7-8A02-61E4A322E6E5}" vid="{F2556ABF-7A22-4ABE-9C88-204730085A7D}"/>
    </a:ext>
  </a:extLst>
</a:theme>
</file>

<file path=ppt/theme/theme2.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Technology Industries of Finland Grid Custom - 21561">
  <a:themeElements>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fontScheme name="Verdana">
      <a:majorFont>
        <a:latin typeface="Verdana"/>
        <a:ea typeface=""/>
        <a:cs typeface=""/>
      </a:majorFont>
      <a:minorFont>
        <a:latin typeface="Verdana"/>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0000"/>
        </a:solidFill>
        <a:ln w="9525" cap="rnd" cmpd="sng" algn="ctr">
          <a:noFill/>
          <a:prstDash val="solid"/>
          <a:round/>
          <a:headEnd type="none" w="med" len="med"/>
          <a:tailEnd type="none" w="med" len="med"/>
        </a:ln>
      </a:spPr>
      <a:bodyPr rot="0" spcFirstLastPara="0" vertOverflow="overflow" horzOverflow="overflow" vert="horz" wrap="square" lIns="36576" tIns="36576" rIns="36576" bIns="36576" numCol="1" spcCol="0" rtlCol="0" fromWordArt="0" anchor="ctr" anchorCtr="0" forceAA="0" compatLnSpc="1">
        <a:prstTxWarp prst="textNoShape">
          <a:avLst/>
        </a:prstTxWarp>
        <a:noAutofit/>
      </a:bodyPr>
      <a:lstStyle>
        <a:defPPr algn="ctr">
          <a:defRPr sz="8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36576" tIns="36576" rIns="36576" bIns="36576" numCol="1" spcCol="0" rtlCol="0" fromWordArt="0" anchor="ctr" anchorCtr="0" forceAA="0" compatLnSpc="1">
        <a:prstTxWarp prst="textNoShape">
          <a:avLst/>
        </a:prstTxWarp>
        <a:noAutofit/>
      </a:bodyPr>
      <a:lstStyle>
        <a:defPPr algn="ctr">
          <a:defRPr sz="800" dirty="0"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Teknologiateollisuus">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0.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1.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2.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3.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4.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5.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6.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7.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8.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19.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0.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1.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2.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3.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4.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5.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6.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7.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8.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29.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3.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30.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31.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4.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5.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6.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7.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8.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ppt/theme/themeOverride9.xml><?xml version="1.0" encoding="utf-8"?>
<a:themeOverride xmlns:a="http://schemas.openxmlformats.org/drawingml/2006/main">
  <a:clrScheme name="Custom 2">
    <a:dk1>
      <a:srgbClr val="000000"/>
    </a:dk1>
    <a:lt1>
      <a:sysClr val="window" lastClr="FFFFFF"/>
    </a:lt1>
    <a:dk2>
      <a:srgbClr val="000000"/>
    </a:dk2>
    <a:lt2>
      <a:srgbClr val="F2F2F2"/>
    </a:lt2>
    <a:accent1>
      <a:srgbClr val="1A1A1A"/>
    </a:accent1>
    <a:accent2>
      <a:srgbClr val="333333"/>
    </a:accent2>
    <a:accent3>
      <a:srgbClr val="FFFF00"/>
    </a:accent3>
    <a:accent4>
      <a:srgbClr val="666666"/>
    </a:accent4>
    <a:accent5>
      <a:srgbClr val="9A9A9A"/>
    </a:accent5>
    <a:accent6>
      <a:srgbClr val="FF00B8"/>
    </a:accent6>
    <a:hlink>
      <a:srgbClr val="0070C0"/>
    </a:hlink>
    <a:folHlink>
      <a:srgbClr val="0ACFC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8FF847F0968184E8DDABFEA48904649" ma:contentTypeVersion="4" ma:contentTypeDescription="Create a new document." ma:contentTypeScope="" ma:versionID="41a492a54a1d5ac4936cf95a33086758">
  <xsd:schema xmlns:xsd="http://www.w3.org/2001/XMLSchema" xmlns:xs="http://www.w3.org/2001/XMLSchema" xmlns:p="http://schemas.microsoft.com/office/2006/metadata/properties" xmlns:ns2="615081f3-220a-47d5-bcd1-4e5178767442" targetNamespace="http://schemas.microsoft.com/office/2006/metadata/properties" ma:root="true" ma:fieldsID="4ffa25011a15f96b876517f6c38897a5" ns2:_="">
    <xsd:import namespace="615081f3-220a-47d5-bcd1-4e517876744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15081f3-220a-47d5-bcd1-4e51787674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3FAFD48F-B064-4B46-9ECC-A0958AF902A9}">
  <ds:schemaRefs>
    <ds:schemaRef ds:uri="http://schemas.microsoft.com/sharepoint/v3/contenttype/forms"/>
  </ds:schemaRefs>
</ds:datastoreItem>
</file>

<file path=customXml/itemProps2.xml><?xml version="1.0" encoding="utf-8"?>
<ds:datastoreItem xmlns:ds="http://schemas.openxmlformats.org/officeDocument/2006/customXml" ds:itemID="{62D1FD4D-5448-419F-B2BC-BC45F44F7695}">
  <ds:schemaRefs>
    <ds:schemaRef ds:uri="http://schemas.microsoft.com/office/2006/metadata/properties"/>
    <ds:schemaRef ds:uri="http://schemas.microsoft.com/office/2006/documentManagement/types"/>
    <ds:schemaRef ds:uri="http://purl.org/dc/dcmitype/"/>
    <ds:schemaRef ds:uri="http://purl.org/dc/elements/1.1/"/>
    <ds:schemaRef ds:uri="http://schemas.openxmlformats.org/package/2006/metadata/core-properties"/>
    <ds:schemaRef ds:uri="http://www.w3.org/XML/1998/namespace"/>
    <ds:schemaRef ds:uri="http://purl.org/dc/terms/"/>
    <ds:schemaRef ds:uri="http://schemas.microsoft.com/office/infopath/2007/PartnerControls"/>
    <ds:schemaRef ds:uri="615081f3-220a-47d5-bcd1-4e5178767442"/>
  </ds:schemaRefs>
</ds:datastoreItem>
</file>

<file path=customXml/itemProps3.xml><?xml version="1.0" encoding="utf-8"?>
<ds:datastoreItem xmlns:ds="http://schemas.openxmlformats.org/officeDocument/2006/customXml" ds:itemID="{5A3FD355-1A6A-4323-BA49-0085654FBFCA}">
  <ds:schemaRefs>
    <ds:schemaRef ds:uri="615081f3-220a-47d5-bcd1-4e5178767442"/>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Tekno_En_2021</Template>
  <TotalTime>237</TotalTime>
  <Words>5956</Words>
  <Application>Microsoft Office PowerPoint</Application>
  <PresentationFormat>Näytössä katseltava esitys (16:9)</PresentationFormat>
  <Paragraphs>971</Paragraphs>
  <Slides>26</Slides>
  <Notes>17</Notes>
  <HiddenSlides>0</HiddenSlides>
  <MMClips>0</MMClips>
  <ScaleCrop>false</ScaleCrop>
  <HeadingPairs>
    <vt:vector size="8" baseType="variant">
      <vt:variant>
        <vt:lpstr>Käytetyt fontit</vt:lpstr>
      </vt:variant>
      <vt:variant>
        <vt:i4>4</vt:i4>
      </vt:variant>
      <vt:variant>
        <vt:lpstr>Teema</vt:lpstr>
      </vt:variant>
      <vt:variant>
        <vt:i4>3</vt:i4>
      </vt:variant>
      <vt:variant>
        <vt:lpstr>Upotetut OLE-palvelimet</vt:lpstr>
      </vt:variant>
      <vt:variant>
        <vt:i4>1</vt:i4>
      </vt:variant>
      <vt:variant>
        <vt:lpstr>Dian otsikot</vt:lpstr>
      </vt:variant>
      <vt:variant>
        <vt:i4>26</vt:i4>
      </vt:variant>
    </vt:vector>
  </HeadingPairs>
  <TitlesOfParts>
    <vt:vector size="34" baseType="lpstr">
      <vt:lpstr>Arial</vt:lpstr>
      <vt:lpstr>DINPro</vt:lpstr>
      <vt:lpstr>Trebuchet MS</vt:lpstr>
      <vt:lpstr>Verdana</vt:lpstr>
      <vt:lpstr>Teknologiateollisuus_masterdia</vt:lpstr>
      <vt:lpstr>BCG Grid 16:9</vt:lpstr>
      <vt:lpstr>Technology Industries of Finland Grid Custom - 21561</vt:lpstr>
      <vt:lpstr>think-cell Slide</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lpstr>PowerPoint-esitys</vt:lpstr>
    </vt:vector>
  </TitlesOfParts>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esitys</dc:title>
  <dc:creator>Mikkilä Joonas</dc:creator>
  <cp:keywords>Techind_EN</cp:keywords>
  <cp:lastModifiedBy>Mikkilä Joonas</cp:lastModifiedBy>
  <cp:revision>1</cp:revision>
  <cp:lastPrinted>2016-06-09T07:47:11Z</cp:lastPrinted>
  <dcterms:created xsi:type="dcterms:W3CDTF">2024-01-15T06:49:02Z</dcterms:created>
  <dcterms:modified xsi:type="dcterms:W3CDTF">2024-04-09T08:51: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dvkameleonVerID">
    <vt:lpwstr>482.21.02.003</vt:lpwstr>
  </property>
  <property fmtid="{D5CDD505-2E9C-101B-9397-08002B2CF9AE}" pid="3" name="dvSaved">
    <vt:lpwstr>1</vt:lpwstr>
  </property>
  <property fmtid="{D5CDD505-2E9C-101B-9397-08002B2CF9AE}" pid="4" name="dvLanguage">
    <vt:lpwstr>1035</vt:lpwstr>
  </property>
  <property fmtid="{D5CDD505-2E9C-101B-9397-08002B2CF9AE}" pid="5" name="dvTemplate">
    <vt:lpwstr>Tekno_fi.potx</vt:lpwstr>
  </property>
  <property fmtid="{D5CDD505-2E9C-101B-9397-08002B2CF9AE}" pid="6" name="dvDefinition">
    <vt:lpwstr>23 (dd_default.xml)</vt:lpwstr>
  </property>
  <property fmtid="{D5CDD505-2E9C-101B-9397-08002B2CF9AE}" pid="7" name="dvDefinitionID">
    <vt:lpwstr>23</vt:lpwstr>
  </property>
  <property fmtid="{D5CDD505-2E9C-101B-9397-08002B2CF9AE}" pid="8" name="dvContentFile">
    <vt:lpwstr>dd_default.xml</vt:lpwstr>
  </property>
  <property fmtid="{D5CDD505-2E9C-101B-9397-08002B2CF9AE}" pid="9" name="dvGlobalVerID">
    <vt:lpwstr>482.90.02.003</vt:lpwstr>
  </property>
  <property fmtid="{D5CDD505-2E9C-101B-9397-08002B2CF9AE}" pid="10" name="dvDefinitionVersion">
    <vt:lpwstr>2.1 / 22.1.2015</vt:lpwstr>
  </property>
  <property fmtid="{D5CDD505-2E9C-101B-9397-08002B2CF9AE}" pid="11" name="filename">
    <vt:lpwstr>false</vt:lpwstr>
  </property>
  <property fmtid="{D5CDD505-2E9C-101B-9397-08002B2CF9AE}" pid="12" name="filenameandpath">
    <vt:lpwstr>false</vt:lpwstr>
  </property>
  <property fmtid="{D5CDD505-2E9C-101B-9397-08002B2CF9AE}" pid="13" name="dvPagenumberExist">
    <vt:lpwstr>1</vt:lpwstr>
  </property>
  <property fmtid="{D5CDD505-2E9C-101B-9397-08002B2CF9AE}" pid="14" name="dvAuthorExist">
    <vt:lpwstr>1</vt:lpwstr>
  </property>
  <property fmtid="{D5CDD505-2E9C-101B-9397-08002B2CF9AE}" pid="15" name="dvDateExist">
    <vt:lpwstr>-1</vt:lpwstr>
  </property>
  <property fmtid="{D5CDD505-2E9C-101B-9397-08002B2CF9AE}" pid="16" name="dvCategory">
    <vt:lpwstr>4</vt:lpwstr>
  </property>
  <property fmtid="{D5CDD505-2E9C-101B-9397-08002B2CF9AE}" pid="17" name="dvCategory_2">
    <vt:lpwstr>0</vt:lpwstr>
  </property>
  <property fmtid="{D5CDD505-2E9C-101B-9397-08002B2CF9AE}" pid="18" name="dvSavepath">
    <vt:lpwstr/>
  </property>
  <property fmtid="{D5CDD505-2E9C-101B-9397-08002B2CF9AE}" pid="19" name="dvUsed">
    <vt:lpwstr>1</vt:lpwstr>
  </property>
  <property fmtid="{D5CDD505-2E9C-101B-9397-08002B2CF9AE}" pid="20" name="dvCompany">
    <vt:lpwstr/>
  </property>
  <property fmtid="{D5CDD505-2E9C-101B-9397-08002B2CF9AE}" pid="21" name="dvSite">
    <vt:lpwstr/>
  </property>
  <property fmtid="{D5CDD505-2E9C-101B-9397-08002B2CF9AE}" pid="22" name="dvNumbering">
    <vt:lpwstr>0</vt:lpwstr>
  </property>
  <property fmtid="{D5CDD505-2E9C-101B-9397-08002B2CF9AE}" pid="23" name="dvDUname">
    <vt:lpwstr>Nora Elers</vt:lpwstr>
  </property>
  <property fmtid="{D5CDD505-2E9C-101B-9397-08002B2CF9AE}" pid="24" name="dvDUdepartment">
    <vt:lpwstr/>
  </property>
  <property fmtid="{D5CDD505-2E9C-101B-9397-08002B2CF9AE}" pid="25" name="dvLogoExist">
    <vt:lpwstr>0</vt:lpwstr>
  </property>
  <property fmtid="{D5CDD505-2E9C-101B-9397-08002B2CF9AE}" pid="26" name="dvCurrentlogo">
    <vt:lpwstr/>
  </property>
  <property fmtid="{D5CDD505-2E9C-101B-9397-08002B2CF9AE}" pid="27" name="MSIP_Label_28fe8840-82fd-49cb-97d6-06397fbe7377_Enabled">
    <vt:lpwstr>true</vt:lpwstr>
  </property>
  <property fmtid="{D5CDD505-2E9C-101B-9397-08002B2CF9AE}" pid="28" name="MSIP_Label_28fe8840-82fd-49cb-97d6-06397fbe7377_SetDate">
    <vt:lpwstr>2021-05-12T13:47:41Z</vt:lpwstr>
  </property>
  <property fmtid="{D5CDD505-2E9C-101B-9397-08002B2CF9AE}" pid="29" name="MSIP_Label_28fe8840-82fd-49cb-97d6-06397fbe7377_Method">
    <vt:lpwstr>Standard</vt:lpwstr>
  </property>
  <property fmtid="{D5CDD505-2E9C-101B-9397-08002B2CF9AE}" pid="30" name="MSIP_Label_28fe8840-82fd-49cb-97d6-06397fbe7377_Name">
    <vt:lpwstr>28fe8840-82fd-49cb-97d6-06397fbe7377</vt:lpwstr>
  </property>
  <property fmtid="{D5CDD505-2E9C-101B-9397-08002B2CF9AE}" pid="31" name="MSIP_Label_28fe8840-82fd-49cb-97d6-06397fbe7377_SiteId">
    <vt:lpwstr>c0b0ba2d-80d8-41e2-a9ff-fda7be656b28</vt:lpwstr>
  </property>
  <property fmtid="{D5CDD505-2E9C-101B-9397-08002B2CF9AE}" pid="32" name="MSIP_Label_28fe8840-82fd-49cb-97d6-06397fbe7377_ActionId">
    <vt:lpwstr>1502ec0c-e736-4f8b-a9f5-60d0da81a14f</vt:lpwstr>
  </property>
  <property fmtid="{D5CDD505-2E9C-101B-9397-08002B2CF9AE}" pid="33" name="MSIP_Label_28fe8840-82fd-49cb-97d6-06397fbe7377_ContentBits">
    <vt:lpwstr>0</vt:lpwstr>
  </property>
  <property fmtid="{D5CDD505-2E9C-101B-9397-08002B2CF9AE}" pid="34" name="MSIP_Label_b0d5c4f4-7a29-4385-b7a5-afbe2154ae6f_Enabled">
    <vt:lpwstr>true</vt:lpwstr>
  </property>
  <property fmtid="{D5CDD505-2E9C-101B-9397-08002B2CF9AE}" pid="35" name="MSIP_Label_b0d5c4f4-7a29-4385-b7a5-afbe2154ae6f_SetDate">
    <vt:lpwstr>2024-01-16T06:11:00Z</vt:lpwstr>
  </property>
  <property fmtid="{D5CDD505-2E9C-101B-9397-08002B2CF9AE}" pid="36" name="MSIP_Label_b0d5c4f4-7a29-4385-b7a5-afbe2154ae6f_Method">
    <vt:lpwstr>Standard</vt:lpwstr>
  </property>
  <property fmtid="{D5CDD505-2E9C-101B-9397-08002B2CF9AE}" pid="37" name="MSIP_Label_b0d5c4f4-7a29-4385-b7a5-afbe2154ae6f_Name">
    <vt:lpwstr>Confidential</vt:lpwstr>
  </property>
  <property fmtid="{D5CDD505-2E9C-101B-9397-08002B2CF9AE}" pid="38" name="MSIP_Label_b0d5c4f4-7a29-4385-b7a5-afbe2154ae6f_SiteId">
    <vt:lpwstr>2dfb2f0b-4d21-4268-9559-72926144c918</vt:lpwstr>
  </property>
  <property fmtid="{D5CDD505-2E9C-101B-9397-08002B2CF9AE}" pid="39" name="MSIP_Label_b0d5c4f4-7a29-4385-b7a5-afbe2154ae6f_ActionId">
    <vt:lpwstr>2ce06e0c-d171-482d-8046-ae4764b7443b</vt:lpwstr>
  </property>
  <property fmtid="{D5CDD505-2E9C-101B-9397-08002B2CF9AE}" pid="40" name="MSIP_Label_b0d5c4f4-7a29-4385-b7a5-afbe2154ae6f_ContentBits">
    <vt:lpwstr>0</vt:lpwstr>
  </property>
  <property fmtid="{D5CDD505-2E9C-101B-9397-08002B2CF9AE}" pid="41" name="ContentTypeId">
    <vt:lpwstr>0x01010078FF847F0968184E8DDABFEA48904649</vt:lpwstr>
  </property>
</Properties>
</file>